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11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261" r:id="rId7"/>
    <p:sldId id="260" r:id="rId8"/>
    <p:sldId id="265" r:id="rId9"/>
    <p:sldId id="279" r:id="rId10"/>
    <p:sldId id="263" r:id="rId11"/>
    <p:sldId id="275" r:id="rId12"/>
    <p:sldId id="278" r:id="rId13"/>
    <p:sldId id="264" r:id="rId14"/>
    <p:sldId id="262" r:id="rId15"/>
    <p:sldId id="269" r:id="rId16"/>
    <p:sldId id="268" r:id="rId17"/>
    <p:sldId id="270" r:id="rId18"/>
    <p:sldId id="272" r:id="rId19"/>
    <p:sldId id="280" r:id="rId20"/>
    <p:sldId id="281" r:id="rId21"/>
    <p:sldId id="282" r:id="rId22"/>
    <p:sldId id="274" r:id="rId23"/>
  </p:sldIdLst>
  <p:sldSz cx="9906000" cy="6858000" type="A4"/>
  <p:notesSz cx="6805613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35" userDrawn="1">
          <p15:clr>
            <a:srgbClr val="A4A3A4"/>
          </p15:clr>
        </p15:guide>
        <p15:guide id="2" orient="horz" pos="777" userDrawn="1">
          <p15:clr>
            <a:srgbClr val="A4A3A4"/>
          </p15:clr>
        </p15:guide>
        <p15:guide id="3" orient="horz" pos="2228" userDrawn="1">
          <p15:clr>
            <a:srgbClr val="A4A3A4"/>
          </p15:clr>
        </p15:guide>
        <p15:guide id="5" pos="3120">
          <p15:clr>
            <a:srgbClr val="A4A3A4"/>
          </p15:clr>
        </p15:guide>
        <p15:guide id="6" pos="262" userDrawn="1">
          <p15:clr>
            <a:srgbClr val="A4A3A4"/>
          </p15:clr>
        </p15:guide>
        <p15:guide id="7" pos="596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AD99"/>
    <a:srgbClr val="01369B"/>
    <a:srgbClr val="FF00FF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26" autoAdjust="0"/>
    <p:restoredTop sz="92037" autoAdjust="0"/>
  </p:normalViewPr>
  <p:slideViewPr>
    <p:cSldViewPr snapToGrid="0" snapToObjects="1" showGuides="1">
      <p:cViewPr>
        <p:scale>
          <a:sx n="88" d="100"/>
          <a:sy n="88" d="100"/>
        </p:scale>
        <p:origin x="-1046" y="-34"/>
      </p:cViewPr>
      <p:guideLst>
        <p:guide orient="horz" pos="3135"/>
        <p:guide orient="horz" pos="777"/>
        <p:guide orient="horz" pos="2228"/>
        <p:guide pos="3120"/>
        <p:guide pos="262"/>
        <p:guide pos="596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7B418B35-3E37-48B0-8AE9-3A6B104797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6B2E35B-7AD9-4E7F-B03C-A1C4A1E0FF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488C32-22AB-48D8-A2D7-5501D6BF8B3B}" type="datetimeFigureOut">
              <a:rPr lang="en-NZ" smtClean="0"/>
              <a:t>27/08/2018</a:t>
            </a:fld>
            <a:endParaRPr lang="en-N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19A84AB-7196-4D12-B00A-3B6ADC448FE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C58C0E8-93FF-4F08-A450-91132E95C7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D97F1F-C68C-41A2-80CF-C90848947FE3}" type="slidenum">
              <a:rPr lang="en-NZ" smtClean="0"/>
              <a:t>‹#›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952759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N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FADA193-311B-4490-A3D2-223687355752}" type="datetimeFigureOut">
              <a:rPr lang="en-US"/>
              <a:pPr>
                <a:defRPr/>
              </a:pPr>
              <a:t>8/27/2018</a:t>
            </a:fld>
            <a:endParaRPr lang="en-N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NZ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N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97BE2A1-3EEF-45A9-829E-CA4388CCB870}" type="slidenum">
              <a:rPr lang="en-NZ"/>
              <a:pPr>
                <a:defRPr/>
              </a:pPr>
              <a:t>‹#›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8531877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7889668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NZ" dirty="0"/>
              <a:t>Now to the challenges – this is our System Architecture – MY Fonterra is at the core to everything we do.  It starts of the identity management process.  It also ends it.</a:t>
            </a:r>
          </a:p>
          <a:p>
            <a:pPr>
              <a:spcAft>
                <a:spcPts val="600"/>
              </a:spcAft>
            </a:pPr>
            <a:r>
              <a:rPr lang="en-NZ" dirty="0"/>
              <a:t>We have two instances of ECC integrated one in Latin America with a data model configured differently.  </a:t>
            </a:r>
          </a:p>
          <a:p>
            <a:pPr>
              <a:spcAft>
                <a:spcPts val="600"/>
              </a:spcAft>
            </a:pPr>
            <a:r>
              <a:rPr lang="en-NZ" dirty="0"/>
              <a:t>We last have 6 new tools lined up to be integrated.  </a:t>
            </a:r>
          </a:p>
          <a:p>
            <a:pPr>
              <a:spcAft>
                <a:spcPts val="600"/>
              </a:spcAft>
            </a:pPr>
            <a:r>
              <a:rPr lang="en-NZ" dirty="0"/>
              <a:t>To add to the challenge before we went live a separate project to bring Delegate Authority through create custom design in to MY Fonterra was initiated.  It was built around our Job Functions and job roles that was still a framework in the making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0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4089510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Data is centred around employee information and Foundation objects – mainly MDF design.  This are the critical path tables. </a:t>
            </a:r>
          </a:p>
          <a:p>
            <a:r>
              <a:rPr lang="en-NZ" dirty="0"/>
              <a:t>Our data strategy was to lift and shift</a:t>
            </a:r>
          </a:p>
          <a:p>
            <a:r>
              <a:rPr lang="en-NZ" dirty="0"/>
              <a:t>Data cleanse had to happen in the source system</a:t>
            </a:r>
          </a:p>
          <a:p>
            <a:r>
              <a:rPr lang="en-NZ" dirty="0"/>
              <a:t>Data perfecting happened in Excel files only where it had to mainly for new design features. </a:t>
            </a:r>
          </a:p>
          <a:p>
            <a:endParaRPr lang="en-NZ" dirty="0"/>
          </a:p>
          <a:p>
            <a:r>
              <a:rPr lang="en-NZ" dirty="0"/>
              <a:t>We got a project room with the worst Wifi in the whole of Fonterra – to make matters worse at go l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1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4557041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The most complex challenge was to get on top of business rules, workflow and RBPs  - role based permissions. </a:t>
            </a:r>
          </a:p>
          <a:p>
            <a:r>
              <a:rPr lang="en-NZ" dirty="0"/>
              <a:t>RBPS – sets up roles, assigned dynamically for what user groups can view and edit – we aimed for simplicity in design but we ended up with 54 roles – at the complex end of the spectrum for su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2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6479023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Our change approach – Manager self service in NZ and HR supported processes overseas.</a:t>
            </a:r>
          </a:p>
          <a:p>
            <a:r>
              <a:rPr lang="en-NZ" dirty="0"/>
              <a:t>We needed to communicate to all managers and employees – 25000 what was changing for them</a:t>
            </a:r>
          </a:p>
          <a:p>
            <a:r>
              <a:rPr lang="en-NZ" dirty="0"/>
              <a:t>What will I stop, start and continue doing.</a:t>
            </a:r>
          </a:p>
          <a:p>
            <a:r>
              <a:rPr lang="en-NZ" dirty="0"/>
              <a:t>As well as what is my plan.</a:t>
            </a:r>
          </a:p>
          <a:p>
            <a:r>
              <a:rPr lang="en-NZ" dirty="0"/>
              <a:t>Training happened on skype or through walk in centres as well as through a knowledge portal or a overlay training software called Walk 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3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74572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4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3172600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hat is next on our roadma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To enhance and perfect what we have - in terms of end to end solu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e are going mobile – in MY Fonterr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e are looking at the future of work through Job and career architecture in MY Fonterra and other too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e are looking at a data lake with a HR data lab having been set up this week where we can combine and analyse all HR data – Through R/Python to be visualised in Tableau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This is to drive our advanced and predictive analytics strateg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e are looking at different types of data sources for our lab – how we communicate, the places we work in and Well being/social media or engage feedbac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Z" dirty="0"/>
              <a:t>We have also set up a project hub where employees get the chance to cross skill on project across the business a way to support a gig culture and ensure resource utilisa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NZ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NZ" dirty="0"/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5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2231304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322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19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64918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2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246059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3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4245873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4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597484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5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68547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6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0601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This is essentially our scope our peo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7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460234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Key to success was a strong vendor partnership – with the implementation partner (POIT) and our back office support partner (HCL)</a:t>
            </a:r>
          </a:p>
          <a:p>
            <a:r>
              <a:rPr lang="en-NZ" dirty="0"/>
              <a:t>Good technical expertise across the team – the right people appointed</a:t>
            </a:r>
          </a:p>
          <a:p>
            <a:r>
              <a:rPr lang="en-NZ" dirty="0"/>
              <a:t>Make good use of communication technology as spread geographically </a:t>
            </a:r>
          </a:p>
          <a:p>
            <a:r>
              <a:rPr lang="en-NZ" dirty="0"/>
              <a:t>Benefitting from diversity of thought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8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40398415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NZ" dirty="0"/>
              <a:t>When we started the journey we know there would be many firsts – we are to a company that are comfortable pioneers</a:t>
            </a:r>
          </a:p>
          <a:p>
            <a:r>
              <a:rPr lang="en-NZ" dirty="0"/>
              <a:t>The use case was enrichment is data that can support all our people processes- big data</a:t>
            </a:r>
          </a:p>
          <a:p>
            <a:r>
              <a:rPr lang="en-NZ" dirty="0"/>
              <a:t>Including org data for org structures</a:t>
            </a:r>
          </a:p>
          <a:p>
            <a:r>
              <a:rPr lang="en-NZ" dirty="0"/>
              <a:t>Enriched employee and talent profile</a:t>
            </a:r>
          </a:p>
          <a:p>
            <a:r>
              <a:rPr lang="en-NZ" dirty="0"/>
              <a:t>MY Fonterra Central Processes – we designed these in house</a:t>
            </a:r>
          </a:p>
          <a:p>
            <a:r>
              <a:rPr lang="en-NZ" dirty="0"/>
              <a:t>MY Fonterra Reporting – including the ability to self-source reports – we now have a handful of people who can run Advanced Reporting queries, design and schedule reports.</a:t>
            </a:r>
          </a:p>
          <a:p>
            <a:r>
              <a:rPr lang="en-NZ" dirty="0"/>
              <a:t>It was clear from the start there were a number of firsts – pioneering is rather scary specifically when you go big bang</a:t>
            </a:r>
          </a:p>
          <a:p>
            <a:r>
              <a:rPr lang="en-NZ" dirty="0"/>
              <a:t>The integration technology was a first – SF Cloud Solution</a:t>
            </a:r>
          </a:p>
          <a:p>
            <a:r>
              <a:rPr lang="en-NZ" dirty="0"/>
              <a:t>People Profile with Contingent Workers – with murky legacy data this is a bit of a challenge</a:t>
            </a:r>
          </a:p>
          <a:p>
            <a:r>
              <a:rPr lang="en-NZ" dirty="0"/>
              <a:t>We were interested in deploying Advanced reporting – something only used by a handful of organisations across the globe at the time.</a:t>
            </a:r>
          </a:p>
          <a:p>
            <a:endParaRPr lang="en-NZ" dirty="0"/>
          </a:p>
          <a:p>
            <a:r>
              <a:rPr lang="en-NZ" dirty="0"/>
              <a:t>Although we are not sizist – when it comes to user testimonials we needed some feedback from similar orgs with similar challenges and POIT got us in touch with a global transport organisation in the US that had operations in 10 countries. That was great. </a:t>
            </a:r>
          </a:p>
          <a:p>
            <a:endParaRPr lang="en-NZ" dirty="0"/>
          </a:p>
          <a:p>
            <a:r>
              <a:rPr lang="en-NZ" dirty="0"/>
              <a:t>So far we have processed: 2500 new positions, 6800 training courses, 8000 badges and 3 cycles of performance</a:t>
            </a:r>
          </a:p>
          <a:p>
            <a:endParaRPr lang="en-NZ" dirty="0"/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7BE2A1-3EEF-45A9-829E-CA4388CCB870}" type="slidenum">
              <a:rPr lang="en-NZ" smtClean="0"/>
              <a:pPr>
                <a:defRPr/>
              </a:pPr>
              <a:t>9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31898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zeus\data\_Shared_NZ\Fonterra Brand Marketing\Brand\Graphic Design\Working Files\Corporate Marketing\IDENTITY 2014\Assets &amp; Artwork\Backgrounds\C2_Farming Family -_PPT cover 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4413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675" y="3751349"/>
            <a:ext cx="4310325" cy="1470025"/>
          </a:xfrm>
        </p:spPr>
        <p:txBody>
          <a:bodyPr>
            <a:normAutofit/>
          </a:bodyPr>
          <a:lstStyle>
            <a:lvl1pPr algn="l">
              <a:defRPr sz="260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675" y="5328054"/>
            <a:ext cx="4310325" cy="337196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N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42675" y="6355080"/>
            <a:ext cx="4310325" cy="180000"/>
          </a:xfrm>
        </p:spPr>
        <p:txBody>
          <a:bodyPr anchor="ctr">
            <a:normAutofit/>
          </a:bodyPr>
          <a:lstStyle>
            <a:lvl1pPr algn="l">
              <a:buNone/>
              <a:defRPr sz="800" baseline="0">
                <a:solidFill>
                  <a:schemeClr val="accent4"/>
                </a:solidFill>
              </a:defRPr>
            </a:lvl1pPr>
          </a:lstStyle>
          <a:p>
            <a:r>
              <a:rPr lang="en-NZ" dirty="0"/>
              <a:t>Confidential to Fonterra Co-operative Group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642675" y="6130313"/>
            <a:ext cx="4310325" cy="180000"/>
          </a:xfrm>
        </p:spPr>
        <p:txBody>
          <a:bodyPr anchor="b">
            <a:normAutofit/>
          </a:bodyPr>
          <a:lstStyle>
            <a:lvl1pPr algn="l">
              <a:buNone/>
              <a:defRPr sz="11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42676" y="6355080"/>
            <a:ext cx="8622235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376362"/>
            <a:ext cx="4414902" cy="470852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5056123" y="1376362"/>
            <a:ext cx="4414902" cy="470852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696403"/>
            <a:ext cx="4414902" cy="438594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5056123" y="1696403"/>
            <a:ext cx="4414902" cy="438594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76363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054473" y="1376363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with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978428"/>
            <a:ext cx="4414902" cy="4108491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5056123" y="1978428"/>
            <a:ext cx="4414902" cy="4108491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658388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054473" y="1658388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154113"/>
            <a:ext cx="7024716" cy="36576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600" kern="1200" dirty="0" smtClean="0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Subtitle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376363"/>
            <a:ext cx="9039225" cy="22201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31800" y="3752850"/>
            <a:ext cx="9039225" cy="22201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5056123" y="1696403"/>
            <a:ext cx="441490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31800" y="1696403"/>
            <a:ext cx="4419600" cy="2011680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056123" y="4075113"/>
            <a:ext cx="441490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5"/>
          </p:nvPr>
        </p:nvSpPr>
        <p:spPr>
          <a:xfrm>
            <a:off x="431800" y="4075113"/>
            <a:ext cx="4419600" cy="2011680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376363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054473" y="1376363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3758184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054473" y="3758184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227013"/>
            <a:ext cx="7033029" cy="9271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op,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227013"/>
            <a:ext cx="7033029" cy="9271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31800" y="1376362"/>
            <a:ext cx="9039225" cy="2099945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056123" y="3755073"/>
            <a:ext cx="4414902" cy="233172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5"/>
          </p:nvPr>
        </p:nvSpPr>
        <p:spPr>
          <a:xfrm>
            <a:off x="431800" y="3755073"/>
            <a:ext cx="4419600" cy="2331720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(1L/2R)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227013"/>
            <a:ext cx="7049655" cy="9271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5054473" y="1696403"/>
            <a:ext cx="441655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31800" y="1696402"/>
            <a:ext cx="4416552" cy="4385945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054473" y="4075113"/>
            <a:ext cx="441655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376362"/>
            <a:ext cx="441960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5054473" y="1376363"/>
            <a:ext cx="441655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054473" y="3755073"/>
            <a:ext cx="4414902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(2L/1R)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227013"/>
            <a:ext cx="7016404" cy="9271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31800" y="1696403"/>
            <a:ext cx="441655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5084698" y="1696402"/>
            <a:ext cx="4386327" cy="4385945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431800" y="4075113"/>
            <a:ext cx="4416552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376363"/>
            <a:ext cx="441960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0" y="1376363"/>
            <a:ext cx="4389354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3755073"/>
            <a:ext cx="441960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(2L Small/1R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227013"/>
            <a:ext cx="7008091" cy="9271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31800" y="1696403"/>
            <a:ext cx="292608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3556000" y="1696404"/>
            <a:ext cx="5915025" cy="4385944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  <a:lvl2pPr>
              <a:spcBef>
                <a:spcPts val="500"/>
              </a:spcBef>
              <a:defRPr sz="1000"/>
            </a:lvl2pPr>
            <a:lvl3pPr>
              <a:spcBef>
                <a:spcPts val="500"/>
              </a:spcBef>
              <a:defRPr sz="1000"/>
            </a:lvl3pPr>
            <a:lvl4pPr>
              <a:spcBef>
                <a:spcPts val="500"/>
              </a:spcBef>
              <a:defRPr sz="1000"/>
            </a:lvl4pPr>
            <a:lvl5pPr>
              <a:spcBef>
                <a:spcPts val="5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431800" y="4075113"/>
            <a:ext cx="292608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376363"/>
            <a:ext cx="292608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50247" y="1376363"/>
            <a:ext cx="5919107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3755073"/>
            <a:ext cx="292608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833562"/>
            <a:ext cx="2834640" cy="424878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3540601" y="1833562"/>
            <a:ext cx="2834640" cy="424878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76363"/>
            <a:ext cx="2834640" cy="4572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3540600" y="1376363"/>
            <a:ext cx="2834640" cy="4572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636385" y="1833562"/>
            <a:ext cx="2834640" cy="424878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636385" y="1376363"/>
            <a:ext cx="2834640" cy="4572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376363"/>
            <a:ext cx="9039225" cy="492442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Objec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696403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3540601" y="1696403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76363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3540600" y="1376363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636385" y="1696403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636385" y="1376363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431800" y="4073208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3540601" y="4073208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3753168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3540600" y="3753168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6636385" y="4073208"/>
            <a:ext cx="2834640" cy="2011680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6636385" y="3753168"/>
            <a:ext cx="2834640" cy="32004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2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0"/>
          </p:nvPr>
        </p:nvSpPr>
        <p:spPr>
          <a:xfrm>
            <a:off x="431800" y="1376363"/>
            <a:ext cx="9039225" cy="4718050"/>
          </a:xfrm>
        </p:spPr>
        <p:txBody>
          <a:bodyPr/>
          <a:lstStyle>
            <a:lvl1pPr>
              <a:spcBef>
                <a:spcPts val="500"/>
              </a:spcBef>
              <a:defRPr sz="1000"/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zeus\data\_Shared_NZ\Fonterra Brand Marketing\Brand\Graphic Design\Working Files\Corporate Marketing\IDENTITY 2014\Powerpoint\Background images\Generic\Generic-07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4413" cy="685800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675" y="4260850"/>
            <a:ext cx="4310325" cy="1470025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675" y="5730229"/>
            <a:ext cx="4310325" cy="337196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666163" y="6371184"/>
            <a:ext cx="804862" cy="2159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ge </a:t>
            </a:r>
            <a:fld id="{409F2FD2-56E3-4DDC-8ED1-30F01D27BB4C}" type="slidenum">
              <a:rPr lang="en-US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pPr marL="182563" indent="-182563" algn="r" fontAlgn="auto">
                <a:spcBef>
                  <a:spcPct val="2000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843616" y="6371184"/>
            <a:ext cx="3035300" cy="215900"/>
          </a:xfrm>
          <a:prstGeom prst="rect">
            <a:avLst/>
          </a:prstGeom>
          <a:ln>
            <a:noFill/>
          </a:ln>
        </p:spPr>
        <p:txBody>
          <a:bodyPr lIns="0" tIns="3600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onfidential to Fonterra Co-operative Group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zeus\data\_Shared_NZ\Fonterra Brand Marketing\Brand\Graphic Design\Working Files\Corporate Marketing\IDENTITY 2014\Powerpoint\Background images\Generic\Generic-08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587" y="-1"/>
            <a:ext cx="9904413" cy="685800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675" y="4260850"/>
            <a:ext cx="4310325" cy="1470025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675" y="5730229"/>
            <a:ext cx="4310325" cy="337196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666163" y="6371184"/>
            <a:ext cx="804862" cy="2159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ge </a:t>
            </a:r>
            <a:fld id="{409F2FD2-56E3-4DDC-8ED1-30F01D27BB4C}" type="slidenum">
              <a:rPr lang="en-US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pPr marL="182563" indent="-182563" algn="r" fontAlgn="auto">
                <a:spcBef>
                  <a:spcPct val="2000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843616" y="6371184"/>
            <a:ext cx="3035300" cy="215900"/>
          </a:xfrm>
          <a:prstGeom prst="rect">
            <a:avLst/>
          </a:prstGeom>
          <a:ln>
            <a:noFill/>
          </a:ln>
        </p:spPr>
        <p:txBody>
          <a:bodyPr lIns="0" tIns="3600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onfidential to Fonterra Co-operative Group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\\zeus\data\_Shared_NZ\Fonterra Brand Marketing\Brand\Graphic Design\Working Files\Corporate Marketing\IDENTITY 2014\Powerpoint\Background images\Generic\Generic-09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587" y="0"/>
            <a:ext cx="9904413" cy="685800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675" y="4260850"/>
            <a:ext cx="4310325" cy="1470025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675" y="5730229"/>
            <a:ext cx="4310325" cy="337196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666163" y="6371184"/>
            <a:ext cx="804862" cy="2159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ge </a:t>
            </a:r>
            <a:fld id="{409F2FD2-56E3-4DDC-8ED1-30F01D27BB4C}" type="slidenum">
              <a:rPr lang="en-US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pPr marL="182563" indent="-182563" algn="r" fontAlgn="auto">
                <a:spcBef>
                  <a:spcPct val="2000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843616" y="6371184"/>
            <a:ext cx="3035300" cy="215900"/>
          </a:xfrm>
          <a:prstGeom prst="rect">
            <a:avLst/>
          </a:prstGeom>
          <a:ln>
            <a:noFill/>
          </a:ln>
        </p:spPr>
        <p:txBody>
          <a:bodyPr lIns="0" tIns="3600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onfidential to Fonterra Co-operative Group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\\zeus\data\_Shared_NZ\Fonterra Brand Marketing\Brand\Graphic Design\Working Files\Corporate Marketing\IDENTITY 2014\Powerpoint\Background images\Generic\Generic-10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587" y="-1"/>
            <a:ext cx="9904413" cy="685800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675" y="4260850"/>
            <a:ext cx="4310325" cy="1470025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675" y="5730229"/>
            <a:ext cx="4310325" cy="337196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666163" y="6371184"/>
            <a:ext cx="804862" cy="2159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ge </a:t>
            </a:r>
            <a:fld id="{409F2FD2-56E3-4DDC-8ED1-30F01D27BB4C}" type="slidenum">
              <a:rPr lang="en-US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pPr marL="182563" indent="-182563" algn="r" fontAlgn="auto">
                <a:spcBef>
                  <a:spcPct val="2000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843616" y="6371184"/>
            <a:ext cx="3035300" cy="215900"/>
          </a:xfrm>
          <a:prstGeom prst="rect">
            <a:avLst/>
          </a:prstGeom>
          <a:ln>
            <a:noFill/>
          </a:ln>
        </p:spPr>
        <p:txBody>
          <a:bodyPr lIns="0" tIns="3600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onfidential to Fonterra Co-operative Group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NZ" noProof="0" dirty="0"/>
              <a:t>Click to edit Title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376363"/>
            <a:ext cx="9039225" cy="470598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6094413"/>
            <a:ext cx="7589520" cy="320040"/>
          </a:xfrm>
        </p:spPr>
        <p:txBody>
          <a:bodyPr bIns="45720" anchor="b" anchorCtr="0"/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800" i="1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i="1"/>
            </a:lvl2pPr>
            <a:lvl3pPr>
              <a:defRPr sz="800" i="1"/>
            </a:lvl3pPr>
            <a:lvl4pPr>
              <a:defRPr sz="800" i="1"/>
            </a:lvl4pPr>
            <a:lvl5pPr>
              <a:defRPr sz="80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NZ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601786"/>
            <a:ext cx="9039225" cy="448056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 smtClean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lang="en-NZ" sz="1600" kern="1200" noProof="0" dirty="0">
                <a:solidFill>
                  <a:srgbClr val="40404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N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1144588"/>
            <a:ext cx="7024716" cy="4572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en-US" sz="1800" kern="1200" dirty="0" smtClean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en-US" dirty="0"/>
              <a:t>Click to edit Heading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6099189"/>
            <a:ext cx="7588250" cy="319087"/>
          </a:xfrm>
        </p:spPr>
        <p:txBody>
          <a:bodyPr bIns="45720" anchor="b" anchorCtr="0"/>
          <a:lstStyle>
            <a:lvl1pPr>
              <a:spcBef>
                <a:spcPts val="0"/>
              </a:spcBef>
              <a:spcAft>
                <a:spcPts val="100"/>
              </a:spcAft>
              <a:buFont typeface="Arial" pitchFamily="34" charset="0"/>
              <a:buNone/>
              <a:defRPr sz="800" b="0" i="1" baseline="0"/>
            </a:lvl1pPr>
            <a:lvl2pPr marL="182880" indent="-182880"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sz="800" b="0" i="1" baseline="0"/>
            </a:lvl2pPr>
            <a:lvl3pPr>
              <a:buFont typeface="Arial" pitchFamily="34" charset="0"/>
              <a:buNone/>
              <a:defRPr sz="800" b="0" i="1"/>
            </a:lvl3pPr>
            <a:lvl4pPr>
              <a:buFont typeface="Arial" pitchFamily="34" charset="0"/>
              <a:buNone/>
              <a:defRPr sz="800" b="0" i="1"/>
            </a:lvl4pPr>
            <a:lvl5pPr>
              <a:buFont typeface="Arial" pitchFamily="34" charset="0"/>
              <a:buNone/>
              <a:defRPr sz="800" b="0" i="1"/>
            </a:lvl5pPr>
          </a:lstStyle>
          <a:p>
            <a:pPr lvl="0"/>
            <a:r>
              <a:rPr lang="en-US" dirty="0"/>
              <a:t>Click to edit Source text [Indent Level 1] and Footnote text [Indent Level 2]</a:t>
            </a:r>
          </a:p>
          <a:p>
            <a:pPr lvl="1"/>
            <a:r>
              <a:rPr lang="en-US" dirty="0"/>
              <a:t>Click to edit Source text [Indent Level 1] and Footnote text [Indent Level 2]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zeus\data\_Shared_NZ\Fonterra Brand Marketing\Brand\Graphic Design\Working Files\Corporate Marketing\IDENTITY 2014\Assets &amp; Artwork\Backgrounds\Simplified &amp; generic\ID 2014 --12.jpg"/>
          <p:cNvPicPr>
            <a:picLocks noChangeAspect="1" noChangeArrowheads="1"/>
          </p:cNvPicPr>
          <p:nvPr userDrawn="1"/>
        </p:nvPicPr>
        <p:blipFill>
          <a:blip r:embed="rId23"/>
          <a:srcRect/>
          <a:stretch>
            <a:fillRect/>
          </a:stretch>
        </p:blipFill>
        <p:spPr bwMode="auto">
          <a:xfrm>
            <a:off x="0" y="-1"/>
            <a:ext cx="9904412" cy="6858001"/>
          </a:xfrm>
          <a:prstGeom prst="rect">
            <a:avLst/>
          </a:prstGeom>
          <a:noFill/>
        </p:spPr>
      </p:pic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431800" y="227013"/>
            <a:ext cx="7024716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NZ" dirty="0"/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1800" y="1376362"/>
            <a:ext cx="9039225" cy="492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Z" dirty="0"/>
          </a:p>
        </p:txBody>
      </p:sp>
      <p:sp>
        <p:nvSpPr>
          <p:cNvPr id="15" name="TextBox 14"/>
          <p:cNvSpPr txBox="1"/>
          <p:nvPr/>
        </p:nvSpPr>
        <p:spPr>
          <a:xfrm>
            <a:off x="8666163" y="6451600"/>
            <a:ext cx="804862" cy="2159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8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ge </a:t>
            </a:r>
            <a:fld id="{409F2FD2-56E3-4DDC-8ED1-30F01D27BB4C}" type="slidenum">
              <a:rPr lang="en-US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pPr marL="182563" indent="-182563" algn="r" fontAlgn="auto">
                <a:spcBef>
                  <a:spcPct val="2000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43616" y="6451600"/>
            <a:ext cx="3035300" cy="215900"/>
          </a:xfrm>
          <a:prstGeom prst="rect">
            <a:avLst/>
          </a:prstGeom>
          <a:ln>
            <a:noFill/>
          </a:ln>
        </p:spPr>
        <p:txBody>
          <a:bodyPr lIns="0" tIns="36000" rIns="0" bIns="0" anchor="b">
            <a:normAutofit/>
          </a:bodyPr>
          <a:lstStyle/>
          <a:p>
            <a:pPr marL="182563" indent="-182563"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onfidential to Fonterra Co-operative Group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13" r:id="rId2"/>
    <p:sldLayoutId id="2147483930" r:id="rId3"/>
    <p:sldLayoutId id="2147483935" r:id="rId4"/>
    <p:sldLayoutId id="2147483945" r:id="rId5"/>
    <p:sldLayoutId id="2147483946" r:id="rId6"/>
    <p:sldLayoutId id="2147483947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accent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82563" indent="-182563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1pPr>
      <a:lvl2pPr marL="357188" indent="-174625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–"/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2pPr>
      <a:lvl3pPr marL="539750" indent="-182563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3pPr>
      <a:lvl4pPr marL="714375" indent="-174625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–"/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4pPr>
      <a:lvl5pPr marL="898525" indent="-184150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»"/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image" Target="../media/image29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4"/>
          <p:cNvSpPr>
            <a:spLocks noGrp="1"/>
          </p:cNvSpPr>
          <p:nvPr>
            <p:ph type="ctrTitle"/>
          </p:nvPr>
        </p:nvSpPr>
        <p:spPr>
          <a:xfrm>
            <a:off x="642674" y="1947949"/>
            <a:ext cx="4310325" cy="1470025"/>
          </a:xfrm>
        </p:spPr>
        <p:txBody>
          <a:bodyPr>
            <a:normAutofit fontScale="90000"/>
          </a:bodyPr>
          <a:lstStyle/>
          <a:p>
            <a:r>
              <a:rPr lang="en-NZ" sz="49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R Technology</a:t>
            </a:r>
            <a:r>
              <a:rPr lang="en-NZ" sz="4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/>
            </a:r>
            <a:br>
              <a:rPr lang="en-NZ" sz="4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NZ" sz="3600" dirty="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ing big in the cloud</a:t>
            </a:r>
          </a:p>
        </p:txBody>
      </p:sp>
      <p:sp>
        <p:nvSpPr>
          <p:cNvPr id="7171" name="Subtitle 15"/>
          <p:cNvSpPr>
            <a:spLocks noGrp="1"/>
          </p:cNvSpPr>
          <p:nvPr>
            <p:ph type="subTitle" idx="1"/>
          </p:nvPr>
        </p:nvSpPr>
        <p:spPr>
          <a:xfrm>
            <a:off x="642675" y="5665250"/>
            <a:ext cx="2519626" cy="337196"/>
          </a:xfrm>
          <a:solidFill>
            <a:schemeClr val="accent1"/>
          </a:solidFill>
        </p:spPr>
        <p:txBody>
          <a:bodyPr anchor="ctr"/>
          <a:lstStyle/>
          <a:p>
            <a:r>
              <a:rPr lang="en-NZ" b="1" dirty="0">
                <a:solidFill>
                  <a:schemeClr val="bg1"/>
                </a:solidFill>
              </a:rPr>
              <a:t> People &amp; Culture</a:t>
            </a:r>
          </a:p>
        </p:txBody>
      </p:sp>
      <p:sp>
        <p:nvSpPr>
          <p:cNvPr id="7172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NZ" dirty="0"/>
              <a:t>Confidential to Fonterra Co-operative Group</a:t>
            </a:r>
          </a:p>
        </p:txBody>
      </p:sp>
      <p:sp>
        <p:nvSpPr>
          <p:cNvPr id="717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42675" y="6170426"/>
            <a:ext cx="4310325" cy="180000"/>
          </a:xfrm>
        </p:spPr>
        <p:txBody>
          <a:bodyPr anchor="ctr"/>
          <a:lstStyle/>
          <a:p>
            <a:r>
              <a:rPr lang="en-NZ" dirty="0"/>
              <a:t>August,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FE67296-8E26-44CF-84DB-11D3BA89E167}"/>
              </a:ext>
            </a:extLst>
          </p:cNvPr>
          <p:cNvSpPr/>
          <p:nvPr/>
        </p:nvSpPr>
        <p:spPr>
          <a:xfrm>
            <a:off x="1206500" y="1501775"/>
            <a:ext cx="7759700" cy="4962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02E913-C45F-4D34-8683-6D4EC6D60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227013"/>
            <a:ext cx="7506855" cy="573087"/>
          </a:xfrm>
        </p:spPr>
        <p:txBody>
          <a:bodyPr/>
          <a:lstStyle/>
          <a:p>
            <a:r>
              <a:rPr lang="en-NZ" dirty="0"/>
              <a:t>System Architecture Diagram Challeng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BF50E76-C4C3-4B95-A6D9-7D7A290ACF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1293" y="1635124"/>
            <a:ext cx="7439891" cy="469582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5D10D94-ED14-42FE-937A-79E1E74AEAE3}"/>
              </a:ext>
            </a:extLst>
          </p:cNvPr>
          <p:cNvSpPr/>
          <p:nvPr/>
        </p:nvSpPr>
        <p:spPr>
          <a:xfrm rot="21165881">
            <a:off x="2629061" y="2320858"/>
            <a:ext cx="3117273" cy="488937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xmlns="" id="{01A04A1C-CCA7-45D4-858E-DD52556E7AD1}"/>
              </a:ext>
            </a:extLst>
          </p:cNvPr>
          <p:cNvSpPr/>
          <p:nvPr/>
        </p:nvSpPr>
        <p:spPr>
          <a:xfrm>
            <a:off x="2194878" y="2522094"/>
            <a:ext cx="337771" cy="318655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C4D2631-9187-44AA-8FE4-58025080CF74}"/>
              </a:ext>
            </a:extLst>
          </p:cNvPr>
          <p:cNvSpPr txBox="1"/>
          <p:nvPr/>
        </p:nvSpPr>
        <p:spPr>
          <a:xfrm>
            <a:off x="464503" y="927770"/>
            <a:ext cx="75008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400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Integration, at a glance…pioneering SCI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xmlns="" id="{4903D6E7-EA90-4765-8E44-5CCF41EC9D50}"/>
              </a:ext>
            </a:extLst>
          </p:cNvPr>
          <p:cNvSpPr/>
          <p:nvPr/>
        </p:nvSpPr>
        <p:spPr>
          <a:xfrm rot="10637134">
            <a:off x="5837368" y="2195619"/>
            <a:ext cx="337771" cy="318655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169869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3CFA3B-83CF-4FC4-B08F-9C519ED7A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27013"/>
            <a:ext cx="7505700" cy="547687"/>
          </a:xfrm>
        </p:spPr>
        <p:txBody>
          <a:bodyPr/>
          <a:lstStyle/>
          <a:p>
            <a:r>
              <a:rPr lang="en-NZ" dirty="0"/>
              <a:t>Master Data Governa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0000000-0008-0000-0600-000003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233488"/>
            <a:ext cx="4241603" cy="222717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0000000-0008-0000-0600-000004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744"/>
          <a:stretch/>
        </p:blipFill>
        <p:spPr>
          <a:xfrm>
            <a:off x="434975" y="3790921"/>
            <a:ext cx="4238625" cy="2734431"/>
          </a:xfrm>
          <a:prstGeom prst="rect">
            <a:avLst/>
          </a:prstGeom>
          <a:solidFill>
            <a:schemeClr val="accent1"/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7885EE6-7F08-4585-83D7-E153C0469B6C}"/>
              </a:ext>
            </a:extLst>
          </p:cNvPr>
          <p:cNvSpPr txBox="1"/>
          <p:nvPr/>
        </p:nvSpPr>
        <p:spPr>
          <a:xfrm>
            <a:off x="5474161" y="1636155"/>
            <a:ext cx="33805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Core Components</a:t>
            </a:r>
          </a:p>
          <a:p>
            <a:pPr marL="171450" indent="-17145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Employee Information</a:t>
            </a:r>
          </a:p>
          <a:p>
            <a:pPr marL="171450" indent="-17145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Org Data (foundation objec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03D3200-4F63-4A7B-BF69-792D857B7F95}"/>
              </a:ext>
            </a:extLst>
          </p:cNvPr>
          <p:cNvSpPr txBox="1"/>
          <p:nvPr/>
        </p:nvSpPr>
        <p:spPr>
          <a:xfrm>
            <a:off x="5563061" y="3901541"/>
            <a:ext cx="3380509" cy="176971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6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Approach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Cleanse existing data as source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Perfect missing information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‘Lift and Shift’ from source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NZ" sz="1400" b="1" dirty="0">
                <a:latin typeface="Arial" pitchFamily="34" charset="0"/>
                <a:cs typeface="Arial" pitchFamily="34" charset="0"/>
              </a:rPr>
              <a:t>Load into Successfactors</a:t>
            </a:r>
          </a:p>
          <a:p>
            <a:endParaRPr lang="en-NZ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72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E8A0F97-F27E-4933-988D-50A7A08DB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705" y="1371600"/>
            <a:ext cx="4559767" cy="37795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B81FB5-08DF-4EF4-954F-7CBD6095E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27013"/>
            <a:ext cx="7493000" cy="927100"/>
          </a:xfrm>
        </p:spPr>
        <p:txBody>
          <a:bodyPr/>
          <a:lstStyle/>
          <a:p>
            <a:r>
              <a:rPr lang="en-NZ" dirty="0"/>
              <a:t>Design of Business Rules, RBP and Workflow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500F167-5862-4963-B705-1F7DD4051A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5916" y="2199410"/>
            <a:ext cx="5461111" cy="354607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2418FDD-7E5E-420F-B919-FA9E013F69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7992" y="2902671"/>
            <a:ext cx="5947515" cy="32937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0011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D4F416-E544-4186-A8AE-E27FD381E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The Change Management Pla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DA9B586-BD13-40FD-AEFA-CD54DAEBF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36" y="1389641"/>
            <a:ext cx="7161458" cy="506561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68A1A99-1050-4BDF-8CB6-EE4E65DBF7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472" y="2045185"/>
            <a:ext cx="6496050" cy="441007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2A97630-55C2-43A7-9E94-3B9174288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0615" y="2570792"/>
            <a:ext cx="6219825" cy="398145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460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041F139F-8013-4191-A8C2-1A62912C0E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NZ" dirty="0"/>
              <a:t>Where to Nex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xmlns="" id="{33E3794F-B4D7-4B99-8D27-E48FF3BD09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NZ" dirty="0"/>
              <a:t>The Future of Work</a:t>
            </a:r>
          </a:p>
        </p:txBody>
      </p:sp>
    </p:spTree>
    <p:extLst>
      <p:ext uri="{BB962C8B-B14F-4D97-AF65-F5344CB8AC3E}">
        <p14:creationId xmlns:p14="http://schemas.microsoft.com/office/powerpoint/2010/main" val="2196394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7CAF4BC1-0FEF-4D7D-9B49-2E1B0822B28D}"/>
              </a:ext>
            </a:extLst>
          </p:cNvPr>
          <p:cNvSpPr/>
          <p:nvPr/>
        </p:nvSpPr>
        <p:spPr>
          <a:xfrm>
            <a:off x="7360310" y="5553075"/>
            <a:ext cx="2110715" cy="1104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DAF524-F1A1-4F89-BED9-A7F584349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What are we working on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D55262E-3968-48B1-8D28-B38EAFC703E0}"/>
              </a:ext>
            </a:extLst>
          </p:cNvPr>
          <p:cNvSpPr/>
          <p:nvPr/>
        </p:nvSpPr>
        <p:spPr>
          <a:xfrm>
            <a:off x="2787073" y="3159805"/>
            <a:ext cx="20700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Data Lak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35563B6-E110-4EE4-B6E7-CAB12644BA39}"/>
              </a:ext>
            </a:extLst>
          </p:cNvPr>
          <p:cNvSpPr/>
          <p:nvPr/>
        </p:nvSpPr>
        <p:spPr>
          <a:xfrm>
            <a:off x="5103864" y="1688683"/>
            <a:ext cx="2070000" cy="90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Advanced/ Predictive analytics too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18E7CA6-CA12-496E-AF58-6CBECD4D2087}"/>
              </a:ext>
            </a:extLst>
          </p:cNvPr>
          <p:cNvSpPr/>
          <p:nvPr/>
        </p:nvSpPr>
        <p:spPr>
          <a:xfrm>
            <a:off x="5103864" y="3159805"/>
            <a:ext cx="20700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Culture/Sentiment/EV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6670E23-640D-4E59-937E-88BD43B1E3A2}"/>
              </a:ext>
            </a:extLst>
          </p:cNvPr>
          <p:cNvSpPr/>
          <p:nvPr/>
        </p:nvSpPr>
        <p:spPr>
          <a:xfrm>
            <a:off x="5103864" y="4522124"/>
            <a:ext cx="2070000" cy="914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How we communicat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690135F8-2311-4283-B787-4FF51371E088}"/>
              </a:ext>
            </a:extLst>
          </p:cNvPr>
          <p:cNvSpPr/>
          <p:nvPr/>
        </p:nvSpPr>
        <p:spPr>
          <a:xfrm>
            <a:off x="7401025" y="3159805"/>
            <a:ext cx="2070000" cy="90000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Go Mobile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164FF65-D70D-4B61-B915-0B20C0DAC862}"/>
              </a:ext>
            </a:extLst>
          </p:cNvPr>
          <p:cNvSpPr/>
          <p:nvPr/>
        </p:nvSpPr>
        <p:spPr>
          <a:xfrm>
            <a:off x="434976" y="4528457"/>
            <a:ext cx="2070000" cy="914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Our end to end demand/ innov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11BADC9-A9F4-4C21-B8B9-928E8E921058}"/>
              </a:ext>
            </a:extLst>
          </p:cNvPr>
          <p:cNvSpPr/>
          <p:nvPr/>
        </p:nvSpPr>
        <p:spPr>
          <a:xfrm>
            <a:off x="2787073" y="4528457"/>
            <a:ext cx="2070000" cy="914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The places we occup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5C58A32-E5A0-49C0-9E85-9B68C698374A}"/>
              </a:ext>
            </a:extLst>
          </p:cNvPr>
          <p:cNvSpPr/>
          <p:nvPr/>
        </p:nvSpPr>
        <p:spPr>
          <a:xfrm>
            <a:off x="455777" y="1693729"/>
            <a:ext cx="2070000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Enhance what we’ve go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7D11E73-37BD-4CEC-9135-EF287B51E8F7}"/>
              </a:ext>
            </a:extLst>
          </p:cNvPr>
          <p:cNvSpPr/>
          <p:nvPr/>
        </p:nvSpPr>
        <p:spPr>
          <a:xfrm>
            <a:off x="434976" y="3159805"/>
            <a:ext cx="2070000" cy="90000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Capability architecture</a:t>
            </a:r>
          </a:p>
        </p:txBody>
      </p:sp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798EEFFD-84AA-4551-A86A-CEDD06EC83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1581" y="1530080"/>
            <a:ext cx="2468954" cy="1240063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D9850FB-A9AC-4C85-A07E-22E40F344A77}"/>
              </a:ext>
            </a:extLst>
          </p:cNvPr>
          <p:cNvGrpSpPr/>
          <p:nvPr/>
        </p:nvGrpSpPr>
        <p:grpSpPr>
          <a:xfrm>
            <a:off x="7365685" y="1749551"/>
            <a:ext cx="2612160" cy="604096"/>
            <a:chOff x="935442" y="4311340"/>
            <a:chExt cx="3725423" cy="78618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8C262F22-F47E-4016-B8D8-FFB1BCF3B21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35442" y="4311340"/>
              <a:ext cx="3725423" cy="786184"/>
              <a:chOff x="807712" y="3111346"/>
              <a:chExt cx="2621398" cy="553204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xmlns="" id="{8B4E93ED-950C-4C13-904A-6D8DB7F0432A}"/>
                  </a:ext>
                </a:extLst>
              </p:cNvPr>
              <p:cNvSpPr/>
              <p:nvPr/>
            </p:nvSpPr>
            <p:spPr>
              <a:xfrm>
                <a:off x="1144187" y="3111346"/>
                <a:ext cx="2284923" cy="55320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" rIns="18000" rtlCol="0" anchor="ctr"/>
              <a:lstStyle/>
              <a:p>
                <a:pPr>
                  <a:lnSpc>
                    <a:spcPts val="2700"/>
                  </a:lnSpc>
                </a:pPr>
                <a:r>
                  <a:rPr lang="en-NZ" sz="1500" b="1" dirty="0">
                    <a:solidFill>
                      <a:srgbClr val="0070C0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botic Process Automation (RPA) 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xmlns="" id="{0E6D3595-D5A2-49B5-8984-6EA40F0DB23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07712" y="3330622"/>
                <a:ext cx="302961" cy="329672"/>
                <a:chOff x="230252" y="329081"/>
                <a:chExt cx="264550" cy="287875"/>
              </a:xfrm>
            </p:grpSpPr>
            <p:sp>
              <p:nvSpPr>
                <p:cNvPr id="25" name="Teardrop 24">
                  <a:extLst>
                    <a:ext uri="{FF2B5EF4-FFF2-40B4-BE49-F238E27FC236}">
                      <a16:creationId xmlns:a16="http://schemas.microsoft.com/office/drawing/2014/main" xmlns="" id="{55002A81-75B4-4FC6-B371-C7584E1A8DAD}"/>
                    </a:ext>
                  </a:extLst>
                </p:cNvPr>
                <p:cNvSpPr/>
                <p:nvPr/>
              </p:nvSpPr>
              <p:spPr bwMode="ltGray">
                <a:xfrm rot="5400000">
                  <a:off x="218589" y="340744"/>
                  <a:ext cx="287875" cy="264550"/>
                </a:xfrm>
                <a:prstGeom prst="teardrop">
                  <a:avLst>
                    <a:gd name="adj" fmla="val 99998"/>
                  </a:avLst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000" rIns="18000" rtlCol="0" anchor="ctr"/>
                <a:lstStyle/>
                <a:p>
                  <a:pPr algn="ctr"/>
                  <a:endParaRPr lang="en-GB" sz="1600" dirty="0">
                    <a:solidFill>
                      <a:srgbClr val="0070C0"/>
                    </a:solidFill>
                    <a:latin typeface="Georgia" pitchFamily="18" charset="0"/>
                  </a:endParaRPr>
                </a:p>
              </p:txBody>
            </p: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xmlns="" id="{8C9A2A98-90DD-46D8-99BF-276302C1129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57464" y="385552"/>
                  <a:ext cx="219593" cy="210864"/>
                  <a:chOff x="4040121" y="3181752"/>
                  <a:chExt cx="1495189" cy="1435758"/>
                </a:xfrm>
              </p:grpSpPr>
              <p:pic>
                <p:nvPicPr>
                  <p:cNvPr id="27" name="Picture 26">
                    <a:extLst>
                      <a:ext uri="{FF2B5EF4-FFF2-40B4-BE49-F238E27FC236}">
                        <a16:creationId xmlns:a16="http://schemas.microsoft.com/office/drawing/2014/main" xmlns="" id="{8D94A0E9-E9DC-4BC1-A050-1980754516B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32770" t="44073" r="1231"/>
                  <a:stretch/>
                </p:blipFill>
                <p:spPr>
                  <a:xfrm>
                    <a:off x="4040121" y="3181752"/>
                    <a:ext cx="1495189" cy="1435758"/>
                  </a:xfrm>
                  <a:prstGeom prst="ellipse">
                    <a:avLst/>
                  </a:prstGeom>
                </p:spPr>
              </p:pic>
              <p:sp>
                <p:nvSpPr>
                  <p:cNvPr id="28" name="Isosceles Triangle 27">
                    <a:extLst>
                      <a:ext uri="{FF2B5EF4-FFF2-40B4-BE49-F238E27FC236}">
                        <a16:creationId xmlns:a16="http://schemas.microsoft.com/office/drawing/2014/main" xmlns="" id="{C92DE837-9CF6-4083-93E4-7EDD786B0D0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609846" y="3663694"/>
                    <a:ext cx="540001" cy="467996"/>
                  </a:xfrm>
                  <a:prstGeom prst="triangl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rIns="18000" rtlCol="0" anchor="ctr"/>
                  <a:lstStyle/>
                  <a:p>
                    <a:pPr algn="ctr"/>
                    <a:endParaRPr lang="en-NZ" sz="1600" dirty="0">
                      <a:solidFill>
                        <a:srgbClr val="0070C0"/>
                      </a:solidFill>
                    </a:endParaRPr>
                  </a:p>
                </p:txBody>
              </p:sp>
            </p:grpSp>
          </p:grp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xmlns="" id="{A83E79A4-0596-4FA6-896E-4678E3B0888B}"/>
                </a:ext>
              </a:extLst>
            </p:cNvPr>
            <p:cNvCxnSpPr/>
            <p:nvPr/>
          </p:nvCxnSpPr>
          <p:spPr>
            <a:xfrm>
              <a:off x="1413626" y="5087999"/>
              <a:ext cx="2628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40A5035A-3FFB-471A-BDDD-F231BBCAA2AC}"/>
              </a:ext>
            </a:extLst>
          </p:cNvPr>
          <p:cNvSpPr/>
          <p:nvPr/>
        </p:nvSpPr>
        <p:spPr>
          <a:xfrm>
            <a:off x="7322143" y="1722681"/>
            <a:ext cx="2083114" cy="8898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34D5FBDA-3DBD-4482-BBBD-35F53C96F830}"/>
              </a:ext>
            </a:extLst>
          </p:cNvPr>
          <p:cNvSpPr/>
          <p:nvPr/>
        </p:nvSpPr>
        <p:spPr>
          <a:xfrm>
            <a:off x="7420655" y="4539819"/>
            <a:ext cx="2070000" cy="914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dirty="0"/>
              <a:t>Data Security/ Azure A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8C1A2BB-5F81-4E8F-B435-3AB1AB6A62EA}"/>
              </a:ext>
            </a:extLst>
          </p:cNvPr>
          <p:cNvSpPr/>
          <p:nvPr/>
        </p:nvSpPr>
        <p:spPr>
          <a:xfrm>
            <a:off x="487739" y="1316644"/>
            <a:ext cx="1500718" cy="26459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sz="1600" dirty="0"/>
              <a:t>In pla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F208419A-2647-415A-9220-0F8AE67ACF56}"/>
              </a:ext>
            </a:extLst>
          </p:cNvPr>
          <p:cNvSpPr/>
          <p:nvPr/>
        </p:nvSpPr>
        <p:spPr>
          <a:xfrm>
            <a:off x="161486" y="1224567"/>
            <a:ext cx="454824" cy="45482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" name="Freeform 42">
            <a:extLst>
              <a:ext uri="{FF2B5EF4-FFF2-40B4-BE49-F238E27FC236}">
                <a16:creationId xmlns:a16="http://schemas.microsoft.com/office/drawing/2014/main" xmlns="" id="{54866242-B0C5-43D6-B25E-C266F4D6FA50}"/>
              </a:ext>
            </a:extLst>
          </p:cNvPr>
          <p:cNvSpPr>
            <a:spLocks noEditPoints="1"/>
          </p:cNvSpPr>
          <p:nvPr/>
        </p:nvSpPr>
        <p:spPr bwMode="gray">
          <a:xfrm>
            <a:off x="270054" y="1354348"/>
            <a:ext cx="237688" cy="195261"/>
          </a:xfrm>
          <a:custGeom>
            <a:avLst/>
            <a:gdLst>
              <a:gd name="T0" fmla="*/ 2216 w 2225"/>
              <a:gd name="T1" fmla="*/ 1711 h 1830"/>
              <a:gd name="T2" fmla="*/ 1992 w 2225"/>
              <a:gd name="T3" fmla="*/ 1228 h 1830"/>
              <a:gd name="T4" fmla="*/ 1958 w 2225"/>
              <a:gd name="T5" fmla="*/ 1206 h 1830"/>
              <a:gd name="T6" fmla="*/ 1923 w 2225"/>
              <a:gd name="T7" fmla="*/ 1206 h 1830"/>
              <a:gd name="T8" fmla="*/ 1930 w 2225"/>
              <a:gd name="T9" fmla="*/ 1184 h 1830"/>
              <a:gd name="T10" fmla="*/ 1919 w 2225"/>
              <a:gd name="T11" fmla="*/ 1157 h 1830"/>
              <a:gd name="T12" fmla="*/ 1958 w 2225"/>
              <a:gd name="T13" fmla="*/ 1157 h 1830"/>
              <a:gd name="T14" fmla="*/ 1982 w 2225"/>
              <a:gd name="T15" fmla="*/ 1133 h 1830"/>
              <a:gd name="T16" fmla="*/ 1982 w 2225"/>
              <a:gd name="T17" fmla="*/ 24 h 1830"/>
              <a:gd name="T18" fmla="*/ 1958 w 2225"/>
              <a:gd name="T19" fmla="*/ 0 h 1830"/>
              <a:gd name="T20" fmla="*/ 267 w 2225"/>
              <a:gd name="T21" fmla="*/ 0 h 1830"/>
              <a:gd name="T22" fmla="*/ 243 w 2225"/>
              <a:gd name="T23" fmla="*/ 24 h 1830"/>
              <a:gd name="T24" fmla="*/ 243 w 2225"/>
              <a:gd name="T25" fmla="*/ 1133 h 1830"/>
              <a:gd name="T26" fmla="*/ 267 w 2225"/>
              <a:gd name="T27" fmla="*/ 1157 h 1830"/>
              <a:gd name="T28" fmla="*/ 306 w 2225"/>
              <a:gd name="T29" fmla="*/ 1157 h 1830"/>
              <a:gd name="T30" fmla="*/ 295 w 2225"/>
              <a:gd name="T31" fmla="*/ 1184 h 1830"/>
              <a:gd name="T32" fmla="*/ 302 w 2225"/>
              <a:gd name="T33" fmla="*/ 1206 h 1830"/>
              <a:gd name="T34" fmla="*/ 267 w 2225"/>
              <a:gd name="T35" fmla="*/ 1206 h 1830"/>
              <a:gd name="T36" fmla="*/ 233 w 2225"/>
              <a:gd name="T37" fmla="*/ 1228 h 1830"/>
              <a:gd name="T38" fmla="*/ 9 w 2225"/>
              <a:gd name="T39" fmla="*/ 1711 h 1830"/>
              <a:gd name="T40" fmla="*/ 0 w 2225"/>
              <a:gd name="T41" fmla="*/ 1757 h 1830"/>
              <a:gd name="T42" fmla="*/ 0 w 2225"/>
              <a:gd name="T43" fmla="*/ 1806 h 1830"/>
              <a:gd name="T44" fmla="*/ 24 w 2225"/>
              <a:gd name="T45" fmla="*/ 1830 h 1830"/>
              <a:gd name="T46" fmla="*/ 2201 w 2225"/>
              <a:gd name="T47" fmla="*/ 1830 h 1830"/>
              <a:gd name="T48" fmla="*/ 2225 w 2225"/>
              <a:gd name="T49" fmla="*/ 1806 h 1830"/>
              <a:gd name="T50" fmla="*/ 2225 w 2225"/>
              <a:gd name="T51" fmla="*/ 1757 h 1830"/>
              <a:gd name="T52" fmla="*/ 2216 w 2225"/>
              <a:gd name="T53" fmla="*/ 1711 h 1830"/>
              <a:gd name="T54" fmla="*/ 902 w 2225"/>
              <a:gd name="T55" fmla="*/ 1645 h 1830"/>
              <a:gd name="T56" fmla="*/ 939 w 2225"/>
              <a:gd name="T57" fmla="*/ 1454 h 1830"/>
              <a:gd name="T58" fmla="*/ 1285 w 2225"/>
              <a:gd name="T59" fmla="*/ 1454 h 1830"/>
              <a:gd name="T60" fmla="*/ 1323 w 2225"/>
              <a:gd name="T61" fmla="*/ 1645 h 1830"/>
              <a:gd name="T62" fmla="*/ 902 w 2225"/>
              <a:gd name="T63" fmla="*/ 1645 h 1830"/>
              <a:gd name="T64" fmla="*/ 1866 w 2225"/>
              <a:gd name="T65" fmla="*/ 1073 h 1830"/>
              <a:gd name="T66" fmla="*/ 359 w 2225"/>
              <a:gd name="T67" fmla="*/ 1073 h 1830"/>
              <a:gd name="T68" fmla="*/ 359 w 2225"/>
              <a:gd name="T69" fmla="*/ 129 h 1830"/>
              <a:gd name="T70" fmla="*/ 1866 w 2225"/>
              <a:gd name="T71" fmla="*/ 129 h 1830"/>
              <a:gd name="T72" fmla="*/ 1866 w 2225"/>
              <a:gd name="T73" fmla="*/ 1073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25" h="1830">
                <a:moveTo>
                  <a:pt x="2216" y="1711"/>
                </a:moveTo>
                <a:cubicBezTo>
                  <a:pt x="1992" y="1228"/>
                  <a:pt x="1992" y="1228"/>
                  <a:pt x="1992" y="1228"/>
                </a:cubicBezTo>
                <a:cubicBezTo>
                  <a:pt x="1987" y="1216"/>
                  <a:pt x="1971" y="1206"/>
                  <a:pt x="1958" y="1206"/>
                </a:cubicBezTo>
                <a:cubicBezTo>
                  <a:pt x="1923" y="1206"/>
                  <a:pt x="1923" y="1206"/>
                  <a:pt x="1923" y="1206"/>
                </a:cubicBezTo>
                <a:cubicBezTo>
                  <a:pt x="1927" y="1200"/>
                  <a:pt x="1930" y="1192"/>
                  <a:pt x="1930" y="1184"/>
                </a:cubicBezTo>
                <a:cubicBezTo>
                  <a:pt x="1930" y="1174"/>
                  <a:pt x="1926" y="1164"/>
                  <a:pt x="1919" y="1157"/>
                </a:cubicBezTo>
                <a:cubicBezTo>
                  <a:pt x="1958" y="1157"/>
                  <a:pt x="1958" y="1157"/>
                  <a:pt x="1958" y="1157"/>
                </a:cubicBezTo>
                <a:cubicBezTo>
                  <a:pt x="1971" y="1157"/>
                  <a:pt x="1982" y="1147"/>
                  <a:pt x="1982" y="1133"/>
                </a:cubicBezTo>
                <a:cubicBezTo>
                  <a:pt x="1982" y="24"/>
                  <a:pt x="1982" y="24"/>
                  <a:pt x="1982" y="24"/>
                </a:cubicBezTo>
                <a:cubicBezTo>
                  <a:pt x="1982" y="11"/>
                  <a:pt x="1971" y="0"/>
                  <a:pt x="1958" y="0"/>
                </a:cubicBezTo>
                <a:cubicBezTo>
                  <a:pt x="267" y="0"/>
                  <a:pt x="267" y="0"/>
                  <a:pt x="267" y="0"/>
                </a:cubicBezTo>
                <a:cubicBezTo>
                  <a:pt x="253" y="0"/>
                  <a:pt x="243" y="11"/>
                  <a:pt x="243" y="24"/>
                </a:cubicBezTo>
                <a:cubicBezTo>
                  <a:pt x="243" y="1133"/>
                  <a:pt x="243" y="1133"/>
                  <a:pt x="243" y="1133"/>
                </a:cubicBezTo>
                <a:cubicBezTo>
                  <a:pt x="243" y="1147"/>
                  <a:pt x="253" y="1157"/>
                  <a:pt x="267" y="1157"/>
                </a:cubicBezTo>
                <a:cubicBezTo>
                  <a:pt x="306" y="1157"/>
                  <a:pt x="306" y="1157"/>
                  <a:pt x="306" y="1157"/>
                </a:cubicBezTo>
                <a:cubicBezTo>
                  <a:pt x="299" y="1164"/>
                  <a:pt x="295" y="1174"/>
                  <a:pt x="295" y="1184"/>
                </a:cubicBezTo>
                <a:cubicBezTo>
                  <a:pt x="295" y="1192"/>
                  <a:pt x="298" y="1200"/>
                  <a:pt x="302" y="1206"/>
                </a:cubicBezTo>
                <a:cubicBezTo>
                  <a:pt x="267" y="1206"/>
                  <a:pt x="267" y="1206"/>
                  <a:pt x="267" y="1206"/>
                </a:cubicBezTo>
                <a:cubicBezTo>
                  <a:pt x="253" y="1206"/>
                  <a:pt x="238" y="1216"/>
                  <a:pt x="233" y="1228"/>
                </a:cubicBezTo>
                <a:cubicBezTo>
                  <a:pt x="9" y="1711"/>
                  <a:pt x="9" y="1711"/>
                  <a:pt x="9" y="1711"/>
                </a:cubicBezTo>
                <a:cubicBezTo>
                  <a:pt x="4" y="1723"/>
                  <a:pt x="0" y="1744"/>
                  <a:pt x="0" y="1757"/>
                </a:cubicBezTo>
                <a:cubicBezTo>
                  <a:pt x="0" y="1806"/>
                  <a:pt x="0" y="1806"/>
                  <a:pt x="0" y="1806"/>
                </a:cubicBezTo>
                <a:cubicBezTo>
                  <a:pt x="0" y="1819"/>
                  <a:pt x="11" y="1830"/>
                  <a:pt x="24" y="1830"/>
                </a:cubicBezTo>
                <a:cubicBezTo>
                  <a:pt x="2201" y="1830"/>
                  <a:pt x="2201" y="1830"/>
                  <a:pt x="2201" y="1830"/>
                </a:cubicBezTo>
                <a:cubicBezTo>
                  <a:pt x="2214" y="1830"/>
                  <a:pt x="2225" y="1819"/>
                  <a:pt x="2225" y="1806"/>
                </a:cubicBezTo>
                <a:cubicBezTo>
                  <a:pt x="2225" y="1757"/>
                  <a:pt x="2225" y="1757"/>
                  <a:pt x="2225" y="1757"/>
                </a:cubicBezTo>
                <a:cubicBezTo>
                  <a:pt x="2225" y="1744"/>
                  <a:pt x="2221" y="1723"/>
                  <a:pt x="2216" y="1711"/>
                </a:cubicBezTo>
                <a:close/>
                <a:moveTo>
                  <a:pt x="902" y="1645"/>
                </a:moveTo>
                <a:cubicBezTo>
                  <a:pt x="939" y="1454"/>
                  <a:pt x="939" y="1454"/>
                  <a:pt x="939" y="1454"/>
                </a:cubicBezTo>
                <a:cubicBezTo>
                  <a:pt x="1285" y="1454"/>
                  <a:pt x="1285" y="1454"/>
                  <a:pt x="1285" y="1454"/>
                </a:cubicBezTo>
                <a:cubicBezTo>
                  <a:pt x="1323" y="1645"/>
                  <a:pt x="1323" y="1645"/>
                  <a:pt x="1323" y="1645"/>
                </a:cubicBezTo>
                <a:lnTo>
                  <a:pt x="902" y="1645"/>
                </a:lnTo>
                <a:close/>
                <a:moveTo>
                  <a:pt x="1866" y="1073"/>
                </a:moveTo>
                <a:cubicBezTo>
                  <a:pt x="359" y="1073"/>
                  <a:pt x="359" y="1073"/>
                  <a:pt x="359" y="1073"/>
                </a:cubicBezTo>
                <a:cubicBezTo>
                  <a:pt x="359" y="129"/>
                  <a:pt x="359" y="129"/>
                  <a:pt x="359" y="129"/>
                </a:cubicBezTo>
                <a:cubicBezTo>
                  <a:pt x="1866" y="129"/>
                  <a:pt x="1866" y="129"/>
                  <a:pt x="1866" y="129"/>
                </a:cubicBezTo>
                <a:lnTo>
                  <a:pt x="1866" y="10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1020" dirty="0">
              <a:latin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1C9B7484-FDAE-49E1-8533-DF9B07B63FDD}"/>
              </a:ext>
            </a:extLst>
          </p:cNvPr>
          <p:cNvSpPr/>
          <p:nvPr/>
        </p:nvSpPr>
        <p:spPr>
          <a:xfrm>
            <a:off x="487739" y="2770144"/>
            <a:ext cx="1500718" cy="26459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sz="1600" dirty="0"/>
              <a:t>Underway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469E6DFC-AE10-4BB6-82C2-82CDCA4CB6FD}"/>
              </a:ext>
            </a:extLst>
          </p:cNvPr>
          <p:cNvSpPr/>
          <p:nvPr/>
        </p:nvSpPr>
        <p:spPr>
          <a:xfrm>
            <a:off x="102810" y="2671009"/>
            <a:ext cx="454824" cy="4548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ED23BD7E-12CE-4524-8077-2069A0A8A8A1}"/>
              </a:ext>
            </a:extLst>
          </p:cNvPr>
          <p:cNvGrpSpPr/>
          <p:nvPr/>
        </p:nvGrpSpPr>
        <p:grpSpPr>
          <a:xfrm>
            <a:off x="166821" y="2714542"/>
            <a:ext cx="297909" cy="375681"/>
            <a:chOff x="-1905001" y="2924176"/>
            <a:chExt cx="3946527" cy="4976813"/>
          </a:xfrm>
          <a:solidFill>
            <a:schemeClr val="bg1"/>
          </a:solidFill>
        </p:grpSpPr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xmlns="" id="{40B0866D-EE99-4480-A4D6-614A0BD076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43000" y="3857626"/>
              <a:ext cx="2424113" cy="3289300"/>
            </a:xfrm>
            <a:custGeom>
              <a:avLst/>
              <a:gdLst>
                <a:gd name="T0" fmla="*/ 1248 w 3054"/>
                <a:gd name="T1" fmla="*/ 297 h 4144"/>
                <a:gd name="T2" fmla="*/ 933 w 3054"/>
                <a:gd name="T3" fmla="*/ 417 h 4144"/>
                <a:gd name="T4" fmla="*/ 664 w 3054"/>
                <a:gd name="T5" fmla="*/ 615 h 4144"/>
                <a:gd name="T6" fmla="*/ 454 w 3054"/>
                <a:gd name="T7" fmla="*/ 872 h 4144"/>
                <a:gd name="T8" fmla="*/ 317 w 3054"/>
                <a:gd name="T9" fmla="*/ 1179 h 4144"/>
                <a:gd name="T10" fmla="*/ 267 w 3054"/>
                <a:gd name="T11" fmla="*/ 1520 h 4144"/>
                <a:gd name="T12" fmla="*/ 309 w 3054"/>
                <a:gd name="T13" fmla="*/ 1846 h 4144"/>
                <a:gd name="T14" fmla="*/ 433 w 3054"/>
                <a:gd name="T15" fmla="*/ 2147 h 4144"/>
                <a:gd name="T16" fmla="*/ 655 w 3054"/>
                <a:gd name="T17" fmla="*/ 2450 h 4144"/>
                <a:gd name="T18" fmla="*/ 889 w 3054"/>
                <a:gd name="T19" fmla="*/ 2844 h 4144"/>
                <a:gd name="T20" fmla="*/ 1049 w 3054"/>
                <a:gd name="T21" fmla="*/ 3273 h 4144"/>
                <a:gd name="T22" fmla="*/ 1126 w 3054"/>
                <a:gd name="T23" fmla="*/ 3725 h 4144"/>
                <a:gd name="T24" fmla="*/ 1931 w 3054"/>
                <a:gd name="T25" fmla="*/ 3713 h 4144"/>
                <a:gd name="T26" fmla="*/ 2024 w 3054"/>
                <a:gd name="T27" fmla="*/ 3224 h 4144"/>
                <a:gd name="T28" fmla="*/ 2219 w 3054"/>
                <a:gd name="T29" fmla="*/ 2751 h 4144"/>
                <a:gd name="T30" fmla="*/ 2514 w 3054"/>
                <a:gd name="T31" fmla="*/ 2307 h 4144"/>
                <a:gd name="T32" fmla="*/ 2678 w 3054"/>
                <a:gd name="T33" fmla="*/ 2037 h 4144"/>
                <a:gd name="T34" fmla="*/ 2770 w 3054"/>
                <a:gd name="T35" fmla="*/ 1735 h 4144"/>
                <a:gd name="T36" fmla="*/ 2783 w 3054"/>
                <a:gd name="T37" fmla="*/ 1410 h 4144"/>
                <a:gd name="T38" fmla="*/ 2709 w 3054"/>
                <a:gd name="T39" fmla="*/ 1082 h 4144"/>
                <a:gd name="T40" fmla="*/ 2551 w 3054"/>
                <a:gd name="T41" fmla="*/ 788 h 4144"/>
                <a:gd name="T42" fmla="*/ 2316 w 3054"/>
                <a:gd name="T43" fmla="*/ 541 h 4144"/>
                <a:gd name="T44" fmla="*/ 2028 w 3054"/>
                <a:gd name="T45" fmla="*/ 367 h 4144"/>
                <a:gd name="T46" fmla="*/ 1706 w 3054"/>
                <a:gd name="T47" fmla="*/ 278 h 4144"/>
                <a:gd name="T48" fmla="*/ 1465 w 3054"/>
                <a:gd name="T49" fmla="*/ 0 h 4144"/>
                <a:gd name="T50" fmla="*/ 1835 w 3054"/>
                <a:gd name="T51" fmla="*/ 30 h 4144"/>
                <a:gd name="T52" fmla="*/ 2182 w 3054"/>
                <a:gd name="T53" fmla="*/ 144 h 4144"/>
                <a:gd name="T54" fmla="*/ 2491 w 3054"/>
                <a:gd name="T55" fmla="*/ 343 h 4144"/>
                <a:gd name="T56" fmla="*/ 2751 w 3054"/>
                <a:gd name="T57" fmla="*/ 609 h 4144"/>
                <a:gd name="T58" fmla="*/ 2934 w 3054"/>
                <a:gd name="T59" fmla="*/ 926 h 4144"/>
                <a:gd name="T60" fmla="*/ 3035 w 3054"/>
                <a:gd name="T61" fmla="*/ 1276 h 4144"/>
                <a:gd name="T62" fmla="*/ 3048 w 3054"/>
                <a:gd name="T63" fmla="*/ 1654 h 4144"/>
                <a:gd name="T64" fmla="*/ 2970 w 3054"/>
                <a:gd name="T65" fmla="*/ 2027 h 4144"/>
                <a:gd name="T66" fmla="*/ 2799 w 3054"/>
                <a:gd name="T67" fmla="*/ 2368 h 4144"/>
                <a:gd name="T68" fmla="*/ 2533 w 3054"/>
                <a:gd name="T69" fmla="*/ 2742 h 4144"/>
                <a:gd name="T70" fmla="*/ 2324 w 3054"/>
                <a:gd name="T71" fmla="*/ 3166 h 4144"/>
                <a:gd name="T72" fmla="*/ 2211 w 3054"/>
                <a:gd name="T73" fmla="*/ 3609 h 4144"/>
                <a:gd name="T74" fmla="*/ 2188 w 3054"/>
                <a:gd name="T75" fmla="*/ 3911 h 4144"/>
                <a:gd name="T76" fmla="*/ 2192 w 3054"/>
                <a:gd name="T77" fmla="*/ 3955 h 4144"/>
                <a:gd name="T78" fmla="*/ 2186 w 3054"/>
                <a:gd name="T79" fmla="*/ 4026 h 4144"/>
                <a:gd name="T80" fmla="*/ 2156 w 3054"/>
                <a:gd name="T81" fmla="*/ 4098 h 4144"/>
                <a:gd name="T82" fmla="*/ 2089 w 3054"/>
                <a:gd name="T83" fmla="*/ 4140 h 4144"/>
                <a:gd name="T84" fmla="*/ 966 w 3054"/>
                <a:gd name="T85" fmla="*/ 4140 h 4144"/>
                <a:gd name="T86" fmla="*/ 899 w 3054"/>
                <a:gd name="T87" fmla="*/ 4098 h 4144"/>
                <a:gd name="T88" fmla="*/ 870 w 3054"/>
                <a:gd name="T89" fmla="*/ 4026 h 4144"/>
                <a:gd name="T90" fmla="*/ 863 w 3054"/>
                <a:gd name="T91" fmla="*/ 3955 h 4144"/>
                <a:gd name="T92" fmla="*/ 866 w 3054"/>
                <a:gd name="T93" fmla="*/ 3911 h 4144"/>
                <a:gd name="T94" fmla="*/ 845 w 3054"/>
                <a:gd name="T95" fmla="*/ 3603 h 4144"/>
                <a:gd name="T96" fmla="*/ 735 w 3054"/>
                <a:gd name="T97" fmla="*/ 3161 h 4144"/>
                <a:gd name="T98" fmla="*/ 535 w 3054"/>
                <a:gd name="T99" fmla="*/ 2747 h 4144"/>
                <a:gd name="T100" fmla="*/ 281 w 3054"/>
                <a:gd name="T101" fmla="*/ 2404 h 4144"/>
                <a:gd name="T102" fmla="*/ 111 w 3054"/>
                <a:gd name="T103" fmla="*/ 2096 h 4144"/>
                <a:gd name="T104" fmla="*/ 18 w 3054"/>
                <a:gd name="T105" fmla="*/ 1754 h 4144"/>
                <a:gd name="T106" fmla="*/ 6 w 3054"/>
                <a:gd name="T107" fmla="*/ 1387 h 4144"/>
                <a:gd name="T108" fmla="*/ 94 w 3054"/>
                <a:gd name="T109" fmla="*/ 1006 h 4144"/>
                <a:gd name="T110" fmla="*/ 269 w 3054"/>
                <a:gd name="T111" fmla="*/ 666 h 4144"/>
                <a:gd name="T112" fmla="*/ 523 w 3054"/>
                <a:gd name="T113" fmla="*/ 381 h 4144"/>
                <a:gd name="T114" fmla="*/ 840 w 3054"/>
                <a:gd name="T115" fmla="*/ 165 h 4144"/>
                <a:gd name="T116" fmla="*/ 1204 w 3054"/>
                <a:gd name="T117" fmla="*/ 34 h 4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54" h="4144">
                  <a:moveTo>
                    <a:pt x="1477" y="266"/>
                  </a:moveTo>
                  <a:lnTo>
                    <a:pt x="1360" y="276"/>
                  </a:lnTo>
                  <a:lnTo>
                    <a:pt x="1248" y="297"/>
                  </a:lnTo>
                  <a:lnTo>
                    <a:pt x="1139" y="327"/>
                  </a:lnTo>
                  <a:lnTo>
                    <a:pt x="1034" y="367"/>
                  </a:lnTo>
                  <a:lnTo>
                    <a:pt x="933" y="417"/>
                  </a:lnTo>
                  <a:lnTo>
                    <a:pt x="838" y="476"/>
                  </a:lnTo>
                  <a:lnTo>
                    <a:pt x="748" y="541"/>
                  </a:lnTo>
                  <a:lnTo>
                    <a:pt x="664" y="615"/>
                  </a:lnTo>
                  <a:lnTo>
                    <a:pt x="586" y="695"/>
                  </a:lnTo>
                  <a:lnTo>
                    <a:pt x="515" y="781"/>
                  </a:lnTo>
                  <a:lnTo>
                    <a:pt x="454" y="872"/>
                  </a:lnTo>
                  <a:lnTo>
                    <a:pt x="399" y="971"/>
                  </a:lnTo>
                  <a:lnTo>
                    <a:pt x="353" y="1072"/>
                  </a:lnTo>
                  <a:lnTo>
                    <a:pt x="317" y="1179"/>
                  </a:lnTo>
                  <a:lnTo>
                    <a:pt x="290" y="1290"/>
                  </a:lnTo>
                  <a:lnTo>
                    <a:pt x="273" y="1404"/>
                  </a:lnTo>
                  <a:lnTo>
                    <a:pt x="267" y="1520"/>
                  </a:lnTo>
                  <a:lnTo>
                    <a:pt x="271" y="1631"/>
                  </a:lnTo>
                  <a:lnTo>
                    <a:pt x="287" y="1739"/>
                  </a:lnTo>
                  <a:lnTo>
                    <a:pt x="309" y="1846"/>
                  </a:lnTo>
                  <a:lnTo>
                    <a:pt x="342" y="1949"/>
                  </a:lnTo>
                  <a:lnTo>
                    <a:pt x="384" y="2050"/>
                  </a:lnTo>
                  <a:lnTo>
                    <a:pt x="433" y="2147"/>
                  </a:lnTo>
                  <a:lnTo>
                    <a:pt x="493" y="2240"/>
                  </a:lnTo>
                  <a:lnTo>
                    <a:pt x="559" y="2328"/>
                  </a:lnTo>
                  <a:lnTo>
                    <a:pt x="655" y="2450"/>
                  </a:lnTo>
                  <a:lnTo>
                    <a:pt x="741" y="2576"/>
                  </a:lnTo>
                  <a:lnTo>
                    <a:pt x="819" y="2709"/>
                  </a:lnTo>
                  <a:lnTo>
                    <a:pt x="889" y="2844"/>
                  </a:lnTo>
                  <a:lnTo>
                    <a:pt x="952" y="2984"/>
                  </a:lnTo>
                  <a:lnTo>
                    <a:pt x="1004" y="3126"/>
                  </a:lnTo>
                  <a:lnTo>
                    <a:pt x="1049" y="3273"/>
                  </a:lnTo>
                  <a:lnTo>
                    <a:pt x="1084" y="3422"/>
                  </a:lnTo>
                  <a:lnTo>
                    <a:pt x="1109" y="3572"/>
                  </a:lnTo>
                  <a:lnTo>
                    <a:pt x="1126" y="3725"/>
                  </a:lnTo>
                  <a:lnTo>
                    <a:pt x="1133" y="3877"/>
                  </a:lnTo>
                  <a:lnTo>
                    <a:pt x="1921" y="3877"/>
                  </a:lnTo>
                  <a:lnTo>
                    <a:pt x="1931" y="3713"/>
                  </a:lnTo>
                  <a:lnTo>
                    <a:pt x="1950" y="3548"/>
                  </a:lnTo>
                  <a:lnTo>
                    <a:pt x="1980" y="3386"/>
                  </a:lnTo>
                  <a:lnTo>
                    <a:pt x="2024" y="3224"/>
                  </a:lnTo>
                  <a:lnTo>
                    <a:pt x="2078" y="3064"/>
                  </a:lnTo>
                  <a:lnTo>
                    <a:pt x="2142" y="2905"/>
                  </a:lnTo>
                  <a:lnTo>
                    <a:pt x="2219" y="2751"/>
                  </a:lnTo>
                  <a:lnTo>
                    <a:pt x="2306" y="2599"/>
                  </a:lnTo>
                  <a:lnTo>
                    <a:pt x="2406" y="2452"/>
                  </a:lnTo>
                  <a:lnTo>
                    <a:pt x="2514" y="2307"/>
                  </a:lnTo>
                  <a:lnTo>
                    <a:pt x="2577" y="2219"/>
                  </a:lnTo>
                  <a:lnTo>
                    <a:pt x="2633" y="2130"/>
                  </a:lnTo>
                  <a:lnTo>
                    <a:pt x="2678" y="2037"/>
                  </a:lnTo>
                  <a:lnTo>
                    <a:pt x="2718" y="1939"/>
                  </a:lnTo>
                  <a:lnTo>
                    <a:pt x="2749" y="1838"/>
                  </a:lnTo>
                  <a:lnTo>
                    <a:pt x="2770" y="1735"/>
                  </a:lnTo>
                  <a:lnTo>
                    <a:pt x="2783" y="1631"/>
                  </a:lnTo>
                  <a:lnTo>
                    <a:pt x="2789" y="1524"/>
                  </a:lnTo>
                  <a:lnTo>
                    <a:pt x="2783" y="1410"/>
                  </a:lnTo>
                  <a:lnTo>
                    <a:pt x="2768" y="1297"/>
                  </a:lnTo>
                  <a:lnTo>
                    <a:pt x="2743" y="1189"/>
                  </a:lnTo>
                  <a:lnTo>
                    <a:pt x="2709" y="1082"/>
                  </a:lnTo>
                  <a:lnTo>
                    <a:pt x="2665" y="979"/>
                  </a:lnTo>
                  <a:lnTo>
                    <a:pt x="2612" y="882"/>
                  </a:lnTo>
                  <a:lnTo>
                    <a:pt x="2551" y="788"/>
                  </a:lnTo>
                  <a:lnTo>
                    <a:pt x="2480" y="699"/>
                  </a:lnTo>
                  <a:lnTo>
                    <a:pt x="2402" y="617"/>
                  </a:lnTo>
                  <a:lnTo>
                    <a:pt x="2316" y="541"/>
                  </a:lnTo>
                  <a:lnTo>
                    <a:pt x="2224" y="474"/>
                  </a:lnTo>
                  <a:lnTo>
                    <a:pt x="2129" y="417"/>
                  </a:lnTo>
                  <a:lnTo>
                    <a:pt x="2028" y="367"/>
                  </a:lnTo>
                  <a:lnTo>
                    <a:pt x="1923" y="327"/>
                  </a:lnTo>
                  <a:lnTo>
                    <a:pt x="1816" y="299"/>
                  </a:lnTo>
                  <a:lnTo>
                    <a:pt x="1706" y="278"/>
                  </a:lnTo>
                  <a:lnTo>
                    <a:pt x="1593" y="266"/>
                  </a:lnTo>
                  <a:lnTo>
                    <a:pt x="1477" y="266"/>
                  </a:lnTo>
                  <a:close/>
                  <a:moveTo>
                    <a:pt x="1465" y="0"/>
                  </a:moveTo>
                  <a:lnTo>
                    <a:pt x="1591" y="0"/>
                  </a:lnTo>
                  <a:lnTo>
                    <a:pt x="1715" y="9"/>
                  </a:lnTo>
                  <a:lnTo>
                    <a:pt x="1835" y="30"/>
                  </a:lnTo>
                  <a:lnTo>
                    <a:pt x="1954" y="59"/>
                  </a:lnTo>
                  <a:lnTo>
                    <a:pt x="2070" y="97"/>
                  </a:lnTo>
                  <a:lnTo>
                    <a:pt x="2182" y="144"/>
                  </a:lnTo>
                  <a:lnTo>
                    <a:pt x="2289" y="202"/>
                  </a:lnTo>
                  <a:lnTo>
                    <a:pt x="2394" y="268"/>
                  </a:lnTo>
                  <a:lnTo>
                    <a:pt x="2491" y="343"/>
                  </a:lnTo>
                  <a:lnTo>
                    <a:pt x="2585" y="424"/>
                  </a:lnTo>
                  <a:lnTo>
                    <a:pt x="2673" y="514"/>
                  </a:lnTo>
                  <a:lnTo>
                    <a:pt x="2751" y="609"/>
                  </a:lnTo>
                  <a:lnTo>
                    <a:pt x="2819" y="710"/>
                  </a:lnTo>
                  <a:lnTo>
                    <a:pt x="2881" y="815"/>
                  </a:lnTo>
                  <a:lnTo>
                    <a:pt x="2934" y="926"/>
                  </a:lnTo>
                  <a:lnTo>
                    <a:pt x="2976" y="1040"/>
                  </a:lnTo>
                  <a:lnTo>
                    <a:pt x="3010" y="1156"/>
                  </a:lnTo>
                  <a:lnTo>
                    <a:pt x="3035" y="1276"/>
                  </a:lnTo>
                  <a:lnTo>
                    <a:pt x="3050" y="1400"/>
                  </a:lnTo>
                  <a:lnTo>
                    <a:pt x="3054" y="1524"/>
                  </a:lnTo>
                  <a:lnTo>
                    <a:pt x="3048" y="1654"/>
                  </a:lnTo>
                  <a:lnTo>
                    <a:pt x="3033" y="1781"/>
                  </a:lnTo>
                  <a:lnTo>
                    <a:pt x="3006" y="1905"/>
                  </a:lnTo>
                  <a:lnTo>
                    <a:pt x="2970" y="2027"/>
                  </a:lnTo>
                  <a:lnTo>
                    <a:pt x="2922" y="2145"/>
                  </a:lnTo>
                  <a:lnTo>
                    <a:pt x="2865" y="2258"/>
                  </a:lnTo>
                  <a:lnTo>
                    <a:pt x="2799" y="2368"/>
                  </a:lnTo>
                  <a:lnTo>
                    <a:pt x="2722" y="2473"/>
                  </a:lnTo>
                  <a:lnTo>
                    <a:pt x="2623" y="2606"/>
                  </a:lnTo>
                  <a:lnTo>
                    <a:pt x="2533" y="2742"/>
                  </a:lnTo>
                  <a:lnTo>
                    <a:pt x="2453" y="2881"/>
                  </a:lnTo>
                  <a:lnTo>
                    <a:pt x="2383" y="3024"/>
                  </a:lnTo>
                  <a:lnTo>
                    <a:pt x="2324" y="3166"/>
                  </a:lnTo>
                  <a:lnTo>
                    <a:pt x="2276" y="3313"/>
                  </a:lnTo>
                  <a:lnTo>
                    <a:pt x="2238" y="3460"/>
                  </a:lnTo>
                  <a:lnTo>
                    <a:pt x="2211" y="3609"/>
                  </a:lnTo>
                  <a:lnTo>
                    <a:pt x="2194" y="3759"/>
                  </a:lnTo>
                  <a:lnTo>
                    <a:pt x="2188" y="3910"/>
                  </a:lnTo>
                  <a:lnTo>
                    <a:pt x="2188" y="3911"/>
                  </a:lnTo>
                  <a:lnTo>
                    <a:pt x="2190" y="3921"/>
                  </a:lnTo>
                  <a:lnTo>
                    <a:pt x="2192" y="3936"/>
                  </a:lnTo>
                  <a:lnTo>
                    <a:pt x="2192" y="3955"/>
                  </a:lnTo>
                  <a:lnTo>
                    <a:pt x="2192" y="3978"/>
                  </a:lnTo>
                  <a:lnTo>
                    <a:pt x="2190" y="4001"/>
                  </a:lnTo>
                  <a:lnTo>
                    <a:pt x="2186" y="4026"/>
                  </a:lnTo>
                  <a:lnTo>
                    <a:pt x="2181" y="4052"/>
                  </a:lnTo>
                  <a:lnTo>
                    <a:pt x="2169" y="4075"/>
                  </a:lnTo>
                  <a:lnTo>
                    <a:pt x="2156" y="4098"/>
                  </a:lnTo>
                  <a:lnTo>
                    <a:pt x="2139" y="4117"/>
                  </a:lnTo>
                  <a:lnTo>
                    <a:pt x="2116" y="4131"/>
                  </a:lnTo>
                  <a:lnTo>
                    <a:pt x="2089" y="4140"/>
                  </a:lnTo>
                  <a:lnTo>
                    <a:pt x="2055" y="4144"/>
                  </a:lnTo>
                  <a:lnTo>
                    <a:pt x="1000" y="4144"/>
                  </a:lnTo>
                  <a:lnTo>
                    <a:pt x="966" y="4140"/>
                  </a:lnTo>
                  <a:lnTo>
                    <a:pt x="939" y="4131"/>
                  </a:lnTo>
                  <a:lnTo>
                    <a:pt x="918" y="4117"/>
                  </a:lnTo>
                  <a:lnTo>
                    <a:pt x="899" y="4098"/>
                  </a:lnTo>
                  <a:lnTo>
                    <a:pt x="885" y="4075"/>
                  </a:lnTo>
                  <a:lnTo>
                    <a:pt x="876" y="4052"/>
                  </a:lnTo>
                  <a:lnTo>
                    <a:pt x="870" y="4026"/>
                  </a:lnTo>
                  <a:lnTo>
                    <a:pt x="866" y="4001"/>
                  </a:lnTo>
                  <a:lnTo>
                    <a:pt x="864" y="3978"/>
                  </a:lnTo>
                  <a:lnTo>
                    <a:pt x="863" y="3955"/>
                  </a:lnTo>
                  <a:lnTo>
                    <a:pt x="864" y="3936"/>
                  </a:lnTo>
                  <a:lnTo>
                    <a:pt x="864" y="3921"/>
                  </a:lnTo>
                  <a:lnTo>
                    <a:pt x="866" y="3911"/>
                  </a:lnTo>
                  <a:lnTo>
                    <a:pt x="866" y="3910"/>
                  </a:lnTo>
                  <a:lnTo>
                    <a:pt x="861" y="3755"/>
                  </a:lnTo>
                  <a:lnTo>
                    <a:pt x="845" y="3603"/>
                  </a:lnTo>
                  <a:lnTo>
                    <a:pt x="819" y="3452"/>
                  </a:lnTo>
                  <a:lnTo>
                    <a:pt x="781" y="3306"/>
                  </a:lnTo>
                  <a:lnTo>
                    <a:pt x="735" y="3161"/>
                  </a:lnTo>
                  <a:lnTo>
                    <a:pt x="678" y="3018"/>
                  </a:lnTo>
                  <a:lnTo>
                    <a:pt x="611" y="2881"/>
                  </a:lnTo>
                  <a:lnTo>
                    <a:pt x="535" y="2747"/>
                  </a:lnTo>
                  <a:lnTo>
                    <a:pt x="449" y="2620"/>
                  </a:lnTo>
                  <a:lnTo>
                    <a:pt x="353" y="2498"/>
                  </a:lnTo>
                  <a:lnTo>
                    <a:pt x="281" y="2404"/>
                  </a:lnTo>
                  <a:lnTo>
                    <a:pt x="216" y="2305"/>
                  </a:lnTo>
                  <a:lnTo>
                    <a:pt x="161" y="2202"/>
                  </a:lnTo>
                  <a:lnTo>
                    <a:pt x="111" y="2096"/>
                  </a:lnTo>
                  <a:lnTo>
                    <a:pt x="71" y="1983"/>
                  </a:lnTo>
                  <a:lnTo>
                    <a:pt x="41" y="1871"/>
                  </a:lnTo>
                  <a:lnTo>
                    <a:pt x="18" y="1754"/>
                  </a:lnTo>
                  <a:lnTo>
                    <a:pt x="4" y="1638"/>
                  </a:lnTo>
                  <a:lnTo>
                    <a:pt x="0" y="1518"/>
                  </a:lnTo>
                  <a:lnTo>
                    <a:pt x="6" y="1387"/>
                  </a:lnTo>
                  <a:lnTo>
                    <a:pt x="25" y="1255"/>
                  </a:lnTo>
                  <a:lnTo>
                    <a:pt x="54" y="1130"/>
                  </a:lnTo>
                  <a:lnTo>
                    <a:pt x="94" y="1006"/>
                  </a:lnTo>
                  <a:lnTo>
                    <a:pt x="144" y="888"/>
                  </a:lnTo>
                  <a:lnTo>
                    <a:pt x="203" y="773"/>
                  </a:lnTo>
                  <a:lnTo>
                    <a:pt x="269" y="666"/>
                  </a:lnTo>
                  <a:lnTo>
                    <a:pt x="348" y="564"/>
                  </a:lnTo>
                  <a:lnTo>
                    <a:pt x="432" y="468"/>
                  </a:lnTo>
                  <a:lnTo>
                    <a:pt x="523" y="381"/>
                  </a:lnTo>
                  <a:lnTo>
                    <a:pt x="622" y="301"/>
                  </a:lnTo>
                  <a:lnTo>
                    <a:pt x="727" y="228"/>
                  </a:lnTo>
                  <a:lnTo>
                    <a:pt x="840" y="165"/>
                  </a:lnTo>
                  <a:lnTo>
                    <a:pt x="956" y="112"/>
                  </a:lnTo>
                  <a:lnTo>
                    <a:pt x="1078" y="68"/>
                  </a:lnTo>
                  <a:lnTo>
                    <a:pt x="1204" y="34"/>
                  </a:lnTo>
                  <a:lnTo>
                    <a:pt x="1334" y="11"/>
                  </a:lnTo>
                  <a:lnTo>
                    <a:pt x="14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xmlns="" id="{B3558A59-07BB-4ECD-B9B3-582BB8892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938" y="3470276"/>
              <a:ext cx="471488" cy="468313"/>
            </a:xfrm>
            <a:custGeom>
              <a:avLst/>
              <a:gdLst>
                <a:gd name="T0" fmla="*/ 458 w 593"/>
                <a:gd name="T1" fmla="*/ 0 h 590"/>
                <a:gd name="T2" fmla="*/ 492 w 593"/>
                <a:gd name="T3" fmla="*/ 4 h 590"/>
                <a:gd name="T4" fmla="*/ 524 w 593"/>
                <a:gd name="T5" fmla="*/ 17 h 590"/>
                <a:gd name="T6" fmla="*/ 553 w 593"/>
                <a:gd name="T7" fmla="*/ 38 h 590"/>
                <a:gd name="T8" fmla="*/ 576 w 593"/>
                <a:gd name="T9" fmla="*/ 66 h 590"/>
                <a:gd name="T10" fmla="*/ 587 w 593"/>
                <a:gd name="T11" fmla="*/ 99 h 590"/>
                <a:gd name="T12" fmla="*/ 593 w 593"/>
                <a:gd name="T13" fmla="*/ 133 h 590"/>
                <a:gd name="T14" fmla="*/ 587 w 593"/>
                <a:gd name="T15" fmla="*/ 167 h 590"/>
                <a:gd name="T16" fmla="*/ 576 w 593"/>
                <a:gd name="T17" fmla="*/ 198 h 590"/>
                <a:gd name="T18" fmla="*/ 553 w 593"/>
                <a:gd name="T19" fmla="*/ 227 h 590"/>
                <a:gd name="T20" fmla="*/ 229 w 593"/>
                <a:gd name="T21" fmla="*/ 552 h 590"/>
                <a:gd name="T22" fmla="*/ 200 w 593"/>
                <a:gd name="T23" fmla="*/ 573 h 590"/>
                <a:gd name="T24" fmla="*/ 168 w 593"/>
                <a:gd name="T25" fmla="*/ 587 h 590"/>
                <a:gd name="T26" fmla="*/ 133 w 593"/>
                <a:gd name="T27" fmla="*/ 590 h 590"/>
                <a:gd name="T28" fmla="*/ 101 w 593"/>
                <a:gd name="T29" fmla="*/ 587 h 590"/>
                <a:gd name="T30" fmla="*/ 68 w 593"/>
                <a:gd name="T31" fmla="*/ 573 h 590"/>
                <a:gd name="T32" fmla="*/ 40 w 593"/>
                <a:gd name="T33" fmla="*/ 552 h 590"/>
                <a:gd name="T34" fmla="*/ 17 w 593"/>
                <a:gd name="T35" fmla="*/ 524 h 590"/>
                <a:gd name="T36" fmla="*/ 4 w 593"/>
                <a:gd name="T37" fmla="*/ 491 h 590"/>
                <a:gd name="T38" fmla="*/ 0 w 593"/>
                <a:gd name="T39" fmla="*/ 457 h 590"/>
                <a:gd name="T40" fmla="*/ 4 w 593"/>
                <a:gd name="T41" fmla="*/ 425 h 590"/>
                <a:gd name="T42" fmla="*/ 17 w 593"/>
                <a:gd name="T43" fmla="*/ 392 h 590"/>
                <a:gd name="T44" fmla="*/ 40 w 593"/>
                <a:gd name="T45" fmla="*/ 364 h 590"/>
                <a:gd name="T46" fmla="*/ 364 w 593"/>
                <a:gd name="T47" fmla="*/ 38 h 590"/>
                <a:gd name="T48" fmla="*/ 393 w 593"/>
                <a:gd name="T49" fmla="*/ 17 h 590"/>
                <a:gd name="T50" fmla="*/ 425 w 593"/>
                <a:gd name="T51" fmla="*/ 4 h 590"/>
                <a:gd name="T52" fmla="*/ 458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458" y="0"/>
                  </a:moveTo>
                  <a:lnTo>
                    <a:pt x="492" y="4"/>
                  </a:lnTo>
                  <a:lnTo>
                    <a:pt x="524" y="17"/>
                  </a:lnTo>
                  <a:lnTo>
                    <a:pt x="553" y="38"/>
                  </a:lnTo>
                  <a:lnTo>
                    <a:pt x="576" y="66"/>
                  </a:lnTo>
                  <a:lnTo>
                    <a:pt x="587" y="99"/>
                  </a:lnTo>
                  <a:lnTo>
                    <a:pt x="593" y="133"/>
                  </a:lnTo>
                  <a:lnTo>
                    <a:pt x="587" y="167"/>
                  </a:lnTo>
                  <a:lnTo>
                    <a:pt x="576" y="198"/>
                  </a:lnTo>
                  <a:lnTo>
                    <a:pt x="553" y="227"/>
                  </a:lnTo>
                  <a:lnTo>
                    <a:pt x="229" y="552"/>
                  </a:lnTo>
                  <a:lnTo>
                    <a:pt x="200" y="573"/>
                  </a:lnTo>
                  <a:lnTo>
                    <a:pt x="168" y="587"/>
                  </a:lnTo>
                  <a:lnTo>
                    <a:pt x="133" y="590"/>
                  </a:lnTo>
                  <a:lnTo>
                    <a:pt x="101" y="587"/>
                  </a:lnTo>
                  <a:lnTo>
                    <a:pt x="68" y="573"/>
                  </a:lnTo>
                  <a:lnTo>
                    <a:pt x="40" y="552"/>
                  </a:lnTo>
                  <a:lnTo>
                    <a:pt x="17" y="524"/>
                  </a:lnTo>
                  <a:lnTo>
                    <a:pt x="4" y="491"/>
                  </a:lnTo>
                  <a:lnTo>
                    <a:pt x="0" y="457"/>
                  </a:lnTo>
                  <a:lnTo>
                    <a:pt x="4" y="425"/>
                  </a:lnTo>
                  <a:lnTo>
                    <a:pt x="17" y="392"/>
                  </a:lnTo>
                  <a:lnTo>
                    <a:pt x="40" y="364"/>
                  </a:lnTo>
                  <a:lnTo>
                    <a:pt x="364" y="38"/>
                  </a:lnTo>
                  <a:lnTo>
                    <a:pt x="393" y="17"/>
                  </a:lnTo>
                  <a:lnTo>
                    <a:pt x="425" y="4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xmlns="" id="{32765FB4-0F4A-43B2-8133-2A8F99708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0375" y="7291388"/>
              <a:ext cx="1057275" cy="211138"/>
            </a:xfrm>
            <a:custGeom>
              <a:avLst/>
              <a:gdLst>
                <a:gd name="T0" fmla="*/ 133 w 1333"/>
                <a:gd name="T1" fmla="*/ 0 h 265"/>
                <a:gd name="T2" fmla="*/ 1199 w 1333"/>
                <a:gd name="T3" fmla="*/ 0 h 265"/>
                <a:gd name="T4" fmla="*/ 1234 w 1333"/>
                <a:gd name="T5" fmla="*/ 4 h 265"/>
                <a:gd name="T6" fmla="*/ 1266 w 1333"/>
                <a:gd name="T7" fmla="*/ 17 h 265"/>
                <a:gd name="T8" fmla="*/ 1293 w 1333"/>
                <a:gd name="T9" fmla="*/ 38 h 265"/>
                <a:gd name="T10" fmla="*/ 1314 w 1333"/>
                <a:gd name="T11" fmla="*/ 65 h 265"/>
                <a:gd name="T12" fmla="*/ 1327 w 1333"/>
                <a:gd name="T13" fmla="*/ 97 h 265"/>
                <a:gd name="T14" fmla="*/ 1333 w 1333"/>
                <a:gd name="T15" fmla="*/ 131 h 265"/>
                <a:gd name="T16" fmla="*/ 1327 w 1333"/>
                <a:gd name="T17" fmla="*/ 168 h 265"/>
                <a:gd name="T18" fmla="*/ 1314 w 1333"/>
                <a:gd name="T19" fmla="*/ 200 h 265"/>
                <a:gd name="T20" fmla="*/ 1293 w 1333"/>
                <a:gd name="T21" fmla="*/ 227 h 265"/>
                <a:gd name="T22" fmla="*/ 1266 w 1333"/>
                <a:gd name="T23" fmla="*/ 248 h 265"/>
                <a:gd name="T24" fmla="*/ 1236 w 1333"/>
                <a:gd name="T25" fmla="*/ 261 h 265"/>
                <a:gd name="T26" fmla="*/ 1199 w 1333"/>
                <a:gd name="T27" fmla="*/ 265 h 265"/>
                <a:gd name="T28" fmla="*/ 133 w 1333"/>
                <a:gd name="T29" fmla="*/ 265 h 265"/>
                <a:gd name="T30" fmla="*/ 99 w 1333"/>
                <a:gd name="T31" fmla="*/ 261 h 265"/>
                <a:gd name="T32" fmla="*/ 66 w 1333"/>
                <a:gd name="T33" fmla="*/ 248 h 265"/>
                <a:gd name="T34" fmla="*/ 40 w 1333"/>
                <a:gd name="T35" fmla="*/ 227 h 265"/>
                <a:gd name="T36" fmla="*/ 19 w 1333"/>
                <a:gd name="T37" fmla="*/ 200 h 265"/>
                <a:gd name="T38" fmla="*/ 5 w 1333"/>
                <a:gd name="T39" fmla="*/ 168 h 265"/>
                <a:gd name="T40" fmla="*/ 0 w 1333"/>
                <a:gd name="T41" fmla="*/ 131 h 265"/>
                <a:gd name="T42" fmla="*/ 5 w 1333"/>
                <a:gd name="T43" fmla="*/ 97 h 265"/>
                <a:gd name="T44" fmla="*/ 19 w 1333"/>
                <a:gd name="T45" fmla="*/ 65 h 265"/>
                <a:gd name="T46" fmla="*/ 40 w 1333"/>
                <a:gd name="T47" fmla="*/ 38 h 265"/>
                <a:gd name="T48" fmla="*/ 66 w 1333"/>
                <a:gd name="T49" fmla="*/ 17 h 265"/>
                <a:gd name="T50" fmla="*/ 97 w 1333"/>
                <a:gd name="T51" fmla="*/ 4 h 265"/>
                <a:gd name="T52" fmla="*/ 133 w 1333"/>
                <a:gd name="T5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3" h="265">
                  <a:moveTo>
                    <a:pt x="133" y="0"/>
                  </a:moveTo>
                  <a:lnTo>
                    <a:pt x="1199" y="0"/>
                  </a:lnTo>
                  <a:lnTo>
                    <a:pt x="1234" y="4"/>
                  </a:lnTo>
                  <a:lnTo>
                    <a:pt x="1266" y="17"/>
                  </a:lnTo>
                  <a:lnTo>
                    <a:pt x="1293" y="38"/>
                  </a:lnTo>
                  <a:lnTo>
                    <a:pt x="1314" y="65"/>
                  </a:lnTo>
                  <a:lnTo>
                    <a:pt x="1327" y="97"/>
                  </a:lnTo>
                  <a:lnTo>
                    <a:pt x="1333" y="131"/>
                  </a:lnTo>
                  <a:lnTo>
                    <a:pt x="1327" y="168"/>
                  </a:lnTo>
                  <a:lnTo>
                    <a:pt x="1314" y="200"/>
                  </a:lnTo>
                  <a:lnTo>
                    <a:pt x="1293" y="227"/>
                  </a:lnTo>
                  <a:lnTo>
                    <a:pt x="1266" y="248"/>
                  </a:lnTo>
                  <a:lnTo>
                    <a:pt x="1236" y="261"/>
                  </a:lnTo>
                  <a:lnTo>
                    <a:pt x="1199" y="265"/>
                  </a:lnTo>
                  <a:lnTo>
                    <a:pt x="133" y="265"/>
                  </a:lnTo>
                  <a:lnTo>
                    <a:pt x="99" y="261"/>
                  </a:lnTo>
                  <a:lnTo>
                    <a:pt x="66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5" y="168"/>
                  </a:lnTo>
                  <a:lnTo>
                    <a:pt x="0" y="131"/>
                  </a:lnTo>
                  <a:lnTo>
                    <a:pt x="5" y="97"/>
                  </a:lnTo>
                  <a:lnTo>
                    <a:pt x="19" y="65"/>
                  </a:lnTo>
                  <a:lnTo>
                    <a:pt x="40" y="38"/>
                  </a:lnTo>
                  <a:lnTo>
                    <a:pt x="66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xmlns="" id="{043347F8-35DC-4028-B28E-A693ED6AC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038" y="7689851"/>
              <a:ext cx="736600" cy="211138"/>
            </a:xfrm>
            <a:custGeom>
              <a:avLst/>
              <a:gdLst>
                <a:gd name="T0" fmla="*/ 133 w 929"/>
                <a:gd name="T1" fmla="*/ 0 h 267"/>
                <a:gd name="T2" fmla="*/ 795 w 929"/>
                <a:gd name="T3" fmla="*/ 0 h 267"/>
                <a:gd name="T4" fmla="*/ 831 w 929"/>
                <a:gd name="T5" fmla="*/ 4 h 267"/>
                <a:gd name="T6" fmla="*/ 864 w 929"/>
                <a:gd name="T7" fmla="*/ 17 h 267"/>
                <a:gd name="T8" fmla="*/ 891 w 929"/>
                <a:gd name="T9" fmla="*/ 38 h 267"/>
                <a:gd name="T10" fmla="*/ 912 w 929"/>
                <a:gd name="T11" fmla="*/ 67 h 267"/>
                <a:gd name="T12" fmla="*/ 925 w 929"/>
                <a:gd name="T13" fmla="*/ 97 h 267"/>
                <a:gd name="T14" fmla="*/ 929 w 929"/>
                <a:gd name="T15" fmla="*/ 133 h 267"/>
                <a:gd name="T16" fmla="*/ 925 w 929"/>
                <a:gd name="T17" fmla="*/ 168 h 267"/>
                <a:gd name="T18" fmla="*/ 912 w 929"/>
                <a:gd name="T19" fmla="*/ 200 h 267"/>
                <a:gd name="T20" fmla="*/ 891 w 929"/>
                <a:gd name="T21" fmla="*/ 227 h 267"/>
                <a:gd name="T22" fmla="*/ 864 w 929"/>
                <a:gd name="T23" fmla="*/ 248 h 267"/>
                <a:gd name="T24" fmla="*/ 831 w 929"/>
                <a:gd name="T25" fmla="*/ 261 h 267"/>
                <a:gd name="T26" fmla="*/ 795 w 929"/>
                <a:gd name="T27" fmla="*/ 267 h 267"/>
                <a:gd name="T28" fmla="*/ 133 w 929"/>
                <a:gd name="T29" fmla="*/ 267 h 267"/>
                <a:gd name="T30" fmla="*/ 99 w 929"/>
                <a:gd name="T31" fmla="*/ 261 h 267"/>
                <a:gd name="T32" fmla="*/ 67 w 929"/>
                <a:gd name="T33" fmla="*/ 248 h 267"/>
                <a:gd name="T34" fmla="*/ 40 w 929"/>
                <a:gd name="T35" fmla="*/ 227 h 267"/>
                <a:gd name="T36" fmla="*/ 19 w 929"/>
                <a:gd name="T37" fmla="*/ 200 h 267"/>
                <a:gd name="T38" fmla="*/ 6 w 929"/>
                <a:gd name="T39" fmla="*/ 168 h 267"/>
                <a:gd name="T40" fmla="*/ 0 w 929"/>
                <a:gd name="T41" fmla="*/ 133 h 267"/>
                <a:gd name="T42" fmla="*/ 6 w 929"/>
                <a:gd name="T43" fmla="*/ 97 h 267"/>
                <a:gd name="T44" fmla="*/ 19 w 929"/>
                <a:gd name="T45" fmla="*/ 67 h 267"/>
                <a:gd name="T46" fmla="*/ 40 w 929"/>
                <a:gd name="T47" fmla="*/ 38 h 267"/>
                <a:gd name="T48" fmla="*/ 67 w 929"/>
                <a:gd name="T49" fmla="*/ 17 h 267"/>
                <a:gd name="T50" fmla="*/ 97 w 929"/>
                <a:gd name="T51" fmla="*/ 4 h 267"/>
                <a:gd name="T52" fmla="*/ 133 w 929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29" h="267">
                  <a:moveTo>
                    <a:pt x="133" y="0"/>
                  </a:moveTo>
                  <a:lnTo>
                    <a:pt x="795" y="0"/>
                  </a:lnTo>
                  <a:lnTo>
                    <a:pt x="831" y="4"/>
                  </a:lnTo>
                  <a:lnTo>
                    <a:pt x="864" y="17"/>
                  </a:lnTo>
                  <a:lnTo>
                    <a:pt x="891" y="38"/>
                  </a:lnTo>
                  <a:lnTo>
                    <a:pt x="912" y="67"/>
                  </a:lnTo>
                  <a:lnTo>
                    <a:pt x="925" y="97"/>
                  </a:lnTo>
                  <a:lnTo>
                    <a:pt x="929" y="133"/>
                  </a:lnTo>
                  <a:lnTo>
                    <a:pt x="925" y="168"/>
                  </a:lnTo>
                  <a:lnTo>
                    <a:pt x="912" y="200"/>
                  </a:lnTo>
                  <a:lnTo>
                    <a:pt x="891" y="227"/>
                  </a:lnTo>
                  <a:lnTo>
                    <a:pt x="864" y="248"/>
                  </a:lnTo>
                  <a:lnTo>
                    <a:pt x="831" y="261"/>
                  </a:lnTo>
                  <a:lnTo>
                    <a:pt x="795" y="267"/>
                  </a:lnTo>
                  <a:lnTo>
                    <a:pt x="133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3"/>
                  </a:lnTo>
                  <a:lnTo>
                    <a:pt x="6" y="97"/>
                  </a:lnTo>
                  <a:lnTo>
                    <a:pt x="19" y="67"/>
                  </a:lnTo>
                  <a:lnTo>
                    <a:pt x="40" y="38"/>
                  </a:lnTo>
                  <a:lnTo>
                    <a:pt x="67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xmlns="" id="{20B558EF-08BD-4164-9A07-077B712C6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13" y="2924176"/>
              <a:ext cx="209550" cy="576263"/>
            </a:xfrm>
            <a:custGeom>
              <a:avLst/>
              <a:gdLst>
                <a:gd name="T0" fmla="*/ 131 w 265"/>
                <a:gd name="T1" fmla="*/ 0 h 726"/>
                <a:gd name="T2" fmla="*/ 168 w 265"/>
                <a:gd name="T3" fmla="*/ 4 h 726"/>
                <a:gd name="T4" fmla="*/ 200 w 265"/>
                <a:gd name="T5" fmla="*/ 17 h 726"/>
                <a:gd name="T6" fmla="*/ 227 w 265"/>
                <a:gd name="T7" fmla="*/ 38 h 726"/>
                <a:gd name="T8" fmla="*/ 248 w 265"/>
                <a:gd name="T9" fmla="*/ 65 h 726"/>
                <a:gd name="T10" fmla="*/ 261 w 265"/>
                <a:gd name="T11" fmla="*/ 97 h 726"/>
                <a:gd name="T12" fmla="*/ 265 w 265"/>
                <a:gd name="T13" fmla="*/ 133 h 726"/>
                <a:gd name="T14" fmla="*/ 265 w 265"/>
                <a:gd name="T15" fmla="*/ 593 h 726"/>
                <a:gd name="T16" fmla="*/ 261 w 265"/>
                <a:gd name="T17" fmla="*/ 627 h 726"/>
                <a:gd name="T18" fmla="*/ 248 w 265"/>
                <a:gd name="T19" fmla="*/ 659 h 726"/>
                <a:gd name="T20" fmla="*/ 227 w 265"/>
                <a:gd name="T21" fmla="*/ 686 h 726"/>
                <a:gd name="T22" fmla="*/ 200 w 265"/>
                <a:gd name="T23" fmla="*/ 707 h 726"/>
                <a:gd name="T24" fmla="*/ 168 w 265"/>
                <a:gd name="T25" fmla="*/ 720 h 726"/>
                <a:gd name="T26" fmla="*/ 131 w 265"/>
                <a:gd name="T27" fmla="*/ 726 h 726"/>
                <a:gd name="T28" fmla="*/ 97 w 265"/>
                <a:gd name="T29" fmla="*/ 720 h 726"/>
                <a:gd name="T30" fmla="*/ 65 w 265"/>
                <a:gd name="T31" fmla="*/ 707 h 726"/>
                <a:gd name="T32" fmla="*/ 38 w 265"/>
                <a:gd name="T33" fmla="*/ 686 h 726"/>
                <a:gd name="T34" fmla="*/ 17 w 265"/>
                <a:gd name="T35" fmla="*/ 659 h 726"/>
                <a:gd name="T36" fmla="*/ 4 w 265"/>
                <a:gd name="T37" fmla="*/ 627 h 726"/>
                <a:gd name="T38" fmla="*/ 0 w 265"/>
                <a:gd name="T39" fmla="*/ 593 h 726"/>
                <a:gd name="T40" fmla="*/ 0 w 265"/>
                <a:gd name="T41" fmla="*/ 133 h 726"/>
                <a:gd name="T42" fmla="*/ 4 w 265"/>
                <a:gd name="T43" fmla="*/ 97 h 726"/>
                <a:gd name="T44" fmla="*/ 17 w 265"/>
                <a:gd name="T45" fmla="*/ 65 h 726"/>
                <a:gd name="T46" fmla="*/ 38 w 265"/>
                <a:gd name="T47" fmla="*/ 38 h 726"/>
                <a:gd name="T48" fmla="*/ 65 w 265"/>
                <a:gd name="T49" fmla="*/ 17 h 726"/>
                <a:gd name="T50" fmla="*/ 97 w 265"/>
                <a:gd name="T51" fmla="*/ 4 h 726"/>
                <a:gd name="T52" fmla="*/ 131 w 265"/>
                <a:gd name="T53" fmla="*/ 0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5" h="726">
                  <a:moveTo>
                    <a:pt x="131" y="0"/>
                  </a:moveTo>
                  <a:lnTo>
                    <a:pt x="168" y="4"/>
                  </a:lnTo>
                  <a:lnTo>
                    <a:pt x="200" y="17"/>
                  </a:lnTo>
                  <a:lnTo>
                    <a:pt x="227" y="38"/>
                  </a:lnTo>
                  <a:lnTo>
                    <a:pt x="248" y="65"/>
                  </a:lnTo>
                  <a:lnTo>
                    <a:pt x="261" y="97"/>
                  </a:lnTo>
                  <a:lnTo>
                    <a:pt x="265" y="133"/>
                  </a:lnTo>
                  <a:lnTo>
                    <a:pt x="265" y="593"/>
                  </a:lnTo>
                  <a:lnTo>
                    <a:pt x="261" y="627"/>
                  </a:lnTo>
                  <a:lnTo>
                    <a:pt x="248" y="659"/>
                  </a:lnTo>
                  <a:lnTo>
                    <a:pt x="227" y="686"/>
                  </a:lnTo>
                  <a:lnTo>
                    <a:pt x="200" y="707"/>
                  </a:lnTo>
                  <a:lnTo>
                    <a:pt x="168" y="720"/>
                  </a:lnTo>
                  <a:lnTo>
                    <a:pt x="131" y="726"/>
                  </a:lnTo>
                  <a:lnTo>
                    <a:pt x="97" y="720"/>
                  </a:lnTo>
                  <a:lnTo>
                    <a:pt x="65" y="707"/>
                  </a:lnTo>
                  <a:lnTo>
                    <a:pt x="38" y="686"/>
                  </a:lnTo>
                  <a:lnTo>
                    <a:pt x="17" y="659"/>
                  </a:lnTo>
                  <a:lnTo>
                    <a:pt x="4" y="627"/>
                  </a:lnTo>
                  <a:lnTo>
                    <a:pt x="0" y="593"/>
                  </a:lnTo>
                  <a:lnTo>
                    <a:pt x="0" y="133"/>
                  </a:lnTo>
                  <a:lnTo>
                    <a:pt x="4" y="97"/>
                  </a:lnTo>
                  <a:lnTo>
                    <a:pt x="17" y="65"/>
                  </a:lnTo>
                  <a:lnTo>
                    <a:pt x="38" y="38"/>
                  </a:lnTo>
                  <a:lnTo>
                    <a:pt x="65" y="17"/>
                  </a:lnTo>
                  <a:lnTo>
                    <a:pt x="97" y="4"/>
                  </a:lnTo>
                  <a:lnTo>
                    <a:pt x="1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xmlns="" id="{BBA7CE70-F459-49E1-846D-CD994E35C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8900" y="3470276"/>
              <a:ext cx="471488" cy="468313"/>
            </a:xfrm>
            <a:custGeom>
              <a:avLst/>
              <a:gdLst>
                <a:gd name="T0" fmla="*/ 133 w 593"/>
                <a:gd name="T1" fmla="*/ 0 h 590"/>
                <a:gd name="T2" fmla="*/ 167 w 593"/>
                <a:gd name="T3" fmla="*/ 5 h 590"/>
                <a:gd name="T4" fmla="*/ 200 w 593"/>
                <a:gd name="T5" fmla="*/ 17 h 590"/>
                <a:gd name="T6" fmla="*/ 229 w 593"/>
                <a:gd name="T7" fmla="*/ 40 h 590"/>
                <a:gd name="T8" fmla="*/ 553 w 593"/>
                <a:gd name="T9" fmla="*/ 366 h 590"/>
                <a:gd name="T10" fmla="*/ 576 w 593"/>
                <a:gd name="T11" fmla="*/ 392 h 590"/>
                <a:gd name="T12" fmla="*/ 589 w 593"/>
                <a:gd name="T13" fmla="*/ 425 h 590"/>
                <a:gd name="T14" fmla="*/ 593 w 593"/>
                <a:gd name="T15" fmla="*/ 459 h 590"/>
                <a:gd name="T16" fmla="*/ 589 w 593"/>
                <a:gd name="T17" fmla="*/ 491 h 590"/>
                <a:gd name="T18" fmla="*/ 576 w 593"/>
                <a:gd name="T19" fmla="*/ 524 h 590"/>
                <a:gd name="T20" fmla="*/ 553 w 593"/>
                <a:gd name="T21" fmla="*/ 552 h 590"/>
                <a:gd name="T22" fmla="*/ 524 w 593"/>
                <a:gd name="T23" fmla="*/ 573 h 590"/>
                <a:gd name="T24" fmla="*/ 494 w 593"/>
                <a:gd name="T25" fmla="*/ 587 h 590"/>
                <a:gd name="T26" fmla="*/ 459 w 593"/>
                <a:gd name="T27" fmla="*/ 590 h 590"/>
                <a:gd name="T28" fmla="*/ 425 w 593"/>
                <a:gd name="T29" fmla="*/ 587 h 590"/>
                <a:gd name="T30" fmla="*/ 393 w 593"/>
                <a:gd name="T31" fmla="*/ 573 h 590"/>
                <a:gd name="T32" fmla="*/ 364 w 593"/>
                <a:gd name="T33" fmla="*/ 552 h 590"/>
                <a:gd name="T34" fmla="*/ 40 w 593"/>
                <a:gd name="T35" fmla="*/ 228 h 590"/>
                <a:gd name="T36" fmla="*/ 17 w 593"/>
                <a:gd name="T37" fmla="*/ 200 h 590"/>
                <a:gd name="T38" fmla="*/ 5 w 593"/>
                <a:gd name="T39" fmla="*/ 167 h 590"/>
                <a:gd name="T40" fmla="*/ 0 w 593"/>
                <a:gd name="T41" fmla="*/ 135 h 590"/>
                <a:gd name="T42" fmla="*/ 5 w 593"/>
                <a:gd name="T43" fmla="*/ 101 h 590"/>
                <a:gd name="T44" fmla="*/ 19 w 593"/>
                <a:gd name="T45" fmla="*/ 68 h 590"/>
                <a:gd name="T46" fmla="*/ 40 w 593"/>
                <a:gd name="T47" fmla="*/ 40 h 590"/>
                <a:gd name="T48" fmla="*/ 68 w 593"/>
                <a:gd name="T49" fmla="*/ 17 h 590"/>
                <a:gd name="T50" fmla="*/ 99 w 593"/>
                <a:gd name="T51" fmla="*/ 5 h 590"/>
                <a:gd name="T52" fmla="*/ 133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133" y="0"/>
                  </a:moveTo>
                  <a:lnTo>
                    <a:pt x="167" y="5"/>
                  </a:lnTo>
                  <a:lnTo>
                    <a:pt x="200" y="17"/>
                  </a:lnTo>
                  <a:lnTo>
                    <a:pt x="229" y="40"/>
                  </a:lnTo>
                  <a:lnTo>
                    <a:pt x="553" y="366"/>
                  </a:lnTo>
                  <a:lnTo>
                    <a:pt x="576" y="392"/>
                  </a:lnTo>
                  <a:lnTo>
                    <a:pt x="589" y="425"/>
                  </a:lnTo>
                  <a:lnTo>
                    <a:pt x="593" y="459"/>
                  </a:lnTo>
                  <a:lnTo>
                    <a:pt x="589" y="491"/>
                  </a:lnTo>
                  <a:lnTo>
                    <a:pt x="576" y="524"/>
                  </a:lnTo>
                  <a:lnTo>
                    <a:pt x="553" y="552"/>
                  </a:lnTo>
                  <a:lnTo>
                    <a:pt x="524" y="573"/>
                  </a:lnTo>
                  <a:lnTo>
                    <a:pt x="494" y="587"/>
                  </a:lnTo>
                  <a:lnTo>
                    <a:pt x="459" y="590"/>
                  </a:lnTo>
                  <a:lnTo>
                    <a:pt x="425" y="587"/>
                  </a:lnTo>
                  <a:lnTo>
                    <a:pt x="393" y="573"/>
                  </a:lnTo>
                  <a:lnTo>
                    <a:pt x="364" y="552"/>
                  </a:lnTo>
                  <a:lnTo>
                    <a:pt x="40" y="228"/>
                  </a:lnTo>
                  <a:lnTo>
                    <a:pt x="17" y="200"/>
                  </a:lnTo>
                  <a:lnTo>
                    <a:pt x="5" y="167"/>
                  </a:lnTo>
                  <a:lnTo>
                    <a:pt x="0" y="135"/>
                  </a:lnTo>
                  <a:lnTo>
                    <a:pt x="5" y="101"/>
                  </a:lnTo>
                  <a:lnTo>
                    <a:pt x="19" y="68"/>
                  </a:lnTo>
                  <a:lnTo>
                    <a:pt x="40" y="40"/>
                  </a:lnTo>
                  <a:lnTo>
                    <a:pt x="68" y="17"/>
                  </a:lnTo>
                  <a:lnTo>
                    <a:pt x="99" y="5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xmlns="" id="{9D9A0C3A-F001-4CCD-BCDF-442AAE184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263" y="4789488"/>
              <a:ext cx="576263" cy="211138"/>
            </a:xfrm>
            <a:custGeom>
              <a:avLst/>
              <a:gdLst>
                <a:gd name="T0" fmla="*/ 133 w 726"/>
                <a:gd name="T1" fmla="*/ 0 h 267"/>
                <a:gd name="T2" fmla="*/ 593 w 726"/>
                <a:gd name="T3" fmla="*/ 0 h 267"/>
                <a:gd name="T4" fmla="*/ 627 w 726"/>
                <a:gd name="T5" fmla="*/ 6 h 267"/>
                <a:gd name="T6" fmla="*/ 660 w 726"/>
                <a:gd name="T7" fmla="*/ 19 h 267"/>
                <a:gd name="T8" fmla="*/ 686 w 726"/>
                <a:gd name="T9" fmla="*/ 40 h 267"/>
                <a:gd name="T10" fmla="*/ 707 w 726"/>
                <a:gd name="T11" fmla="*/ 67 h 267"/>
                <a:gd name="T12" fmla="*/ 721 w 726"/>
                <a:gd name="T13" fmla="*/ 98 h 267"/>
                <a:gd name="T14" fmla="*/ 726 w 726"/>
                <a:gd name="T15" fmla="*/ 134 h 267"/>
                <a:gd name="T16" fmla="*/ 721 w 726"/>
                <a:gd name="T17" fmla="*/ 168 h 267"/>
                <a:gd name="T18" fmla="*/ 707 w 726"/>
                <a:gd name="T19" fmla="*/ 200 h 267"/>
                <a:gd name="T20" fmla="*/ 686 w 726"/>
                <a:gd name="T21" fmla="*/ 227 h 267"/>
                <a:gd name="T22" fmla="*/ 660 w 726"/>
                <a:gd name="T23" fmla="*/ 248 h 267"/>
                <a:gd name="T24" fmla="*/ 629 w 726"/>
                <a:gd name="T25" fmla="*/ 261 h 267"/>
                <a:gd name="T26" fmla="*/ 593 w 726"/>
                <a:gd name="T27" fmla="*/ 267 h 267"/>
                <a:gd name="T28" fmla="*/ 133 w 726"/>
                <a:gd name="T29" fmla="*/ 267 h 267"/>
                <a:gd name="T30" fmla="*/ 97 w 726"/>
                <a:gd name="T31" fmla="*/ 261 h 267"/>
                <a:gd name="T32" fmla="*/ 67 w 726"/>
                <a:gd name="T33" fmla="*/ 248 h 267"/>
                <a:gd name="T34" fmla="*/ 38 w 726"/>
                <a:gd name="T35" fmla="*/ 227 h 267"/>
                <a:gd name="T36" fmla="*/ 17 w 726"/>
                <a:gd name="T37" fmla="*/ 200 h 267"/>
                <a:gd name="T38" fmla="*/ 4 w 726"/>
                <a:gd name="T39" fmla="*/ 168 h 267"/>
                <a:gd name="T40" fmla="*/ 0 w 726"/>
                <a:gd name="T41" fmla="*/ 134 h 267"/>
                <a:gd name="T42" fmla="*/ 4 w 726"/>
                <a:gd name="T43" fmla="*/ 98 h 267"/>
                <a:gd name="T44" fmla="*/ 17 w 726"/>
                <a:gd name="T45" fmla="*/ 67 h 267"/>
                <a:gd name="T46" fmla="*/ 38 w 726"/>
                <a:gd name="T47" fmla="*/ 40 h 267"/>
                <a:gd name="T48" fmla="*/ 65 w 726"/>
                <a:gd name="T49" fmla="*/ 19 h 267"/>
                <a:gd name="T50" fmla="*/ 97 w 726"/>
                <a:gd name="T51" fmla="*/ 6 h 267"/>
                <a:gd name="T52" fmla="*/ 133 w 726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6" h="267">
                  <a:moveTo>
                    <a:pt x="133" y="0"/>
                  </a:moveTo>
                  <a:lnTo>
                    <a:pt x="593" y="0"/>
                  </a:lnTo>
                  <a:lnTo>
                    <a:pt x="627" y="6"/>
                  </a:lnTo>
                  <a:lnTo>
                    <a:pt x="660" y="19"/>
                  </a:lnTo>
                  <a:lnTo>
                    <a:pt x="686" y="40"/>
                  </a:lnTo>
                  <a:lnTo>
                    <a:pt x="707" y="67"/>
                  </a:lnTo>
                  <a:lnTo>
                    <a:pt x="721" y="98"/>
                  </a:lnTo>
                  <a:lnTo>
                    <a:pt x="726" y="134"/>
                  </a:lnTo>
                  <a:lnTo>
                    <a:pt x="721" y="168"/>
                  </a:lnTo>
                  <a:lnTo>
                    <a:pt x="707" y="200"/>
                  </a:lnTo>
                  <a:lnTo>
                    <a:pt x="686" y="227"/>
                  </a:lnTo>
                  <a:lnTo>
                    <a:pt x="660" y="248"/>
                  </a:lnTo>
                  <a:lnTo>
                    <a:pt x="629" y="261"/>
                  </a:lnTo>
                  <a:lnTo>
                    <a:pt x="593" y="267"/>
                  </a:lnTo>
                  <a:lnTo>
                    <a:pt x="133" y="267"/>
                  </a:lnTo>
                  <a:lnTo>
                    <a:pt x="97" y="261"/>
                  </a:lnTo>
                  <a:lnTo>
                    <a:pt x="67" y="248"/>
                  </a:lnTo>
                  <a:lnTo>
                    <a:pt x="38" y="227"/>
                  </a:lnTo>
                  <a:lnTo>
                    <a:pt x="17" y="200"/>
                  </a:lnTo>
                  <a:lnTo>
                    <a:pt x="4" y="168"/>
                  </a:lnTo>
                  <a:lnTo>
                    <a:pt x="0" y="134"/>
                  </a:lnTo>
                  <a:lnTo>
                    <a:pt x="4" y="98"/>
                  </a:lnTo>
                  <a:lnTo>
                    <a:pt x="17" y="67"/>
                  </a:lnTo>
                  <a:lnTo>
                    <a:pt x="38" y="40"/>
                  </a:lnTo>
                  <a:lnTo>
                    <a:pt x="65" y="19"/>
                  </a:lnTo>
                  <a:lnTo>
                    <a:pt x="97" y="6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xmlns="" id="{38BAE21D-0A66-424B-AA21-12322394F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5001" y="4789488"/>
              <a:ext cx="576263" cy="211138"/>
            </a:xfrm>
            <a:custGeom>
              <a:avLst/>
              <a:gdLst>
                <a:gd name="T0" fmla="*/ 134 w 727"/>
                <a:gd name="T1" fmla="*/ 0 h 267"/>
                <a:gd name="T2" fmla="*/ 593 w 727"/>
                <a:gd name="T3" fmla="*/ 0 h 267"/>
                <a:gd name="T4" fmla="*/ 630 w 727"/>
                <a:gd name="T5" fmla="*/ 6 h 267"/>
                <a:gd name="T6" fmla="*/ 662 w 727"/>
                <a:gd name="T7" fmla="*/ 19 h 267"/>
                <a:gd name="T8" fmla="*/ 689 w 727"/>
                <a:gd name="T9" fmla="*/ 40 h 267"/>
                <a:gd name="T10" fmla="*/ 710 w 727"/>
                <a:gd name="T11" fmla="*/ 67 h 267"/>
                <a:gd name="T12" fmla="*/ 723 w 727"/>
                <a:gd name="T13" fmla="*/ 98 h 267"/>
                <a:gd name="T14" fmla="*/ 727 w 727"/>
                <a:gd name="T15" fmla="*/ 134 h 267"/>
                <a:gd name="T16" fmla="*/ 723 w 727"/>
                <a:gd name="T17" fmla="*/ 168 h 267"/>
                <a:gd name="T18" fmla="*/ 710 w 727"/>
                <a:gd name="T19" fmla="*/ 200 h 267"/>
                <a:gd name="T20" fmla="*/ 689 w 727"/>
                <a:gd name="T21" fmla="*/ 227 h 267"/>
                <a:gd name="T22" fmla="*/ 662 w 727"/>
                <a:gd name="T23" fmla="*/ 248 h 267"/>
                <a:gd name="T24" fmla="*/ 630 w 727"/>
                <a:gd name="T25" fmla="*/ 261 h 267"/>
                <a:gd name="T26" fmla="*/ 593 w 727"/>
                <a:gd name="T27" fmla="*/ 267 h 267"/>
                <a:gd name="T28" fmla="*/ 134 w 727"/>
                <a:gd name="T29" fmla="*/ 267 h 267"/>
                <a:gd name="T30" fmla="*/ 99 w 727"/>
                <a:gd name="T31" fmla="*/ 261 h 267"/>
                <a:gd name="T32" fmla="*/ 67 w 727"/>
                <a:gd name="T33" fmla="*/ 248 h 267"/>
                <a:gd name="T34" fmla="*/ 40 w 727"/>
                <a:gd name="T35" fmla="*/ 227 h 267"/>
                <a:gd name="T36" fmla="*/ 19 w 727"/>
                <a:gd name="T37" fmla="*/ 200 h 267"/>
                <a:gd name="T38" fmla="*/ 6 w 727"/>
                <a:gd name="T39" fmla="*/ 168 h 267"/>
                <a:gd name="T40" fmla="*/ 0 w 727"/>
                <a:gd name="T41" fmla="*/ 134 h 267"/>
                <a:gd name="T42" fmla="*/ 6 w 727"/>
                <a:gd name="T43" fmla="*/ 98 h 267"/>
                <a:gd name="T44" fmla="*/ 19 w 727"/>
                <a:gd name="T45" fmla="*/ 67 h 267"/>
                <a:gd name="T46" fmla="*/ 40 w 727"/>
                <a:gd name="T47" fmla="*/ 40 h 267"/>
                <a:gd name="T48" fmla="*/ 67 w 727"/>
                <a:gd name="T49" fmla="*/ 19 h 267"/>
                <a:gd name="T50" fmla="*/ 97 w 727"/>
                <a:gd name="T51" fmla="*/ 6 h 267"/>
                <a:gd name="T52" fmla="*/ 134 w 727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7" h="267">
                  <a:moveTo>
                    <a:pt x="134" y="0"/>
                  </a:moveTo>
                  <a:lnTo>
                    <a:pt x="593" y="0"/>
                  </a:lnTo>
                  <a:lnTo>
                    <a:pt x="630" y="6"/>
                  </a:lnTo>
                  <a:lnTo>
                    <a:pt x="662" y="19"/>
                  </a:lnTo>
                  <a:lnTo>
                    <a:pt x="689" y="40"/>
                  </a:lnTo>
                  <a:lnTo>
                    <a:pt x="710" y="67"/>
                  </a:lnTo>
                  <a:lnTo>
                    <a:pt x="723" y="98"/>
                  </a:lnTo>
                  <a:lnTo>
                    <a:pt x="727" y="134"/>
                  </a:lnTo>
                  <a:lnTo>
                    <a:pt x="723" y="168"/>
                  </a:lnTo>
                  <a:lnTo>
                    <a:pt x="710" y="200"/>
                  </a:lnTo>
                  <a:lnTo>
                    <a:pt x="689" y="227"/>
                  </a:lnTo>
                  <a:lnTo>
                    <a:pt x="662" y="248"/>
                  </a:lnTo>
                  <a:lnTo>
                    <a:pt x="630" y="261"/>
                  </a:lnTo>
                  <a:lnTo>
                    <a:pt x="593" y="267"/>
                  </a:lnTo>
                  <a:lnTo>
                    <a:pt x="134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4"/>
                  </a:lnTo>
                  <a:lnTo>
                    <a:pt x="6" y="98"/>
                  </a:lnTo>
                  <a:lnTo>
                    <a:pt x="19" y="67"/>
                  </a:lnTo>
                  <a:lnTo>
                    <a:pt x="40" y="40"/>
                  </a:lnTo>
                  <a:lnTo>
                    <a:pt x="67" y="19"/>
                  </a:lnTo>
                  <a:lnTo>
                    <a:pt x="97" y="6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542FFABA-D0EA-4FF3-9412-60394317FAF8}"/>
              </a:ext>
            </a:extLst>
          </p:cNvPr>
          <p:cNvSpPr/>
          <p:nvPr/>
        </p:nvSpPr>
        <p:spPr>
          <a:xfrm>
            <a:off x="478986" y="4187529"/>
            <a:ext cx="1509471" cy="2631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sz="1600" dirty="0"/>
              <a:t>Connected to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F90B7424-1B93-4977-93FB-7AAB8F8E8750}"/>
              </a:ext>
            </a:extLst>
          </p:cNvPr>
          <p:cNvGrpSpPr/>
          <p:nvPr/>
        </p:nvGrpSpPr>
        <p:grpSpPr>
          <a:xfrm>
            <a:off x="72313" y="4131928"/>
            <a:ext cx="297909" cy="375681"/>
            <a:chOff x="-1905001" y="2924176"/>
            <a:chExt cx="3946527" cy="4976813"/>
          </a:xfrm>
          <a:solidFill>
            <a:schemeClr val="bg1"/>
          </a:solidFill>
        </p:grpSpPr>
        <p:sp>
          <p:nvSpPr>
            <p:cNvPr id="75" name="Freeform 9">
              <a:extLst>
                <a:ext uri="{FF2B5EF4-FFF2-40B4-BE49-F238E27FC236}">
                  <a16:creationId xmlns:a16="http://schemas.microsoft.com/office/drawing/2014/main" xmlns="" id="{85F2AED1-516A-495D-A280-C47B627E7F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43000" y="3857626"/>
              <a:ext cx="2424113" cy="3289300"/>
            </a:xfrm>
            <a:custGeom>
              <a:avLst/>
              <a:gdLst>
                <a:gd name="T0" fmla="*/ 1248 w 3054"/>
                <a:gd name="T1" fmla="*/ 297 h 4144"/>
                <a:gd name="T2" fmla="*/ 933 w 3054"/>
                <a:gd name="T3" fmla="*/ 417 h 4144"/>
                <a:gd name="T4" fmla="*/ 664 w 3054"/>
                <a:gd name="T5" fmla="*/ 615 h 4144"/>
                <a:gd name="T6" fmla="*/ 454 w 3054"/>
                <a:gd name="T7" fmla="*/ 872 h 4144"/>
                <a:gd name="T8" fmla="*/ 317 w 3054"/>
                <a:gd name="T9" fmla="*/ 1179 h 4144"/>
                <a:gd name="T10" fmla="*/ 267 w 3054"/>
                <a:gd name="T11" fmla="*/ 1520 h 4144"/>
                <a:gd name="T12" fmla="*/ 309 w 3054"/>
                <a:gd name="T13" fmla="*/ 1846 h 4144"/>
                <a:gd name="T14" fmla="*/ 433 w 3054"/>
                <a:gd name="T15" fmla="*/ 2147 h 4144"/>
                <a:gd name="T16" fmla="*/ 655 w 3054"/>
                <a:gd name="T17" fmla="*/ 2450 h 4144"/>
                <a:gd name="T18" fmla="*/ 889 w 3054"/>
                <a:gd name="T19" fmla="*/ 2844 h 4144"/>
                <a:gd name="T20" fmla="*/ 1049 w 3054"/>
                <a:gd name="T21" fmla="*/ 3273 h 4144"/>
                <a:gd name="T22" fmla="*/ 1126 w 3054"/>
                <a:gd name="T23" fmla="*/ 3725 h 4144"/>
                <a:gd name="T24" fmla="*/ 1931 w 3054"/>
                <a:gd name="T25" fmla="*/ 3713 h 4144"/>
                <a:gd name="T26" fmla="*/ 2024 w 3054"/>
                <a:gd name="T27" fmla="*/ 3224 h 4144"/>
                <a:gd name="T28" fmla="*/ 2219 w 3054"/>
                <a:gd name="T29" fmla="*/ 2751 h 4144"/>
                <a:gd name="T30" fmla="*/ 2514 w 3054"/>
                <a:gd name="T31" fmla="*/ 2307 h 4144"/>
                <a:gd name="T32" fmla="*/ 2678 w 3054"/>
                <a:gd name="T33" fmla="*/ 2037 h 4144"/>
                <a:gd name="T34" fmla="*/ 2770 w 3054"/>
                <a:gd name="T35" fmla="*/ 1735 h 4144"/>
                <a:gd name="T36" fmla="*/ 2783 w 3054"/>
                <a:gd name="T37" fmla="*/ 1410 h 4144"/>
                <a:gd name="T38" fmla="*/ 2709 w 3054"/>
                <a:gd name="T39" fmla="*/ 1082 h 4144"/>
                <a:gd name="T40" fmla="*/ 2551 w 3054"/>
                <a:gd name="T41" fmla="*/ 788 h 4144"/>
                <a:gd name="T42" fmla="*/ 2316 w 3054"/>
                <a:gd name="T43" fmla="*/ 541 h 4144"/>
                <a:gd name="T44" fmla="*/ 2028 w 3054"/>
                <a:gd name="T45" fmla="*/ 367 h 4144"/>
                <a:gd name="T46" fmla="*/ 1706 w 3054"/>
                <a:gd name="T47" fmla="*/ 278 h 4144"/>
                <a:gd name="T48" fmla="*/ 1465 w 3054"/>
                <a:gd name="T49" fmla="*/ 0 h 4144"/>
                <a:gd name="T50" fmla="*/ 1835 w 3054"/>
                <a:gd name="T51" fmla="*/ 30 h 4144"/>
                <a:gd name="T52" fmla="*/ 2182 w 3054"/>
                <a:gd name="T53" fmla="*/ 144 h 4144"/>
                <a:gd name="T54" fmla="*/ 2491 w 3054"/>
                <a:gd name="T55" fmla="*/ 343 h 4144"/>
                <a:gd name="T56" fmla="*/ 2751 w 3054"/>
                <a:gd name="T57" fmla="*/ 609 h 4144"/>
                <a:gd name="T58" fmla="*/ 2934 w 3054"/>
                <a:gd name="T59" fmla="*/ 926 h 4144"/>
                <a:gd name="T60" fmla="*/ 3035 w 3054"/>
                <a:gd name="T61" fmla="*/ 1276 h 4144"/>
                <a:gd name="T62" fmla="*/ 3048 w 3054"/>
                <a:gd name="T63" fmla="*/ 1654 h 4144"/>
                <a:gd name="T64" fmla="*/ 2970 w 3054"/>
                <a:gd name="T65" fmla="*/ 2027 h 4144"/>
                <a:gd name="T66" fmla="*/ 2799 w 3054"/>
                <a:gd name="T67" fmla="*/ 2368 h 4144"/>
                <a:gd name="T68" fmla="*/ 2533 w 3054"/>
                <a:gd name="T69" fmla="*/ 2742 h 4144"/>
                <a:gd name="T70" fmla="*/ 2324 w 3054"/>
                <a:gd name="T71" fmla="*/ 3166 h 4144"/>
                <a:gd name="T72" fmla="*/ 2211 w 3054"/>
                <a:gd name="T73" fmla="*/ 3609 h 4144"/>
                <a:gd name="T74" fmla="*/ 2188 w 3054"/>
                <a:gd name="T75" fmla="*/ 3911 h 4144"/>
                <a:gd name="T76" fmla="*/ 2192 w 3054"/>
                <a:gd name="T77" fmla="*/ 3955 h 4144"/>
                <a:gd name="T78" fmla="*/ 2186 w 3054"/>
                <a:gd name="T79" fmla="*/ 4026 h 4144"/>
                <a:gd name="T80" fmla="*/ 2156 w 3054"/>
                <a:gd name="T81" fmla="*/ 4098 h 4144"/>
                <a:gd name="T82" fmla="*/ 2089 w 3054"/>
                <a:gd name="T83" fmla="*/ 4140 h 4144"/>
                <a:gd name="T84" fmla="*/ 966 w 3054"/>
                <a:gd name="T85" fmla="*/ 4140 h 4144"/>
                <a:gd name="T86" fmla="*/ 899 w 3054"/>
                <a:gd name="T87" fmla="*/ 4098 h 4144"/>
                <a:gd name="T88" fmla="*/ 870 w 3054"/>
                <a:gd name="T89" fmla="*/ 4026 h 4144"/>
                <a:gd name="T90" fmla="*/ 863 w 3054"/>
                <a:gd name="T91" fmla="*/ 3955 h 4144"/>
                <a:gd name="T92" fmla="*/ 866 w 3054"/>
                <a:gd name="T93" fmla="*/ 3911 h 4144"/>
                <a:gd name="T94" fmla="*/ 845 w 3054"/>
                <a:gd name="T95" fmla="*/ 3603 h 4144"/>
                <a:gd name="T96" fmla="*/ 735 w 3054"/>
                <a:gd name="T97" fmla="*/ 3161 h 4144"/>
                <a:gd name="T98" fmla="*/ 535 w 3054"/>
                <a:gd name="T99" fmla="*/ 2747 h 4144"/>
                <a:gd name="T100" fmla="*/ 281 w 3054"/>
                <a:gd name="T101" fmla="*/ 2404 h 4144"/>
                <a:gd name="T102" fmla="*/ 111 w 3054"/>
                <a:gd name="T103" fmla="*/ 2096 h 4144"/>
                <a:gd name="T104" fmla="*/ 18 w 3054"/>
                <a:gd name="T105" fmla="*/ 1754 h 4144"/>
                <a:gd name="T106" fmla="*/ 6 w 3054"/>
                <a:gd name="T107" fmla="*/ 1387 h 4144"/>
                <a:gd name="T108" fmla="*/ 94 w 3054"/>
                <a:gd name="T109" fmla="*/ 1006 h 4144"/>
                <a:gd name="T110" fmla="*/ 269 w 3054"/>
                <a:gd name="T111" fmla="*/ 666 h 4144"/>
                <a:gd name="T112" fmla="*/ 523 w 3054"/>
                <a:gd name="T113" fmla="*/ 381 h 4144"/>
                <a:gd name="T114" fmla="*/ 840 w 3054"/>
                <a:gd name="T115" fmla="*/ 165 h 4144"/>
                <a:gd name="T116" fmla="*/ 1204 w 3054"/>
                <a:gd name="T117" fmla="*/ 34 h 4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54" h="4144">
                  <a:moveTo>
                    <a:pt x="1477" y="266"/>
                  </a:moveTo>
                  <a:lnTo>
                    <a:pt x="1360" y="276"/>
                  </a:lnTo>
                  <a:lnTo>
                    <a:pt x="1248" y="297"/>
                  </a:lnTo>
                  <a:lnTo>
                    <a:pt x="1139" y="327"/>
                  </a:lnTo>
                  <a:lnTo>
                    <a:pt x="1034" y="367"/>
                  </a:lnTo>
                  <a:lnTo>
                    <a:pt x="933" y="417"/>
                  </a:lnTo>
                  <a:lnTo>
                    <a:pt x="838" y="476"/>
                  </a:lnTo>
                  <a:lnTo>
                    <a:pt x="748" y="541"/>
                  </a:lnTo>
                  <a:lnTo>
                    <a:pt x="664" y="615"/>
                  </a:lnTo>
                  <a:lnTo>
                    <a:pt x="586" y="695"/>
                  </a:lnTo>
                  <a:lnTo>
                    <a:pt x="515" y="781"/>
                  </a:lnTo>
                  <a:lnTo>
                    <a:pt x="454" y="872"/>
                  </a:lnTo>
                  <a:lnTo>
                    <a:pt x="399" y="971"/>
                  </a:lnTo>
                  <a:lnTo>
                    <a:pt x="353" y="1072"/>
                  </a:lnTo>
                  <a:lnTo>
                    <a:pt x="317" y="1179"/>
                  </a:lnTo>
                  <a:lnTo>
                    <a:pt x="290" y="1290"/>
                  </a:lnTo>
                  <a:lnTo>
                    <a:pt x="273" y="1404"/>
                  </a:lnTo>
                  <a:lnTo>
                    <a:pt x="267" y="1520"/>
                  </a:lnTo>
                  <a:lnTo>
                    <a:pt x="271" y="1631"/>
                  </a:lnTo>
                  <a:lnTo>
                    <a:pt x="287" y="1739"/>
                  </a:lnTo>
                  <a:lnTo>
                    <a:pt x="309" y="1846"/>
                  </a:lnTo>
                  <a:lnTo>
                    <a:pt x="342" y="1949"/>
                  </a:lnTo>
                  <a:lnTo>
                    <a:pt x="384" y="2050"/>
                  </a:lnTo>
                  <a:lnTo>
                    <a:pt x="433" y="2147"/>
                  </a:lnTo>
                  <a:lnTo>
                    <a:pt x="493" y="2240"/>
                  </a:lnTo>
                  <a:lnTo>
                    <a:pt x="559" y="2328"/>
                  </a:lnTo>
                  <a:lnTo>
                    <a:pt x="655" y="2450"/>
                  </a:lnTo>
                  <a:lnTo>
                    <a:pt x="741" y="2576"/>
                  </a:lnTo>
                  <a:lnTo>
                    <a:pt x="819" y="2709"/>
                  </a:lnTo>
                  <a:lnTo>
                    <a:pt x="889" y="2844"/>
                  </a:lnTo>
                  <a:lnTo>
                    <a:pt x="952" y="2984"/>
                  </a:lnTo>
                  <a:lnTo>
                    <a:pt x="1004" y="3126"/>
                  </a:lnTo>
                  <a:lnTo>
                    <a:pt x="1049" y="3273"/>
                  </a:lnTo>
                  <a:lnTo>
                    <a:pt x="1084" y="3422"/>
                  </a:lnTo>
                  <a:lnTo>
                    <a:pt x="1109" y="3572"/>
                  </a:lnTo>
                  <a:lnTo>
                    <a:pt x="1126" y="3725"/>
                  </a:lnTo>
                  <a:lnTo>
                    <a:pt x="1133" y="3877"/>
                  </a:lnTo>
                  <a:lnTo>
                    <a:pt x="1921" y="3877"/>
                  </a:lnTo>
                  <a:lnTo>
                    <a:pt x="1931" y="3713"/>
                  </a:lnTo>
                  <a:lnTo>
                    <a:pt x="1950" y="3548"/>
                  </a:lnTo>
                  <a:lnTo>
                    <a:pt x="1980" y="3386"/>
                  </a:lnTo>
                  <a:lnTo>
                    <a:pt x="2024" y="3224"/>
                  </a:lnTo>
                  <a:lnTo>
                    <a:pt x="2078" y="3064"/>
                  </a:lnTo>
                  <a:lnTo>
                    <a:pt x="2142" y="2905"/>
                  </a:lnTo>
                  <a:lnTo>
                    <a:pt x="2219" y="2751"/>
                  </a:lnTo>
                  <a:lnTo>
                    <a:pt x="2306" y="2599"/>
                  </a:lnTo>
                  <a:lnTo>
                    <a:pt x="2406" y="2452"/>
                  </a:lnTo>
                  <a:lnTo>
                    <a:pt x="2514" y="2307"/>
                  </a:lnTo>
                  <a:lnTo>
                    <a:pt x="2577" y="2219"/>
                  </a:lnTo>
                  <a:lnTo>
                    <a:pt x="2633" y="2130"/>
                  </a:lnTo>
                  <a:lnTo>
                    <a:pt x="2678" y="2037"/>
                  </a:lnTo>
                  <a:lnTo>
                    <a:pt x="2718" y="1939"/>
                  </a:lnTo>
                  <a:lnTo>
                    <a:pt x="2749" y="1838"/>
                  </a:lnTo>
                  <a:lnTo>
                    <a:pt x="2770" y="1735"/>
                  </a:lnTo>
                  <a:lnTo>
                    <a:pt x="2783" y="1631"/>
                  </a:lnTo>
                  <a:lnTo>
                    <a:pt x="2789" y="1524"/>
                  </a:lnTo>
                  <a:lnTo>
                    <a:pt x="2783" y="1410"/>
                  </a:lnTo>
                  <a:lnTo>
                    <a:pt x="2768" y="1297"/>
                  </a:lnTo>
                  <a:lnTo>
                    <a:pt x="2743" y="1189"/>
                  </a:lnTo>
                  <a:lnTo>
                    <a:pt x="2709" y="1082"/>
                  </a:lnTo>
                  <a:lnTo>
                    <a:pt x="2665" y="979"/>
                  </a:lnTo>
                  <a:lnTo>
                    <a:pt x="2612" y="882"/>
                  </a:lnTo>
                  <a:lnTo>
                    <a:pt x="2551" y="788"/>
                  </a:lnTo>
                  <a:lnTo>
                    <a:pt x="2480" y="699"/>
                  </a:lnTo>
                  <a:lnTo>
                    <a:pt x="2402" y="617"/>
                  </a:lnTo>
                  <a:lnTo>
                    <a:pt x="2316" y="541"/>
                  </a:lnTo>
                  <a:lnTo>
                    <a:pt x="2224" y="474"/>
                  </a:lnTo>
                  <a:lnTo>
                    <a:pt x="2129" y="417"/>
                  </a:lnTo>
                  <a:lnTo>
                    <a:pt x="2028" y="367"/>
                  </a:lnTo>
                  <a:lnTo>
                    <a:pt x="1923" y="327"/>
                  </a:lnTo>
                  <a:lnTo>
                    <a:pt x="1816" y="299"/>
                  </a:lnTo>
                  <a:lnTo>
                    <a:pt x="1706" y="278"/>
                  </a:lnTo>
                  <a:lnTo>
                    <a:pt x="1593" y="266"/>
                  </a:lnTo>
                  <a:lnTo>
                    <a:pt x="1477" y="266"/>
                  </a:lnTo>
                  <a:close/>
                  <a:moveTo>
                    <a:pt x="1465" y="0"/>
                  </a:moveTo>
                  <a:lnTo>
                    <a:pt x="1591" y="0"/>
                  </a:lnTo>
                  <a:lnTo>
                    <a:pt x="1715" y="9"/>
                  </a:lnTo>
                  <a:lnTo>
                    <a:pt x="1835" y="30"/>
                  </a:lnTo>
                  <a:lnTo>
                    <a:pt x="1954" y="59"/>
                  </a:lnTo>
                  <a:lnTo>
                    <a:pt x="2070" y="97"/>
                  </a:lnTo>
                  <a:lnTo>
                    <a:pt x="2182" y="144"/>
                  </a:lnTo>
                  <a:lnTo>
                    <a:pt x="2289" y="202"/>
                  </a:lnTo>
                  <a:lnTo>
                    <a:pt x="2394" y="268"/>
                  </a:lnTo>
                  <a:lnTo>
                    <a:pt x="2491" y="343"/>
                  </a:lnTo>
                  <a:lnTo>
                    <a:pt x="2585" y="424"/>
                  </a:lnTo>
                  <a:lnTo>
                    <a:pt x="2673" y="514"/>
                  </a:lnTo>
                  <a:lnTo>
                    <a:pt x="2751" y="609"/>
                  </a:lnTo>
                  <a:lnTo>
                    <a:pt x="2819" y="710"/>
                  </a:lnTo>
                  <a:lnTo>
                    <a:pt x="2881" y="815"/>
                  </a:lnTo>
                  <a:lnTo>
                    <a:pt x="2934" y="926"/>
                  </a:lnTo>
                  <a:lnTo>
                    <a:pt x="2976" y="1040"/>
                  </a:lnTo>
                  <a:lnTo>
                    <a:pt x="3010" y="1156"/>
                  </a:lnTo>
                  <a:lnTo>
                    <a:pt x="3035" y="1276"/>
                  </a:lnTo>
                  <a:lnTo>
                    <a:pt x="3050" y="1400"/>
                  </a:lnTo>
                  <a:lnTo>
                    <a:pt x="3054" y="1524"/>
                  </a:lnTo>
                  <a:lnTo>
                    <a:pt x="3048" y="1654"/>
                  </a:lnTo>
                  <a:lnTo>
                    <a:pt x="3033" y="1781"/>
                  </a:lnTo>
                  <a:lnTo>
                    <a:pt x="3006" y="1905"/>
                  </a:lnTo>
                  <a:lnTo>
                    <a:pt x="2970" y="2027"/>
                  </a:lnTo>
                  <a:lnTo>
                    <a:pt x="2922" y="2145"/>
                  </a:lnTo>
                  <a:lnTo>
                    <a:pt x="2865" y="2258"/>
                  </a:lnTo>
                  <a:lnTo>
                    <a:pt x="2799" y="2368"/>
                  </a:lnTo>
                  <a:lnTo>
                    <a:pt x="2722" y="2473"/>
                  </a:lnTo>
                  <a:lnTo>
                    <a:pt x="2623" y="2606"/>
                  </a:lnTo>
                  <a:lnTo>
                    <a:pt x="2533" y="2742"/>
                  </a:lnTo>
                  <a:lnTo>
                    <a:pt x="2453" y="2881"/>
                  </a:lnTo>
                  <a:lnTo>
                    <a:pt x="2383" y="3024"/>
                  </a:lnTo>
                  <a:lnTo>
                    <a:pt x="2324" y="3166"/>
                  </a:lnTo>
                  <a:lnTo>
                    <a:pt x="2276" y="3313"/>
                  </a:lnTo>
                  <a:lnTo>
                    <a:pt x="2238" y="3460"/>
                  </a:lnTo>
                  <a:lnTo>
                    <a:pt x="2211" y="3609"/>
                  </a:lnTo>
                  <a:lnTo>
                    <a:pt x="2194" y="3759"/>
                  </a:lnTo>
                  <a:lnTo>
                    <a:pt x="2188" y="3910"/>
                  </a:lnTo>
                  <a:lnTo>
                    <a:pt x="2188" y="3911"/>
                  </a:lnTo>
                  <a:lnTo>
                    <a:pt x="2190" y="3921"/>
                  </a:lnTo>
                  <a:lnTo>
                    <a:pt x="2192" y="3936"/>
                  </a:lnTo>
                  <a:lnTo>
                    <a:pt x="2192" y="3955"/>
                  </a:lnTo>
                  <a:lnTo>
                    <a:pt x="2192" y="3978"/>
                  </a:lnTo>
                  <a:lnTo>
                    <a:pt x="2190" y="4001"/>
                  </a:lnTo>
                  <a:lnTo>
                    <a:pt x="2186" y="4026"/>
                  </a:lnTo>
                  <a:lnTo>
                    <a:pt x="2181" y="4052"/>
                  </a:lnTo>
                  <a:lnTo>
                    <a:pt x="2169" y="4075"/>
                  </a:lnTo>
                  <a:lnTo>
                    <a:pt x="2156" y="4098"/>
                  </a:lnTo>
                  <a:lnTo>
                    <a:pt x="2139" y="4117"/>
                  </a:lnTo>
                  <a:lnTo>
                    <a:pt x="2116" y="4131"/>
                  </a:lnTo>
                  <a:lnTo>
                    <a:pt x="2089" y="4140"/>
                  </a:lnTo>
                  <a:lnTo>
                    <a:pt x="2055" y="4144"/>
                  </a:lnTo>
                  <a:lnTo>
                    <a:pt x="1000" y="4144"/>
                  </a:lnTo>
                  <a:lnTo>
                    <a:pt x="966" y="4140"/>
                  </a:lnTo>
                  <a:lnTo>
                    <a:pt x="939" y="4131"/>
                  </a:lnTo>
                  <a:lnTo>
                    <a:pt x="918" y="4117"/>
                  </a:lnTo>
                  <a:lnTo>
                    <a:pt x="899" y="4098"/>
                  </a:lnTo>
                  <a:lnTo>
                    <a:pt x="885" y="4075"/>
                  </a:lnTo>
                  <a:lnTo>
                    <a:pt x="876" y="4052"/>
                  </a:lnTo>
                  <a:lnTo>
                    <a:pt x="870" y="4026"/>
                  </a:lnTo>
                  <a:lnTo>
                    <a:pt x="866" y="4001"/>
                  </a:lnTo>
                  <a:lnTo>
                    <a:pt x="864" y="3978"/>
                  </a:lnTo>
                  <a:lnTo>
                    <a:pt x="863" y="3955"/>
                  </a:lnTo>
                  <a:lnTo>
                    <a:pt x="864" y="3936"/>
                  </a:lnTo>
                  <a:lnTo>
                    <a:pt x="864" y="3921"/>
                  </a:lnTo>
                  <a:lnTo>
                    <a:pt x="866" y="3911"/>
                  </a:lnTo>
                  <a:lnTo>
                    <a:pt x="866" y="3910"/>
                  </a:lnTo>
                  <a:lnTo>
                    <a:pt x="861" y="3755"/>
                  </a:lnTo>
                  <a:lnTo>
                    <a:pt x="845" y="3603"/>
                  </a:lnTo>
                  <a:lnTo>
                    <a:pt x="819" y="3452"/>
                  </a:lnTo>
                  <a:lnTo>
                    <a:pt x="781" y="3306"/>
                  </a:lnTo>
                  <a:lnTo>
                    <a:pt x="735" y="3161"/>
                  </a:lnTo>
                  <a:lnTo>
                    <a:pt x="678" y="3018"/>
                  </a:lnTo>
                  <a:lnTo>
                    <a:pt x="611" y="2881"/>
                  </a:lnTo>
                  <a:lnTo>
                    <a:pt x="535" y="2747"/>
                  </a:lnTo>
                  <a:lnTo>
                    <a:pt x="449" y="2620"/>
                  </a:lnTo>
                  <a:lnTo>
                    <a:pt x="353" y="2498"/>
                  </a:lnTo>
                  <a:lnTo>
                    <a:pt x="281" y="2404"/>
                  </a:lnTo>
                  <a:lnTo>
                    <a:pt x="216" y="2305"/>
                  </a:lnTo>
                  <a:lnTo>
                    <a:pt x="161" y="2202"/>
                  </a:lnTo>
                  <a:lnTo>
                    <a:pt x="111" y="2096"/>
                  </a:lnTo>
                  <a:lnTo>
                    <a:pt x="71" y="1983"/>
                  </a:lnTo>
                  <a:lnTo>
                    <a:pt x="41" y="1871"/>
                  </a:lnTo>
                  <a:lnTo>
                    <a:pt x="18" y="1754"/>
                  </a:lnTo>
                  <a:lnTo>
                    <a:pt x="4" y="1638"/>
                  </a:lnTo>
                  <a:lnTo>
                    <a:pt x="0" y="1518"/>
                  </a:lnTo>
                  <a:lnTo>
                    <a:pt x="6" y="1387"/>
                  </a:lnTo>
                  <a:lnTo>
                    <a:pt x="25" y="1255"/>
                  </a:lnTo>
                  <a:lnTo>
                    <a:pt x="54" y="1130"/>
                  </a:lnTo>
                  <a:lnTo>
                    <a:pt x="94" y="1006"/>
                  </a:lnTo>
                  <a:lnTo>
                    <a:pt x="144" y="888"/>
                  </a:lnTo>
                  <a:lnTo>
                    <a:pt x="203" y="773"/>
                  </a:lnTo>
                  <a:lnTo>
                    <a:pt x="269" y="666"/>
                  </a:lnTo>
                  <a:lnTo>
                    <a:pt x="348" y="564"/>
                  </a:lnTo>
                  <a:lnTo>
                    <a:pt x="432" y="468"/>
                  </a:lnTo>
                  <a:lnTo>
                    <a:pt x="523" y="381"/>
                  </a:lnTo>
                  <a:lnTo>
                    <a:pt x="622" y="301"/>
                  </a:lnTo>
                  <a:lnTo>
                    <a:pt x="727" y="228"/>
                  </a:lnTo>
                  <a:lnTo>
                    <a:pt x="840" y="165"/>
                  </a:lnTo>
                  <a:lnTo>
                    <a:pt x="956" y="112"/>
                  </a:lnTo>
                  <a:lnTo>
                    <a:pt x="1078" y="68"/>
                  </a:lnTo>
                  <a:lnTo>
                    <a:pt x="1204" y="34"/>
                  </a:lnTo>
                  <a:lnTo>
                    <a:pt x="1334" y="11"/>
                  </a:lnTo>
                  <a:lnTo>
                    <a:pt x="14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76" name="Freeform 10">
              <a:extLst>
                <a:ext uri="{FF2B5EF4-FFF2-40B4-BE49-F238E27FC236}">
                  <a16:creationId xmlns:a16="http://schemas.microsoft.com/office/drawing/2014/main" xmlns="" id="{47B0AB35-FEE0-4978-AC9C-0F811233C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938" y="3470276"/>
              <a:ext cx="471488" cy="468313"/>
            </a:xfrm>
            <a:custGeom>
              <a:avLst/>
              <a:gdLst>
                <a:gd name="T0" fmla="*/ 458 w 593"/>
                <a:gd name="T1" fmla="*/ 0 h 590"/>
                <a:gd name="T2" fmla="*/ 492 w 593"/>
                <a:gd name="T3" fmla="*/ 4 h 590"/>
                <a:gd name="T4" fmla="*/ 524 w 593"/>
                <a:gd name="T5" fmla="*/ 17 h 590"/>
                <a:gd name="T6" fmla="*/ 553 w 593"/>
                <a:gd name="T7" fmla="*/ 38 h 590"/>
                <a:gd name="T8" fmla="*/ 576 w 593"/>
                <a:gd name="T9" fmla="*/ 66 h 590"/>
                <a:gd name="T10" fmla="*/ 587 w 593"/>
                <a:gd name="T11" fmla="*/ 99 h 590"/>
                <a:gd name="T12" fmla="*/ 593 w 593"/>
                <a:gd name="T13" fmla="*/ 133 h 590"/>
                <a:gd name="T14" fmla="*/ 587 w 593"/>
                <a:gd name="T15" fmla="*/ 167 h 590"/>
                <a:gd name="T16" fmla="*/ 576 w 593"/>
                <a:gd name="T17" fmla="*/ 198 h 590"/>
                <a:gd name="T18" fmla="*/ 553 w 593"/>
                <a:gd name="T19" fmla="*/ 227 h 590"/>
                <a:gd name="T20" fmla="*/ 229 w 593"/>
                <a:gd name="T21" fmla="*/ 552 h 590"/>
                <a:gd name="T22" fmla="*/ 200 w 593"/>
                <a:gd name="T23" fmla="*/ 573 h 590"/>
                <a:gd name="T24" fmla="*/ 168 w 593"/>
                <a:gd name="T25" fmla="*/ 587 h 590"/>
                <a:gd name="T26" fmla="*/ 133 w 593"/>
                <a:gd name="T27" fmla="*/ 590 h 590"/>
                <a:gd name="T28" fmla="*/ 101 w 593"/>
                <a:gd name="T29" fmla="*/ 587 h 590"/>
                <a:gd name="T30" fmla="*/ 68 w 593"/>
                <a:gd name="T31" fmla="*/ 573 h 590"/>
                <a:gd name="T32" fmla="*/ 40 w 593"/>
                <a:gd name="T33" fmla="*/ 552 h 590"/>
                <a:gd name="T34" fmla="*/ 17 w 593"/>
                <a:gd name="T35" fmla="*/ 524 h 590"/>
                <a:gd name="T36" fmla="*/ 4 w 593"/>
                <a:gd name="T37" fmla="*/ 491 h 590"/>
                <a:gd name="T38" fmla="*/ 0 w 593"/>
                <a:gd name="T39" fmla="*/ 457 h 590"/>
                <a:gd name="T40" fmla="*/ 4 w 593"/>
                <a:gd name="T41" fmla="*/ 425 h 590"/>
                <a:gd name="T42" fmla="*/ 17 w 593"/>
                <a:gd name="T43" fmla="*/ 392 h 590"/>
                <a:gd name="T44" fmla="*/ 40 w 593"/>
                <a:gd name="T45" fmla="*/ 364 h 590"/>
                <a:gd name="T46" fmla="*/ 364 w 593"/>
                <a:gd name="T47" fmla="*/ 38 h 590"/>
                <a:gd name="T48" fmla="*/ 393 w 593"/>
                <a:gd name="T49" fmla="*/ 17 h 590"/>
                <a:gd name="T50" fmla="*/ 425 w 593"/>
                <a:gd name="T51" fmla="*/ 4 h 590"/>
                <a:gd name="T52" fmla="*/ 458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458" y="0"/>
                  </a:moveTo>
                  <a:lnTo>
                    <a:pt x="492" y="4"/>
                  </a:lnTo>
                  <a:lnTo>
                    <a:pt x="524" y="17"/>
                  </a:lnTo>
                  <a:lnTo>
                    <a:pt x="553" y="38"/>
                  </a:lnTo>
                  <a:lnTo>
                    <a:pt x="576" y="66"/>
                  </a:lnTo>
                  <a:lnTo>
                    <a:pt x="587" y="99"/>
                  </a:lnTo>
                  <a:lnTo>
                    <a:pt x="593" y="133"/>
                  </a:lnTo>
                  <a:lnTo>
                    <a:pt x="587" y="167"/>
                  </a:lnTo>
                  <a:lnTo>
                    <a:pt x="576" y="198"/>
                  </a:lnTo>
                  <a:lnTo>
                    <a:pt x="553" y="227"/>
                  </a:lnTo>
                  <a:lnTo>
                    <a:pt x="229" y="552"/>
                  </a:lnTo>
                  <a:lnTo>
                    <a:pt x="200" y="573"/>
                  </a:lnTo>
                  <a:lnTo>
                    <a:pt x="168" y="587"/>
                  </a:lnTo>
                  <a:lnTo>
                    <a:pt x="133" y="590"/>
                  </a:lnTo>
                  <a:lnTo>
                    <a:pt x="101" y="587"/>
                  </a:lnTo>
                  <a:lnTo>
                    <a:pt x="68" y="573"/>
                  </a:lnTo>
                  <a:lnTo>
                    <a:pt x="40" y="552"/>
                  </a:lnTo>
                  <a:lnTo>
                    <a:pt x="17" y="524"/>
                  </a:lnTo>
                  <a:lnTo>
                    <a:pt x="4" y="491"/>
                  </a:lnTo>
                  <a:lnTo>
                    <a:pt x="0" y="457"/>
                  </a:lnTo>
                  <a:lnTo>
                    <a:pt x="4" y="425"/>
                  </a:lnTo>
                  <a:lnTo>
                    <a:pt x="17" y="392"/>
                  </a:lnTo>
                  <a:lnTo>
                    <a:pt x="40" y="364"/>
                  </a:lnTo>
                  <a:lnTo>
                    <a:pt x="364" y="38"/>
                  </a:lnTo>
                  <a:lnTo>
                    <a:pt x="393" y="17"/>
                  </a:lnTo>
                  <a:lnTo>
                    <a:pt x="425" y="4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77" name="Freeform 11">
              <a:extLst>
                <a:ext uri="{FF2B5EF4-FFF2-40B4-BE49-F238E27FC236}">
                  <a16:creationId xmlns:a16="http://schemas.microsoft.com/office/drawing/2014/main" xmlns="" id="{8FB19A65-D4B3-4ED2-B91B-A5F67C0D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0375" y="7291388"/>
              <a:ext cx="1057275" cy="211138"/>
            </a:xfrm>
            <a:custGeom>
              <a:avLst/>
              <a:gdLst>
                <a:gd name="T0" fmla="*/ 133 w 1333"/>
                <a:gd name="T1" fmla="*/ 0 h 265"/>
                <a:gd name="T2" fmla="*/ 1199 w 1333"/>
                <a:gd name="T3" fmla="*/ 0 h 265"/>
                <a:gd name="T4" fmla="*/ 1234 w 1333"/>
                <a:gd name="T5" fmla="*/ 4 h 265"/>
                <a:gd name="T6" fmla="*/ 1266 w 1333"/>
                <a:gd name="T7" fmla="*/ 17 h 265"/>
                <a:gd name="T8" fmla="*/ 1293 w 1333"/>
                <a:gd name="T9" fmla="*/ 38 h 265"/>
                <a:gd name="T10" fmla="*/ 1314 w 1333"/>
                <a:gd name="T11" fmla="*/ 65 h 265"/>
                <a:gd name="T12" fmla="*/ 1327 w 1333"/>
                <a:gd name="T13" fmla="*/ 97 h 265"/>
                <a:gd name="T14" fmla="*/ 1333 w 1333"/>
                <a:gd name="T15" fmla="*/ 131 h 265"/>
                <a:gd name="T16" fmla="*/ 1327 w 1333"/>
                <a:gd name="T17" fmla="*/ 168 h 265"/>
                <a:gd name="T18" fmla="*/ 1314 w 1333"/>
                <a:gd name="T19" fmla="*/ 200 h 265"/>
                <a:gd name="T20" fmla="*/ 1293 w 1333"/>
                <a:gd name="T21" fmla="*/ 227 h 265"/>
                <a:gd name="T22" fmla="*/ 1266 w 1333"/>
                <a:gd name="T23" fmla="*/ 248 h 265"/>
                <a:gd name="T24" fmla="*/ 1236 w 1333"/>
                <a:gd name="T25" fmla="*/ 261 h 265"/>
                <a:gd name="T26" fmla="*/ 1199 w 1333"/>
                <a:gd name="T27" fmla="*/ 265 h 265"/>
                <a:gd name="T28" fmla="*/ 133 w 1333"/>
                <a:gd name="T29" fmla="*/ 265 h 265"/>
                <a:gd name="T30" fmla="*/ 99 w 1333"/>
                <a:gd name="T31" fmla="*/ 261 h 265"/>
                <a:gd name="T32" fmla="*/ 66 w 1333"/>
                <a:gd name="T33" fmla="*/ 248 h 265"/>
                <a:gd name="T34" fmla="*/ 40 w 1333"/>
                <a:gd name="T35" fmla="*/ 227 h 265"/>
                <a:gd name="T36" fmla="*/ 19 w 1333"/>
                <a:gd name="T37" fmla="*/ 200 h 265"/>
                <a:gd name="T38" fmla="*/ 5 w 1333"/>
                <a:gd name="T39" fmla="*/ 168 h 265"/>
                <a:gd name="T40" fmla="*/ 0 w 1333"/>
                <a:gd name="T41" fmla="*/ 131 h 265"/>
                <a:gd name="T42" fmla="*/ 5 w 1333"/>
                <a:gd name="T43" fmla="*/ 97 h 265"/>
                <a:gd name="T44" fmla="*/ 19 w 1333"/>
                <a:gd name="T45" fmla="*/ 65 h 265"/>
                <a:gd name="T46" fmla="*/ 40 w 1333"/>
                <a:gd name="T47" fmla="*/ 38 h 265"/>
                <a:gd name="T48" fmla="*/ 66 w 1333"/>
                <a:gd name="T49" fmla="*/ 17 h 265"/>
                <a:gd name="T50" fmla="*/ 97 w 1333"/>
                <a:gd name="T51" fmla="*/ 4 h 265"/>
                <a:gd name="T52" fmla="*/ 133 w 1333"/>
                <a:gd name="T5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3" h="265">
                  <a:moveTo>
                    <a:pt x="133" y="0"/>
                  </a:moveTo>
                  <a:lnTo>
                    <a:pt x="1199" y="0"/>
                  </a:lnTo>
                  <a:lnTo>
                    <a:pt x="1234" y="4"/>
                  </a:lnTo>
                  <a:lnTo>
                    <a:pt x="1266" y="17"/>
                  </a:lnTo>
                  <a:lnTo>
                    <a:pt x="1293" y="38"/>
                  </a:lnTo>
                  <a:lnTo>
                    <a:pt x="1314" y="65"/>
                  </a:lnTo>
                  <a:lnTo>
                    <a:pt x="1327" y="97"/>
                  </a:lnTo>
                  <a:lnTo>
                    <a:pt x="1333" y="131"/>
                  </a:lnTo>
                  <a:lnTo>
                    <a:pt x="1327" y="168"/>
                  </a:lnTo>
                  <a:lnTo>
                    <a:pt x="1314" y="200"/>
                  </a:lnTo>
                  <a:lnTo>
                    <a:pt x="1293" y="227"/>
                  </a:lnTo>
                  <a:lnTo>
                    <a:pt x="1266" y="248"/>
                  </a:lnTo>
                  <a:lnTo>
                    <a:pt x="1236" y="261"/>
                  </a:lnTo>
                  <a:lnTo>
                    <a:pt x="1199" y="265"/>
                  </a:lnTo>
                  <a:lnTo>
                    <a:pt x="133" y="265"/>
                  </a:lnTo>
                  <a:lnTo>
                    <a:pt x="99" y="261"/>
                  </a:lnTo>
                  <a:lnTo>
                    <a:pt x="66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5" y="168"/>
                  </a:lnTo>
                  <a:lnTo>
                    <a:pt x="0" y="131"/>
                  </a:lnTo>
                  <a:lnTo>
                    <a:pt x="5" y="97"/>
                  </a:lnTo>
                  <a:lnTo>
                    <a:pt x="19" y="65"/>
                  </a:lnTo>
                  <a:lnTo>
                    <a:pt x="40" y="38"/>
                  </a:lnTo>
                  <a:lnTo>
                    <a:pt x="66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78" name="Freeform 12">
              <a:extLst>
                <a:ext uri="{FF2B5EF4-FFF2-40B4-BE49-F238E27FC236}">
                  <a16:creationId xmlns:a16="http://schemas.microsoft.com/office/drawing/2014/main" xmlns="" id="{9B615CD9-5598-4EBA-93DB-815F075E5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038" y="7689851"/>
              <a:ext cx="736600" cy="211138"/>
            </a:xfrm>
            <a:custGeom>
              <a:avLst/>
              <a:gdLst>
                <a:gd name="T0" fmla="*/ 133 w 929"/>
                <a:gd name="T1" fmla="*/ 0 h 267"/>
                <a:gd name="T2" fmla="*/ 795 w 929"/>
                <a:gd name="T3" fmla="*/ 0 h 267"/>
                <a:gd name="T4" fmla="*/ 831 w 929"/>
                <a:gd name="T5" fmla="*/ 4 h 267"/>
                <a:gd name="T6" fmla="*/ 864 w 929"/>
                <a:gd name="T7" fmla="*/ 17 h 267"/>
                <a:gd name="T8" fmla="*/ 891 w 929"/>
                <a:gd name="T9" fmla="*/ 38 h 267"/>
                <a:gd name="T10" fmla="*/ 912 w 929"/>
                <a:gd name="T11" fmla="*/ 67 h 267"/>
                <a:gd name="T12" fmla="*/ 925 w 929"/>
                <a:gd name="T13" fmla="*/ 97 h 267"/>
                <a:gd name="T14" fmla="*/ 929 w 929"/>
                <a:gd name="T15" fmla="*/ 133 h 267"/>
                <a:gd name="T16" fmla="*/ 925 w 929"/>
                <a:gd name="T17" fmla="*/ 168 h 267"/>
                <a:gd name="T18" fmla="*/ 912 w 929"/>
                <a:gd name="T19" fmla="*/ 200 h 267"/>
                <a:gd name="T20" fmla="*/ 891 w 929"/>
                <a:gd name="T21" fmla="*/ 227 h 267"/>
                <a:gd name="T22" fmla="*/ 864 w 929"/>
                <a:gd name="T23" fmla="*/ 248 h 267"/>
                <a:gd name="T24" fmla="*/ 831 w 929"/>
                <a:gd name="T25" fmla="*/ 261 h 267"/>
                <a:gd name="T26" fmla="*/ 795 w 929"/>
                <a:gd name="T27" fmla="*/ 267 h 267"/>
                <a:gd name="T28" fmla="*/ 133 w 929"/>
                <a:gd name="T29" fmla="*/ 267 h 267"/>
                <a:gd name="T30" fmla="*/ 99 w 929"/>
                <a:gd name="T31" fmla="*/ 261 h 267"/>
                <a:gd name="T32" fmla="*/ 67 w 929"/>
                <a:gd name="T33" fmla="*/ 248 h 267"/>
                <a:gd name="T34" fmla="*/ 40 w 929"/>
                <a:gd name="T35" fmla="*/ 227 h 267"/>
                <a:gd name="T36" fmla="*/ 19 w 929"/>
                <a:gd name="T37" fmla="*/ 200 h 267"/>
                <a:gd name="T38" fmla="*/ 6 w 929"/>
                <a:gd name="T39" fmla="*/ 168 h 267"/>
                <a:gd name="T40" fmla="*/ 0 w 929"/>
                <a:gd name="T41" fmla="*/ 133 h 267"/>
                <a:gd name="T42" fmla="*/ 6 w 929"/>
                <a:gd name="T43" fmla="*/ 97 h 267"/>
                <a:gd name="T44" fmla="*/ 19 w 929"/>
                <a:gd name="T45" fmla="*/ 67 h 267"/>
                <a:gd name="T46" fmla="*/ 40 w 929"/>
                <a:gd name="T47" fmla="*/ 38 h 267"/>
                <a:gd name="T48" fmla="*/ 67 w 929"/>
                <a:gd name="T49" fmla="*/ 17 h 267"/>
                <a:gd name="T50" fmla="*/ 97 w 929"/>
                <a:gd name="T51" fmla="*/ 4 h 267"/>
                <a:gd name="T52" fmla="*/ 133 w 929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29" h="267">
                  <a:moveTo>
                    <a:pt x="133" y="0"/>
                  </a:moveTo>
                  <a:lnTo>
                    <a:pt x="795" y="0"/>
                  </a:lnTo>
                  <a:lnTo>
                    <a:pt x="831" y="4"/>
                  </a:lnTo>
                  <a:lnTo>
                    <a:pt x="864" y="17"/>
                  </a:lnTo>
                  <a:lnTo>
                    <a:pt x="891" y="38"/>
                  </a:lnTo>
                  <a:lnTo>
                    <a:pt x="912" y="67"/>
                  </a:lnTo>
                  <a:lnTo>
                    <a:pt x="925" y="97"/>
                  </a:lnTo>
                  <a:lnTo>
                    <a:pt x="929" y="133"/>
                  </a:lnTo>
                  <a:lnTo>
                    <a:pt x="925" y="168"/>
                  </a:lnTo>
                  <a:lnTo>
                    <a:pt x="912" y="200"/>
                  </a:lnTo>
                  <a:lnTo>
                    <a:pt x="891" y="227"/>
                  </a:lnTo>
                  <a:lnTo>
                    <a:pt x="864" y="248"/>
                  </a:lnTo>
                  <a:lnTo>
                    <a:pt x="831" y="261"/>
                  </a:lnTo>
                  <a:lnTo>
                    <a:pt x="795" y="267"/>
                  </a:lnTo>
                  <a:lnTo>
                    <a:pt x="133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3"/>
                  </a:lnTo>
                  <a:lnTo>
                    <a:pt x="6" y="97"/>
                  </a:lnTo>
                  <a:lnTo>
                    <a:pt x="19" y="67"/>
                  </a:lnTo>
                  <a:lnTo>
                    <a:pt x="40" y="38"/>
                  </a:lnTo>
                  <a:lnTo>
                    <a:pt x="67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79" name="Freeform 13">
              <a:extLst>
                <a:ext uri="{FF2B5EF4-FFF2-40B4-BE49-F238E27FC236}">
                  <a16:creationId xmlns:a16="http://schemas.microsoft.com/office/drawing/2014/main" xmlns="" id="{F0EEC5F4-7BD4-4091-86E7-29584246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13" y="2924176"/>
              <a:ext cx="209550" cy="576263"/>
            </a:xfrm>
            <a:custGeom>
              <a:avLst/>
              <a:gdLst>
                <a:gd name="T0" fmla="*/ 131 w 265"/>
                <a:gd name="T1" fmla="*/ 0 h 726"/>
                <a:gd name="T2" fmla="*/ 168 w 265"/>
                <a:gd name="T3" fmla="*/ 4 h 726"/>
                <a:gd name="T4" fmla="*/ 200 w 265"/>
                <a:gd name="T5" fmla="*/ 17 h 726"/>
                <a:gd name="T6" fmla="*/ 227 w 265"/>
                <a:gd name="T7" fmla="*/ 38 h 726"/>
                <a:gd name="T8" fmla="*/ 248 w 265"/>
                <a:gd name="T9" fmla="*/ 65 h 726"/>
                <a:gd name="T10" fmla="*/ 261 w 265"/>
                <a:gd name="T11" fmla="*/ 97 h 726"/>
                <a:gd name="T12" fmla="*/ 265 w 265"/>
                <a:gd name="T13" fmla="*/ 133 h 726"/>
                <a:gd name="T14" fmla="*/ 265 w 265"/>
                <a:gd name="T15" fmla="*/ 593 h 726"/>
                <a:gd name="T16" fmla="*/ 261 w 265"/>
                <a:gd name="T17" fmla="*/ 627 h 726"/>
                <a:gd name="T18" fmla="*/ 248 w 265"/>
                <a:gd name="T19" fmla="*/ 659 h 726"/>
                <a:gd name="T20" fmla="*/ 227 w 265"/>
                <a:gd name="T21" fmla="*/ 686 h 726"/>
                <a:gd name="T22" fmla="*/ 200 w 265"/>
                <a:gd name="T23" fmla="*/ 707 h 726"/>
                <a:gd name="T24" fmla="*/ 168 w 265"/>
                <a:gd name="T25" fmla="*/ 720 h 726"/>
                <a:gd name="T26" fmla="*/ 131 w 265"/>
                <a:gd name="T27" fmla="*/ 726 h 726"/>
                <a:gd name="T28" fmla="*/ 97 w 265"/>
                <a:gd name="T29" fmla="*/ 720 h 726"/>
                <a:gd name="T30" fmla="*/ 65 w 265"/>
                <a:gd name="T31" fmla="*/ 707 h 726"/>
                <a:gd name="T32" fmla="*/ 38 w 265"/>
                <a:gd name="T33" fmla="*/ 686 h 726"/>
                <a:gd name="T34" fmla="*/ 17 w 265"/>
                <a:gd name="T35" fmla="*/ 659 h 726"/>
                <a:gd name="T36" fmla="*/ 4 w 265"/>
                <a:gd name="T37" fmla="*/ 627 h 726"/>
                <a:gd name="T38" fmla="*/ 0 w 265"/>
                <a:gd name="T39" fmla="*/ 593 h 726"/>
                <a:gd name="T40" fmla="*/ 0 w 265"/>
                <a:gd name="T41" fmla="*/ 133 h 726"/>
                <a:gd name="T42" fmla="*/ 4 w 265"/>
                <a:gd name="T43" fmla="*/ 97 h 726"/>
                <a:gd name="T44" fmla="*/ 17 w 265"/>
                <a:gd name="T45" fmla="*/ 65 h 726"/>
                <a:gd name="T46" fmla="*/ 38 w 265"/>
                <a:gd name="T47" fmla="*/ 38 h 726"/>
                <a:gd name="T48" fmla="*/ 65 w 265"/>
                <a:gd name="T49" fmla="*/ 17 h 726"/>
                <a:gd name="T50" fmla="*/ 97 w 265"/>
                <a:gd name="T51" fmla="*/ 4 h 726"/>
                <a:gd name="T52" fmla="*/ 131 w 265"/>
                <a:gd name="T53" fmla="*/ 0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5" h="726">
                  <a:moveTo>
                    <a:pt x="131" y="0"/>
                  </a:moveTo>
                  <a:lnTo>
                    <a:pt x="168" y="4"/>
                  </a:lnTo>
                  <a:lnTo>
                    <a:pt x="200" y="17"/>
                  </a:lnTo>
                  <a:lnTo>
                    <a:pt x="227" y="38"/>
                  </a:lnTo>
                  <a:lnTo>
                    <a:pt x="248" y="65"/>
                  </a:lnTo>
                  <a:lnTo>
                    <a:pt x="261" y="97"/>
                  </a:lnTo>
                  <a:lnTo>
                    <a:pt x="265" y="133"/>
                  </a:lnTo>
                  <a:lnTo>
                    <a:pt x="265" y="593"/>
                  </a:lnTo>
                  <a:lnTo>
                    <a:pt x="261" y="627"/>
                  </a:lnTo>
                  <a:lnTo>
                    <a:pt x="248" y="659"/>
                  </a:lnTo>
                  <a:lnTo>
                    <a:pt x="227" y="686"/>
                  </a:lnTo>
                  <a:lnTo>
                    <a:pt x="200" y="707"/>
                  </a:lnTo>
                  <a:lnTo>
                    <a:pt x="168" y="720"/>
                  </a:lnTo>
                  <a:lnTo>
                    <a:pt x="131" y="726"/>
                  </a:lnTo>
                  <a:lnTo>
                    <a:pt x="97" y="720"/>
                  </a:lnTo>
                  <a:lnTo>
                    <a:pt x="65" y="707"/>
                  </a:lnTo>
                  <a:lnTo>
                    <a:pt x="38" y="686"/>
                  </a:lnTo>
                  <a:lnTo>
                    <a:pt x="17" y="659"/>
                  </a:lnTo>
                  <a:lnTo>
                    <a:pt x="4" y="627"/>
                  </a:lnTo>
                  <a:lnTo>
                    <a:pt x="0" y="593"/>
                  </a:lnTo>
                  <a:lnTo>
                    <a:pt x="0" y="133"/>
                  </a:lnTo>
                  <a:lnTo>
                    <a:pt x="4" y="97"/>
                  </a:lnTo>
                  <a:lnTo>
                    <a:pt x="17" y="65"/>
                  </a:lnTo>
                  <a:lnTo>
                    <a:pt x="38" y="38"/>
                  </a:lnTo>
                  <a:lnTo>
                    <a:pt x="65" y="17"/>
                  </a:lnTo>
                  <a:lnTo>
                    <a:pt x="97" y="4"/>
                  </a:lnTo>
                  <a:lnTo>
                    <a:pt x="1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80" name="Freeform 14">
              <a:extLst>
                <a:ext uri="{FF2B5EF4-FFF2-40B4-BE49-F238E27FC236}">
                  <a16:creationId xmlns:a16="http://schemas.microsoft.com/office/drawing/2014/main" xmlns="" id="{96BB5547-0E7F-4FCF-A944-AAFB4493B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58900" y="3470276"/>
              <a:ext cx="471488" cy="468313"/>
            </a:xfrm>
            <a:custGeom>
              <a:avLst/>
              <a:gdLst>
                <a:gd name="T0" fmla="*/ 133 w 593"/>
                <a:gd name="T1" fmla="*/ 0 h 590"/>
                <a:gd name="T2" fmla="*/ 167 w 593"/>
                <a:gd name="T3" fmla="*/ 5 h 590"/>
                <a:gd name="T4" fmla="*/ 200 w 593"/>
                <a:gd name="T5" fmla="*/ 17 h 590"/>
                <a:gd name="T6" fmla="*/ 229 w 593"/>
                <a:gd name="T7" fmla="*/ 40 h 590"/>
                <a:gd name="T8" fmla="*/ 553 w 593"/>
                <a:gd name="T9" fmla="*/ 366 h 590"/>
                <a:gd name="T10" fmla="*/ 576 w 593"/>
                <a:gd name="T11" fmla="*/ 392 h 590"/>
                <a:gd name="T12" fmla="*/ 589 w 593"/>
                <a:gd name="T13" fmla="*/ 425 h 590"/>
                <a:gd name="T14" fmla="*/ 593 w 593"/>
                <a:gd name="T15" fmla="*/ 459 h 590"/>
                <a:gd name="T16" fmla="*/ 589 w 593"/>
                <a:gd name="T17" fmla="*/ 491 h 590"/>
                <a:gd name="T18" fmla="*/ 576 w 593"/>
                <a:gd name="T19" fmla="*/ 524 h 590"/>
                <a:gd name="T20" fmla="*/ 553 w 593"/>
                <a:gd name="T21" fmla="*/ 552 h 590"/>
                <a:gd name="T22" fmla="*/ 524 w 593"/>
                <a:gd name="T23" fmla="*/ 573 h 590"/>
                <a:gd name="T24" fmla="*/ 494 w 593"/>
                <a:gd name="T25" fmla="*/ 587 h 590"/>
                <a:gd name="T26" fmla="*/ 459 w 593"/>
                <a:gd name="T27" fmla="*/ 590 h 590"/>
                <a:gd name="T28" fmla="*/ 425 w 593"/>
                <a:gd name="T29" fmla="*/ 587 h 590"/>
                <a:gd name="T30" fmla="*/ 393 w 593"/>
                <a:gd name="T31" fmla="*/ 573 h 590"/>
                <a:gd name="T32" fmla="*/ 364 w 593"/>
                <a:gd name="T33" fmla="*/ 552 h 590"/>
                <a:gd name="T34" fmla="*/ 40 w 593"/>
                <a:gd name="T35" fmla="*/ 228 h 590"/>
                <a:gd name="T36" fmla="*/ 17 w 593"/>
                <a:gd name="T37" fmla="*/ 200 h 590"/>
                <a:gd name="T38" fmla="*/ 5 w 593"/>
                <a:gd name="T39" fmla="*/ 167 h 590"/>
                <a:gd name="T40" fmla="*/ 0 w 593"/>
                <a:gd name="T41" fmla="*/ 135 h 590"/>
                <a:gd name="T42" fmla="*/ 5 w 593"/>
                <a:gd name="T43" fmla="*/ 101 h 590"/>
                <a:gd name="T44" fmla="*/ 19 w 593"/>
                <a:gd name="T45" fmla="*/ 68 h 590"/>
                <a:gd name="T46" fmla="*/ 40 w 593"/>
                <a:gd name="T47" fmla="*/ 40 h 590"/>
                <a:gd name="T48" fmla="*/ 68 w 593"/>
                <a:gd name="T49" fmla="*/ 17 h 590"/>
                <a:gd name="T50" fmla="*/ 99 w 593"/>
                <a:gd name="T51" fmla="*/ 5 h 590"/>
                <a:gd name="T52" fmla="*/ 133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133" y="0"/>
                  </a:moveTo>
                  <a:lnTo>
                    <a:pt x="167" y="5"/>
                  </a:lnTo>
                  <a:lnTo>
                    <a:pt x="200" y="17"/>
                  </a:lnTo>
                  <a:lnTo>
                    <a:pt x="229" y="40"/>
                  </a:lnTo>
                  <a:lnTo>
                    <a:pt x="553" y="366"/>
                  </a:lnTo>
                  <a:lnTo>
                    <a:pt x="576" y="392"/>
                  </a:lnTo>
                  <a:lnTo>
                    <a:pt x="589" y="425"/>
                  </a:lnTo>
                  <a:lnTo>
                    <a:pt x="593" y="459"/>
                  </a:lnTo>
                  <a:lnTo>
                    <a:pt x="589" y="491"/>
                  </a:lnTo>
                  <a:lnTo>
                    <a:pt x="576" y="524"/>
                  </a:lnTo>
                  <a:lnTo>
                    <a:pt x="553" y="552"/>
                  </a:lnTo>
                  <a:lnTo>
                    <a:pt x="524" y="573"/>
                  </a:lnTo>
                  <a:lnTo>
                    <a:pt x="494" y="587"/>
                  </a:lnTo>
                  <a:lnTo>
                    <a:pt x="459" y="590"/>
                  </a:lnTo>
                  <a:lnTo>
                    <a:pt x="425" y="587"/>
                  </a:lnTo>
                  <a:lnTo>
                    <a:pt x="393" y="573"/>
                  </a:lnTo>
                  <a:lnTo>
                    <a:pt x="364" y="552"/>
                  </a:lnTo>
                  <a:lnTo>
                    <a:pt x="40" y="228"/>
                  </a:lnTo>
                  <a:lnTo>
                    <a:pt x="17" y="200"/>
                  </a:lnTo>
                  <a:lnTo>
                    <a:pt x="5" y="167"/>
                  </a:lnTo>
                  <a:lnTo>
                    <a:pt x="0" y="135"/>
                  </a:lnTo>
                  <a:lnTo>
                    <a:pt x="5" y="101"/>
                  </a:lnTo>
                  <a:lnTo>
                    <a:pt x="19" y="68"/>
                  </a:lnTo>
                  <a:lnTo>
                    <a:pt x="40" y="40"/>
                  </a:lnTo>
                  <a:lnTo>
                    <a:pt x="68" y="17"/>
                  </a:lnTo>
                  <a:lnTo>
                    <a:pt x="99" y="5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81" name="Freeform 15">
              <a:extLst>
                <a:ext uri="{FF2B5EF4-FFF2-40B4-BE49-F238E27FC236}">
                  <a16:creationId xmlns:a16="http://schemas.microsoft.com/office/drawing/2014/main" xmlns="" id="{72B6246B-8A41-4BCE-BD55-BDACACF5C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263" y="4789488"/>
              <a:ext cx="576263" cy="211138"/>
            </a:xfrm>
            <a:custGeom>
              <a:avLst/>
              <a:gdLst>
                <a:gd name="T0" fmla="*/ 133 w 726"/>
                <a:gd name="T1" fmla="*/ 0 h 267"/>
                <a:gd name="T2" fmla="*/ 593 w 726"/>
                <a:gd name="T3" fmla="*/ 0 h 267"/>
                <a:gd name="T4" fmla="*/ 627 w 726"/>
                <a:gd name="T5" fmla="*/ 6 h 267"/>
                <a:gd name="T6" fmla="*/ 660 w 726"/>
                <a:gd name="T7" fmla="*/ 19 h 267"/>
                <a:gd name="T8" fmla="*/ 686 w 726"/>
                <a:gd name="T9" fmla="*/ 40 h 267"/>
                <a:gd name="T10" fmla="*/ 707 w 726"/>
                <a:gd name="T11" fmla="*/ 67 h 267"/>
                <a:gd name="T12" fmla="*/ 721 w 726"/>
                <a:gd name="T13" fmla="*/ 98 h 267"/>
                <a:gd name="T14" fmla="*/ 726 w 726"/>
                <a:gd name="T15" fmla="*/ 134 h 267"/>
                <a:gd name="T16" fmla="*/ 721 w 726"/>
                <a:gd name="T17" fmla="*/ 168 h 267"/>
                <a:gd name="T18" fmla="*/ 707 w 726"/>
                <a:gd name="T19" fmla="*/ 200 h 267"/>
                <a:gd name="T20" fmla="*/ 686 w 726"/>
                <a:gd name="T21" fmla="*/ 227 h 267"/>
                <a:gd name="T22" fmla="*/ 660 w 726"/>
                <a:gd name="T23" fmla="*/ 248 h 267"/>
                <a:gd name="T24" fmla="*/ 629 w 726"/>
                <a:gd name="T25" fmla="*/ 261 h 267"/>
                <a:gd name="T26" fmla="*/ 593 w 726"/>
                <a:gd name="T27" fmla="*/ 267 h 267"/>
                <a:gd name="T28" fmla="*/ 133 w 726"/>
                <a:gd name="T29" fmla="*/ 267 h 267"/>
                <a:gd name="T30" fmla="*/ 97 w 726"/>
                <a:gd name="T31" fmla="*/ 261 h 267"/>
                <a:gd name="T32" fmla="*/ 67 w 726"/>
                <a:gd name="T33" fmla="*/ 248 h 267"/>
                <a:gd name="T34" fmla="*/ 38 w 726"/>
                <a:gd name="T35" fmla="*/ 227 h 267"/>
                <a:gd name="T36" fmla="*/ 17 w 726"/>
                <a:gd name="T37" fmla="*/ 200 h 267"/>
                <a:gd name="T38" fmla="*/ 4 w 726"/>
                <a:gd name="T39" fmla="*/ 168 h 267"/>
                <a:gd name="T40" fmla="*/ 0 w 726"/>
                <a:gd name="T41" fmla="*/ 134 h 267"/>
                <a:gd name="T42" fmla="*/ 4 w 726"/>
                <a:gd name="T43" fmla="*/ 98 h 267"/>
                <a:gd name="T44" fmla="*/ 17 w 726"/>
                <a:gd name="T45" fmla="*/ 67 h 267"/>
                <a:gd name="T46" fmla="*/ 38 w 726"/>
                <a:gd name="T47" fmla="*/ 40 h 267"/>
                <a:gd name="T48" fmla="*/ 65 w 726"/>
                <a:gd name="T49" fmla="*/ 19 h 267"/>
                <a:gd name="T50" fmla="*/ 97 w 726"/>
                <a:gd name="T51" fmla="*/ 6 h 267"/>
                <a:gd name="T52" fmla="*/ 133 w 726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6" h="267">
                  <a:moveTo>
                    <a:pt x="133" y="0"/>
                  </a:moveTo>
                  <a:lnTo>
                    <a:pt x="593" y="0"/>
                  </a:lnTo>
                  <a:lnTo>
                    <a:pt x="627" y="6"/>
                  </a:lnTo>
                  <a:lnTo>
                    <a:pt x="660" y="19"/>
                  </a:lnTo>
                  <a:lnTo>
                    <a:pt x="686" y="40"/>
                  </a:lnTo>
                  <a:lnTo>
                    <a:pt x="707" y="67"/>
                  </a:lnTo>
                  <a:lnTo>
                    <a:pt x="721" y="98"/>
                  </a:lnTo>
                  <a:lnTo>
                    <a:pt x="726" y="134"/>
                  </a:lnTo>
                  <a:lnTo>
                    <a:pt x="721" y="168"/>
                  </a:lnTo>
                  <a:lnTo>
                    <a:pt x="707" y="200"/>
                  </a:lnTo>
                  <a:lnTo>
                    <a:pt x="686" y="227"/>
                  </a:lnTo>
                  <a:lnTo>
                    <a:pt x="660" y="248"/>
                  </a:lnTo>
                  <a:lnTo>
                    <a:pt x="629" y="261"/>
                  </a:lnTo>
                  <a:lnTo>
                    <a:pt x="593" y="267"/>
                  </a:lnTo>
                  <a:lnTo>
                    <a:pt x="133" y="267"/>
                  </a:lnTo>
                  <a:lnTo>
                    <a:pt x="97" y="261"/>
                  </a:lnTo>
                  <a:lnTo>
                    <a:pt x="67" y="248"/>
                  </a:lnTo>
                  <a:lnTo>
                    <a:pt x="38" y="227"/>
                  </a:lnTo>
                  <a:lnTo>
                    <a:pt x="17" y="200"/>
                  </a:lnTo>
                  <a:lnTo>
                    <a:pt x="4" y="168"/>
                  </a:lnTo>
                  <a:lnTo>
                    <a:pt x="0" y="134"/>
                  </a:lnTo>
                  <a:lnTo>
                    <a:pt x="4" y="98"/>
                  </a:lnTo>
                  <a:lnTo>
                    <a:pt x="17" y="67"/>
                  </a:lnTo>
                  <a:lnTo>
                    <a:pt x="38" y="40"/>
                  </a:lnTo>
                  <a:lnTo>
                    <a:pt x="65" y="19"/>
                  </a:lnTo>
                  <a:lnTo>
                    <a:pt x="97" y="6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82" name="Freeform 16">
              <a:extLst>
                <a:ext uri="{FF2B5EF4-FFF2-40B4-BE49-F238E27FC236}">
                  <a16:creationId xmlns:a16="http://schemas.microsoft.com/office/drawing/2014/main" xmlns="" id="{578C26C5-1DDF-4979-8D88-C9649EF56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5001" y="4789488"/>
              <a:ext cx="576263" cy="211138"/>
            </a:xfrm>
            <a:custGeom>
              <a:avLst/>
              <a:gdLst>
                <a:gd name="T0" fmla="*/ 134 w 727"/>
                <a:gd name="T1" fmla="*/ 0 h 267"/>
                <a:gd name="T2" fmla="*/ 593 w 727"/>
                <a:gd name="T3" fmla="*/ 0 h 267"/>
                <a:gd name="T4" fmla="*/ 630 w 727"/>
                <a:gd name="T5" fmla="*/ 6 h 267"/>
                <a:gd name="T6" fmla="*/ 662 w 727"/>
                <a:gd name="T7" fmla="*/ 19 h 267"/>
                <a:gd name="T8" fmla="*/ 689 w 727"/>
                <a:gd name="T9" fmla="*/ 40 h 267"/>
                <a:gd name="T10" fmla="*/ 710 w 727"/>
                <a:gd name="T11" fmla="*/ 67 h 267"/>
                <a:gd name="T12" fmla="*/ 723 w 727"/>
                <a:gd name="T13" fmla="*/ 98 h 267"/>
                <a:gd name="T14" fmla="*/ 727 w 727"/>
                <a:gd name="T15" fmla="*/ 134 h 267"/>
                <a:gd name="T16" fmla="*/ 723 w 727"/>
                <a:gd name="T17" fmla="*/ 168 h 267"/>
                <a:gd name="T18" fmla="*/ 710 w 727"/>
                <a:gd name="T19" fmla="*/ 200 h 267"/>
                <a:gd name="T20" fmla="*/ 689 w 727"/>
                <a:gd name="T21" fmla="*/ 227 h 267"/>
                <a:gd name="T22" fmla="*/ 662 w 727"/>
                <a:gd name="T23" fmla="*/ 248 h 267"/>
                <a:gd name="T24" fmla="*/ 630 w 727"/>
                <a:gd name="T25" fmla="*/ 261 h 267"/>
                <a:gd name="T26" fmla="*/ 593 w 727"/>
                <a:gd name="T27" fmla="*/ 267 h 267"/>
                <a:gd name="T28" fmla="*/ 134 w 727"/>
                <a:gd name="T29" fmla="*/ 267 h 267"/>
                <a:gd name="T30" fmla="*/ 99 w 727"/>
                <a:gd name="T31" fmla="*/ 261 h 267"/>
                <a:gd name="T32" fmla="*/ 67 w 727"/>
                <a:gd name="T33" fmla="*/ 248 h 267"/>
                <a:gd name="T34" fmla="*/ 40 w 727"/>
                <a:gd name="T35" fmla="*/ 227 h 267"/>
                <a:gd name="T36" fmla="*/ 19 w 727"/>
                <a:gd name="T37" fmla="*/ 200 h 267"/>
                <a:gd name="T38" fmla="*/ 6 w 727"/>
                <a:gd name="T39" fmla="*/ 168 h 267"/>
                <a:gd name="T40" fmla="*/ 0 w 727"/>
                <a:gd name="T41" fmla="*/ 134 h 267"/>
                <a:gd name="T42" fmla="*/ 6 w 727"/>
                <a:gd name="T43" fmla="*/ 98 h 267"/>
                <a:gd name="T44" fmla="*/ 19 w 727"/>
                <a:gd name="T45" fmla="*/ 67 h 267"/>
                <a:gd name="T46" fmla="*/ 40 w 727"/>
                <a:gd name="T47" fmla="*/ 40 h 267"/>
                <a:gd name="T48" fmla="*/ 67 w 727"/>
                <a:gd name="T49" fmla="*/ 19 h 267"/>
                <a:gd name="T50" fmla="*/ 97 w 727"/>
                <a:gd name="T51" fmla="*/ 6 h 267"/>
                <a:gd name="T52" fmla="*/ 134 w 727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7" h="267">
                  <a:moveTo>
                    <a:pt x="134" y="0"/>
                  </a:moveTo>
                  <a:lnTo>
                    <a:pt x="593" y="0"/>
                  </a:lnTo>
                  <a:lnTo>
                    <a:pt x="630" y="6"/>
                  </a:lnTo>
                  <a:lnTo>
                    <a:pt x="662" y="19"/>
                  </a:lnTo>
                  <a:lnTo>
                    <a:pt x="689" y="40"/>
                  </a:lnTo>
                  <a:lnTo>
                    <a:pt x="710" y="67"/>
                  </a:lnTo>
                  <a:lnTo>
                    <a:pt x="723" y="98"/>
                  </a:lnTo>
                  <a:lnTo>
                    <a:pt x="727" y="134"/>
                  </a:lnTo>
                  <a:lnTo>
                    <a:pt x="723" y="168"/>
                  </a:lnTo>
                  <a:lnTo>
                    <a:pt x="710" y="200"/>
                  </a:lnTo>
                  <a:lnTo>
                    <a:pt x="689" y="227"/>
                  </a:lnTo>
                  <a:lnTo>
                    <a:pt x="662" y="248"/>
                  </a:lnTo>
                  <a:lnTo>
                    <a:pt x="630" y="261"/>
                  </a:lnTo>
                  <a:lnTo>
                    <a:pt x="593" y="267"/>
                  </a:lnTo>
                  <a:lnTo>
                    <a:pt x="134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4"/>
                  </a:lnTo>
                  <a:lnTo>
                    <a:pt x="6" y="98"/>
                  </a:lnTo>
                  <a:lnTo>
                    <a:pt x="19" y="67"/>
                  </a:lnTo>
                  <a:lnTo>
                    <a:pt x="40" y="40"/>
                  </a:lnTo>
                  <a:lnTo>
                    <a:pt x="67" y="19"/>
                  </a:lnTo>
                  <a:lnTo>
                    <a:pt x="97" y="6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</p:grpSp>
      <p:sp>
        <p:nvSpPr>
          <p:cNvPr id="83" name="Freeform 850">
            <a:extLst>
              <a:ext uri="{FF2B5EF4-FFF2-40B4-BE49-F238E27FC236}">
                <a16:creationId xmlns:a16="http://schemas.microsoft.com/office/drawing/2014/main" xmlns="" id="{A787DF4C-3E8C-4BBC-857F-AE56FF299FC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264" y="4101329"/>
            <a:ext cx="437204" cy="438490"/>
          </a:xfrm>
          <a:custGeom>
            <a:avLst/>
            <a:gdLst>
              <a:gd name="T0" fmla="*/ 181 w 512"/>
              <a:gd name="T1" fmla="*/ 384 h 512"/>
              <a:gd name="T2" fmla="*/ 170 w 512"/>
              <a:gd name="T3" fmla="*/ 394 h 512"/>
              <a:gd name="T4" fmla="*/ 160 w 512"/>
              <a:gd name="T5" fmla="*/ 384 h 512"/>
              <a:gd name="T6" fmla="*/ 170 w 512"/>
              <a:gd name="T7" fmla="*/ 373 h 512"/>
              <a:gd name="T8" fmla="*/ 181 w 512"/>
              <a:gd name="T9" fmla="*/ 384 h 512"/>
              <a:gd name="T10" fmla="*/ 256 w 512"/>
              <a:gd name="T11" fmla="*/ 373 h 512"/>
              <a:gd name="T12" fmla="*/ 245 w 512"/>
              <a:gd name="T13" fmla="*/ 384 h 512"/>
              <a:gd name="T14" fmla="*/ 256 w 512"/>
              <a:gd name="T15" fmla="*/ 394 h 512"/>
              <a:gd name="T16" fmla="*/ 266 w 512"/>
              <a:gd name="T17" fmla="*/ 384 h 512"/>
              <a:gd name="T18" fmla="*/ 256 w 512"/>
              <a:gd name="T19" fmla="*/ 373 h 512"/>
              <a:gd name="T20" fmla="*/ 256 w 512"/>
              <a:gd name="T21" fmla="*/ 117 h 512"/>
              <a:gd name="T22" fmla="*/ 245 w 512"/>
              <a:gd name="T23" fmla="*/ 128 h 512"/>
              <a:gd name="T24" fmla="*/ 256 w 512"/>
              <a:gd name="T25" fmla="*/ 138 h 512"/>
              <a:gd name="T26" fmla="*/ 266 w 512"/>
              <a:gd name="T27" fmla="*/ 128 h 512"/>
              <a:gd name="T28" fmla="*/ 256 w 512"/>
              <a:gd name="T29" fmla="*/ 117 h 512"/>
              <a:gd name="T30" fmla="*/ 341 w 512"/>
              <a:gd name="T31" fmla="*/ 373 h 512"/>
              <a:gd name="T32" fmla="*/ 330 w 512"/>
              <a:gd name="T33" fmla="*/ 384 h 512"/>
              <a:gd name="T34" fmla="*/ 341 w 512"/>
              <a:gd name="T35" fmla="*/ 394 h 512"/>
              <a:gd name="T36" fmla="*/ 352 w 512"/>
              <a:gd name="T37" fmla="*/ 384 h 512"/>
              <a:gd name="T38" fmla="*/ 341 w 512"/>
              <a:gd name="T39" fmla="*/ 373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373 w 512"/>
              <a:gd name="T51" fmla="*/ 384 h 512"/>
              <a:gd name="T52" fmla="*/ 352 w 512"/>
              <a:gd name="T53" fmla="*/ 354 h 512"/>
              <a:gd name="T54" fmla="*/ 352 w 512"/>
              <a:gd name="T55" fmla="*/ 277 h 512"/>
              <a:gd name="T56" fmla="*/ 320 w 512"/>
              <a:gd name="T57" fmla="*/ 245 h 512"/>
              <a:gd name="T58" fmla="*/ 266 w 512"/>
              <a:gd name="T59" fmla="*/ 245 h 512"/>
              <a:gd name="T60" fmla="*/ 266 w 512"/>
              <a:gd name="T61" fmla="*/ 158 h 512"/>
              <a:gd name="T62" fmla="*/ 288 w 512"/>
              <a:gd name="T63" fmla="*/ 128 h 512"/>
              <a:gd name="T64" fmla="*/ 256 w 512"/>
              <a:gd name="T65" fmla="*/ 96 h 512"/>
              <a:gd name="T66" fmla="*/ 224 w 512"/>
              <a:gd name="T67" fmla="*/ 128 h 512"/>
              <a:gd name="T68" fmla="*/ 245 w 512"/>
              <a:gd name="T69" fmla="*/ 158 h 512"/>
              <a:gd name="T70" fmla="*/ 245 w 512"/>
              <a:gd name="T71" fmla="*/ 245 h 512"/>
              <a:gd name="T72" fmla="*/ 192 w 512"/>
              <a:gd name="T73" fmla="*/ 245 h 512"/>
              <a:gd name="T74" fmla="*/ 160 w 512"/>
              <a:gd name="T75" fmla="*/ 277 h 512"/>
              <a:gd name="T76" fmla="*/ 160 w 512"/>
              <a:gd name="T77" fmla="*/ 354 h 512"/>
              <a:gd name="T78" fmla="*/ 138 w 512"/>
              <a:gd name="T79" fmla="*/ 384 h 512"/>
              <a:gd name="T80" fmla="*/ 170 w 512"/>
              <a:gd name="T81" fmla="*/ 416 h 512"/>
              <a:gd name="T82" fmla="*/ 202 w 512"/>
              <a:gd name="T83" fmla="*/ 384 h 512"/>
              <a:gd name="T84" fmla="*/ 181 w 512"/>
              <a:gd name="T85" fmla="*/ 354 h 512"/>
              <a:gd name="T86" fmla="*/ 181 w 512"/>
              <a:gd name="T87" fmla="*/ 277 h 512"/>
              <a:gd name="T88" fmla="*/ 192 w 512"/>
              <a:gd name="T89" fmla="*/ 266 h 512"/>
              <a:gd name="T90" fmla="*/ 245 w 512"/>
              <a:gd name="T91" fmla="*/ 266 h 512"/>
              <a:gd name="T92" fmla="*/ 245 w 512"/>
              <a:gd name="T93" fmla="*/ 354 h 512"/>
              <a:gd name="T94" fmla="*/ 224 w 512"/>
              <a:gd name="T95" fmla="*/ 384 h 512"/>
              <a:gd name="T96" fmla="*/ 256 w 512"/>
              <a:gd name="T97" fmla="*/ 416 h 512"/>
              <a:gd name="T98" fmla="*/ 288 w 512"/>
              <a:gd name="T99" fmla="*/ 384 h 512"/>
              <a:gd name="T100" fmla="*/ 266 w 512"/>
              <a:gd name="T101" fmla="*/ 354 h 512"/>
              <a:gd name="T102" fmla="*/ 266 w 512"/>
              <a:gd name="T103" fmla="*/ 266 h 512"/>
              <a:gd name="T104" fmla="*/ 320 w 512"/>
              <a:gd name="T105" fmla="*/ 266 h 512"/>
              <a:gd name="T106" fmla="*/ 330 w 512"/>
              <a:gd name="T107" fmla="*/ 277 h 512"/>
              <a:gd name="T108" fmla="*/ 330 w 512"/>
              <a:gd name="T109" fmla="*/ 354 h 512"/>
              <a:gd name="T110" fmla="*/ 309 w 512"/>
              <a:gd name="T111" fmla="*/ 384 h 512"/>
              <a:gd name="T112" fmla="*/ 341 w 512"/>
              <a:gd name="T113" fmla="*/ 416 h 512"/>
              <a:gd name="T114" fmla="*/ 373 w 512"/>
              <a:gd name="T115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81" y="384"/>
                </a:moveTo>
                <a:cubicBezTo>
                  <a:pt x="181" y="390"/>
                  <a:pt x="176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78"/>
                  <a:pt x="164" y="373"/>
                  <a:pt x="170" y="373"/>
                </a:cubicBezTo>
                <a:cubicBezTo>
                  <a:pt x="176" y="373"/>
                  <a:pt x="181" y="378"/>
                  <a:pt x="181" y="384"/>
                </a:cubicBezTo>
                <a:close/>
                <a:moveTo>
                  <a:pt x="256" y="373"/>
                </a:moveTo>
                <a:cubicBezTo>
                  <a:pt x="250" y="373"/>
                  <a:pt x="245" y="378"/>
                  <a:pt x="245" y="384"/>
                </a:cubicBezTo>
                <a:cubicBezTo>
                  <a:pt x="245" y="390"/>
                  <a:pt x="250" y="394"/>
                  <a:pt x="256" y="394"/>
                </a:cubicBezTo>
                <a:cubicBezTo>
                  <a:pt x="262" y="394"/>
                  <a:pt x="266" y="390"/>
                  <a:pt x="266" y="384"/>
                </a:cubicBezTo>
                <a:cubicBezTo>
                  <a:pt x="266" y="378"/>
                  <a:pt x="262" y="373"/>
                  <a:pt x="256" y="373"/>
                </a:cubicBezTo>
                <a:close/>
                <a:moveTo>
                  <a:pt x="256" y="117"/>
                </a:move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lose/>
                <a:moveTo>
                  <a:pt x="341" y="373"/>
                </a:moveTo>
                <a:cubicBezTo>
                  <a:pt x="335" y="373"/>
                  <a:pt x="330" y="378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378"/>
                  <a:pt x="347" y="373"/>
                  <a:pt x="341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384"/>
                </a:moveTo>
                <a:cubicBezTo>
                  <a:pt x="373" y="370"/>
                  <a:pt x="364" y="358"/>
                  <a:pt x="352" y="354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2" y="254"/>
                  <a:pt x="333" y="245"/>
                  <a:pt x="320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58"/>
                  <a:pt x="266" y="158"/>
                  <a:pt x="266" y="158"/>
                </a:cubicBezTo>
                <a:cubicBezTo>
                  <a:pt x="279" y="153"/>
                  <a:pt x="288" y="142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42"/>
                  <a:pt x="233" y="153"/>
                  <a:pt x="245" y="158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69" y="245"/>
                  <a:pt x="160" y="264"/>
                  <a:pt x="160" y="277"/>
                </a:cubicBezTo>
                <a:cubicBezTo>
                  <a:pt x="160" y="354"/>
                  <a:pt x="160" y="354"/>
                  <a:pt x="160" y="354"/>
                </a:cubicBezTo>
                <a:cubicBezTo>
                  <a:pt x="147" y="358"/>
                  <a:pt x="138" y="370"/>
                  <a:pt x="138" y="384"/>
                </a:cubicBezTo>
                <a:cubicBezTo>
                  <a:pt x="138" y="401"/>
                  <a:pt x="153" y="416"/>
                  <a:pt x="170" y="416"/>
                </a:cubicBezTo>
                <a:cubicBezTo>
                  <a:pt x="188" y="416"/>
                  <a:pt x="202" y="401"/>
                  <a:pt x="202" y="384"/>
                </a:cubicBezTo>
                <a:cubicBezTo>
                  <a:pt x="202" y="370"/>
                  <a:pt x="193" y="358"/>
                  <a:pt x="181" y="354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5"/>
                  <a:pt x="182" y="266"/>
                  <a:pt x="192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54"/>
                  <a:pt x="245" y="354"/>
                  <a:pt x="245" y="354"/>
                </a:cubicBezTo>
                <a:cubicBezTo>
                  <a:pt x="233" y="358"/>
                  <a:pt x="224" y="370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ubicBezTo>
                  <a:pt x="288" y="370"/>
                  <a:pt x="279" y="358"/>
                  <a:pt x="266" y="354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4" y="266"/>
                  <a:pt x="330" y="268"/>
                  <a:pt x="330" y="277"/>
                </a:cubicBezTo>
                <a:cubicBezTo>
                  <a:pt x="330" y="354"/>
                  <a:pt x="330" y="354"/>
                  <a:pt x="330" y="354"/>
                </a:cubicBezTo>
                <a:cubicBezTo>
                  <a:pt x="318" y="358"/>
                  <a:pt x="309" y="370"/>
                  <a:pt x="309" y="384"/>
                </a:cubicBezTo>
                <a:cubicBezTo>
                  <a:pt x="309" y="401"/>
                  <a:pt x="323" y="416"/>
                  <a:pt x="341" y="416"/>
                </a:cubicBezTo>
                <a:cubicBezTo>
                  <a:pt x="359" y="416"/>
                  <a:pt x="373" y="401"/>
                  <a:pt x="373" y="38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89533" tIns="44767" rIns="89533" bIns="44767" numCol="1" anchor="t" anchorCtr="0" compatLnSpc="1">
            <a:prstTxWarp prst="textNoShape">
              <a:avLst/>
            </a:prstTxWarp>
          </a:bodyPr>
          <a:lstStyle/>
          <a:p>
            <a:endParaRPr lang="en-GB" sz="1892" dirty="0"/>
          </a:p>
        </p:txBody>
      </p:sp>
      <p:pic>
        <p:nvPicPr>
          <p:cNvPr id="84" name="Picture 83" descr="A group of people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xmlns="" id="{C0EF5AAF-513E-493D-929A-C139257C4A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535" y="5510775"/>
            <a:ext cx="2093330" cy="1261758"/>
          </a:xfrm>
          <a:prstGeom prst="rect">
            <a:avLst/>
          </a:prstGeom>
        </p:spPr>
      </p:pic>
      <p:pic>
        <p:nvPicPr>
          <p:cNvPr id="86" name="Picture 85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xmlns="" id="{3F24C6DF-DE36-47C6-BF2A-9AA82F7F2B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730" y="5544457"/>
            <a:ext cx="2040246" cy="1228076"/>
          </a:xfrm>
          <a:prstGeom prst="rect">
            <a:avLst/>
          </a:prstGeom>
        </p:spPr>
      </p:pic>
      <p:pic>
        <p:nvPicPr>
          <p:cNvPr id="88" name="Picture 87" descr="A close up of a glass of milk&#10;&#10;Description generated with high confidence">
            <a:extLst>
              <a:ext uri="{FF2B5EF4-FFF2-40B4-BE49-F238E27FC236}">
                <a16:creationId xmlns:a16="http://schemas.microsoft.com/office/drawing/2014/main" xmlns="" id="{BB3D09D4-E53A-4F6E-967C-15636935BEA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8" r="11770"/>
          <a:stretch/>
        </p:blipFill>
        <p:spPr>
          <a:xfrm>
            <a:off x="2787073" y="5510775"/>
            <a:ext cx="2070000" cy="1291374"/>
          </a:xfrm>
          <a:prstGeom prst="rect">
            <a:avLst/>
          </a:prstGeom>
        </p:spPr>
      </p:pic>
      <p:pic>
        <p:nvPicPr>
          <p:cNvPr id="91" name="Picture 90" descr="A watermelon cut in half&#10;&#10;Description generated with high confidence">
            <a:extLst>
              <a:ext uri="{FF2B5EF4-FFF2-40B4-BE49-F238E27FC236}">
                <a16:creationId xmlns:a16="http://schemas.microsoft.com/office/drawing/2014/main" xmlns="" id="{814D0C8A-7873-4374-B710-1A8F1E3836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4338" y="5508525"/>
            <a:ext cx="1601943" cy="1148563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57961582-FB15-4024-90A1-661F0A3DEE28}"/>
              </a:ext>
            </a:extLst>
          </p:cNvPr>
          <p:cNvSpPr txBox="1"/>
          <p:nvPr/>
        </p:nvSpPr>
        <p:spPr>
          <a:xfrm>
            <a:off x="7828979" y="6572894"/>
            <a:ext cx="187607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NZ" sz="1200" dirty="0">
                <a:latin typeface="Arial" pitchFamily="34" charset="0"/>
                <a:cs typeface="Arial" pitchFamily="34" charset="0"/>
              </a:rPr>
              <a:t>Water-million</a:t>
            </a:r>
          </a:p>
        </p:txBody>
      </p:sp>
    </p:spTree>
    <p:extLst>
      <p:ext uri="{BB962C8B-B14F-4D97-AF65-F5344CB8AC3E}">
        <p14:creationId xmlns:p14="http://schemas.microsoft.com/office/powerpoint/2010/main" val="2825662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19" grpId="0" animBg="1"/>
      <p:bldP spid="29" grpId="0" animBg="1"/>
      <p:bldP spid="30" grpId="0" animBg="1"/>
      <p:bldP spid="6" grpId="0" animBg="1"/>
      <p:bldP spid="31" grpId="0" animBg="1"/>
      <p:bldP spid="33" grpId="0" animBg="1"/>
      <p:bldP spid="42" grpId="0" animBg="1"/>
      <p:bldP spid="52" grpId="0" animBg="1"/>
      <p:bldP spid="83" grpId="0" animBg="1"/>
      <p:bldP spid="9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01" name="Object 230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301" name="Object 230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1" y="234865"/>
            <a:ext cx="8793595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NZ" dirty="0"/>
              <a:t>How global marketplace works</a:t>
            </a:r>
          </a:p>
        </p:txBody>
      </p:sp>
      <p:sp>
        <p:nvSpPr>
          <p:cNvPr id="1067" name="Oval 1066"/>
          <p:cNvSpPr/>
          <p:nvPr/>
        </p:nvSpPr>
        <p:spPr>
          <a:xfrm>
            <a:off x="502751" y="2560097"/>
            <a:ext cx="454824" cy="45482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071" name="Group 1070"/>
          <p:cNvGrpSpPr/>
          <p:nvPr/>
        </p:nvGrpSpPr>
        <p:grpSpPr bwMode="gray">
          <a:xfrm>
            <a:off x="611319" y="2689879"/>
            <a:ext cx="237688" cy="195261"/>
            <a:chOff x="7397750" y="4721225"/>
            <a:chExt cx="782638" cy="642938"/>
          </a:xfrm>
          <a:solidFill>
            <a:schemeClr val="bg1"/>
          </a:solidFill>
        </p:grpSpPr>
        <p:sp>
          <p:nvSpPr>
            <p:cNvPr id="1072" name="Freeform 42"/>
            <p:cNvSpPr>
              <a:spLocks noEditPoints="1"/>
            </p:cNvSpPr>
            <p:nvPr/>
          </p:nvSpPr>
          <p:spPr bwMode="gray">
            <a:xfrm>
              <a:off x="7397750" y="4721225"/>
              <a:ext cx="782638" cy="642938"/>
            </a:xfrm>
            <a:custGeom>
              <a:avLst/>
              <a:gdLst>
                <a:gd name="T0" fmla="*/ 2216 w 2225"/>
                <a:gd name="T1" fmla="*/ 1711 h 1830"/>
                <a:gd name="T2" fmla="*/ 1992 w 2225"/>
                <a:gd name="T3" fmla="*/ 1228 h 1830"/>
                <a:gd name="T4" fmla="*/ 1958 w 2225"/>
                <a:gd name="T5" fmla="*/ 1206 h 1830"/>
                <a:gd name="T6" fmla="*/ 1923 w 2225"/>
                <a:gd name="T7" fmla="*/ 1206 h 1830"/>
                <a:gd name="T8" fmla="*/ 1930 w 2225"/>
                <a:gd name="T9" fmla="*/ 1184 h 1830"/>
                <a:gd name="T10" fmla="*/ 1919 w 2225"/>
                <a:gd name="T11" fmla="*/ 1157 h 1830"/>
                <a:gd name="T12" fmla="*/ 1958 w 2225"/>
                <a:gd name="T13" fmla="*/ 1157 h 1830"/>
                <a:gd name="T14" fmla="*/ 1982 w 2225"/>
                <a:gd name="T15" fmla="*/ 1133 h 1830"/>
                <a:gd name="T16" fmla="*/ 1982 w 2225"/>
                <a:gd name="T17" fmla="*/ 24 h 1830"/>
                <a:gd name="T18" fmla="*/ 1958 w 2225"/>
                <a:gd name="T19" fmla="*/ 0 h 1830"/>
                <a:gd name="T20" fmla="*/ 267 w 2225"/>
                <a:gd name="T21" fmla="*/ 0 h 1830"/>
                <a:gd name="T22" fmla="*/ 243 w 2225"/>
                <a:gd name="T23" fmla="*/ 24 h 1830"/>
                <a:gd name="T24" fmla="*/ 243 w 2225"/>
                <a:gd name="T25" fmla="*/ 1133 h 1830"/>
                <a:gd name="T26" fmla="*/ 267 w 2225"/>
                <a:gd name="T27" fmla="*/ 1157 h 1830"/>
                <a:gd name="T28" fmla="*/ 306 w 2225"/>
                <a:gd name="T29" fmla="*/ 1157 h 1830"/>
                <a:gd name="T30" fmla="*/ 295 w 2225"/>
                <a:gd name="T31" fmla="*/ 1184 h 1830"/>
                <a:gd name="T32" fmla="*/ 302 w 2225"/>
                <a:gd name="T33" fmla="*/ 1206 h 1830"/>
                <a:gd name="T34" fmla="*/ 267 w 2225"/>
                <a:gd name="T35" fmla="*/ 1206 h 1830"/>
                <a:gd name="T36" fmla="*/ 233 w 2225"/>
                <a:gd name="T37" fmla="*/ 1228 h 1830"/>
                <a:gd name="T38" fmla="*/ 9 w 2225"/>
                <a:gd name="T39" fmla="*/ 1711 h 1830"/>
                <a:gd name="T40" fmla="*/ 0 w 2225"/>
                <a:gd name="T41" fmla="*/ 1757 h 1830"/>
                <a:gd name="T42" fmla="*/ 0 w 2225"/>
                <a:gd name="T43" fmla="*/ 1806 h 1830"/>
                <a:gd name="T44" fmla="*/ 24 w 2225"/>
                <a:gd name="T45" fmla="*/ 1830 h 1830"/>
                <a:gd name="T46" fmla="*/ 2201 w 2225"/>
                <a:gd name="T47" fmla="*/ 1830 h 1830"/>
                <a:gd name="T48" fmla="*/ 2225 w 2225"/>
                <a:gd name="T49" fmla="*/ 1806 h 1830"/>
                <a:gd name="T50" fmla="*/ 2225 w 2225"/>
                <a:gd name="T51" fmla="*/ 1757 h 1830"/>
                <a:gd name="T52" fmla="*/ 2216 w 2225"/>
                <a:gd name="T53" fmla="*/ 1711 h 1830"/>
                <a:gd name="T54" fmla="*/ 902 w 2225"/>
                <a:gd name="T55" fmla="*/ 1645 h 1830"/>
                <a:gd name="T56" fmla="*/ 939 w 2225"/>
                <a:gd name="T57" fmla="*/ 1454 h 1830"/>
                <a:gd name="T58" fmla="*/ 1285 w 2225"/>
                <a:gd name="T59" fmla="*/ 1454 h 1830"/>
                <a:gd name="T60" fmla="*/ 1323 w 2225"/>
                <a:gd name="T61" fmla="*/ 1645 h 1830"/>
                <a:gd name="T62" fmla="*/ 902 w 2225"/>
                <a:gd name="T63" fmla="*/ 1645 h 1830"/>
                <a:gd name="T64" fmla="*/ 1866 w 2225"/>
                <a:gd name="T65" fmla="*/ 1073 h 1830"/>
                <a:gd name="T66" fmla="*/ 359 w 2225"/>
                <a:gd name="T67" fmla="*/ 1073 h 1830"/>
                <a:gd name="T68" fmla="*/ 359 w 2225"/>
                <a:gd name="T69" fmla="*/ 129 h 1830"/>
                <a:gd name="T70" fmla="*/ 1866 w 2225"/>
                <a:gd name="T71" fmla="*/ 129 h 1830"/>
                <a:gd name="T72" fmla="*/ 1866 w 2225"/>
                <a:gd name="T73" fmla="*/ 1073 h 1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25" h="1830">
                  <a:moveTo>
                    <a:pt x="2216" y="1711"/>
                  </a:moveTo>
                  <a:cubicBezTo>
                    <a:pt x="1992" y="1228"/>
                    <a:pt x="1992" y="1228"/>
                    <a:pt x="1992" y="1228"/>
                  </a:cubicBezTo>
                  <a:cubicBezTo>
                    <a:pt x="1987" y="1216"/>
                    <a:pt x="1971" y="1206"/>
                    <a:pt x="1958" y="1206"/>
                  </a:cubicBezTo>
                  <a:cubicBezTo>
                    <a:pt x="1923" y="1206"/>
                    <a:pt x="1923" y="1206"/>
                    <a:pt x="1923" y="1206"/>
                  </a:cubicBezTo>
                  <a:cubicBezTo>
                    <a:pt x="1927" y="1200"/>
                    <a:pt x="1930" y="1192"/>
                    <a:pt x="1930" y="1184"/>
                  </a:cubicBezTo>
                  <a:cubicBezTo>
                    <a:pt x="1930" y="1174"/>
                    <a:pt x="1926" y="1164"/>
                    <a:pt x="1919" y="1157"/>
                  </a:cubicBezTo>
                  <a:cubicBezTo>
                    <a:pt x="1958" y="1157"/>
                    <a:pt x="1958" y="1157"/>
                    <a:pt x="1958" y="1157"/>
                  </a:cubicBezTo>
                  <a:cubicBezTo>
                    <a:pt x="1971" y="1157"/>
                    <a:pt x="1982" y="1147"/>
                    <a:pt x="1982" y="1133"/>
                  </a:cubicBezTo>
                  <a:cubicBezTo>
                    <a:pt x="1982" y="24"/>
                    <a:pt x="1982" y="24"/>
                    <a:pt x="1982" y="24"/>
                  </a:cubicBezTo>
                  <a:cubicBezTo>
                    <a:pt x="1982" y="11"/>
                    <a:pt x="1971" y="0"/>
                    <a:pt x="1958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53" y="0"/>
                    <a:pt x="243" y="11"/>
                    <a:pt x="243" y="24"/>
                  </a:cubicBezTo>
                  <a:cubicBezTo>
                    <a:pt x="243" y="1133"/>
                    <a:pt x="243" y="1133"/>
                    <a:pt x="243" y="1133"/>
                  </a:cubicBezTo>
                  <a:cubicBezTo>
                    <a:pt x="243" y="1147"/>
                    <a:pt x="253" y="1157"/>
                    <a:pt x="267" y="1157"/>
                  </a:cubicBezTo>
                  <a:cubicBezTo>
                    <a:pt x="306" y="1157"/>
                    <a:pt x="306" y="1157"/>
                    <a:pt x="306" y="1157"/>
                  </a:cubicBezTo>
                  <a:cubicBezTo>
                    <a:pt x="299" y="1164"/>
                    <a:pt x="295" y="1174"/>
                    <a:pt x="295" y="1184"/>
                  </a:cubicBezTo>
                  <a:cubicBezTo>
                    <a:pt x="295" y="1192"/>
                    <a:pt x="298" y="1200"/>
                    <a:pt x="302" y="1206"/>
                  </a:cubicBezTo>
                  <a:cubicBezTo>
                    <a:pt x="267" y="1206"/>
                    <a:pt x="267" y="1206"/>
                    <a:pt x="267" y="1206"/>
                  </a:cubicBezTo>
                  <a:cubicBezTo>
                    <a:pt x="253" y="1206"/>
                    <a:pt x="238" y="1216"/>
                    <a:pt x="233" y="1228"/>
                  </a:cubicBezTo>
                  <a:cubicBezTo>
                    <a:pt x="9" y="1711"/>
                    <a:pt x="9" y="1711"/>
                    <a:pt x="9" y="1711"/>
                  </a:cubicBezTo>
                  <a:cubicBezTo>
                    <a:pt x="4" y="1723"/>
                    <a:pt x="0" y="1744"/>
                    <a:pt x="0" y="1757"/>
                  </a:cubicBezTo>
                  <a:cubicBezTo>
                    <a:pt x="0" y="1806"/>
                    <a:pt x="0" y="1806"/>
                    <a:pt x="0" y="1806"/>
                  </a:cubicBezTo>
                  <a:cubicBezTo>
                    <a:pt x="0" y="1819"/>
                    <a:pt x="11" y="1830"/>
                    <a:pt x="24" y="1830"/>
                  </a:cubicBezTo>
                  <a:cubicBezTo>
                    <a:pt x="2201" y="1830"/>
                    <a:pt x="2201" y="1830"/>
                    <a:pt x="2201" y="1830"/>
                  </a:cubicBezTo>
                  <a:cubicBezTo>
                    <a:pt x="2214" y="1830"/>
                    <a:pt x="2225" y="1819"/>
                    <a:pt x="2225" y="1806"/>
                  </a:cubicBezTo>
                  <a:cubicBezTo>
                    <a:pt x="2225" y="1757"/>
                    <a:pt x="2225" y="1757"/>
                    <a:pt x="2225" y="1757"/>
                  </a:cubicBezTo>
                  <a:cubicBezTo>
                    <a:pt x="2225" y="1744"/>
                    <a:pt x="2221" y="1723"/>
                    <a:pt x="2216" y="1711"/>
                  </a:cubicBezTo>
                  <a:close/>
                  <a:moveTo>
                    <a:pt x="902" y="1645"/>
                  </a:moveTo>
                  <a:cubicBezTo>
                    <a:pt x="939" y="1454"/>
                    <a:pt x="939" y="1454"/>
                    <a:pt x="939" y="1454"/>
                  </a:cubicBezTo>
                  <a:cubicBezTo>
                    <a:pt x="1285" y="1454"/>
                    <a:pt x="1285" y="1454"/>
                    <a:pt x="1285" y="1454"/>
                  </a:cubicBezTo>
                  <a:cubicBezTo>
                    <a:pt x="1323" y="1645"/>
                    <a:pt x="1323" y="1645"/>
                    <a:pt x="1323" y="1645"/>
                  </a:cubicBezTo>
                  <a:lnTo>
                    <a:pt x="902" y="1645"/>
                  </a:lnTo>
                  <a:close/>
                  <a:moveTo>
                    <a:pt x="1866" y="1073"/>
                  </a:moveTo>
                  <a:cubicBezTo>
                    <a:pt x="359" y="1073"/>
                    <a:pt x="359" y="1073"/>
                    <a:pt x="359" y="1073"/>
                  </a:cubicBezTo>
                  <a:cubicBezTo>
                    <a:pt x="359" y="129"/>
                    <a:pt x="359" y="129"/>
                    <a:pt x="359" y="129"/>
                  </a:cubicBezTo>
                  <a:cubicBezTo>
                    <a:pt x="1866" y="129"/>
                    <a:pt x="1866" y="129"/>
                    <a:pt x="1866" y="129"/>
                  </a:cubicBezTo>
                  <a:lnTo>
                    <a:pt x="1866" y="10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>
                <a:latin typeface="+mn-lt"/>
              </a:endParaRPr>
            </a:p>
          </p:txBody>
        </p:sp>
        <p:sp>
          <p:nvSpPr>
            <p:cNvPr id="1073" name="Freeform 43"/>
            <p:cNvSpPr>
              <a:spLocks/>
            </p:cNvSpPr>
            <p:nvPr/>
          </p:nvSpPr>
          <p:spPr bwMode="gray">
            <a:xfrm>
              <a:off x="7572375" y="4826000"/>
              <a:ext cx="114300" cy="114300"/>
            </a:xfrm>
            <a:custGeom>
              <a:avLst/>
              <a:gdLst>
                <a:gd name="T0" fmla="*/ 25 w 72"/>
                <a:gd name="T1" fmla="*/ 62 h 72"/>
                <a:gd name="T2" fmla="*/ 33 w 72"/>
                <a:gd name="T3" fmla="*/ 44 h 72"/>
                <a:gd name="T4" fmla="*/ 61 w 72"/>
                <a:gd name="T5" fmla="*/ 72 h 72"/>
                <a:gd name="T6" fmla="*/ 72 w 72"/>
                <a:gd name="T7" fmla="*/ 61 h 72"/>
                <a:gd name="T8" fmla="*/ 44 w 72"/>
                <a:gd name="T9" fmla="*/ 33 h 72"/>
                <a:gd name="T10" fmla="*/ 54 w 72"/>
                <a:gd name="T11" fmla="*/ 29 h 72"/>
                <a:gd name="T12" fmla="*/ 62 w 72"/>
                <a:gd name="T13" fmla="*/ 25 h 72"/>
                <a:gd name="T14" fmla="*/ 32 w 72"/>
                <a:gd name="T15" fmla="*/ 13 h 72"/>
                <a:gd name="T16" fmla="*/ 10 w 72"/>
                <a:gd name="T17" fmla="*/ 4 h 72"/>
                <a:gd name="T18" fmla="*/ 0 w 72"/>
                <a:gd name="T19" fmla="*/ 0 h 72"/>
                <a:gd name="T20" fmla="*/ 17 w 72"/>
                <a:gd name="T21" fmla="*/ 42 h 72"/>
                <a:gd name="T22" fmla="*/ 25 w 72"/>
                <a:gd name="T23" fmla="*/ 6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2">
                  <a:moveTo>
                    <a:pt x="25" y="62"/>
                  </a:moveTo>
                  <a:lnTo>
                    <a:pt x="33" y="44"/>
                  </a:lnTo>
                  <a:lnTo>
                    <a:pt x="61" y="72"/>
                  </a:lnTo>
                  <a:lnTo>
                    <a:pt x="72" y="61"/>
                  </a:lnTo>
                  <a:lnTo>
                    <a:pt x="44" y="33"/>
                  </a:lnTo>
                  <a:lnTo>
                    <a:pt x="54" y="29"/>
                  </a:lnTo>
                  <a:lnTo>
                    <a:pt x="62" y="25"/>
                  </a:lnTo>
                  <a:lnTo>
                    <a:pt x="32" y="13"/>
                  </a:lnTo>
                  <a:lnTo>
                    <a:pt x="10" y="4"/>
                  </a:lnTo>
                  <a:lnTo>
                    <a:pt x="0" y="0"/>
                  </a:lnTo>
                  <a:lnTo>
                    <a:pt x="17" y="42"/>
                  </a:lnTo>
                  <a:lnTo>
                    <a:pt x="2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>
                <a:latin typeface="+mn-lt"/>
              </a:endParaRPr>
            </a:p>
          </p:txBody>
        </p:sp>
      </p:grpSp>
      <p:sp>
        <p:nvSpPr>
          <p:cNvPr id="1069" name="Oval 1068"/>
          <p:cNvSpPr/>
          <p:nvPr/>
        </p:nvSpPr>
        <p:spPr>
          <a:xfrm>
            <a:off x="556982" y="5101468"/>
            <a:ext cx="454824" cy="45482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02751" y="1109546"/>
            <a:ext cx="454824" cy="454824"/>
            <a:chOff x="119063" y="1645920"/>
            <a:chExt cx="445770" cy="445770"/>
          </a:xfrm>
        </p:grpSpPr>
        <p:sp>
          <p:nvSpPr>
            <p:cNvPr id="15" name="Oval 14"/>
            <p:cNvSpPr/>
            <p:nvPr/>
          </p:nvSpPr>
          <p:spPr>
            <a:xfrm>
              <a:off x="119063" y="1645920"/>
              <a:ext cx="445770" cy="44577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11" name="Freeform 1110"/>
            <p:cNvSpPr>
              <a:spLocks noEditPoints="1"/>
            </p:cNvSpPr>
            <p:nvPr/>
          </p:nvSpPr>
          <p:spPr bwMode="auto">
            <a:xfrm>
              <a:off x="250354" y="1722810"/>
              <a:ext cx="183188" cy="291991"/>
            </a:xfrm>
            <a:custGeom>
              <a:avLst/>
              <a:gdLst>
                <a:gd name="T0" fmla="*/ 40 w 1433"/>
                <a:gd name="T1" fmla="*/ 243 h 2290"/>
                <a:gd name="T2" fmla="*/ 1314 w 1433"/>
                <a:gd name="T3" fmla="*/ 2048 h 2290"/>
                <a:gd name="T4" fmla="*/ 251 w 1433"/>
                <a:gd name="T5" fmla="*/ 1373 h 2290"/>
                <a:gd name="T6" fmla="*/ 293 w 1433"/>
                <a:gd name="T7" fmla="*/ 1534 h 2290"/>
                <a:gd name="T8" fmla="*/ 215 w 1433"/>
                <a:gd name="T9" fmla="*/ 1690 h 2290"/>
                <a:gd name="T10" fmla="*/ 381 w 1433"/>
                <a:gd name="T11" fmla="*/ 1726 h 2290"/>
                <a:gd name="T12" fmla="*/ 407 w 1433"/>
                <a:gd name="T13" fmla="*/ 1980 h 2290"/>
                <a:gd name="T14" fmla="*/ 241 w 1433"/>
                <a:gd name="T15" fmla="*/ 1944 h 2290"/>
                <a:gd name="T16" fmla="*/ 407 w 1433"/>
                <a:gd name="T17" fmla="*/ 1980 h 2290"/>
                <a:gd name="T18" fmla="*/ 515 w 1433"/>
                <a:gd name="T19" fmla="*/ 1373 h 2290"/>
                <a:gd name="T20" fmla="*/ 473 w 1433"/>
                <a:gd name="T21" fmla="*/ 1534 h 2290"/>
                <a:gd name="T22" fmla="*/ 528 w 1433"/>
                <a:gd name="T23" fmla="*/ 1628 h 2290"/>
                <a:gd name="T24" fmla="*/ 486 w 1433"/>
                <a:gd name="T25" fmla="*/ 1788 h 2290"/>
                <a:gd name="T26" fmla="*/ 541 w 1433"/>
                <a:gd name="T27" fmla="*/ 2043 h 2290"/>
                <a:gd name="T28" fmla="*/ 499 w 1433"/>
                <a:gd name="T29" fmla="*/ 1882 h 2290"/>
                <a:gd name="T30" fmla="*/ 799 w 1433"/>
                <a:gd name="T31" fmla="*/ 1980 h 2290"/>
                <a:gd name="T32" fmla="*/ 633 w 1433"/>
                <a:gd name="T33" fmla="*/ 1944 h 2290"/>
                <a:gd name="T34" fmla="*/ 799 w 1433"/>
                <a:gd name="T35" fmla="*/ 1980 h 2290"/>
                <a:gd name="T36" fmla="*/ 633 w 1433"/>
                <a:gd name="T37" fmla="*/ 1726 h 2290"/>
                <a:gd name="T38" fmla="*/ 799 w 1433"/>
                <a:gd name="T39" fmla="*/ 1690 h 2290"/>
                <a:gd name="T40" fmla="*/ 695 w 1433"/>
                <a:gd name="T41" fmla="*/ 1534 h 2290"/>
                <a:gd name="T42" fmla="*/ 737 w 1433"/>
                <a:gd name="T43" fmla="*/ 1373 h 2290"/>
                <a:gd name="T44" fmla="*/ 933 w 1433"/>
                <a:gd name="T45" fmla="*/ 2043 h 2290"/>
                <a:gd name="T46" fmla="*/ 891 w 1433"/>
                <a:gd name="T47" fmla="*/ 1882 h 2290"/>
                <a:gd name="T48" fmla="*/ 1008 w 1433"/>
                <a:gd name="T49" fmla="*/ 1726 h 2290"/>
                <a:gd name="T50" fmla="*/ 842 w 1433"/>
                <a:gd name="T51" fmla="*/ 1690 h 2290"/>
                <a:gd name="T52" fmla="*/ 1008 w 1433"/>
                <a:gd name="T53" fmla="*/ 1726 h 2290"/>
                <a:gd name="T54" fmla="*/ 855 w 1433"/>
                <a:gd name="T55" fmla="*/ 1472 h 2290"/>
                <a:gd name="T56" fmla="*/ 1021 w 1433"/>
                <a:gd name="T57" fmla="*/ 1436 h 2290"/>
                <a:gd name="T58" fmla="*/ 1087 w 1433"/>
                <a:gd name="T59" fmla="*/ 2043 h 2290"/>
                <a:gd name="T60" fmla="*/ 1129 w 1433"/>
                <a:gd name="T61" fmla="*/ 1882 h 2290"/>
                <a:gd name="T62" fmla="*/ 1155 w 1433"/>
                <a:gd name="T63" fmla="*/ 1788 h 2290"/>
                <a:gd name="T64" fmla="*/ 1113 w 1433"/>
                <a:gd name="T65" fmla="*/ 1628 h 2290"/>
                <a:gd name="T66" fmla="*/ 1243 w 1433"/>
                <a:gd name="T67" fmla="*/ 1472 h 2290"/>
                <a:gd name="T68" fmla="*/ 1077 w 1433"/>
                <a:gd name="T69" fmla="*/ 1436 h 2290"/>
                <a:gd name="T70" fmla="*/ 1243 w 1433"/>
                <a:gd name="T71" fmla="*/ 1472 h 2290"/>
                <a:gd name="T72" fmla="*/ 189 w 1433"/>
                <a:gd name="T73" fmla="*/ 1186 h 2290"/>
                <a:gd name="T74" fmla="*/ 1198 w 1433"/>
                <a:gd name="T75" fmla="*/ 222 h 2290"/>
                <a:gd name="T76" fmla="*/ 830 w 1433"/>
                <a:gd name="T77" fmla="*/ 882 h 2290"/>
                <a:gd name="T78" fmla="*/ 621 w 1433"/>
                <a:gd name="T79" fmla="*/ 524 h 2290"/>
                <a:gd name="T80" fmla="*/ 522 w 1433"/>
                <a:gd name="T81" fmla="*/ 330 h 2290"/>
                <a:gd name="T82" fmla="*/ 781 w 1433"/>
                <a:gd name="T83" fmla="*/ 1131 h 2290"/>
                <a:gd name="T84" fmla="*/ 796 w 1433"/>
                <a:gd name="T85" fmla="*/ 360 h 2290"/>
                <a:gd name="T86" fmla="*/ 951 w 1433"/>
                <a:gd name="T87" fmla="*/ 575 h 2290"/>
                <a:gd name="T88" fmla="*/ 1056 w 1433"/>
                <a:gd name="T89" fmla="*/ 818 h 2290"/>
                <a:gd name="T90" fmla="*/ 789 w 1433"/>
                <a:gd name="T91" fmla="*/ 713 h 2290"/>
                <a:gd name="T92" fmla="*/ 741 w 1433"/>
                <a:gd name="T93" fmla="*/ 558 h 2290"/>
                <a:gd name="T94" fmla="*/ 898 w 1433"/>
                <a:gd name="T95" fmla="*/ 799 h 2290"/>
                <a:gd name="T96" fmla="*/ 731 w 1433"/>
                <a:gd name="T97" fmla="*/ 505 h 2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3" h="2290">
                  <a:moveTo>
                    <a:pt x="1392" y="243"/>
                  </a:moveTo>
                  <a:cubicBezTo>
                    <a:pt x="1382" y="160"/>
                    <a:pt x="1314" y="93"/>
                    <a:pt x="1235" y="71"/>
                  </a:cubicBezTo>
                  <a:cubicBezTo>
                    <a:pt x="887" y="0"/>
                    <a:pt x="545" y="0"/>
                    <a:pt x="197" y="71"/>
                  </a:cubicBezTo>
                  <a:cubicBezTo>
                    <a:pt x="118" y="93"/>
                    <a:pt x="50" y="160"/>
                    <a:pt x="40" y="243"/>
                  </a:cubicBezTo>
                  <a:cubicBezTo>
                    <a:pt x="0" y="847"/>
                    <a:pt x="29" y="1450"/>
                    <a:pt x="119" y="2048"/>
                  </a:cubicBezTo>
                  <a:cubicBezTo>
                    <a:pt x="134" y="2126"/>
                    <a:pt x="194" y="2196"/>
                    <a:pt x="270" y="2220"/>
                  </a:cubicBezTo>
                  <a:cubicBezTo>
                    <a:pt x="572" y="2290"/>
                    <a:pt x="861" y="2290"/>
                    <a:pt x="1163" y="2220"/>
                  </a:cubicBezTo>
                  <a:cubicBezTo>
                    <a:pt x="1239" y="2196"/>
                    <a:pt x="1298" y="2126"/>
                    <a:pt x="1314" y="2048"/>
                  </a:cubicBezTo>
                  <a:cubicBezTo>
                    <a:pt x="1403" y="1450"/>
                    <a:pt x="1433" y="847"/>
                    <a:pt x="1392" y="243"/>
                  </a:cubicBezTo>
                  <a:close/>
                  <a:moveTo>
                    <a:pt x="189" y="1472"/>
                  </a:moveTo>
                  <a:cubicBezTo>
                    <a:pt x="189" y="1436"/>
                    <a:pt x="189" y="1436"/>
                    <a:pt x="189" y="1436"/>
                  </a:cubicBezTo>
                  <a:cubicBezTo>
                    <a:pt x="189" y="1401"/>
                    <a:pt x="217" y="1373"/>
                    <a:pt x="251" y="1373"/>
                  </a:cubicBezTo>
                  <a:cubicBezTo>
                    <a:pt x="293" y="1373"/>
                    <a:pt x="293" y="1373"/>
                    <a:pt x="293" y="1373"/>
                  </a:cubicBezTo>
                  <a:cubicBezTo>
                    <a:pt x="328" y="1373"/>
                    <a:pt x="356" y="1401"/>
                    <a:pt x="356" y="1436"/>
                  </a:cubicBezTo>
                  <a:cubicBezTo>
                    <a:pt x="356" y="1472"/>
                    <a:pt x="356" y="1472"/>
                    <a:pt x="356" y="1472"/>
                  </a:cubicBezTo>
                  <a:cubicBezTo>
                    <a:pt x="356" y="1506"/>
                    <a:pt x="328" y="1534"/>
                    <a:pt x="293" y="1534"/>
                  </a:cubicBezTo>
                  <a:cubicBezTo>
                    <a:pt x="251" y="1534"/>
                    <a:pt x="251" y="1534"/>
                    <a:pt x="251" y="1534"/>
                  </a:cubicBezTo>
                  <a:cubicBezTo>
                    <a:pt x="217" y="1534"/>
                    <a:pt x="189" y="1506"/>
                    <a:pt x="189" y="1472"/>
                  </a:cubicBezTo>
                  <a:close/>
                  <a:moveTo>
                    <a:pt x="215" y="1726"/>
                  </a:moveTo>
                  <a:cubicBezTo>
                    <a:pt x="215" y="1690"/>
                    <a:pt x="215" y="1690"/>
                    <a:pt x="215" y="1690"/>
                  </a:cubicBezTo>
                  <a:cubicBezTo>
                    <a:pt x="215" y="1655"/>
                    <a:pt x="243" y="1628"/>
                    <a:pt x="277" y="1628"/>
                  </a:cubicBezTo>
                  <a:cubicBezTo>
                    <a:pt x="319" y="1628"/>
                    <a:pt x="319" y="1628"/>
                    <a:pt x="319" y="1628"/>
                  </a:cubicBezTo>
                  <a:cubicBezTo>
                    <a:pt x="354" y="1628"/>
                    <a:pt x="381" y="1655"/>
                    <a:pt x="381" y="1690"/>
                  </a:cubicBezTo>
                  <a:cubicBezTo>
                    <a:pt x="381" y="1726"/>
                    <a:pt x="381" y="1726"/>
                    <a:pt x="381" y="1726"/>
                  </a:cubicBezTo>
                  <a:cubicBezTo>
                    <a:pt x="381" y="1761"/>
                    <a:pt x="354" y="1788"/>
                    <a:pt x="319" y="1788"/>
                  </a:cubicBezTo>
                  <a:cubicBezTo>
                    <a:pt x="277" y="1788"/>
                    <a:pt x="277" y="1788"/>
                    <a:pt x="277" y="1788"/>
                  </a:cubicBezTo>
                  <a:cubicBezTo>
                    <a:pt x="243" y="1788"/>
                    <a:pt x="215" y="1761"/>
                    <a:pt x="215" y="1726"/>
                  </a:cubicBezTo>
                  <a:close/>
                  <a:moveTo>
                    <a:pt x="407" y="1980"/>
                  </a:moveTo>
                  <a:cubicBezTo>
                    <a:pt x="407" y="2015"/>
                    <a:pt x="380" y="2043"/>
                    <a:pt x="345" y="2043"/>
                  </a:cubicBezTo>
                  <a:cubicBezTo>
                    <a:pt x="303" y="2043"/>
                    <a:pt x="303" y="2043"/>
                    <a:pt x="303" y="2043"/>
                  </a:cubicBezTo>
                  <a:cubicBezTo>
                    <a:pt x="269" y="2043"/>
                    <a:pt x="241" y="2015"/>
                    <a:pt x="241" y="1980"/>
                  </a:cubicBezTo>
                  <a:cubicBezTo>
                    <a:pt x="241" y="1944"/>
                    <a:pt x="241" y="1944"/>
                    <a:pt x="241" y="1944"/>
                  </a:cubicBezTo>
                  <a:cubicBezTo>
                    <a:pt x="241" y="1910"/>
                    <a:pt x="269" y="1882"/>
                    <a:pt x="303" y="1882"/>
                  </a:cubicBezTo>
                  <a:cubicBezTo>
                    <a:pt x="345" y="1882"/>
                    <a:pt x="345" y="1882"/>
                    <a:pt x="345" y="1882"/>
                  </a:cubicBezTo>
                  <a:cubicBezTo>
                    <a:pt x="380" y="1882"/>
                    <a:pt x="407" y="1910"/>
                    <a:pt x="407" y="1944"/>
                  </a:cubicBezTo>
                  <a:lnTo>
                    <a:pt x="407" y="1980"/>
                  </a:lnTo>
                  <a:close/>
                  <a:moveTo>
                    <a:pt x="411" y="1472"/>
                  </a:moveTo>
                  <a:cubicBezTo>
                    <a:pt x="411" y="1436"/>
                    <a:pt x="411" y="1436"/>
                    <a:pt x="411" y="1436"/>
                  </a:cubicBezTo>
                  <a:cubicBezTo>
                    <a:pt x="411" y="1401"/>
                    <a:pt x="439" y="1373"/>
                    <a:pt x="473" y="1373"/>
                  </a:cubicBezTo>
                  <a:cubicBezTo>
                    <a:pt x="515" y="1373"/>
                    <a:pt x="515" y="1373"/>
                    <a:pt x="515" y="1373"/>
                  </a:cubicBezTo>
                  <a:cubicBezTo>
                    <a:pt x="549" y="1373"/>
                    <a:pt x="577" y="1401"/>
                    <a:pt x="577" y="1436"/>
                  </a:cubicBezTo>
                  <a:cubicBezTo>
                    <a:pt x="577" y="1472"/>
                    <a:pt x="577" y="1472"/>
                    <a:pt x="577" y="1472"/>
                  </a:cubicBezTo>
                  <a:cubicBezTo>
                    <a:pt x="577" y="1506"/>
                    <a:pt x="549" y="1534"/>
                    <a:pt x="515" y="1534"/>
                  </a:cubicBezTo>
                  <a:cubicBezTo>
                    <a:pt x="473" y="1534"/>
                    <a:pt x="473" y="1534"/>
                    <a:pt x="473" y="1534"/>
                  </a:cubicBezTo>
                  <a:cubicBezTo>
                    <a:pt x="439" y="1534"/>
                    <a:pt x="411" y="1506"/>
                    <a:pt x="411" y="1472"/>
                  </a:cubicBezTo>
                  <a:close/>
                  <a:moveTo>
                    <a:pt x="424" y="1690"/>
                  </a:moveTo>
                  <a:cubicBezTo>
                    <a:pt x="424" y="1655"/>
                    <a:pt x="452" y="1628"/>
                    <a:pt x="486" y="1628"/>
                  </a:cubicBezTo>
                  <a:cubicBezTo>
                    <a:pt x="528" y="1628"/>
                    <a:pt x="528" y="1628"/>
                    <a:pt x="528" y="1628"/>
                  </a:cubicBezTo>
                  <a:cubicBezTo>
                    <a:pt x="562" y="1628"/>
                    <a:pt x="590" y="1655"/>
                    <a:pt x="590" y="1690"/>
                  </a:cubicBezTo>
                  <a:cubicBezTo>
                    <a:pt x="590" y="1726"/>
                    <a:pt x="590" y="1726"/>
                    <a:pt x="590" y="1726"/>
                  </a:cubicBezTo>
                  <a:cubicBezTo>
                    <a:pt x="590" y="1761"/>
                    <a:pt x="562" y="1788"/>
                    <a:pt x="528" y="1788"/>
                  </a:cubicBezTo>
                  <a:cubicBezTo>
                    <a:pt x="486" y="1788"/>
                    <a:pt x="486" y="1788"/>
                    <a:pt x="486" y="1788"/>
                  </a:cubicBezTo>
                  <a:cubicBezTo>
                    <a:pt x="452" y="1788"/>
                    <a:pt x="424" y="1761"/>
                    <a:pt x="424" y="1726"/>
                  </a:cubicBezTo>
                  <a:lnTo>
                    <a:pt x="424" y="1690"/>
                  </a:lnTo>
                  <a:close/>
                  <a:moveTo>
                    <a:pt x="603" y="1980"/>
                  </a:moveTo>
                  <a:cubicBezTo>
                    <a:pt x="603" y="2015"/>
                    <a:pt x="575" y="2043"/>
                    <a:pt x="541" y="2043"/>
                  </a:cubicBezTo>
                  <a:cubicBezTo>
                    <a:pt x="499" y="2043"/>
                    <a:pt x="499" y="2043"/>
                    <a:pt x="499" y="2043"/>
                  </a:cubicBezTo>
                  <a:cubicBezTo>
                    <a:pt x="465" y="2043"/>
                    <a:pt x="437" y="2015"/>
                    <a:pt x="437" y="1980"/>
                  </a:cubicBezTo>
                  <a:cubicBezTo>
                    <a:pt x="437" y="1944"/>
                    <a:pt x="437" y="1944"/>
                    <a:pt x="437" y="1944"/>
                  </a:cubicBezTo>
                  <a:cubicBezTo>
                    <a:pt x="437" y="1910"/>
                    <a:pt x="465" y="1882"/>
                    <a:pt x="499" y="1882"/>
                  </a:cubicBezTo>
                  <a:cubicBezTo>
                    <a:pt x="541" y="1882"/>
                    <a:pt x="541" y="1882"/>
                    <a:pt x="541" y="1882"/>
                  </a:cubicBezTo>
                  <a:cubicBezTo>
                    <a:pt x="575" y="1882"/>
                    <a:pt x="603" y="1910"/>
                    <a:pt x="603" y="1944"/>
                  </a:cubicBezTo>
                  <a:lnTo>
                    <a:pt x="603" y="1980"/>
                  </a:lnTo>
                  <a:close/>
                  <a:moveTo>
                    <a:pt x="799" y="1980"/>
                  </a:moveTo>
                  <a:cubicBezTo>
                    <a:pt x="799" y="2015"/>
                    <a:pt x="771" y="2043"/>
                    <a:pt x="737" y="2043"/>
                  </a:cubicBezTo>
                  <a:cubicBezTo>
                    <a:pt x="695" y="2043"/>
                    <a:pt x="695" y="2043"/>
                    <a:pt x="695" y="2043"/>
                  </a:cubicBezTo>
                  <a:cubicBezTo>
                    <a:pt x="661" y="2043"/>
                    <a:pt x="633" y="2015"/>
                    <a:pt x="633" y="1980"/>
                  </a:cubicBezTo>
                  <a:cubicBezTo>
                    <a:pt x="633" y="1944"/>
                    <a:pt x="633" y="1944"/>
                    <a:pt x="633" y="1944"/>
                  </a:cubicBezTo>
                  <a:cubicBezTo>
                    <a:pt x="633" y="1910"/>
                    <a:pt x="661" y="1882"/>
                    <a:pt x="695" y="1882"/>
                  </a:cubicBezTo>
                  <a:cubicBezTo>
                    <a:pt x="737" y="1882"/>
                    <a:pt x="737" y="1882"/>
                    <a:pt x="737" y="1882"/>
                  </a:cubicBezTo>
                  <a:cubicBezTo>
                    <a:pt x="771" y="1882"/>
                    <a:pt x="799" y="1910"/>
                    <a:pt x="799" y="1944"/>
                  </a:cubicBezTo>
                  <a:lnTo>
                    <a:pt x="799" y="1980"/>
                  </a:lnTo>
                  <a:close/>
                  <a:moveTo>
                    <a:pt x="799" y="1726"/>
                  </a:moveTo>
                  <a:cubicBezTo>
                    <a:pt x="799" y="1761"/>
                    <a:pt x="771" y="1788"/>
                    <a:pt x="737" y="1788"/>
                  </a:cubicBezTo>
                  <a:cubicBezTo>
                    <a:pt x="695" y="1788"/>
                    <a:pt x="695" y="1788"/>
                    <a:pt x="695" y="1788"/>
                  </a:cubicBezTo>
                  <a:cubicBezTo>
                    <a:pt x="661" y="1788"/>
                    <a:pt x="633" y="1761"/>
                    <a:pt x="633" y="1726"/>
                  </a:cubicBezTo>
                  <a:cubicBezTo>
                    <a:pt x="633" y="1690"/>
                    <a:pt x="633" y="1690"/>
                    <a:pt x="633" y="1690"/>
                  </a:cubicBezTo>
                  <a:cubicBezTo>
                    <a:pt x="633" y="1655"/>
                    <a:pt x="661" y="1628"/>
                    <a:pt x="695" y="1628"/>
                  </a:cubicBezTo>
                  <a:cubicBezTo>
                    <a:pt x="737" y="1628"/>
                    <a:pt x="737" y="1628"/>
                    <a:pt x="737" y="1628"/>
                  </a:cubicBezTo>
                  <a:cubicBezTo>
                    <a:pt x="771" y="1628"/>
                    <a:pt x="799" y="1655"/>
                    <a:pt x="799" y="1690"/>
                  </a:cubicBezTo>
                  <a:lnTo>
                    <a:pt x="799" y="1726"/>
                  </a:lnTo>
                  <a:close/>
                  <a:moveTo>
                    <a:pt x="799" y="1472"/>
                  </a:moveTo>
                  <a:cubicBezTo>
                    <a:pt x="799" y="1506"/>
                    <a:pt x="771" y="1534"/>
                    <a:pt x="737" y="1534"/>
                  </a:cubicBezTo>
                  <a:cubicBezTo>
                    <a:pt x="695" y="1534"/>
                    <a:pt x="695" y="1534"/>
                    <a:pt x="695" y="1534"/>
                  </a:cubicBezTo>
                  <a:cubicBezTo>
                    <a:pt x="661" y="1534"/>
                    <a:pt x="633" y="1506"/>
                    <a:pt x="633" y="1472"/>
                  </a:cubicBezTo>
                  <a:cubicBezTo>
                    <a:pt x="633" y="1436"/>
                    <a:pt x="633" y="1436"/>
                    <a:pt x="633" y="1436"/>
                  </a:cubicBezTo>
                  <a:cubicBezTo>
                    <a:pt x="633" y="1401"/>
                    <a:pt x="661" y="1373"/>
                    <a:pt x="695" y="1373"/>
                  </a:cubicBezTo>
                  <a:cubicBezTo>
                    <a:pt x="737" y="1373"/>
                    <a:pt x="737" y="1373"/>
                    <a:pt x="737" y="1373"/>
                  </a:cubicBezTo>
                  <a:cubicBezTo>
                    <a:pt x="771" y="1373"/>
                    <a:pt x="799" y="1401"/>
                    <a:pt x="799" y="1436"/>
                  </a:cubicBezTo>
                  <a:lnTo>
                    <a:pt x="799" y="1472"/>
                  </a:lnTo>
                  <a:close/>
                  <a:moveTo>
                    <a:pt x="995" y="1980"/>
                  </a:moveTo>
                  <a:cubicBezTo>
                    <a:pt x="995" y="2015"/>
                    <a:pt x="967" y="2043"/>
                    <a:pt x="933" y="2043"/>
                  </a:cubicBezTo>
                  <a:cubicBezTo>
                    <a:pt x="891" y="2043"/>
                    <a:pt x="891" y="2043"/>
                    <a:pt x="891" y="2043"/>
                  </a:cubicBezTo>
                  <a:cubicBezTo>
                    <a:pt x="857" y="2043"/>
                    <a:pt x="829" y="2015"/>
                    <a:pt x="829" y="1980"/>
                  </a:cubicBezTo>
                  <a:cubicBezTo>
                    <a:pt x="829" y="1944"/>
                    <a:pt x="829" y="1944"/>
                    <a:pt x="829" y="1944"/>
                  </a:cubicBezTo>
                  <a:cubicBezTo>
                    <a:pt x="829" y="1910"/>
                    <a:pt x="857" y="1882"/>
                    <a:pt x="891" y="1882"/>
                  </a:cubicBezTo>
                  <a:cubicBezTo>
                    <a:pt x="933" y="1882"/>
                    <a:pt x="933" y="1882"/>
                    <a:pt x="933" y="1882"/>
                  </a:cubicBezTo>
                  <a:cubicBezTo>
                    <a:pt x="967" y="1882"/>
                    <a:pt x="995" y="1910"/>
                    <a:pt x="995" y="1944"/>
                  </a:cubicBezTo>
                  <a:lnTo>
                    <a:pt x="995" y="1980"/>
                  </a:lnTo>
                  <a:close/>
                  <a:moveTo>
                    <a:pt x="1008" y="1726"/>
                  </a:moveTo>
                  <a:cubicBezTo>
                    <a:pt x="1008" y="1761"/>
                    <a:pt x="980" y="1788"/>
                    <a:pt x="946" y="1788"/>
                  </a:cubicBezTo>
                  <a:cubicBezTo>
                    <a:pt x="904" y="1788"/>
                    <a:pt x="904" y="1788"/>
                    <a:pt x="904" y="1788"/>
                  </a:cubicBezTo>
                  <a:cubicBezTo>
                    <a:pt x="870" y="1788"/>
                    <a:pt x="842" y="1761"/>
                    <a:pt x="842" y="1726"/>
                  </a:cubicBezTo>
                  <a:cubicBezTo>
                    <a:pt x="842" y="1690"/>
                    <a:pt x="842" y="1690"/>
                    <a:pt x="842" y="1690"/>
                  </a:cubicBezTo>
                  <a:cubicBezTo>
                    <a:pt x="842" y="1655"/>
                    <a:pt x="870" y="1628"/>
                    <a:pt x="904" y="1628"/>
                  </a:cubicBezTo>
                  <a:cubicBezTo>
                    <a:pt x="946" y="1628"/>
                    <a:pt x="946" y="1628"/>
                    <a:pt x="946" y="1628"/>
                  </a:cubicBezTo>
                  <a:cubicBezTo>
                    <a:pt x="980" y="1628"/>
                    <a:pt x="1008" y="1655"/>
                    <a:pt x="1008" y="1690"/>
                  </a:cubicBezTo>
                  <a:lnTo>
                    <a:pt x="1008" y="1726"/>
                  </a:lnTo>
                  <a:close/>
                  <a:moveTo>
                    <a:pt x="1021" y="1472"/>
                  </a:moveTo>
                  <a:cubicBezTo>
                    <a:pt x="1021" y="1506"/>
                    <a:pt x="993" y="1534"/>
                    <a:pt x="959" y="1534"/>
                  </a:cubicBezTo>
                  <a:cubicBezTo>
                    <a:pt x="917" y="1534"/>
                    <a:pt x="917" y="1534"/>
                    <a:pt x="917" y="1534"/>
                  </a:cubicBezTo>
                  <a:cubicBezTo>
                    <a:pt x="883" y="1534"/>
                    <a:pt x="855" y="1506"/>
                    <a:pt x="855" y="1472"/>
                  </a:cubicBezTo>
                  <a:cubicBezTo>
                    <a:pt x="855" y="1436"/>
                    <a:pt x="855" y="1436"/>
                    <a:pt x="855" y="1436"/>
                  </a:cubicBezTo>
                  <a:cubicBezTo>
                    <a:pt x="855" y="1401"/>
                    <a:pt x="883" y="1373"/>
                    <a:pt x="917" y="1373"/>
                  </a:cubicBezTo>
                  <a:cubicBezTo>
                    <a:pt x="959" y="1373"/>
                    <a:pt x="959" y="1373"/>
                    <a:pt x="959" y="1373"/>
                  </a:cubicBezTo>
                  <a:cubicBezTo>
                    <a:pt x="993" y="1373"/>
                    <a:pt x="1021" y="1401"/>
                    <a:pt x="1021" y="1436"/>
                  </a:cubicBezTo>
                  <a:lnTo>
                    <a:pt x="1021" y="1472"/>
                  </a:lnTo>
                  <a:close/>
                  <a:moveTo>
                    <a:pt x="1191" y="1980"/>
                  </a:moveTo>
                  <a:cubicBezTo>
                    <a:pt x="1191" y="2015"/>
                    <a:pt x="1163" y="2043"/>
                    <a:pt x="1129" y="2043"/>
                  </a:cubicBezTo>
                  <a:cubicBezTo>
                    <a:pt x="1087" y="2043"/>
                    <a:pt x="1087" y="2043"/>
                    <a:pt x="1087" y="2043"/>
                  </a:cubicBezTo>
                  <a:cubicBezTo>
                    <a:pt x="1053" y="2043"/>
                    <a:pt x="1025" y="2015"/>
                    <a:pt x="1025" y="1980"/>
                  </a:cubicBezTo>
                  <a:cubicBezTo>
                    <a:pt x="1025" y="1944"/>
                    <a:pt x="1025" y="1944"/>
                    <a:pt x="1025" y="1944"/>
                  </a:cubicBezTo>
                  <a:cubicBezTo>
                    <a:pt x="1025" y="1910"/>
                    <a:pt x="1053" y="1882"/>
                    <a:pt x="1087" y="1882"/>
                  </a:cubicBezTo>
                  <a:cubicBezTo>
                    <a:pt x="1129" y="1882"/>
                    <a:pt x="1129" y="1882"/>
                    <a:pt x="1129" y="1882"/>
                  </a:cubicBezTo>
                  <a:cubicBezTo>
                    <a:pt x="1163" y="1882"/>
                    <a:pt x="1191" y="1910"/>
                    <a:pt x="1191" y="1944"/>
                  </a:cubicBezTo>
                  <a:lnTo>
                    <a:pt x="1191" y="1980"/>
                  </a:lnTo>
                  <a:close/>
                  <a:moveTo>
                    <a:pt x="1217" y="1726"/>
                  </a:moveTo>
                  <a:cubicBezTo>
                    <a:pt x="1217" y="1761"/>
                    <a:pt x="1189" y="1788"/>
                    <a:pt x="1155" y="1788"/>
                  </a:cubicBezTo>
                  <a:cubicBezTo>
                    <a:pt x="1113" y="1788"/>
                    <a:pt x="1113" y="1788"/>
                    <a:pt x="1113" y="1788"/>
                  </a:cubicBezTo>
                  <a:cubicBezTo>
                    <a:pt x="1079" y="1788"/>
                    <a:pt x="1051" y="1761"/>
                    <a:pt x="1051" y="1726"/>
                  </a:cubicBezTo>
                  <a:cubicBezTo>
                    <a:pt x="1051" y="1690"/>
                    <a:pt x="1051" y="1690"/>
                    <a:pt x="1051" y="1690"/>
                  </a:cubicBezTo>
                  <a:cubicBezTo>
                    <a:pt x="1051" y="1655"/>
                    <a:pt x="1079" y="1628"/>
                    <a:pt x="1113" y="1628"/>
                  </a:cubicBezTo>
                  <a:cubicBezTo>
                    <a:pt x="1155" y="1628"/>
                    <a:pt x="1155" y="1628"/>
                    <a:pt x="1155" y="1628"/>
                  </a:cubicBezTo>
                  <a:cubicBezTo>
                    <a:pt x="1189" y="1628"/>
                    <a:pt x="1217" y="1655"/>
                    <a:pt x="1217" y="1690"/>
                  </a:cubicBezTo>
                  <a:lnTo>
                    <a:pt x="1217" y="1726"/>
                  </a:lnTo>
                  <a:close/>
                  <a:moveTo>
                    <a:pt x="1243" y="1472"/>
                  </a:moveTo>
                  <a:cubicBezTo>
                    <a:pt x="1243" y="1506"/>
                    <a:pt x="1215" y="1534"/>
                    <a:pt x="1181" y="1534"/>
                  </a:cubicBezTo>
                  <a:cubicBezTo>
                    <a:pt x="1139" y="1534"/>
                    <a:pt x="1139" y="1534"/>
                    <a:pt x="1139" y="1534"/>
                  </a:cubicBezTo>
                  <a:cubicBezTo>
                    <a:pt x="1105" y="1534"/>
                    <a:pt x="1077" y="1506"/>
                    <a:pt x="1077" y="1472"/>
                  </a:cubicBezTo>
                  <a:cubicBezTo>
                    <a:pt x="1077" y="1436"/>
                    <a:pt x="1077" y="1436"/>
                    <a:pt x="1077" y="1436"/>
                  </a:cubicBezTo>
                  <a:cubicBezTo>
                    <a:pt x="1077" y="1401"/>
                    <a:pt x="1105" y="1373"/>
                    <a:pt x="1139" y="1373"/>
                  </a:cubicBezTo>
                  <a:cubicBezTo>
                    <a:pt x="1181" y="1373"/>
                    <a:pt x="1181" y="1373"/>
                    <a:pt x="1181" y="1373"/>
                  </a:cubicBezTo>
                  <a:cubicBezTo>
                    <a:pt x="1215" y="1373"/>
                    <a:pt x="1243" y="1401"/>
                    <a:pt x="1243" y="1436"/>
                  </a:cubicBezTo>
                  <a:lnTo>
                    <a:pt x="1243" y="1472"/>
                  </a:lnTo>
                  <a:close/>
                  <a:moveTo>
                    <a:pt x="1244" y="1186"/>
                  </a:moveTo>
                  <a:cubicBezTo>
                    <a:pt x="1242" y="1220"/>
                    <a:pt x="1212" y="1248"/>
                    <a:pt x="1178" y="1248"/>
                  </a:cubicBezTo>
                  <a:cubicBezTo>
                    <a:pt x="254" y="1248"/>
                    <a:pt x="254" y="1248"/>
                    <a:pt x="254" y="1248"/>
                  </a:cubicBezTo>
                  <a:cubicBezTo>
                    <a:pt x="220" y="1248"/>
                    <a:pt x="190" y="1220"/>
                    <a:pt x="189" y="1186"/>
                  </a:cubicBezTo>
                  <a:cubicBezTo>
                    <a:pt x="173" y="873"/>
                    <a:pt x="175" y="564"/>
                    <a:pt x="195" y="260"/>
                  </a:cubicBezTo>
                  <a:cubicBezTo>
                    <a:pt x="198" y="245"/>
                    <a:pt x="216" y="229"/>
                    <a:pt x="235" y="222"/>
                  </a:cubicBezTo>
                  <a:cubicBezTo>
                    <a:pt x="396" y="190"/>
                    <a:pt x="558" y="173"/>
                    <a:pt x="716" y="173"/>
                  </a:cubicBezTo>
                  <a:cubicBezTo>
                    <a:pt x="875" y="173"/>
                    <a:pt x="1037" y="190"/>
                    <a:pt x="1198" y="222"/>
                  </a:cubicBezTo>
                  <a:cubicBezTo>
                    <a:pt x="1216" y="229"/>
                    <a:pt x="1234" y="245"/>
                    <a:pt x="1237" y="260"/>
                  </a:cubicBezTo>
                  <a:cubicBezTo>
                    <a:pt x="1257" y="564"/>
                    <a:pt x="1259" y="873"/>
                    <a:pt x="1244" y="1186"/>
                  </a:cubicBezTo>
                  <a:close/>
                  <a:moveTo>
                    <a:pt x="837" y="883"/>
                  </a:moveTo>
                  <a:cubicBezTo>
                    <a:pt x="835" y="881"/>
                    <a:pt x="832" y="880"/>
                    <a:pt x="830" y="882"/>
                  </a:cubicBezTo>
                  <a:cubicBezTo>
                    <a:pt x="830" y="882"/>
                    <a:pt x="724" y="945"/>
                    <a:pt x="700" y="916"/>
                  </a:cubicBezTo>
                  <a:cubicBezTo>
                    <a:pt x="682" y="895"/>
                    <a:pt x="636" y="819"/>
                    <a:pt x="608" y="768"/>
                  </a:cubicBezTo>
                  <a:cubicBezTo>
                    <a:pt x="580" y="717"/>
                    <a:pt x="541" y="638"/>
                    <a:pt x="532" y="611"/>
                  </a:cubicBezTo>
                  <a:cubicBezTo>
                    <a:pt x="523" y="582"/>
                    <a:pt x="594" y="539"/>
                    <a:pt x="621" y="524"/>
                  </a:cubicBezTo>
                  <a:cubicBezTo>
                    <a:pt x="626" y="521"/>
                    <a:pt x="630" y="519"/>
                    <a:pt x="630" y="519"/>
                  </a:cubicBezTo>
                  <a:cubicBezTo>
                    <a:pt x="633" y="518"/>
                    <a:pt x="634" y="516"/>
                    <a:pt x="632" y="513"/>
                  </a:cubicBezTo>
                  <a:cubicBezTo>
                    <a:pt x="632" y="513"/>
                    <a:pt x="599" y="400"/>
                    <a:pt x="531" y="330"/>
                  </a:cubicBezTo>
                  <a:cubicBezTo>
                    <a:pt x="529" y="328"/>
                    <a:pt x="525" y="328"/>
                    <a:pt x="522" y="330"/>
                  </a:cubicBezTo>
                  <a:cubicBezTo>
                    <a:pt x="522" y="330"/>
                    <a:pt x="520" y="331"/>
                    <a:pt x="517" y="333"/>
                  </a:cubicBezTo>
                  <a:cubicBezTo>
                    <a:pt x="500" y="344"/>
                    <a:pt x="436" y="387"/>
                    <a:pt x="393" y="429"/>
                  </a:cubicBezTo>
                  <a:cubicBezTo>
                    <a:pt x="358" y="464"/>
                    <a:pt x="367" y="612"/>
                    <a:pt x="489" y="834"/>
                  </a:cubicBezTo>
                  <a:cubicBezTo>
                    <a:pt x="612" y="1055"/>
                    <a:pt x="733" y="1142"/>
                    <a:pt x="781" y="1131"/>
                  </a:cubicBezTo>
                  <a:cubicBezTo>
                    <a:pt x="849" y="1115"/>
                    <a:pt x="934" y="1074"/>
                    <a:pt x="934" y="1074"/>
                  </a:cubicBezTo>
                  <a:cubicBezTo>
                    <a:pt x="937" y="1072"/>
                    <a:pt x="939" y="1069"/>
                    <a:pt x="938" y="1067"/>
                  </a:cubicBezTo>
                  <a:cubicBezTo>
                    <a:pt x="915" y="971"/>
                    <a:pt x="837" y="883"/>
                    <a:pt x="837" y="883"/>
                  </a:cubicBezTo>
                  <a:close/>
                  <a:moveTo>
                    <a:pt x="796" y="360"/>
                  </a:moveTo>
                  <a:cubicBezTo>
                    <a:pt x="783" y="355"/>
                    <a:pt x="770" y="363"/>
                    <a:pt x="767" y="376"/>
                  </a:cubicBezTo>
                  <a:cubicBezTo>
                    <a:pt x="760" y="399"/>
                    <a:pt x="760" y="399"/>
                    <a:pt x="760" y="399"/>
                  </a:cubicBezTo>
                  <a:cubicBezTo>
                    <a:pt x="757" y="411"/>
                    <a:pt x="764" y="424"/>
                    <a:pt x="777" y="429"/>
                  </a:cubicBezTo>
                  <a:cubicBezTo>
                    <a:pt x="853" y="456"/>
                    <a:pt x="913" y="509"/>
                    <a:pt x="951" y="575"/>
                  </a:cubicBezTo>
                  <a:cubicBezTo>
                    <a:pt x="988" y="641"/>
                    <a:pt x="1003" y="720"/>
                    <a:pt x="987" y="799"/>
                  </a:cubicBezTo>
                  <a:cubicBezTo>
                    <a:pt x="984" y="812"/>
                    <a:pt x="992" y="825"/>
                    <a:pt x="1004" y="829"/>
                  </a:cubicBezTo>
                  <a:cubicBezTo>
                    <a:pt x="1027" y="835"/>
                    <a:pt x="1027" y="835"/>
                    <a:pt x="1027" y="835"/>
                  </a:cubicBezTo>
                  <a:cubicBezTo>
                    <a:pt x="1040" y="838"/>
                    <a:pt x="1053" y="831"/>
                    <a:pt x="1056" y="818"/>
                  </a:cubicBezTo>
                  <a:cubicBezTo>
                    <a:pt x="1077" y="720"/>
                    <a:pt x="1059" y="621"/>
                    <a:pt x="1013" y="539"/>
                  </a:cubicBezTo>
                  <a:cubicBezTo>
                    <a:pt x="967" y="458"/>
                    <a:pt x="891" y="392"/>
                    <a:pt x="796" y="360"/>
                  </a:cubicBezTo>
                  <a:close/>
                  <a:moveTo>
                    <a:pt x="719" y="753"/>
                  </a:moveTo>
                  <a:cubicBezTo>
                    <a:pt x="749" y="761"/>
                    <a:pt x="780" y="743"/>
                    <a:pt x="789" y="713"/>
                  </a:cubicBezTo>
                  <a:cubicBezTo>
                    <a:pt x="797" y="683"/>
                    <a:pt x="779" y="651"/>
                    <a:pt x="749" y="643"/>
                  </a:cubicBezTo>
                  <a:cubicBezTo>
                    <a:pt x="719" y="635"/>
                    <a:pt x="688" y="653"/>
                    <a:pt x="679" y="683"/>
                  </a:cubicBezTo>
                  <a:cubicBezTo>
                    <a:pt x="671" y="713"/>
                    <a:pt x="689" y="744"/>
                    <a:pt x="719" y="753"/>
                  </a:cubicBezTo>
                  <a:close/>
                  <a:moveTo>
                    <a:pt x="741" y="558"/>
                  </a:moveTo>
                  <a:cubicBezTo>
                    <a:pt x="782" y="575"/>
                    <a:pt x="814" y="605"/>
                    <a:pt x="834" y="641"/>
                  </a:cubicBezTo>
                  <a:cubicBezTo>
                    <a:pt x="855" y="677"/>
                    <a:pt x="864" y="720"/>
                    <a:pt x="857" y="763"/>
                  </a:cubicBezTo>
                  <a:cubicBezTo>
                    <a:pt x="855" y="776"/>
                    <a:pt x="863" y="789"/>
                    <a:pt x="875" y="793"/>
                  </a:cubicBezTo>
                  <a:cubicBezTo>
                    <a:pt x="898" y="799"/>
                    <a:pt x="898" y="799"/>
                    <a:pt x="898" y="799"/>
                  </a:cubicBezTo>
                  <a:cubicBezTo>
                    <a:pt x="911" y="803"/>
                    <a:pt x="924" y="795"/>
                    <a:pt x="927" y="782"/>
                  </a:cubicBezTo>
                  <a:cubicBezTo>
                    <a:pt x="938" y="720"/>
                    <a:pt x="926" y="658"/>
                    <a:pt x="897" y="606"/>
                  </a:cubicBezTo>
                  <a:cubicBezTo>
                    <a:pt x="867" y="553"/>
                    <a:pt x="820" y="511"/>
                    <a:pt x="760" y="489"/>
                  </a:cubicBezTo>
                  <a:cubicBezTo>
                    <a:pt x="748" y="484"/>
                    <a:pt x="735" y="492"/>
                    <a:pt x="731" y="505"/>
                  </a:cubicBezTo>
                  <a:cubicBezTo>
                    <a:pt x="725" y="528"/>
                    <a:pt x="725" y="528"/>
                    <a:pt x="725" y="528"/>
                  </a:cubicBezTo>
                  <a:cubicBezTo>
                    <a:pt x="721" y="540"/>
                    <a:pt x="729" y="553"/>
                    <a:pt x="741" y="5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992677" y="1239509"/>
            <a:ext cx="497801" cy="194901"/>
            <a:chOff x="599235" y="1855623"/>
            <a:chExt cx="487891" cy="191021"/>
          </a:xfrm>
        </p:grpSpPr>
        <p:cxnSp>
          <p:nvCxnSpPr>
            <p:cNvPr id="1116" name="Straight Connector 1115"/>
            <p:cNvCxnSpPr/>
            <p:nvPr/>
          </p:nvCxnSpPr>
          <p:spPr>
            <a:xfrm>
              <a:off x="599235" y="1951133"/>
              <a:ext cx="298527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17" name="Group 1116"/>
            <p:cNvGrpSpPr/>
            <p:nvPr/>
          </p:nvGrpSpPr>
          <p:grpSpPr>
            <a:xfrm>
              <a:off x="894005" y="1855623"/>
              <a:ext cx="193121" cy="191021"/>
              <a:chOff x="4728587" y="1595870"/>
              <a:chExt cx="213476" cy="211155"/>
            </a:xfrm>
          </p:grpSpPr>
          <p:sp>
            <p:nvSpPr>
              <p:cNvPr id="1118" name="Oval 1117"/>
              <p:cNvSpPr/>
              <p:nvPr/>
            </p:nvSpPr>
            <p:spPr>
              <a:xfrm>
                <a:off x="4730920" y="1595870"/>
                <a:ext cx="211143" cy="211155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9" name="Straight Connector 1118"/>
              <p:cNvCxnSpPr>
                <a:endCxn id="1120" idx="3"/>
              </p:cNvCxnSpPr>
              <p:nvPr/>
            </p:nvCxnSpPr>
            <p:spPr>
              <a:xfrm>
                <a:off x="4728587" y="1701448"/>
                <a:ext cx="92242" cy="2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20" name="Isosceles Triangle 1119"/>
              <p:cNvSpPr/>
              <p:nvPr/>
            </p:nvSpPr>
            <p:spPr>
              <a:xfrm rot="5400000">
                <a:off x="4801049" y="1657751"/>
                <a:ext cx="126955" cy="87396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992677" y="2690060"/>
            <a:ext cx="497801" cy="194901"/>
            <a:chOff x="599235" y="3427609"/>
            <a:chExt cx="487891" cy="191021"/>
          </a:xfrm>
        </p:grpSpPr>
        <p:cxnSp>
          <p:nvCxnSpPr>
            <p:cNvPr id="1126" name="Straight Connector 1125"/>
            <p:cNvCxnSpPr/>
            <p:nvPr/>
          </p:nvCxnSpPr>
          <p:spPr>
            <a:xfrm>
              <a:off x="599235" y="3523119"/>
              <a:ext cx="298527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27" name="Group 1126"/>
            <p:cNvGrpSpPr/>
            <p:nvPr/>
          </p:nvGrpSpPr>
          <p:grpSpPr>
            <a:xfrm>
              <a:off x="894005" y="3427609"/>
              <a:ext cx="193121" cy="191021"/>
              <a:chOff x="4728587" y="1595870"/>
              <a:chExt cx="213476" cy="211155"/>
            </a:xfrm>
          </p:grpSpPr>
          <p:sp>
            <p:nvSpPr>
              <p:cNvPr id="1128" name="Oval 1127"/>
              <p:cNvSpPr/>
              <p:nvPr/>
            </p:nvSpPr>
            <p:spPr>
              <a:xfrm>
                <a:off x="4730920" y="1595870"/>
                <a:ext cx="211143" cy="211155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29" name="Straight Connector 1128"/>
              <p:cNvCxnSpPr>
                <a:endCxn id="1130" idx="3"/>
              </p:cNvCxnSpPr>
              <p:nvPr/>
            </p:nvCxnSpPr>
            <p:spPr>
              <a:xfrm>
                <a:off x="4728587" y="1701448"/>
                <a:ext cx="92242" cy="2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0" name="Isosceles Triangle 1129"/>
              <p:cNvSpPr/>
              <p:nvPr/>
            </p:nvSpPr>
            <p:spPr>
              <a:xfrm rot="5400000">
                <a:off x="4801049" y="1657751"/>
                <a:ext cx="126955" cy="87396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992677" y="3977674"/>
            <a:ext cx="497801" cy="194901"/>
            <a:chOff x="599235" y="4213602"/>
            <a:chExt cx="487891" cy="191021"/>
          </a:xfrm>
        </p:grpSpPr>
        <p:cxnSp>
          <p:nvCxnSpPr>
            <p:cNvPr id="1131" name="Straight Connector 1130"/>
            <p:cNvCxnSpPr/>
            <p:nvPr/>
          </p:nvCxnSpPr>
          <p:spPr>
            <a:xfrm>
              <a:off x="599235" y="4309112"/>
              <a:ext cx="298527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2" name="Group 1131"/>
            <p:cNvGrpSpPr/>
            <p:nvPr/>
          </p:nvGrpSpPr>
          <p:grpSpPr>
            <a:xfrm>
              <a:off x="894005" y="4213602"/>
              <a:ext cx="193121" cy="191021"/>
              <a:chOff x="4728587" y="1595870"/>
              <a:chExt cx="213476" cy="211155"/>
            </a:xfrm>
          </p:grpSpPr>
          <p:sp>
            <p:nvSpPr>
              <p:cNvPr id="1133" name="Oval 1132"/>
              <p:cNvSpPr/>
              <p:nvPr/>
            </p:nvSpPr>
            <p:spPr>
              <a:xfrm>
                <a:off x="4730920" y="1595870"/>
                <a:ext cx="211143" cy="211155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34" name="Straight Connector 1133"/>
              <p:cNvCxnSpPr>
                <a:endCxn id="1135" idx="3"/>
              </p:cNvCxnSpPr>
              <p:nvPr/>
            </p:nvCxnSpPr>
            <p:spPr>
              <a:xfrm>
                <a:off x="4728587" y="1701448"/>
                <a:ext cx="92242" cy="2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5" name="Isosceles Triangle 1134"/>
              <p:cNvSpPr/>
              <p:nvPr/>
            </p:nvSpPr>
            <p:spPr>
              <a:xfrm rot="5400000">
                <a:off x="4801049" y="1657751"/>
                <a:ext cx="126955" cy="87396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992677" y="5246116"/>
            <a:ext cx="497801" cy="194901"/>
            <a:chOff x="599235" y="4999594"/>
            <a:chExt cx="487891" cy="191021"/>
          </a:xfrm>
        </p:grpSpPr>
        <p:cxnSp>
          <p:nvCxnSpPr>
            <p:cNvPr id="1136" name="Straight Connector 1135"/>
            <p:cNvCxnSpPr/>
            <p:nvPr/>
          </p:nvCxnSpPr>
          <p:spPr>
            <a:xfrm>
              <a:off x="599235" y="5095104"/>
              <a:ext cx="298527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7" name="Group 1136"/>
            <p:cNvGrpSpPr/>
            <p:nvPr/>
          </p:nvGrpSpPr>
          <p:grpSpPr>
            <a:xfrm>
              <a:off x="894005" y="4999594"/>
              <a:ext cx="193121" cy="191021"/>
              <a:chOff x="4728587" y="1595870"/>
              <a:chExt cx="213476" cy="211155"/>
            </a:xfrm>
          </p:grpSpPr>
          <p:sp>
            <p:nvSpPr>
              <p:cNvPr id="1138" name="Oval 1137"/>
              <p:cNvSpPr/>
              <p:nvPr/>
            </p:nvSpPr>
            <p:spPr>
              <a:xfrm>
                <a:off x="4730920" y="1595870"/>
                <a:ext cx="211143" cy="211155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39" name="Straight Connector 1138"/>
              <p:cNvCxnSpPr>
                <a:endCxn id="1140" idx="3"/>
              </p:cNvCxnSpPr>
              <p:nvPr/>
            </p:nvCxnSpPr>
            <p:spPr>
              <a:xfrm>
                <a:off x="4728587" y="1701448"/>
                <a:ext cx="92242" cy="2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0" name="Isosceles Triangle 1139"/>
              <p:cNvSpPr/>
              <p:nvPr/>
            </p:nvSpPr>
            <p:spPr>
              <a:xfrm rot="5400000">
                <a:off x="4801049" y="1657751"/>
                <a:ext cx="126955" cy="87396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4401" tIns="42200" rIns="84401" bIns="42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08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" name="Oval 3"/>
          <p:cNvSpPr>
            <a:spLocks/>
          </p:cNvSpPr>
          <p:nvPr/>
        </p:nvSpPr>
        <p:spPr>
          <a:xfrm>
            <a:off x="5845367" y="1124969"/>
            <a:ext cx="2371778" cy="514705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NZ" sz="1224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554508" y="1124969"/>
            <a:ext cx="2260662" cy="5147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sz="1224" dirty="0">
              <a:solidFill>
                <a:schemeClr val="tx1"/>
              </a:solidFill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4036067" y="2926502"/>
            <a:ext cx="1679352" cy="1679352"/>
            <a:chOff x="3582040" y="2628658"/>
            <a:chExt cx="1645920" cy="1645920"/>
          </a:xfrm>
        </p:grpSpPr>
        <p:sp>
          <p:nvSpPr>
            <p:cNvPr id="9" name="TextBox 8"/>
            <p:cNvSpPr txBox="1"/>
            <p:nvPr/>
          </p:nvSpPr>
          <p:spPr>
            <a:xfrm>
              <a:off x="3582040" y="2628658"/>
              <a:ext cx="1645920" cy="1645920"/>
            </a:xfrm>
            <a:prstGeom prst="flowChartDecision">
              <a:avLst/>
            </a:prstGeom>
            <a:solidFill>
              <a:schemeClr val="accent2"/>
            </a:solidFill>
          </p:spPr>
          <p:txBody>
            <a:bodyPr wrap="none" rtlCol="0">
              <a:noAutofit/>
            </a:bodyPr>
            <a:lstStyle/>
            <a:p>
              <a:pPr algn="ctr"/>
              <a:r>
                <a:rPr lang="en-NZ" sz="1224" dirty="0">
                  <a:solidFill>
                    <a:schemeClr val="bg1"/>
                  </a:solidFill>
                  <a:latin typeface="+mn-lt"/>
                </a:rPr>
                <a:t>Marketplace </a:t>
              </a:r>
              <a:br>
                <a:rPr lang="en-NZ" sz="1224" dirty="0">
                  <a:solidFill>
                    <a:schemeClr val="bg1"/>
                  </a:solidFill>
                  <a:latin typeface="+mn-lt"/>
                </a:rPr>
              </a:br>
              <a:endParaRPr lang="en-NZ" sz="1224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4" name="Freeform 36"/>
            <p:cNvSpPr>
              <a:spLocks noEditPoints="1"/>
            </p:cNvSpPr>
            <p:nvPr/>
          </p:nvSpPr>
          <p:spPr bwMode="auto">
            <a:xfrm>
              <a:off x="4170004" y="3460571"/>
              <a:ext cx="469992" cy="422992"/>
            </a:xfrm>
            <a:custGeom>
              <a:avLst/>
              <a:gdLst>
                <a:gd name="T0" fmla="*/ 49 w 640"/>
                <a:gd name="T1" fmla="*/ 400 h 576"/>
                <a:gd name="T2" fmla="*/ 544 w 640"/>
                <a:gd name="T3" fmla="*/ 48 h 576"/>
                <a:gd name="T4" fmla="*/ 593 w 640"/>
                <a:gd name="T5" fmla="*/ 127 h 576"/>
                <a:gd name="T6" fmla="*/ 588 w 640"/>
                <a:gd name="T7" fmla="*/ 29 h 576"/>
                <a:gd name="T8" fmla="*/ 564 w 640"/>
                <a:gd name="T9" fmla="*/ 3 h 576"/>
                <a:gd name="T10" fmla="*/ 49 w 640"/>
                <a:gd name="T11" fmla="*/ 0 h 576"/>
                <a:gd name="T12" fmla="*/ 14 w 640"/>
                <a:gd name="T13" fmla="*/ 14 h 576"/>
                <a:gd name="T14" fmla="*/ 0 w 640"/>
                <a:gd name="T15" fmla="*/ 48 h 576"/>
                <a:gd name="T16" fmla="*/ 5 w 640"/>
                <a:gd name="T17" fmla="*/ 450 h 576"/>
                <a:gd name="T18" fmla="*/ 29 w 640"/>
                <a:gd name="T19" fmla="*/ 475 h 576"/>
                <a:gd name="T20" fmla="*/ 265 w 640"/>
                <a:gd name="T21" fmla="*/ 479 h 576"/>
                <a:gd name="T22" fmla="*/ 251 w 640"/>
                <a:gd name="T23" fmla="*/ 518 h 576"/>
                <a:gd name="T24" fmla="*/ 219 w 640"/>
                <a:gd name="T25" fmla="*/ 542 h 576"/>
                <a:gd name="T26" fmla="*/ 193 w 640"/>
                <a:gd name="T27" fmla="*/ 576 h 576"/>
                <a:gd name="T28" fmla="*/ 340 w 640"/>
                <a:gd name="T29" fmla="*/ 553 h 576"/>
                <a:gd name="T30" fmla="*/ 337 w 640"/>
                <a:gd name="T31" fmla="*/ 400 h 576"/>
                <a:gd name="T32" fmla="*/ 432 w 640"/>
                <a:gd name="T33" fmla="*/ 176 h 576"/>
                <a:gd name="T34" fmla="*/ 398 w 640"/>
                <a:gd name="T35" fmla="*/ 190 h 576"/>
                <a:gd name="T36" fmla="*/ 385 w 640"/>
                <a:gd name="T37" fmla="*/ 224 h 576"/>
                <a:gd name="T38" fmla="*/ 388 w 640"/>
                <a:gd name="T39" fmla="*/ 545 h 576"/>
                <a:gd name="T40" fmla="*/ 414 w 640"/>
                <a:gd name="T41" fmla="*/ 571 h 576"/>
                <a:gd name="T42" fmla="*/ 593 w 640"/>
                <a:gd name="T43" fmla="*/ 576 h 576"/>
                <a:gd name="T44" fmla="*/ 627 w 640"/>
                <a:gd name="T45" fmla="*/ 561 h 576"/>
                <a:gd name="T46" fmla="*/ 640 w 640"/>
                <a:gd name="T47" fmla="*/ 527 h 576"/>
                <a:gd name="T48" fmla="*/ 637 w 640"/>
                <a:gd name="T49" fmla="*/ 205 h 576"/>
                <a:gd name="T50" fmla="*/ 611 w 640"/>
                <a:gd name="T51" fmla="*/ 179 h 576"/>
                <a:gd name="T52" fmla="*/ 512 w 640"/>
                <a:gd name="T53" fmla="*/ 553 h 576"/>
                <a:gd name="T54" fmla="*/ 490 w 640"/>
                <a:gd name="T55" fmla="*/ 541 h 576"/>
                <a:gd name="T56" fmla="*/ 490 w 640"/>
                <a:gd name="T57" fmla="*/ 515 h 576"/>
                <a:gd name="T58" fmla="*/ 512 w 640"/>
                <a:gd name="T59" fmla="*/ 501 h 576"/>
                <a:gd name="T60" fmla="*/ 535 w 640"/>
                <a:gd name="T61" fmla="*/ 515 h 576"/>
                <a:gd name="T62" fmla="*/ 535 w 640"/>
                <a:gd name="T63" fmla="*/ 541 h 576"/>
                <a:gd name="T64" fmla="*/ 512 w 640"/>
                <a:gd name="T65" fmla="*/ 553 h 576"/>
                <a:gd name="T66" fmla="*/ 432 w 640"/>
                <a:gd name="T67" fmla="*/ 479 h 576"/>
                <a:gd name="T68" fmla="*/ 593 w 640"/>
                <a:gd name="T69" fmla="*/ 22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0" h="576">
                  <a:moveTo>
                    <a:pt x="337" y="400"/>
                  </a:moveTo>
                  <a:lnTo>
                    <a:pt x="49" y="400"/>
                  </a:lnTo>
                  <a:lnTo>
                    <a:pt x="49" y="48"/>
                  </a:lnTo>
                  <a:lnTo>
                    <a:pt x="544" y="48"/>
                  </a:lnTo>
                  <a:lnTo>
                    <a:pt x="544" y="127"/>
                  </a:lnTo>
                  <a:lnTo>
                    <a:pt x="593" y="127"/>
                  </a:lnTo>
                  <a:lnTo>
                    <a:pt x="593" y="48"/>
                  </a:lnTo>
                  <a:lnTo>
                    <a:pt x="588" y="29"/>
                  </a:lnTo>
                  <a:lnTo>
                    <a:pt x="579" y="14"/>
                  </a:lnTo>
                  <a:lnTo>
                    <a:pt x="564" y="3"/>
                  </a:lnTo>
                  <a:lnTo>
                    <a:pt x="544" y="0"/>
                  </a:lnTo>
                  <a:lnTo>
                    <a:pt x="49" y="0"/>
                  </a:lnTo>
                  <a:lnTo>
                    <a:pt x="29" y="3"/>
                  </a:lnTo>
                  <a:lnTo>
                    <a:pt x="14" y="14"/>
                  </a:lnTo>
                  <a:lnTo>
                    <a:pt x="5" y="29"/>
                  </a:lnTo>
                  <a:lnTo>
                    <a:pt x="0" y="48"/>
                  </a:lnTo>
                  <a:lnTo>
                    <a:pt x="0" y="432"/>
                  </a:lnTo>
                  <a:lnTo>
                    <a:pt x="5" y="450"/>
                  </a:lnTo>
                  <a:lnTo>
                    <a:pt x="14" y="466"/>
                  </a:lnTo>
                  <a:lnTo>
                    <a:pt x="29" y="475"/>
                  </a:lnTo>
                  <a:lnTo>
                    <a:pt x="49" y="479"/>
                  </a:lnTo>
                  <a:lnTo>
                    <a:pt x="265" y="479"/>
                  </a:lnTo>
                  <a:lnTo>
                    <a:pt x="261" y="499"/>
                  </a:lnTo>
                  <a:lnTo>
                    <a:pt x="251" y="518"/>
                  </a:lnTo>
                  <a:lnTo>
                    <a:pt x="238" y="533"/>
                  </a:lnTo>
                  <a:lnTo>
                    <a:pt x="219" y="542"/>
                  </a:lnTo>
                  <a:lnTo>
                    <a:pt x="193" y="551"/>
                  </a:lnTo>
                  <a:lnTo>
                    <a:pt x="193" y="576"/>
                  </a:lnTo>
                  <a:lnTo>
                    <a:pt x="349" y="576"/>
                  </a:lnTo>
                  <a:lnTo>
                    <a:pt x="340" y="553"/>
                  </a:lnTo>
                  <a:lnTo>
                    <a:pt x="337" y="527"/>
                  </a:lnTo>
                  <a:lnTo>
                    <a:pt x="337" y="400"/>
                  </a:lnTo>
                  <a:close/>
                  <a:moveTo>
                    <a:pt x="593" y="176"/>
                  </a:moveTo>
                  <a:lnTo>
                    <a:pt x="432" y="176"/>
                  </a:lnTo>
                  <a:lnTo>
                    <a:pt x="414" y="179"/>
                  </a:lnTo>
                  <a:lnTo>
                    <a:pt x="398" y="190"/>
                  </a:lnTo>
                  <a:lnTo>
                    <a:pt x="388" y="205"/>
                  </a:lnTo>
                  <a:lnTo>
                    <a:pt x="385" y="224"/>
                  </a:lnTo>
                  <a:lnTo>
                    <a:pt x="385" y="527"/>
                  </a:lnTo>
                  <a:lnTo>
                    <a:pt x="388" y="545"/>
                  </a:lnTo>
                  <a:lnTo>
                    <a:pt x="398" y="561"/>
                  </a:lnTo>
                  <a:lnTo>
                    <a:pt x="414" y="571"/>
                  </a:lnTo>
                  <a:lnTo>
                    <a:pt x="432" y="576"/>
                  </a:lnTo>
                  <a:lnTo>
                    <a:pt x="593" y="576"/>
                  </a:lnTo>
                  <a:lnTo>
                    <a:pt x="611" y="571"/>
                  </a:lnTo>
                  <a:lnTo>
                    <a:pt x="627" y="561"/>
                  </a:lnTo>
                  <a:lnTo>
                    <a:pt x="637" y="545"/>
                  </a:lnTo>
                  <a:lnTo>
                    <a:pt x="640" y="527"/>
                  </a:lnTo>
                  <a:lnTo>
                    <a:pt x="640" y="224"/>
                  </a:lnTo>
                  <a:lnTo>
                    <a:pt x="637" y="205"/>
                  </a:lnTo>
                  <a:lnTo>
                    <a:pt x="627" y="190"/>
                  </a:lnTo>
                  <a:lnTo>
                    <a:pt x="611" y="179"/>
                  </a:lnTo>
                  <a:lnTo>
                    <a:pt x="593" y="176"/>
                  </a:lnTo>
                  <a:close/>
                  <a:moveTo>
                    <a:pt x="512" y="553"/>
                  </a:moveTo>
                  <a:lnTo>
                    <a:pt x="499" y="550"/>
                  </a:lnTo>
                  <a:lnTo>
                    <a:pt x="490" y="541"/>
                  </a:lnTo>
                  <a:lnTo>
                    <a:pt x="486" y="527"/>
                  </a:lnTo>
                  <a:lnTo>
                    <a:pt x="490" y="515"/>
                  </a:lnTo>
                  <a:lnTo>
                    <a:pt x="499" y="504"/>
                  </a:lnTo>
                  <a:lnTo>
                    <a:pt x="512" y="501"/>
                  </a:lnTo>
                  <a:lnTo>
                    <a:pt x="525" y="504"/>
                  </a:lnTo>
                  <a:lnTo>
                    <a:pt x="535" y="515"/>
                  </a:lnTo>
                  <a:lnTo>
                    <a:pt x="539" y="527"/>
                  </a:lnTo>
                  <a:lnTo>
                    <a:pt x="535" y="541"/>
                  </a:lnTo>
                  <a:lnTo>
                    <a:pt x="525" y="550"/>
                  </a:lnTo>
                  <a:lnTo>
                    <a:pt x="512" y="553"/>
                  </a:lnTo>
                  <a:close/>
                  <a:moveTo>
                    <a:pt x="593" y="479"/>
                  </a:moveTo>
                  <a:lnTo>
                    <a:pt x="432" y="479"/>
                  </a:lnTo>
                  <a:lnTo>
                    <a:pt x="432" y="224"/>
                  </a:lnTo>
                  <a:lnTo>
                    <a:pt x="593" y="224"/>
                  </a:lnTo>
                  <a:lnTo>
                    <a:pt x="593" y="47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2308" name="Straight Connector 2307"/>
          <p:cNvCxnSpPr>
            <a:cxnSpLocks/>
          </p:cNvCxnSpPr>
          <p:nvPr/>
        </p:nvCxnSpPr>
        <p:spPr>
          <a:xfrm>
            <a:off x="1616492" y="2513546"/>
            <a:ext cx="213669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8" name="Straight Connector 1347"/>
          <p:cNvCxnSpPr>
            <a:cxnSpLocks/>
          </p:cNvCxnSpPr>
          <p:nvPr/>
        </p:nvCxnSpPr>
        <p:spPr>
          <a:xfrm>
            <a:off x="1616492" y="3792705"/>
            <a:ext cx="213669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3" name="Straight Connector 1952"/>
          <p:cNvCxnSpPr>
            <a:cxnSpLocks/>
          </p:cNvCxnSpPr>
          <p:nvPr/>
        </p:nvCxnSpPr>
        <p:spPr>
          <a:xfrm>
            <a:off x="1616492" y="5071864"/>
            <a:ext cx="213669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>
            <a:spLocks/>
          </p:cNvSpPr>
          <p:nvPr/>
        </p:nvSpPr>
        <p:spPr>
          <a:xfrm>
            <a:off x="1616492" y="5240399"/>
            <a:ext cx="2136695" cy="961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24" b="1" dirty="0"/>
              <a:t>RPA Project</a:t>
            </a:r>
          </a:p>
          <a:p>
            <a:r>
              <a:rPr lang="en-US" sz="1224" dirty="0"/>
              <a:t>Will allow you to develop </a:t>
            </a:r>
            <a:br>
              <a:rPr lang="en-US" sz="1224" dirty="0"/>
            </a:br>
            <a:r>
              <a:rPr lang="en-US" sz="1224" dirty="0"/>
              <a:t>in the following capabilities:</a:t>
            </a:r>
          </a:p>
          <a:p>
            <a:pPr lvl="1"/>
            <a:r>
              <a:rPr lang="en-US" sz="1224" dirty="0"/>
              <a:t>Data Analytics</a:t>
            </a:r>
          </a:p>
          <a:p>
            <a:pPr lvl="1"/>
            <a:r>
              <a:rPr lang="en-US" sz="1224" dirty="0"/>
              <a:t>Change Management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1616492" y="3961243"/>
            <a:ext cx="2136695" cy="961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24" b="1" dirty="0"/>
              <a:t>Sunshine Farms</a:t>
            </a:r>
          </a:p>
          <a:p>
            <a:r>
              <a:rPr lang="en-US" sz="1224" dirty="0"/>
              <a:t>Will allow you to develop in the following capabilities:</a:t>
            </a:r>
          </a:p>
          <a:p>
            <a:pPr lvl="1"/>
            <a:r>
              <a:rPr lang="en-US" sz="1224" dirty="0"/>
              <a:t>Innovation</a:t>
            </a:r>
          </a:p>
          <a:p>
            <a:pPr lvl="1"/>
            <a:r>
              <a:rPr lang="en-US" sz="1224" dirty="0"/>
              <a:t>Customer Focus</a:t>
            </a: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1616492" y="2682084"/>
            <a:ext cx="2136695" cy="961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24" b="1" dirty="0"/>
              <a:t>Master data analysis</a:t>
            </a:r>
          </a:p>
          <a:p>
            <a:r>
              <a:rPr lang="en-US" sz="1224" dirty="0"/>
              <a:t>Will allow you to develop in the following capabilities:</a:t>
            </a:r>
          </a:p>
          <a:p>
            <a:pPr lvl="1"/>
            <a:r>
              <a:rPr lang="en-US" sz="1224" dirty="0"/>
              <a:t>Collaboration</a:t>
            </a:r>
          </a:p>
          <a:p>
            <a:pPr lvl="1"/>
            <a:r>
              <a:rPr lang="en-US" sz="1224" dirty="0"/>
              <a:t>Analytical Thinking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1616492" y="1214508"/>
            <a:ext cx="2136695" cy="9419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24" b="1" dirty="0"/>
              <a:t>Milkyway 2.0 implementation </a:t>
            </a:r>
          </a:p>
          <a:p>
            <a:r>
              <a:rPr lang="en-US" sz="1224" dirty="0"/>
              <a:t>Will allow you to develop in the following capabilities:</a:t>
            </a:r>
          </a:p>
          <a:p>
            <a:pPr lvl="1"/>
            <a:r>
              <a:rPr lang="en-US" sz="1224" dirty="0"/>
              <a:t>Managing Complexity</a:t>
            </a:r>
          </a:p>
          <a:p>
            <a:pPr lvl="1"/>
            <a:r>
              <a:rPr lang="en-US" sz="1224" dirty="0"/>
              <a:t>Stakeholder Management</a:t>
            </a:r>
          </a:p>
        </p:txBody>
      </p:sp>
      <p:sp>
        <p:nvSpPr>
          <p:cNvPr id="167949" name="Freeform 167948"/>
          <p:cNvSpPr/>
          <p:nvPr/>
        </p:nvSpPr>
        <p:spPr>
          <a:xfrm>
            <a:off x="5467269" y="3815838"/>
            <a:ext cx="1917778" cy="1862840"/>
          </a:xfrm>
          <a:custGeom>
            <a:avLst/>
            <a:gdLst>
              <a:gd name="connsiteX0" fmla="*/ 0 w 1879600"/>
              <a:gd name="connsiteY0" fmla="*/ 0 h 1825756"/>
              <a:gd name="connsiteX1" fmla="*/ 1073150 w 1879600"/>
              <a:gd name="connsiteY1" fmla="*/ 1676400 h 1825756"/>
              <a:gd name="connsiteX2" fmla="*/ 1879600 w 1879600"/>
              <a:gd name="connsiteY2" fmla="*/ 1638300 h 182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9600" h="1825756">
                <a:moveTo>
                  <a:pt x="0" y="0"/>
                </a:moveTo>
                <a:cubicBezTo>
                  <a:pt x="379941" y="701675"/>
                  <a:pt x="759883" y="1403350"/>
                  <a:pt x="1073150" y="1676400"/>
                </a:cubicBezTo>
                <a:cubicBezTo>
                  <a:pt x="1386417" y="1949450"/>
                  <a:pt x="1633008" y="1793875"/>
                  <a:pt x="1879600" y="163830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950" name="Freeform 167949"/>
          <p:cNvSpPr/>
          <p:nvPr/>
        </p:nvSpPr>
        <p:spPr>
          <a:xfrm>
            <a:off x="5441353" y="3925980"/>
            <a:ext cx="1308754" cy="1172695"/>
          </a:xfrm>
          <a:custGeom>
            <a:avLst/>
            <a:gdLst>
              <a:gd name="connsiteX0" fmla="*/ 0 w 1282700"/>
              <a:gd name="connsiteY0" fmla="*/ 0 h 1149350"/>
              <a:gd name="connsiteX1" fmla="*/ 400050 w 1282700"/>
              <a:gd name="connsiteY1" fmla="*/ 819150 h 1149350"/>
              <a:gd name="connsiteX2" fmla="*/ 1282700 w 1282700"/>
              <a:gd name="connsiteY2" fmla="*/ 1149350 h 1149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82700" h="1149350">
                <a:moveTo>
                  <a:pt x="0" y="0"/>
                </a:moveTo>
                <a:cubicBezTo>
                  <a:pt x="93133" y="313796"/>
                  <a:pt x="186267" y="627592"/>
                  <a:pt x="400050" y="819150"/>
                </a:cubicBezTo>
                <a:cubicBezTo>
                  <a:pt x="613833" y="1010708"/>
                  <a:pt x="948266" y="1080029"/>
                  <a:pt x="1282700" y="114935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951" name="Freeform 167950"/>
          <p:cNvSpPr/>
          <p:nvPr/>
        </p:nvSpPr>
        <p:spPr>
          <a:xfrm>
            <a:off x="5525580" y="3809359"/>
            <a:ext cx="2267643" cy="306263"/>
          </a:xfrm>
          <a:custGeom>
            <a:avLst/>
            <a:gdLst>
              <a:gd name="connsiteX0" fmla="*/ 0 w 2222500"/>
              <a:gd name="connsiteY0" fmla="*/ 0 h 300166"/>
              <a:gd name="connsiteX1" fmla="*/ 177800 w 2222500"/>
              <a:gd name="connsiteY1" fmla="*/ 190500 h 300166"/>
              <a:gd name="connsiteX2" fmla="*/ 882650 w 2222500"/>
              <a:gd name="connsiteY2" fmla="*/ 298450 h 300166"/>
              <a:gd name="connsiteX3" fmla="*/ 1727200 w 2222500"/>
              <a:gd name="connsiteY3" fmla="*/ 107950 h 300166"/>
              <a:gd name="connsiteX4" fmla="*/ 2222500 w 2222500"/>
              <a:gd name="connsiteY4" fmla="*/ 196850 h 30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22500" h="300166">
                <a:moveTo>
                  <a:pt x="0" y="0"/>
                </a:moveTo>
                <a:cubicBezTo>
                  <a:pt x="15346" y="70379"/>
                  <a:pt x="30692" y="140758"/>
                  <a:pt x="177800" y="190500"/>
                </a:cubicBezTo>
                <a:cubicBezTo>
                  <a:pt x="324908" y="240242"/>
                  <a:pt x="624417" y="312208"/>
                  <a:pt x="882650" y="298450"/>
                </a:cubicBezTo>
                <a:cubicBezTo>
                  <a:pt x="1140883" y="284692"/>
                  <a:pt x="1503892" y="124883"/>
                  <a:pt x="1727200" y="107950"/>
                </a:cubicBezTo>
                <a:cubicBezTo>
                  <a:pt x="1950508" y="91017"/>
                  <a:pt x="2086504" y="143933"/>
                  <a:pt x="2222500" y="19685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953" name="Freeform 167952"/>
          <p:cNvSpPr/>
          <p:nvPr/>
        </p:nvSpPr>
        <p:spPr>
          <a:xfrm>
            <a:off x="5486706" y="3397963"/>
            <a:ext cx="2319475" cy="372522"/>
          </a:xfrm>
          <a:custGeom>
            <a:avLst/>
            <a:gdLst>
              <a:gd name="connsiteX0" fmla="*/ 0 w 2273300"/>
              <a:gd name="connsiteY0" fmla="*/ 365106 h 365106"/>
              <a:gd name="connsiteX1" fmla="*/ 946150 w 2273300"/>
              <a:gd name="connsiteY1" fmla="*/ 60306 h 365106"/>
              <a:gd name="connsiteX2" fmla="*/ 1524000 w 2273300"/>
              <a:gd name="connsiteY2" fmla="*/ 3156 h 365106"/>
              <a:gd name="connsiteX3" fmla="*/ 2273300 w 2273300"/>
              <a:gd name="connsiteY3" fmla="*/ 111106 h 365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3300" h="365106">
                <a:moveTo>
                  <a:pt x="0" y="365106"/>
                </a:moveTo>
                <a:cubicBezTo>
                  <a:pt x="346075" y="242868"/>
                  <a:pt x="692150" y="120631"/>
                  <a:pt x="946150" y="60306"/>
                </a:cubicBezTo>
                <a:cubicBezTo>
                  <a:pt x="1200150" y="-19"/>
                  <a:pt x="1302808" y="-5311"/>
                  <a:pt x="1524000" y="3156"/>
                </a:cubicBezTo>
                <a:cubicBezTo>
                  <a:pt x="1745192" y="11623"/>
                  <a:pt x="2009246" y="61364"/>
                  <a:pt x="2273300" y="111106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956" name="Freeform 167955"/>
          <p:cNvSpPr/>
          <p:nvPr/>
        </p:nvSpPr>
        <p:spPr>
          <a:xfrm>
            <a:off x="5506143" y="3284562"/>
            <a:ext cx="2429617" cy="667434"/>
          </a:xfrm>
          <a:custGeom>
            <a:avLst/>
            <a:gdLst>
              <a:gd name="connsiteX0" fmla="*/ 0 w 2381250"/>
              <a:gd name="connsiteY0" fmla="*/ 508000 h 654147"/>
              <a:gd name="connsiteX1" fmla="*/ 641350 w 2381250"/>
              <a:gd name="connsiteY1" fmla="*/ 654050 h 654147"/>
              <a:gd name="connsiteX2" fmla="*/ 1720850 w 2381250"/>
              <a:gd name="connsiteY2" fmla="*/ 488950 h 654147"/>
              <a:gd name="connsiteX3" fmla="*/ 2381250 w 2381250"/>
              <a:gd name="connsiteY3" fmla="*/ 0 h 654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0" h="654147">
                <a:moveTo>
                  <a:pt x="0" y="508000"/>
                </a:moveTo>
                <a:cubicBezTo>
                  <a:pt x="177271" y="582612"/>
                  <a:pt x="354542" y="657225"/>
                  <a:pt x="641350" y="654050"/>
                </a:cubicBezTo>
                <a:cubicBezTo>
                  <a:pt x="928158" y="650875"/>
                  <a:pt x="1430867" y="597958"/>
                  <a:pt x="1720850" y="488950"/>
                </a:cubicBezTo>
                <a:cubicBezTo>
                  <a:pt x="2010833" y="379942"/>
                  <a:pt x="2196041" y="189971"/>
                  <a:pt x="2381250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7957" name="Freeform 167956"/>
          <p:cNvSpPr/>
          <p:nvPr/>
        </p:nvSpPr>
        <p:spPr>
          <a:xfrm>
            <a:off x="5454311" y="3796400"/>
            <a:ext cx="2267643" cy="1107906"/>
          </a:xfrm>
          <a:custGeom>
            <a:avLst/>
            <a:gdLst>
              <a:gd name="connsiteX0" fmla="*/ 0 w 2222500"/>
              <a:gd name="connsiteY0" fmla="*/ 0 h 1085850"/>
              <a:gd name="connsiteX1" fmla="*/ 1054100 w 2222500"/>
              <a:gd name="connsiteY1" fmla="*/ 787400 h 1085850"/>
              <a:gd name="connsiteX2" fmla="*/ 1797050 w 2222500"/>
              <a:gd name="connsiteY2" fmla="*/ 908050 h 1085850"/>
              <a:gd name="connsiteX3" fmla="*/ 2222500 w 22225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500" h="1085850">
                <a:moveTo>
                  <a:pt x="0" y="0"/>
                </a:moveTo>
                <a:cubicBezTo>
                  <a:pt x="377296" y="318029"/>
                  <a:pt x="754592" y="636058"/>
                  <a:pt x="1054100" y="787400"/>
                </a:cubicBezTo>
                <a:cubicBezTo>
                  <a:pt x="1353608" y="938742"/>
                  <a:pt x="1602317" y="858308"/>
                  <a:pt x="1797050" y="908050"/>
                </a:cubicBezTo>
                <a:cubicBezTo>
                  <a:pt x="1991783" y="957792"/>
                  <a:pt x="2107141" y="1021821"/>
                  <a:pt x="2222500" y="108585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7958" name="Freeform 167957"/>
          <p:cNvSpPr/>
          <p:nvPr/>
        </p:nvSpPr>
        <p:spPr>
          <a:xfrm>
            <a:off x="5486706" y="2176656"/>
            <a:ext cx="2027921" cy="1483686"/>
          </a:xfrm>
          <a:custGeom>
            <a:avLst/>
            <a:gdLst>
              <a:gd name="connsiteX0" fmla="*/ 0 w 1987550"/>
              <a:gd name="connsiteY0" fmla="*/ 1454150 h 1454150"/>
              <a:gd name="connsiteX1" fmla="*/ 381000 w 1987550"/>
              <a:gd name="connsiteY1" fmla="*/ 660400 h 1454150"/>
              <a:gd name="connsiteX2" fmla="*/ 1987550 w 1987550"/>
              <a:gd name="connsiteY2" fmla="*/ 0 h 145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7550" h="1454150">
                <a:moveTo>
                  <a:pt x="0" y="1454150"/>
                </a:moveTo>
                <a:cubicBezTo>
                  <a:pt x="24871" y="1178454"/>
                  <a:pt x="49742" y="902758"/>
                  <a:pt x="381000" y="660400"/>
                </a:cubicBezTo>
                <a:cubicBezTo>
                  <a:pt x="712258" y="418042"/>
                  <a:pt x="1349904" y="209021"/>
                  <a:pt x="1987550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7959" name="Freeform 167958"/>
          <p:cNvSpPr/>
          <p:nvPr/>
        </p:nvSpPr>
        <p:spPr>
          <a:xfrm>
            <a:off x="5389521" y="2416378"/>
            <a:ext cx="1658619" cy="1146779"/>
          </a:xfrm>
          <a:custGeom>
            <a:avLst/>
            <a:gdLst>
              <a:gd name="connsiteX0" fmla="*/ 0 w 1625600"/>
              <a:gd name="connsiteY0" fmla="*/ 1123950 h 1123950"/>
              <a:gd name="connsiteX1" fmla="*/ 819150 w 1625600"/>
              <a:gd name="connsiteY1" fmla="*/ 673100 h 1123950"/>
              <a:gd name="connsiteX2" fmla="*/ 1625600 w 1625600"/>
              <a:gd name="connsiteY2" fmla="*/ 0 h 1123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5600" h="1123950">
                <a:moveTo>
                  <a:pt x="0" y="1123950"/>
                </a:moveTo>
                <a:cubicBezTo>
                  <a:pt x="274108" y="992187"/>
                  <a:pt x="548217" y="860425"/>
                  <a:pt x="819150" y="673100"/>
                </a:cubicBezTo>
                <a:cubicBezTo>
                  <a:pt x="1090083" y="485775"/>
                  <a:pt x="1357841" y="242887"/>
                  <a:pt x="1625600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832" name="Group 4831"/>
          <p:cNvGrpSpPr/>
          <p:nvPr/>
        </p:nvGrpSpPr>
        <p:grpSpPr>
          <a:xfrm flipH="1">
            <a:off x="7828981" y="3441673"/>
            <a:ext cx="153450" cy="436464"/>
            <a:chOff x="8330521" y="-98437"/>
            <a:chExt cx="1971675" cy="5664201"/>
          </a:xfrm>
        </p:grpSpPr>
        <p:sp>
          <p:nvSpPr>
            <p:cNvPr id="4833" name="Freeform 2229"/>
            <p:cNvSpPr>
              <a:spLocks/>
            </p:cNvSpPr>
            <p:nvPr/>
          </p:nvSpPr>
          <p:spPr bwMode="auto">
            <a:xfrm>
              <a:off x="8643258" y="5330814"/>
              <a:ext cx="320675" cy="234950"/>
            </a:xfrm>
            <a:custGeom>
              <a:avLst/>
              <a:gdLst>
                <a:gd name="T0" fmla="*/ 293 w 403"/>
                <a:gd name="T1" fmla="*/ 0 h 296"/>
                <a:gd name="T2" fmla="*/ 313 w 403"/>
                <a:gd name="T3" fmla="*/ 1 h 296"/>
                <a:gd name="T4" fmla="*/ 330 w 403"/>
                <a:gd name="T5" fmla="*/ 5 h 296"/>
                <a:gd name="T6" fmla="*/ 344 w 403"/>
                <a:gd name="T7" fmla="*/ 8 h 296"/>
                <a:gd name="T8" fmla="*/ 354 w 403"/>
                <a:gd name="T9" fmla="*/ 13 h 296"/>
                <a:gd name="T10" fmla="*/ 357 w 403"/>
                <a:gd name="T11" fmla="*/ 18 h 296"/>
                <a:gd name="T12" fmla="*/ 357 w 403"/>
                <a:gd name="T13" fmla="*/ 25 h 296"/>
                <a:gd name="T14" fmla="*/ 357 w 403"/>
                <a:gd name="T15" fmla="*/ 33 h 296"/>
                <a:gd name="T16" fmla="*/ 361 w 403"/>
                <a:gd name="T17" fmla="*/ 47 h 296"/>
                <a:gd name="T18" fmla="*/ 366 w 403"/>
                <a:gd name="T19" fmla="*/ 64 h 296"/>
                <a:gd name="T20" fmla="*/ 372 w 403"/>
                <a:gd name="T21" fmla="*/ 88 h 296"/>
                <a:gd name="T22" fmla="*/ 381 w 403"/>
                <a:gd name="T23" fmla="*/ 120 h 296"/>
                <a:gd name="T24" fmla="*/ 393 w 403"/>
                <a:gd name="T25" fmla="*/ 160 h 296"/>
                <a:gd name="T26" fmla="*/ 400 w 403"/>
                <a:gd name="T27" fmla="*/ 191 h 296"/>
                <a:gd name="T28" fmla="*/ 403 w 403"/>
                <a:gd name="T29" fmla="*/ 216 h 296"/>
                <a:gd name="T30" fmla="*/ 401 w 403"/>
                <a:gd name="T31" fmla="*/ 237 h 296"/>
                <a:gd name="T32" fmla="*/ 398 w 403"/>
                <a:gd name="T33" fmla="*/ 252 h 296"/>
                <a:gd name="T34" fmla="*/ 393 w 403"/>
                <a:gd name="T35" fmla="*/ 262 h 296"/>
                <a:gd name="T36" fmla="*/ 386 w 403"/>
                <a:gd name="T37" fmla="*/ 269 h 296"/>
                <a:gd name="T38" fmla="*/ 381 w 403"/>
                <a:gd name="T39" fmla="*/ 272 h 296"/>
                <a:gd name="T40" fmla="*/ 377 w 403"/>
                <a:gd name="T41" fmla="*/ 274 h 296"/>
                <a:gd name="T42" fmla="*/ 376 w 403"/>
                <a:gd name="T43" fmla="*/ 274 h 296"/>
                <a:gd name="T44" fmla="*/ 371 w 403"/>
                <a:gd name="T45" fmla="*/ 276 h 296"/>
                <a:gd name="T46" fmla="*/ 357 w 403"/>
                <a:gd name="T47" fmla="*/ 277 h 296"/>
                <a:gd name="T48" fmla="*/ 335 w 403"/>
                <a:gd name="T49" fmla="*/ 279 h 296"/>
                <a:gd name="T50" fmla="*/ 308 w 403"/>
                <a:gd name="T51" fmla="*/ 284 h 296"/>
                <a:gd name="T52" fmla="*/ 276 w 403"/>
                <a:gd name="T53" fmla="*/ 287 h 296"/>
                <a:gd name="T54" fmla="*/ 240 w 403"/>
                <a:gd name="T55" fmla="*/ 291 h 296"/>
                <a:gd name="T56" fmla="*/ 203 w 403"/>
                <a:gd name="T57" fmla="*/ 293 h 296"/>
                <a:gd name="T58" fmla="*/ 164 w 403"/>
                <a:gd name="T59" fmla="*/ 296 h 296"/>
                <a:gd name="T60" fmla="*/ 129 w 403"/>
                <a:gd name="T61" fmla="*/ 296 h 296"/>
                <a:gd name="T62" fmla="*/ 93 w 403"/>
                <a:gd name="T63" fmla="*/ 296 h 296"/>
                <a:gd name="T64" fmla="*/ 61 w 403"/>
                <a:gd name="T65" fmla="*/ 293 h 296"/>
                <a:gd name="T66" fmla="*/ 35 w 403"/>
                <a:gd name="T67" fmla="*/ 287 h 296"/>
                <a:gd name="T68" fmla="*/ 15 w 403"/>
                <a:gd name="T69" fmla="*/ 279 h 296"/>
                <a:gd name="T70" fmla="*/ 3 w 403"/>
                <a:gd name="T71" fmla="*/ 269 h 296"/>
                <a:gd name="T72" fmla="*/ 0 w 403"/>
                <a:gd name="T73" fmla="*/ 255 h 296"/>
                <a:gd name="T74" fmla="*/ 3 w 403"/>
                <a:gd name="T75" fmla="*/ 238 h 296"/>
                <a:gd name="T76" fmla="*/ 12 w 403"/>
                <a:gd name="T77" fmla="*/ 220 h 296"/>
                <a:gd name="T78" fmla="*/ 25 w 403"/>
                <a:gd name="T79" fmla="*/ 199 h 296"/>
                <a:gd name="T80" fmla="*/ 42 w 403"/>
                <a:gd name="T81" fmla="*/ 179 h 296"/>
                <a:gd name="T82" fmla="*/ 62 w 403"/>
                <a:gd name="T83" fmla="*/ 159 h 296"/>
                <a:gd name="T84" fmla="*/ 84 w 403"/>
                <a:gd name="T85" fmla="*/ 138 h 296"/>
                <a:gd name="T86" fmla="*/ 108 w 403"/>
                <a:gd name="T87" fmla="*/ 118 h 296"/>
                <a:gd name="T88" fmla="*/ 129 w 403"/>
                <a:gd name="T89" fmla="*/ 99 h 296"/>
                <a:gd name="T90" fmla="*/ 149 w 403"/>
                <a:gd name="T91" fmla="*/ 84 h 296"/>
                <a:gd name="T92" fmla="*/ 167 w 403"/>
                <a:gd name="T93" fmla="*/ 71 h 296"/>
                <a:gd name="T94" fmla="*/ 181 w 403"/>
                <a:gd name="T95" fmla="*/ 61 h 296"/>
                <a:gd name="T96" fmla="*/ 191 w 403"/>
                <a:gd name="T97" fmla="*/ 54 h 296"/>
                <a:gd name="T98" fmla="*/ 193 w 403"/>
                <a:gd name="T99" fmla="*/ 50 h 296"/>
                <a:gd name="T100" fmla="*/ 201 w 403"/>
                <a:gd name="T101" fmla="*/ 32 h 296"/>
                <a:gd name="T102" fmla="*/ 215 w 403"/>
                <a:gd name="T103" fmla="*/ 18 h 296"/>
                <a:gd name="T104" fmla="*/ 232 w 403"/>
                <a:gd name="T105" fmla="*/ 8 h 296"/>
                <a:gd name="T106" fmla="*/ 250 w 403"/>
                <a:gd name="T107" fmla="*/ 3 h 296"/>
                <a:gd name="T108" fmla="*/ 272 w 403"/>
                <a:gd name="T109" fmla="*/ 0 h 296"/>
                <a:gd name="T110" fmla="*/ 293 w 403"/>
                <a:gd name="T111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3" h="296">
                  <a:moveTo>
                    <a:pt x="293" y="0"/>
                  </a:moveTo>
                  <a:lnTo>
                    <a:pt x="313" y="1"/>
                  </a:lnTo>
                  <a:lnTo>
                    <a:pt x="330" y="5"/>
                  </a:lnTo>
                  <a:lnTo>
                    <a:pt x="344" y="8"/>
                  </a:lnTo>
                  <a:lnTo>
                    <a:pt x="354" y="13"/>
                  </a:lnTo>
                  <a:lnTo>
                    <a:pt x="357" y="18"/>
                  </a:lnTo>
                  <a:lnTo>
                    <a:pt x="357" y="25"/>
                  </a:lnTo>
                  <a:lnTo>
                    <a:pt x="357" y="33"/>
                  </a:lnTo>
                  <a:lnTo>
                    <a:pt x="361" y="47"/>
                  </a:lnTo>
                  <a:lnTo>
                    <a:pt x="366" y="64"/>
                  </a:lnTo>
                  <a:lnTo>
                    <a:pt x="372" y="88"/>
                  </a:lnTo>
                  <a:lnTo>
                    <a:pt x="381" y="120"/>
                  </a:lnTo>
                  <a:lnTo>
                    <a:pt x="393" y="160"/>
                  </a:lnTo>
                  <a:lnTo>
                    <a:pt x="400" y="191"/>
                  </a:lnTo>
                  <a:lnTo>
                    <a:pt x="403" y="216"/>
                  </a:lnTo>
                  <a:lnTo>
                    <a:pt x="401" y="237"/>
                  </a:lnTo>
                  <a:lnTo>
                    <a:pt x="398" y="252"/>
                  </a:lnTo>
                  <a:lnTo>
                    <a:pt x="393" y="262"/>
                  </a:lnTo>
                  <a:lnTo>
                    <a:pt x="386" y="269"/>
                  </a:lnTo>
                  <a:lnTo>
                    <a:pt x="381" y="272"/>
                  </a:lnTo>
                  <a:lnTo>
                    <a:pt x="377" y="274"/>
                  </a:lnTo>
                  <a:lnTo>
                    <a:pt x="376" y="274"/>
                  </a:lnTo>
                  <a:lnTo>
                    <a:pt x="371" y="276"/>
                  </a:lnTo>
                  <a:lnTo>
                    <a:pt x="357" y="277"/>
                  </a:lnTo>
                  <a:lnTo>
                    <a:pt x="335" y="279"/>
                  </a:lnTo>
                  <a:lnTo>
                    <a:pt x="308" y="284"/>
                  </a:lnTo>
                  <a:lnTo>
                    <a:pt x="276" y="287"/>
                  </a:lnTo>
                  <a:lnTo>
                    <a:pt x="240" y="291"/>
                  </a:lnTo>
                  <a:lnTo>
                    <a:pt x="203" y="293"/>
                  </a:lnTo>
                  <a:lnTo>
                    <a:pt x="164" y="296"/>
                  </a:lnTo>
                  <a:lnTo>
                    <a:pt x="129" y="296"/>
                  </a:lnTo>
                  <a:lnTo>
                    <a:pt x="93" y="296"/>
                  </a:lnTo>
                  <a:lnTo>
                    <a:pt x="61" y="293"/>
                  </a:lnTo>
                  <a:lnTo>
                    <a:pt x="35" y="287"/>
                  </a:lnTo>
                  <a:lnTo>
                    <a:pt x="15" y="279"/>
                  </a:lnTo>
                  <a:lnTo>
                    <a:pt x="3" y="269"/>
                  </a:lnTo>
                  <a:lnTo>
                    <a:pt x="0" y="255"/>
                  </a:lnTo>
                  <a:lnTo>
                    <a:pt x="3" y="238"/>
                  </a:lnTo>
                  <a:lnTo>
                    <a:pt x="12" y="220"/>
                  </a:lnTo>
                  <a:lnTo>
                    <a:pt x="25" y="199"/>
                  </a:lnTo>
                  <a:lnTo>
                    <a:pt x="42" y="179"/>
                  </a:lnTo>
                  <a:lnTo>
                    <a:pt x="62" y="159"/>
                  </a:lnTo>
                  <a:lnTo>
                    <a:pt x="84" y="138"/>
                  </a:lnTo>
                  <a:lnTo>
                    <a:pt x="108" y="118"/>
                  </a:lnTo>
                  <a:lnTo>
                    <a:pt x="129" y="99"/>
                  </a:lnTo>
                  <a:lnTo>
                    <a:pt x="149" y="84"/>
                  </a:lnTo>
                  <a:lnTo>
                    <a:pt x="167" y="71"/>
                  </a:lnTo>
                  <a:lnTo>
                    <a:pt x="181" y="61"/>
                  </a:lnTo>
                  <a:lnTo>
                    <a:pt x="191" y="54"/>
                  </a:lnTo>
                  <a:lnTo>
                    <a:pt x="193" y="50"/>
                  </a:lnTo>
                  <a:lnTo>
                    <a:pt x="201" y="32"/>
                  </a:lnTo>
                  <a:lnTo>
                    <a:pt x="215" y="18"/>
                  </a:lnTo>
                  <a:lnTo>
                    <a:pt x="232" y="8"/>
                  </a:lnTo>
                  <a:lnTo>
                    <a:pt x="250" y="3"/>
                  </a:lnTo>
                  <a:lnTo>
                    <a:pt x="272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4" name="Freeform 2230"/>
            <p:cNvSpPr>
              <a:spLocks/>
            </p:cNvSpPr>
            <p:nvPr/>
          </p:nvSpPr>
          <p:spPr bwMode="auto">
            <a:xfrm>
              <a:off x="9319533" y="5348276"/>
              <a:ext cx="481013" cy="198438"/>
            </a:xfrm>
            <a:custGeom>
              <a:avLst/>
              <a:gdLst>
                <a:gd name="T0" fmla="*/ 191 w 604"/>
                <a:gd name="T1" fmla="*/ 1 h 250"/>
                <a:gd name="T2" fmla="*/ 210 w 604"/>
                <a:gd name="T3" fmla="*/ 6 h 250"/>
                <a:gd name="T4" fmla="*/ 220 w 604"/>
                <a:gd name="T5" fmla="*/ 32 h 250"/>
                <a:gd name="T6" fmla="*/ 233 w 604"/>
                <a:gd name="T7" fmla="*/ 61 h 250"/>
                <a:gd name="T8" fmla="*/ 242 w 604"/>
                <a:gd name="T9" fmla="*/ 74 h 250"/>
                <a:gd name="T10" fmla="*/ 257 w 604"/>
                <a:gd name="T11" fmla="*/ 79 h 250"/>
                <a:gd name="T12" fmla="*/ 299 w 604"/>
                <a:gd name="T13" fmla="*/ 91 h 250"/>
                <a:gd name="T14" fmla="*/ 359 w 604"/>
                <a:gd name="T15" fmla="*/ 110 h 250"/>
                <a:gd name="T16" fmla="*/ 425 w 604"/>
                <a:gd name="T17" fmla="*/ 132 h 250"/>
                <a:gd name="T18" fmla="*/ 489 w 604"/>
                <a:gd name="T19" fmla="*/ 152 h 250"/>
                <a:gd name="T20" fmla="*/ 540 w 604"/>
                <a:gd name="T21" fmla="*/ 169 h 250"/>
                <a:gd name="T22" fmla="*/ 581 w 604"/>
                <a:gd name="T23" fmla="*/ 188 h 250"/>
                <a:gd name="T24" fmla="*/ 601 w 604"/>
                <a:gd name="T25" fmla="*/ 211 h 250"/>
                <a:gd name="T26" fmla="*/ 603 w 604"/>
                <a:gd name="T27" fmla="*/ 233 h 250"/>
                <a:gd name="T28" fmla="*/ 599 w 604"/>
                <a:gd name="T29" fmla="*/ 249 h 250"/>
                <a:gd name="T30" fmla="*/ 592 w 604"/>
                <a:gd name="T31" fmla="*/ 250 h 250"/>
                <a:gd name="T32" fmla="*/ 550 w 604"/>
                <a:gd name="T33" fmla="*/ 249 h 250"/>
                <a:gd name="T34" fmla="*/ 477 w 604"/>
                <a:gd name="T35" fmla="*/ 249 h 250"/>
                <a:gd name="T36" fmla="*/ 382 w 604"/>
                <a:gd name="T37" fmla="*/ 247 h 250"/>
                <a:gd name="T38" fmla="*/ 281 w 604"/>
                <a:gd name="T39" fmla="*/ 243 h 250"/>
                <a:gd name="T40" fmla="*/ 181 w 604"/>
                <a:gd name="T41" fmla="*/ 242 h 250"/>
                <a:gd name="T42" fmla="*/ 93 w 604"/>
                <a:gd name="T43" fmla="*/ 238 h 250"/>
                <a:gd name="T44" fmla="*/ 30 w 604"/>
                <a:gd name="T45" fmla="*/ 235 h 250"/>
                <a:gd name="T46" fmla="*/ 5 w 604"/>
                <a:gd name="T47" fmla="*/ 232 h 250"/>
                <a:gd name="T48" fmla="*/ 0 w 604"/>
                <a:gd name="T49" fmla="*/ 210 h 250"/>
                <a:gd name="T50" fmla="*/ 0 w 604"/>
                <a:gd name="T51" fmla="*/ 162 h 250"/>
                <a:gd name="T52" fmla="*/ 3 w 604"/>
                <a:gd name="T53" fmla="*/ 105 h 250"/>
                <a:gd name="T54" fmla="*/ 6 w 604"/>
                <a:gd name="T55" fmla="*/ 52 h 250"/>
                <a:gd name="T56" fmla="*/ 8 w 604"/>
                <a:gd name="T57" fmla="*/ 18 h 250"/>
                <a:gd name="T58" fmla="*/ 13 w 604"/>
                <a:gd name="T59" fmla="*/ 13 h 250"/>
                <a:gd name="T60" fmla="*/ 45 w 604"/>
                <a:gd name="T61" fmla="*/ 10 h 250"/>
                <a:gd name="T62" fmla="*/ 95 w 604"/>
                <a:gd name="T63" fmla="*/ 5 h 250"/>
                <a:gd name="T64" fmla="*/ 149 w 604"/>
                <a:gd name="T65" fmla="*/ 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4" h="250">
                  <a:moveTo>
                    <a:pt x="172" y="0"/>
                  </a:moveTo>
                  <a:lnTo>
                    <a:pt x="191" y="1"/>
                  </a:lnTo>
                  <a:lnTo>
                    <a:pt x="205" y="3"/>
                  </a:lnTo>
                  <a:lnTo>
                    <a:pt x="210" y="6"/>
                  </a:lnTo>
                  <a:lnTo>
                    <a:pt x="213" y="18"/>
                  </a:lnTo>
                  <a:lnTo>
                    <a:pt x="220" y="32"/>
                  </a:lnTo>
                  <a:lnTo>
                    <a:pt x="227" y="47"/>
                  </a:lnTo>
                  <a:lnTo>
                    <a:pt x="233" y="61"/>
                  </a:lnTo>
                  <a:lnTo>
                    <a:pt x="240" y="69"/>
                  </a:lnTo>
                  <a:lnTo>
                    <a:pt x="242" y="74"/>
                  </a:lnTo>
                  <a:lnTo>
                    <a:pt x="245" y="74"/>
                  </a:lnTo>
                  <a:lnTo>
                    <a:pt x="257" y="79"/>
                  </a:lnTo>
                  <a:lnTo>
                    <a:pt x="276" y="84"/>
                  </a:lnTo>
                  <a:lnTo>
                    <a:pt x="299" y="91"/>
                  </a:lnTo>
                  <a:lnTo>
                    <a:pt x="328" y="101"/>
                  </a:lnTo>
                  <a:lnTo>
                    <a:pt x="359" y="110"/>
                  </a:lnTo>
                  <a:lnTo>
                    <a:pt x="391" y="120"/>
                  </a:lnTo>
                  <a:lnTo>
                    <a:pt x="425" y="132"/>
                  </a:lnTo>
                  <a:lnTo>
                    <a:pt x="457" y="142"/>
                  </a:lnTo>
                  <a:lnTo>
                    <a:pt x="489" y="152"/>
                  </a:lnTo>
                  <a:lnTo>
                    <a:pt x="516" y="162"/>
                  </a:lnTo>
                  <a:lnTo>
                    <a:pt x="540" y="169"/>
                  </a:lnTo>
                  <a:lnTo>
                    <a:pt x="559" y="176"/>
                  </a:lnTo>
                  <a:lnTo>
                    <a:pt x="581" y="188"/>
                  </a:lnTo>
                  <a:lnTo>
                    <a:pt x="592" y="198"/>
                  </a:lnTo>
                  <a:lnTo>
                    <a:pt x="601" y="211"/>
                  </a:lnTo>
                  <a:lnTo>
                    <a:pt x="604" y="223"/>
                  </a:lnTo>
                  <a:lnTo>
                    <a:pt x="603" y="233"/>
                  </a:lnTo>
                  <a:lnTo>
                    <a:pt x="601" y="242"/>
                  </a:lnTo>
                  <a:lnTo>
                    <a:pt x="599" y="249"/>
                  </a:lnTo>
                  <a:lnTo>
                    <a:pt x="598" y="250"/>
                  </a:lnTo>
                  <a:lnTo>
                    <a:pt x="592" y="250"/>
                  </a:lnTo>
                  <a:lnTo>
                    <a:pt x="576" y="250"/>
                  </a:lnTo>
                  <a:lnTo>
                    <a:pt x="550" y="249"/>
                  </a:lnTo>
                  <a:lnTo>
                    <a:pt x="516" y="249"/>
                  </a:lnTo>
                  <a:lnTo>
                    <a:pt x="477" y="249"/>
                  </a:lnTo>
                  <a:lnTo>
                    <a:pt x="432" y="247"/>
                  </a:lnTo>
                  <a:lnTo>
                    <a:pt x="382" y="247"/>
                  </a:lnTo>
                  <a:lnTo>
                    <a:pt x="332" y="245"/>
                  </a:lnTo>
                  <a:lnTo>
                    <a:pt x="281" y="243"/>
                  </a:lnTo>
                  <a:lnTo>
                    <a:pt x="230" y="242"/>
                  </a:lnTo>
                  <a:lnTo>
                    <a:pt x="181" y="242"/>
                  </a:lnTo>
                  <a:lnTo>
                    <a:pt x="133" y="240"/>
                  </a:lnTo>
                  <a:lnTo>
                    <a:pt x="93" y="238"/>
                  </a:lnTo>
                  <a:lnTo>
                    <a:pt x="59" y="237"/>
                  </a:lnTo>
                  <a:lnTo>
                    <a:pt x="30" y="235"/>
                  </a:lnTo>
                  <a:lnTo>
                    <a:pt x="12" y="233"/>
                  </a:lnTo>
                  <a:lnTo>
                    <a:pt x="5" y="232"/>
                  </a:lnTo>
                  <a:lnTo>
                    <a:pt x="1" y="225"/>
                  </a:lnTo>
                  <a:lnTo>
                    <a:pt x="0" y="210"/>
                  </a:lnTo>
                  <a:lnTo>
                    <a:pt x="0" y="188"/>
                  </a:lnTo>
                  <a:lnTo>
                    <a:pt x="0" y="162"/>
                  </a:lnTo>
                  <a:lnTo>
                    <a:pt x="1" y="133"/>
                  </a:lnTo>
                  <a:lnTo>
                    <a:pt x="3" y="105"/>
                  </a:lnTo>
                  <a:lnTo>
                    <a:pt x="5" y="77"/>
                  </a:lnTo>
                  <a:lnTo>
                    <a:pt x="6" y="52"/>
                  </a:lnTo>
                  <a:lnTo>
                    <a:pt x="8" y="32"/>
                  </a:lnTo>
                  <a:lnTo>
                    <a:pt x="8" y="18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27" y="11"/>
                  </a:lnTo>
                  <a:lnTo>
                    <a:pt x="45" y="10"/>
                  </a:lnTo>
                  <a:lnTo>
                    <a:pt x="69" y="6"/>
                  </a:lnTo>
                  <a:lnTo>
                    <a:pt x="95" y="5"/>
                  </a:lnTo>
                  <a:lnTo>
                    <a:pt x="122" y="3"/>
                  </a:lnTo>
                  <a:lnTo>
                    <a:pt x="149" y="1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5" name="Freeform 2231"/>
            <p:cNvSpPr>
              <a:spLocks/>
            </p:cNvSpPr>
            <p:nvPr/>
          </p:nvSpPr>
          <p:spPr bwMode="auto">
            <a:xfrm>
              <a:off x="8697233" y="2947976"/>
              <a:ext cx="884238" cy="2422525"/>
            </a:xfrm>
            <a:custGeom>
              <a:avLst/>
              <a:gdLst>
                <a:gd name="T0" fmla="*/ 0 w 1114"/>
                <a:gd name="T1" fmla="*/ 0 h 3052"/>
                <a:gd name="T2" fmla="*/ 1114 w 1114"/>
                <a:gd name="T3" fmla="*/ 0 h 3052"/>
                <a:gd name="T4" fmla="*/ 1099 w 1114"/>
                <a:gd name="T5" fmla="*/ 1023 h 3052"/>
                <a:gd name="T6" fmla="*/ 1007 w 1114"/>
                <a:gd name="T7" fmla="*/ 3052 h 3052"/>
                <a:gd name="T8" fmla="*/ 787 w 1114"/>
                <a:gd name="T9" fmla="*/ 3052 h 3052"/>
                <a:gd name="T10" fmla="*/ 677 w 1114"/>
                <a:gd name="T11" fmla="*/ 1764 h 3052"/>
                <a:gd name="T12" fmla="*/ 675 w 1114"/>
                <a:gd name="T13" fmla="*/ 1757 h 3052"/>
                <a:gd name="T14" fmla="*/ 675 w 1114"/>
                <a:gd name="T15" fmla="*/ 1740 h 3052"/>
                <a:gd name="T16" fmla="*/ 674 w 1114"/>
                <a:gd name="T17" fmla="*/ 1711 h 3052"/>
                <a:gd name="T18" fmla="*/ 672 w 1114"/>
                <a:gd name="T19" fmla="*/ 1674 h 3052"/>
                <a:gd name="T20" fmla="*/ 669 w 1114"/>
                <a:gd name="T21" fmla="*/ 1628 h 3052"/>
                <a:gd name="T22" fmla="*/ 663 w 1114"/>
                <a:gd name="T23" fmla="*/ 1574 h 3052"/>
                <a:gd name="T24" fmla="*/ 660 w 1114"/>
                <a:gd name="T25" fmla="*/ 1513 h 3052"/>
                <a:gd name="T26" fmla="*/ 655 w 1114"/>
                <a:gd name="T27" fmla="*/ 1447 h 3052"/>
                <a:gd name="T28" fmla="*/ 650 w 1114"/>
                <a:gd name="T29" fmla="*/ 1377 h 3052"/>
                <a:gd name="T30" fmla="*/ 643 w 1114"/>
                <a:gd name="T31" fmla="*/ 1303 h 3052"/>
                <a:gd name="T32" fmla="*/ 638 w 1114"/>
                <a:gd name="T33" fmla="*/ 1227 h 3052"/>
                <a:gd name="T34" fmla="*/ 631 w 1114"/>
                <a:gd name="T35" fmla="*/ 1147 h 3052"/>
                <a:gd name="T36" fmla="*/ 626 w 1114"/>
                <a:gd name="T37" fmla="*/ 1069 h 3052"/>
                <a:gd name="T38" fmla="*/ 619 w 1114"/>
                <a:gd name="T39" fmla="*/ 990 h 3052"/>
                <a:gd name="T40" fmla="*/ 613 w 1114"/>
                <a:gd name="T41" fmla="*/ 913 h 3052"/>
                <a:gd name="T42" fmla="*/ 606 w 1114"/>
                <a:gd name="T43" fmla="*/ 837 h 3052"/>
                <a:gd name="T44" fmla="*/ 599 w 1114"/>
                <a:gd name="T45" fmla="*/ 766 h 3052"/>
                <a:gd name="T46" fmla="*/ 592 w 1114"/>
                <a:gd name="T47" fmla="*/ 698 h 3052"/>
                <a:gd name="T48" fmla="*/ 586 w 1114"/>
                <a:gd name="T49" fmla="*/ 637 h 3052"/>
                <a:gd name="T50" fmla="*/ 579 w 1114"/>
                <a:gd name="T51" fmla="*/ 581 h 3052"/>
                <a:gd name="T52" fmla="*/ 574 w 1114"/>
                <a:gd name="T53" fmla="*/ 532 h 3052"/>
                <a:gd name="T54" fmla="*/ 567 w 1114"/>
                <a:gd name="T55" fmla="*/ 492 h 3052"/>
                <a:gd name="T56" fmla="*/ 562 w 1114"/>
                <a:gd name="T57" fmla="*/ 461 h 3052"/>
                <a:gd name="T58" fmla="*/ 557 w 1114"/>
                <a:gd name="T59" fmla="*/ 441 h 3052"/>
                <a:gd name="T60" fmla="*/ 552 w 1114"/>
                <a:gd name="T61" fmla="*/ 461 h 3052"/>
                <a:gd name="T62" fmla="*/ 547 w 1114"/>
                <a:gd name="T63" fmla="*/ 492 h 3052"/>
                <a:gd name="T64" fmla="*/ 540 w 1114"/>
                <a:gd name="T65" fmla="*/ 532 h 3052"/>
                <a:gd name="T66" fmla="*/ 535 w 1114"/>
                <a:gd name="T67" fmla="*/ 581 h 3052"/>
                <a:gd name="T68" fmla="*/ 528 w 1114"/>
                <a:gd name="T69" fmla="*/ 637 h 3052"/>
                <a:gd name="T70" fmla="*/ 521 w 1114"/>
                <a:gd name="T71" fmla="*/ 698 h 3052"/>
                <a:gd name="T72" fmla="*/ 514 w 1114"/>
                <a:gd name="T73" fmla="*/ 766 h 3052"/>
                <a:gd name="T74" fmla="*/ 508 w 1114"/>
                <a:gd name="T75" fmla="*/ 837 h 3052"/>
                <a:gd name="T76" fmla="*/ 501 w 1114"/>
                <a:gd name="T77" fmla="*/ 913 h 3052"/>
                <a:gd name="T78" fmla="*/ 494 w 1114"/>
                <a:gd name="T79" fmla="*/ 990 h 3052"/>
                <a:gd name="T80" fmla="*/ 487 w 1114"/>
                <a:gd name="T81" fmla="*/ 1069 h 3052"/>
                <a:gd name="T82" fmla="*/ 482 w 1114"/>
                <a:gd name="T83" fmla="*/ 1147 h 3052"/>
                <a:gd name="T84" fmla="*/ 475 w 1114"/>
                <a:gd name="T85" fmla="*/ 1227 h 3052"/>
                <a:gd name="T86" fmla="*/ 469 w 1114"/>
                <a:gd name="T87" fmla="*/ 1303 h 3052"/>
                <a:gd name="T88" fmla="*/ 464 w 1114"/>
                <a:gd name="T89" fmla="*/ 1377 h 3052"/>
                <a:gd name="T90" fmla="*/ 459 w 1114"/>
                <a:gd name="T91" fmla="*/ 1447 h 3052"/>
                <a:gd name="T92" fmla="*/ 453 w 1114"/>
                <a:gd name="T93" fmla="*/ 1513 h 3052"/>
                <a:gd name="T94" fmla="*/ 450 w 1114"/>
                <a:gd name="T95" fmla="*/ 1574 h 3052"/>
                <a:gd name="T96" fmla="*/ 445 w 1114"/>
                <a:gd name="T97" fmla="*/ 1628 h 3052"/>
                <a:gd name="T98" fmla="*/ 442 w 1114"/>
                <a:gd name="T99" fmla="*/ 1674 h 3052"/>
                <a:gd name="T100" fmla="*/ 440 w 1114"/>
                <a:gd name="T101" fmla="*/ 1711 h 3052"/>
                <a:gd name="T102" fmla="*/ 438 w 1114"/>
                <a:gd name="T103" fmla="*/ 1740 h 3052"/>
                <a:gd name="T104" fmla="*/ 437 w 1114"/>
                <a:gd name="T105" fmla="*/ 1757 h 3052"/>
                <a:gd name="T106" fmla="*/ 437 w 1114"/>
                <a:gd name="T107" fmla="*/ 1764 h 3052"/>
                <a:gd name="T108" fmla="*/ 326 w 1114"/>
                <a:gd name="T109" fmla="*/ 3052 h 3052"/>
                <a:gd name="T110" fmla="*/ 106 w 1114"/>
                <a:gd name="T111" fmla="*/ 3052 h 3052"/>
                <a:gd name="T112" fmla="*/ 15 w 1114"/>
                <a:gd name="T113" fmla="*/ 1023 h 3052"/>
                <a:gd name="T114" fmla="*/ 0 w 1114"/>
                <a:gd name="T115" fmla="*/ 0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4" h="3052">
                  <a:moveTo>
                    <a:pt x="0" y="0"/>
                  </a:moveTo>
                  <a:lnTo>
                    <a:pt x="1114" y="0"/>
                  </a:lnTo>
                  <a:lnTo>
                    <a:pt x="1099" y="1023"/>
                  </a:lnTo>
                  <a:lnTo>
                    <a:pt x="1007" y="3052"/>
                  </a:lnTo>
                  <a:lnTo>
                    <a:pt x="787" y="3052"/>
                  </a:lnTo>
                  <a:lnTo>
                    <a:pt x="677" y="1764"/>
                  </a:lnTo>
                  <a:lnTo>
                    <a:pt x="675" y="1757"/>
                  </a:lnTo>
                  <a:lnTo>
                    <a:pt x="675" y="1740"/>
                  </a:lnTo>
                  <a:lnTo>
                    <a:pt x="674" y="1711"/>
                  </a:lnTo>
                  <a:lnTo>
                    <a:pt x="672" y="1674"/>
                  </a:lnTo>
                  <a:lnTo>
                    <a:pt x="669" y="1628"/>
                  </a:lnTo>
                  <a:lnTo>
                    <a:pt x="663" y="1574"/>
                  </a:lnTo>
                  <a:lnTo>
                    <a:pt x="660" y="1513"/>
                  </a:lnTo>
                  <a:lnTo>
                    <a:pt x="655" y="1447"/>
                  </a:lnTo>
                  <a:lnTo>
                    <a:pt x="650" y="1377"/>
                  </a:lnTo>
                  <a:lnTo>
                    <a:pt x="643" y="1303"/>
                  </a:lnTo>
                  <a:lnTo>
                    <a:pt x="638" y="1227"/>
                  </a:lnTo>
                  <a:lnTo>
                    <a:pt x="631" y="1147"/>
                  </a:lnTo>
                  <a:lnTo>
                    <a:pt x="626" y="1069"/>
                  </a:lnTo>
                  <a:lnTo>
                    <a:pt x="619" y="990"/>
                  </a:lnTo>
                  <a:lnTo>
                    <a:pt x="613" y="913"/>
                  </a:lnTo>
                  <a:lnTo>
                    <a:pt x="606" y="837"/>
                  </a:lnTo>
                  <a:lnTo>
                    <a:pt x="599" y="766"/>
                  </a:lnTo>
                  <a:lnTo>
                    <a:pt x="592" y="698"/>
                  </a:lnTo>
                  <a:lnTo>
                    <a:pt x="586" y="637"/>
                  </a:lnTo>
                  <a:lnTo>
                    <a:pt x="579" y="581"/>
                  </a:lnTo>
                  <a:lnTo>
                    <a:pt x="574" y="532"/>
                  </a:lnTo>
                  <a:lnTo>
                    <a:pt x="567" y="492"/>
                  </a:lnTo>
                  <a:lnTo>
                    <a:pt x="562" y="461"/>
                  </a:lnTo>
                  <a:lnTo>
                    <a:pt x="557" y="441"/>
                  </a:lnTo>
                  <a:lnTo>
                    <a:pt x="552" y="461"/>
                  </a:lnTo>
                  <a:lnTo>
                    <a:pt x="547" y="492"/>
                  </a:lnTo>
                  <a:lnTo>
                    <a:pt x="540" y="532"/>
                  </a:lnTo>
                  <a:lnTo>
                    <a:pt x="535" y="581"/>
                  </a:lnTo>
                  <a:lnTo>
                    <a:pt x="528" y="637"/>
                  </a:lnTo>
                  <a:lnTo>
                    <a:pt x="521" y="698"/>
                  </a:lnTo>
                  <a:lnTo>
                    <a:pt x="514" y="766"/>
                  </a:lnTo>
                  <a:lnTo>
                    <a:pt x="508" y="837"/>
                  </a:lnTo>
                  <a:lnTo>
                    <a:pt x="501" y="913"/>
                  </a:lnTo>
                  <a:lnTo>
                    <a:pt x="494" y="990"/>
                  </a:lnTo>
                  <a:lnTo>
                    <a:pt x="487" y="1069"/>
                  </a:lnTo>
                  <a:lnTo>
                    <a:pt x="482" y="1147"/>
                  </a:lnTo>
                  <a:lnTo>
                    <a:pt x="475" y="1227"/>
                  </a:lnTo>
                  <a:lnTo>
                    <a:pt x="469" y="1303"/>
                  </a:lnTo>
                  <a:lnTo>
                    <a:pt x="464" y="1377"/>
                  </a:lnTo>
                  <a:lnTo>
                    <a:pt x="459" y="1447"/>
                  </a:lnTo>
                  <a:lnTo>
                    <a:pt x="453" y="1513"/>
                  </a:lnTo>
                  <a:lnTo>
                    <a:pt x="450" y="1574"/>
                  </a:lnTo>
                  <a:lnTo>
                    <a:pt x="445" y="1628"/>
                  </a:lnTo>
                  <a:lnTo>
                    <a:pt x="442" y="1674"/>
                  </a:lnTo>
                  <a:lnTo>
                    <a:pt x="440" y="1711"/>
                  </a:lnTo>
                  <a:lnTo>
                    <a:pt x="438" y="1740"/>
                  </a:lnTo>
                  <a:lnTo>
                    <a:pt x="437" y="1757"/>
                  </a:lnTo>
                  <a:lnTo>
                    <a:pt x="437" y="1764"/>
                  </a:lnTo>
                  <a:lnTo>
                    <a:pt x="326" y="3052"/>
                  </a:lnTo>
                  <a:lnTo>
                    <a:pt x="106" y="3052"/>
                  </a:lnTo>
                  <a:lnTo>
                    <a:pt x="15" y="1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6" name="Freeform 2232"/>
            <p:cNvSpPr>
              <a:spLocks/>
            </p:cNvSpPr>
            <p:nvPr/>
          </p:nvSpPr>
          <p:spPr bwMode="auto">
            <a:xfrm>
              <a:off x="8698821" y="3065451"/>
              <a:ext cx="177800" cy="139700"/>
            </a:xfrm>
            <a:custGeom>
              <a:avLst/>
              <a:gdLst>
                <a:gd name="T0" fmla="*/ 146 w 224"/>
                <a:gd name="T1" fmla="*/ 0 h 176"/>
                <a:gd name="T2" fmla="*/ 148 w 224"/>
                <a:gd name="T3" fmla="*/ 3 h 176"/>
                <a:gd name="T4" fmla="*/ 153 w 224"/>
                <a:gd name="T5" fmla="*/ 10 h 176"/>
                <a:gd name="T6" fmla="*/ 161 w 224"/>
                <a:gd name="T7" fmla="*/ 18 h 176"/>
                <a:gd name="T8" fmla="*/ 171 w 224"/>
                <a:gd name="T9" fmla="*/ 27 h 176"/>
                <a:gd name="T10" fmla="*/ 183 w 224"/>
                <a:gd name="T11" fmla="*/ 32 h 176"/>
                <a:gd name="T12" fmla="*/ 195 w 224"/>
                <a:gd name="T13" fmla="*/ 39 h 176"/>
                <a:gd name="T14" fmla="*/ 207 w 224"/>
                <a:gd name="T15" fmla="*/ 47 h 176"/>
                <a:gd name="T16" fmla="*/ 215 w 224"/>
                <a:gd name="T17" fmla="*/ 56 h 176"/>
                <a:gd name="T18" fmla="*/ 220 w 224"/>
                <a:gd name="T19" fmla="*/ 62 h 176"/>
                <a:gd name="T20" fmla="*/ 224 w 224"/>
                <a:gd name="T21" fmla="*/ 66 h 176"/>
                <a:gd name="T22" fmla="*/ 19 w 224"/>
                <a:gd name="T23" fmla="*/ 176 h 176"/>
                <a:gd name="T24" fmla="*/ 15 w 224"/>
                <a:gd name="T25" fmla="*/ 167 h 176"/>
                <a:gd name="T26" fmla="*/ 15 w 224"/>
                <a:gd name="T27" fmla="*/ 152 h 176"/>
                <a:gd name="T28" fmla="*/ 17 w 224"/>
                <a:gd name="T29" fmla="*/ 137 h 176"/>
                <a:gd name="T30" fmla="*/ 17 w 224"/>
                <a:gd name="T31" fmla="*/ 125 h 176"/>
                <a:gd name="T32" fmla="*/ 19 w 224"/>
                <a:gd name="T33" fmla="*/ 120 h 176"/>
                <a:gd name="T34" fmla="*/ 0 w 224"/>
                <a:gd name="T35" fmla="*/ 73 h 176"/>
                <a:gd name="T36" fmla="*/ 146 w 224"/>
                <a:gd name="T3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4" h="176">
                  <a:moveTo>
                    <a:pt x="146" y="0"/>
                  </a:moveTo>
                  <a:lnTo>
                    <a:pt x="148" y="3"/>
                  </a:lnTo>
                  <a:lnTo>
                    <a:pt x="153" y="10"/>
                  </a:lnTo>
                  <a:lnTo>
                    <a:pt x="161" y="18"/>
                  </a:lnTo>
                  <a:lnTo>
                    <a:pt x="171" y="27"/>
                  </a:lnTo>
                  <a:lnTo>
                    <a:pt x="183" y="32"/>
                  </a:lnTo>
                  <a:lnTo>
                    <a:pt x="195" y="39"/>
                  </a:lnTo>
                  <a:lnTo>
                    <a:pt x="207" y="47"/>
                  </a:lnTo>
                  <a:lnTo>
                    <a:pt x="215" y="56"/>
                  </a:lnTo>
                  <a:lnTo>
                    <a:pt x="220" y="62"/>
                  </a:lnTo>
                  <a:lnTo>
                    <a:pt x="224" y="66"/>
                  </a:lnTo>
                  <a:lnTo>
                    <a:pt x="19" y="176"/>
                  </a:lnTo>
                  <a:lnTo>
                    <a:pt x="15" y="167"/>
                  </a:lnTo>
                  <a:lnTo>
                    <a:pt x="15" y="152"/>
                  </a:lnTo>
                  <a:lnTo>
                    <a:pt x="17" y="137"/>
                  </a:lnTo>
                  <a:lnTo>
                    <a:pt x="17" y="125"/>
                  </a:lnTo>
                  <a:lnTo>
                    <a:pt x="19" y="120"/>
                  </a:lnTo>
                  <a:lnTo>
                    <a:pt x="0" y="73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7" name="Freeform 2233"/>
            <p:cNvSpPr>
              <a:spLocks/>
            </p:cNvSpPr>
            <p:nvPr/>
          </p:nvSpPr>
          <p:spPr bwMode="auto">
            <a:xfrm>
              <a:off x="8941708" y="1181089"/>
              <a:ext cx="406400" cy="1712913"/>
            </a:xfrm>
            <a:custGeom>
              <a:avLst/>
              <a:gdLst>
                <a:gd name="T0" fmla="*/ 44 w 513"/>
                <a:gd name="T1" fmla="*/ 0 h 2158"/>
                <a:gd name="T2" fmla="*/ 217 w 513"/>
                <a:gd name="T3" fmla="*/ 53 h 2158"/>
                <a:gd name="T4" fmla="*/ 241 w 513"/>
                <a:gd name="T5" fmla="*/ 53 h 2158"/>
                <a:gd name="T6" fmla="*/ 390 w 513"/>
                <a:gd name="T7" fmla="*/ 0 h 2158"/>
                <a:gd name="T8" fmla="*/ 407 w 513"/>
                <a:gd name="T9" fmla="*/ 0 h 2158"/>
                <a:gd name="T10" fmla="*/ 513 w 513"/>
                <a:gd name="T11" fmla="*/ 100 h 2158"/>
                <a:gd name="T12" fmla="*/ 464 w 513"/>
                <a:gd name="T13" fmla="*/ 2158 h 2158"/>
                <a:gd name="T14" fmla="*/ 10 w 513"/>
                <a:gd name="T15" fmla="*/ 2158 h 2158"/>
                <a:gd name="T16" fmla="*/ 0 w 513"/>
                <a:gd name="T17" fmla="*/ 34 h 2158"/>
                <a:gd name="T18" fmla="*/ 44 w 513"/>
                <a:gd name="T19" fmla="*/ 0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2158">
                  <a:moveTo>
                    <a:pt x="44" y="0"/>
                  </a:moveTo>
                  <a:lnTo>
                    <a:pt x="217" y="53"/>
                  </a:lnTo>
                  <a:lnTo>
                    <a:pt x="241" y="53"/>
                  </a:lnTo>
                  <a:lnTo>
                    <a:pt x="390" y="0"/>
                  </a:lnTo>
                  <a:lnTo>
                    <a:pt x="407" y="0"/>
                  </a:lnTo>
                  <a:lnTo>
                    <a:pt x="513" y="100"/>
                  </a:lnTo>
                  <a:lnTo>
                    <a:pt x="464" y="2158"/>
                  </a:lnTo>
                  <a:lnTo>
                    <a:pt x="10" y="2158"/>
                  </a:lnTo>
                  <a:lnTo>
                    <a:pt x="0" y="3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BFFF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8" name="Freeform 2234"/>
            <p:cNvSpPr>
              <a:spLocks/>
            </p:cNvSpPr>
            <p:nvPr/>
          </p:nvSpPr>
          <p:spPr bwMode="auto">
            <a:xfrm>
              <a:off x="9036958" y="1320789"/>
              <a:ext cx="163513" cy="1066800"/>
            </a:xfrm>
            <a:custGeom>
              <a:avLst/>
              <a:gdLst>
                <a:gd name="T0" fmla="*/ 104 w 207"/>
                <a:gd name="T1" fmla="*/ 0 h 1344"/>
                <a:gd name="T2" fmla="*/ 104 w 207"/>
                <a:gd name="T3" fmla="*/ 0 h 1344"/>
                <a:gd name="T4" fmla="*/ 104 w 207"/>
                <a:gd name="T5" fmla="*/ 0 h 1344"/>
                <a:gd name="T6" fmla="*/ 104 w 207"/>
                <a:gd name="T7" fmla="*/ 0 h 1344"/>
                <a:gd name="T8" fmla="*/ 146 w 207"/>
                <a:gd name="T9" fmla="*/ 22 h 1344"/>
                <a:gd name="T10" fmla="*/ 207 w 207"/>
                <a:gd name="T11" fmla="*/ 1175 h 1344"/>
                <a:gd name="T12" fmla="*/ 104 w 207"/>
                <a:gd name="T13" fmla="*/ 1344 h 1344"/>
                <a:gd name="T14" fmla="*/ 0 w 207"/>
                <a:gd name="T15" fmla="*/ 1175 h 1344"/>
                <a:gd name="T16" fmla="*/ 61 w 207"/>
                <a:gd name="T17" fmla="*/ 22 h 1344"/>
                <a:gd name="T18" fmla="*/ 104 w 207"/>
                <a:gd name="T19" fmla="*/ 0 h 1344"/>
                <a:gd name="T20" fmla="*/ 104 w 207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" h="1344">
                  <a:moveTo>
                    <a:pt x="104" y="0"/>
                  </a:move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46" y="22"/>
                  </a:lnTo>
                  <a:lnTo>
                    <a:pt x="207" y="1175"/>
                  </a:lnTo>
                  <a:lnTo>
                    <a:pt x="104" y="1344"/>
                  </a:lnTo>
                  <a:lnTo>
                    <a:pt x="0" y="1175"/>
                  </a:lnTo>
                  <a:lnTo>
                    <a:pt x="61" y="22"/>
                  </a:lnTo>
                  <a:lnTo>
                    <a:pt x="104" y="0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98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9" name="Rectangle 2235"/>
            <p:cNvSpPr>
              <a:spLocks noChangeArrowheads="1"/>
            </p:cNvSpPr>
            <p:nvPr/>
          </p:nvSpPr>
          <p:spPr bwMode="auto">
            <a:xfrm>
              <a:off x="9014733" y="995351"/>
              <a:ext cx="207963" cy="238125"/>
            </a:xfrm>
            <a:prstGeom prst="rect">
              <a:avLst/>
            </a:prstGeom>
            <a:solidFill>
              <a:srgbClr val="DFBD9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0" name="Rectangle 2236"/>
            <p:cNvSpPr>
              <a:spLocks noChangeArrowheads="1"/>
            </p:cNvSpPr>
            <p:nvPr/>
          </p:nvSpPr>
          <p:spPr bwMode="auto">
            <a:xfrm>
              <a:off x="8859158" y="2890826"/>
              <a:ext cx="542925" cy="115888"/>
            </a:xfrm>
            <a:prstGeom prst="rect">
              <a:avLst/>
            </a:prstGeom>
            <a:solidFill>
              <a:srgbClr val="24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1" name="Freeform 2237"/>
            <p:cNvSpPr>
              <a:spLocks/>
            </p:cNvSpPr>
            <p:nvPr/>
          </p:nvSpPr>
          <p:spPr bwMode="auto">
            <a:xfrm>
              <a:off x="9025846" y="2876539"/>
              <a:ext cx="209550" cy="144463"/>
            </a:xfrm>
            <a:custGeom>
              <a:avLst/>
              <a:gdLst>
                <a:gd name="T0" fmla="*/ 47 w 264"/>
                <a:gd name="T1" fmla="*/ 0 h 181"/>
                <a:gd name="T2" fmla="*/ 217 w 264"/>
                <a:gd name="T3" fmla="*/ 0 h 181"/>
                <a:gd name="T4" fmla="*/ 235 w 264"/>
                <a:gd name="T5" fmla="*/ 3 h 181"/>
                <a:gd name="T6" fmla="*/ 250 w 264"/>
                <a:gd name="T7" fmla="*/ 13 h 181"/>
                <a:gd name="T8" fmla="*/ 261 w 264"/>
                <a:gd name="T9" fmla="*/ 29 h 181"/>
                <a:gd name="T10" fmla="*/ 264 w 264"/>
                <a:gd name="T11" fmla="*/ 47 h 181"/>
                <a:gd name="T12" fmla="*/ 264 w 264"/>
                <a:gd name="T13" fmla="*/ 134 h 181"/>
                <a:gd name="T14" fmla="*/ 261 w 264"/>
                <a:gd name="T15" fmla="*/ 152 h 181"/>
                <a:gd name="T16" fmla="*/ 250 w 264"/>
                <a:gd name="T17" fmla="*/ 167 h 181"/>
                <a:gd name="T18" fmla="*/ 235 w 264"/>
                <a:gd name="T19" fmla="*/ 178 h 181"/>
                <a:gd name="T20" fmla="*/ 217 w 264"/>
                <a:gd name="T21" fmla="*/ 181 h 181"/>
                <a:gd name="T22" fmla="*/ 47 w 264"/>
                <a:gd name="T23" fmla="*/ 181 h 181"/>
                <a:gd name="T24" fmla="*/ 29 w 264"/>
                <a:gd name="T25" fmla="*/ 178 h 181"/>
                <a:gd name="T26" fmla="*/ 13 w 264"/>
                <a:gd name="T27" fmla="*/ 167 h 181"/>
                <a:gd name="T28" fmla="*/ 3 w 264"/>
                <a:gd name="T29" fmla="*/ 152 h 181"/>
                <a:gd name="T30" fmla="*/ 0 w 264"/>
                <a:gd name="T31" fmla="*/ 134 h 181"/>
                <a:gd name="T32" fmla="*/ 0 w 264"/>
                <a:gd name="T33" fmla="*/ 47 h 181"/>
                <a:gd name="T34" fmla="*/ 3 w 264"/>
                <a:gd name="T35" fmla="*/ 29 h 181"/>
                <a:gd name="T36" fmla="*/ 13 w 264"/>
                <a:gd name="T37" fmla="*/ 13 h 181"/>
                <a:gd name="T38" fmla="*/ 29 w 264"/>
                <a:gd name="T39" fmla="*/ 3 h 181"/>
                <a:gd name="T40" fmla="*/ 47 w 264"/>
                <a:gd name="T4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4" h="181">
                  <a:moveTo>
                    <a:pt x="47" y="0"/>
                  </a:moveTo>
                  <a:lnTo>
                    <a:pt x="217" y="0"/>
                  </a:lnTo>
                  <a:lnTo>
                    <a:pt x="235" y="3"/>
                  </a:lnTo>
                  <a:lnTo>
                    <a:pt x="250" y="13"/>
                  </a:lnTo>
                  <a:lnTo>
                    <a:pt x="261" y="29"/>
                  </a:lnTo>
                  <a:lnTo>
                    <a:pt x="264" y="47"/>
                  </a:lnTo>
                  <a:lnTo>
                    <a:pt x="264" y="134"/>
                  </a:lnTo>
                  <a:lnTo>
                    <a:pt x="261" y="152"/>
                  </a:lnTo>
                  <a:lnTo>
                    <a:pt x="250" y="167"/>
                  </a:lnTo>
                  <a:lnTo>
                    <a:pt x="235" y="178"/>
                  </a:lnTo>
                  <a:lnTo>
                    <a:pt x="217" y="181"/>
                  </a:lnTo>
                  <a:lnTo>
                    <a:pt x="47" y="181"/>
                  </a:lnTo>
                  <a:lnTo>
                    <a:pt x="29" y="178"/>
                  </a:lnTo>
                  <a:lnTo>
                    <a:pt x="13" y="167"/>
                  </a:lnTo>
                  <a:lnTo>
                    <a:pt x="3" y="152"/>
                  </a:lnTo>
                  <a:lnTo>
                    <a:pt x="0" y="134"/>
                  </a:lnTo>
                  <a:lnTo>
                    <a:pt x="0" y="47"/>
                  </a:lnTo>
                  <a:lnTo>
                    <a:pt x="3" y="29"/>
                  </a:lnTo>
                  <a:lnTo>
                    <a:pt x="13" y="13"/>
                  </a:lnTo>
                  <a:lnTo>
                    <a:pt x="29" y="3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0C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2" name="Freeform 2238"/>
            <p:cNvSpPr>
              <a:spLocks/>
            </p:cNvSpPr>
            <p:nvPr/>
          </p:nvSpPr>
          <p:spPr bwMode="auto">
            <a:xfrm>
              <a:off x="9051246" y="2892414"/>
              <a:ext cx="158750" cy="114300"/>
            </a:xfrm>
            <a:custGeom>
              <a:avLst/>
              <a:gdLst>
                <a:gd name="T0" fmla="*/ 47 w 200"/>
                <a:gd name="T1" fmla="*/ 0 h 144"/>
                <a:gd name="T2" fmla="*/ 152 w 200"/>
                <a:gd name="T3" fmla="*/ 0 h 144"/>
                <a:gd name="T4" fmla="*/ 171 w 200"/>
                <a:gd name="T5" fmla="*/ 4 h 144"/>
                <a:gd name="T6" fmla="*/ 186 w 200"/>
                <a:gd name="T7" fmla="*/ 14 h 144"/>
                <a:gd name="T8" fmla="*/ 196 w 200"/>
                <a:gd name="T9" fmla="*/ 29 h 144"/>
                <a:gd name="T10" fmla="*/ 200 w 200"/>
                <a:gd name="T11" fmla="*/ 48 h 144"/>
                <a:gd name="T12" fmla="*/ 200 w 200"/>
                <a:gd name="T13" fmla="*/ 97 h 144"/>
                <a:gd name="T14" fmla="*/ 196 w 200"/>
                <a:gd name="T15" fmla="*/ 114 h 144"/>
                <a:gd name="T16" fmla="*/ 186 w 200"/>
                <a:gd name="T17" fmla="*/ 129 h 144"/>
                <a:gd name="T18" fmla="*/ 171 w 200"/>
                <a:gd name="T19" fmla="*/ 141 h 144"/>
                <a:gd name="T20" fmla="*/ 152 w 200"/>
                <a:gd name="T21" fmla="*/ 144 h 144"/>
                <a:gd name="T22" fmla="*/ 47 w 200"/>
                <a:gd name="T23" fmla="*/ 144 h 144"/>
                <a:gd name="T24" fmla="*/ 29 w 200"/>
                <a:gd name="T25" fmla="*/ 141 h 144"/>
                <a:gd name="T26" fmla="*/ 14 w 200"/>
                <a:gd name="T27" fmla="*/ 129 h 144"/>
                <a:gd name="T28" fmla="*/ 3 w 200"/>
                <a:gd name="T29" fmla="*/ 114 h 144"/>
                <a:gd name="T30" fmla="*/ 0 w 200"/>
                <a:gd name="T31" fmla="*/ 97 h 144"/>
                <a:gd name="T32" fmla="*/ 0 w 200"/>
                <a:gd name="T33" fmla="*/ 48 h 144"/>
                <a:gd name="T34" fmla="*/ 3 w 200"/>
                <a:gd name="T35" fmla="*/ 29 h 144"/>
                <a:gd name="T36" fmla="*/ 14 w 200"/>
                <a:gd name="T37" fmla="*/ 14 h 144"/>
                <a:gd name="T38" fmla="*/ 29 w 200"/>
                <a:gd name="T39" fmla="*/ 4 h 144"/>
                <a:gd name="T40" fmla="*/ 47 w 200"/>
                <a:gd name="T4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0" h="144">
                  <a:moveTo>
                    <a:pt x="47" y="0"/>
                  </a:moveTo>
                  <a:lnTo>
                    <a:pt x="152" y="0"/>
                  </a:lnTo>
                  <a:lnTo>
                    <a:pt x="171" y="4"/>
                  </a:lnTo>
                  <a:lnTo>
                    <a:pt x="186" y="14"/>
                  </a:lnTo>
                  <a:lnTo>
                    <a:pt x="196" y="29"/>
                  </a:lnTo>
                  <a:lnTo>
                    <a:pt x="200" y="48"/>
                  </a:lnTo>
                  <a:lnTo>
                    <a:pt x="200" y="97"/>
                  </a:lnTo>
                  <a:lnTo>
                    <a:pt x="196" y="114"/>
                  </a:lnTo>
                  <a:lnTo>
                    <a:pt x="186" y="129"/>
                  </a:lnTo>
                  <a:lnTo>
                    <a:pt x="171" y="141"/>
                  </a:lnTo>
                  <a:lnTo>
                    <a:pt x="152" y="144"/>
                  </a:lnTo>
                  <a:lnTo>
                    <a:pt x="47" y="144"/>
                  </a:lnTo>
                  <a:lnTo>
                    <a:pt x="29" y="141"/>
                  </a:lnTo>
                  <a:lnTo>
                    <a:pt x="14" y="129"/>
                  </a:lnTo>
                  <a:lnTo>
                    <a:pt x="3" y="114"/>
                  </a:lnTo>
                  <a:lnTo>
                    <a:pt x="0" y="97"/>
                  </a:lnTo>
                  <a:lnTo>
                    <a:pt x="0" y="48"/>
                  </a:lnTo>
                  <a:lnTo>
                    <a:pt x="3" y="29"/>
                  </a:lnTo>
                  <a:lnTo>
                    <a:pt x="14" y="14"/>
                  </a:lnTo>
                  <a:lnTo>
                    <a:pt x="29" y="4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6DD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3" name="Freeform 2239"/>
            <p:cNvSpPr>
              <a:spLocks/>
            </p:cNvSpPr>
            <p:nvPr/>
          </p:nvSpPr>
          <p:spPr bwMode="auto">
            <a:xfrm>
              <a:off x="9211583" y="3690926"/>
              <a:ext cx="1090613" cy="611188"/>
            </a:xfrm>
            <a:custGeom>
              <a:avLst/>
              <a:gdLst>
                <a:gd name="T0" fmla="*/ 0 w 1375"/>
                <a:gd name="T1" fmla="*/ 0 h 771"/>
                <a:gd name="T2" fmla="*/ 38 w 1375"/>
                <a:gd name="T3" fmla="*/ 44 h 771"/>
                <a:gd name="T4" fmla="*/ 86 w 1375"/>
                <a:gd name="T5" fmla="*/ 85 h 771"/>
                <a:gd name="T6" fmla="*/ 140 w 1375"/>
                <a:gd name="T7" fmla="*/ 122 h 771"/>
                <a:gd name="T8" fmla="*/ 203 w 1375"/>
                <a:gd name="T9" fmla="*/ 156 h 771"/>
                <a:gd name="T10" fmla="*/ 270 w 1375"/>
                <a:gd name="T11" fmla="*/ 185 h 771"/>
                <a:gd name="T12" fmla="*/ 345 w 1375"/>
                <a:gd name="T13" fmla="*/ 210 h 771"/>
                <a:gd name="T14" fmla="*/ 425 w 1375"/>
                <a:gd name="T15" fmla="*/ 231 h 771"/>
                <a:gd name="T16" fmla="*/ 508 w 1375"/>
                <a:gd name="T17" fmla="*/ 244 h 771"/>
                <a:gd name="T18" fmla="*/ 596 w 1375"/>
                <a:gd name="T19" fmla="*/ 254 h 771"/>
                <a:gd name="T20" fmla="*/ 687 w 1375"/>
                <a:gd name="T21" fmla="*/ 258 h 771"/>
                <a:gd name="T22" fmla="*/ 779 w 1375"/>
                <a:gd name="T23" fmla="*/ 254 h 771"/>
                <a:gd name="T24" fmla="*/ 867 w 1375"/>
                <a:gd name="T25" fmla="*/ 246 h 771"/>
                <a:gd name="T26" fmla="*/ 950 w 1375"/>
                <a:gd name="T27" fmla="*/ 234 h 771"/>
                <a:gd name="T28" fmla="*/ 1029 w 1375"/>
                <a:gd name="T29" fmla="*/ 217 h 771"/>
                <a:gd name="T30" fmla="*/ 1104 w 1375"/>
                <a:gd name="T31" fmla="*/ 195 h 771"/>
                <a:gd name="T32" fmla="*/ 1171 w 1375"/>
                <a:gd name="T33" fmla="*/ 168 h 771"/>
                <a:gd name="T34" fmla="*/ 1234 w 1375"/>
                <a:gd name="T35" fmla="*/ 136 h 771"/>
                <a:gd name="T36" fmla="*/ 1288 w 1375"/>
                <a:gd name="T37" fmla="*/ 102 h 771"/>
                <a:gd name="T38" fmla="*/ 1336 w 1375"/>
                <a:gd name="T39" fmla="*/ 61 h 771"/>
                <a:gd name="T40" fmla="*/ 1375 w 1375"/>
                <a:gd name="T41" fmla="*/ 19 h 771"/>
                <a:gd name="T42" fmla="*/ 1375 w 1375"/>
                <a:gd name="T43" fmla="*/ 686 h 771"/>
                <a:gd name="T44" fmla="*/ 1370 w 1375"/>
                <a:gd name="T45" fmla="*/ 713 h 771"/>
                <a:gd name="T46" fmla="*/ 1358 w 1375"/>
                <a:gd name="T47" fmla="*/ 737 h 771"/>
                <a:gd name="T48" fmla="*/ 1339 w 1375"/>
                <a:gd name="T49" fmla="*/ 754 h 771"/>
                <a:gd name="T50" fmla="*/ 1317 w 1375"/>
                <a:gd name="T51" fmla="*/ 766 h 771"/>
                <a:gd name="T52" fmla="*/ 1290 w 1375"/>
                <a:gd name="T53" fmla="*/ 771 h 771"/>
                <a:gd name="T54" fmla="*/ 84 w 1375"/>
                <a:gd name="T55" fmla="*/ 771 h 771"/>
                <a:gd name="T56" fmla="*/ 57 w 1375"/>
                <a:gd name="T57" fmla="*/ 766 h 771"/>
                <a:gd name="T58" fmla="*/ 33 w 1375"/>
                <a:gd name="T59" fmla="*/ 754 h 771"/>
                <a:gd name="T60" fmla="*/ 16 w 1375"/>
                <a:gd name="T61" fmla="*/ 737 h 771"/>
                <a:gd name="T62" fmla="*/ 5 w 1375"/>
                <a:gd name="T63" fmla="*/ 713 h 771"/>
                <a:gd name="T64" fmla="*/ 0 w 1375"/>
                <a:gd name="T65" fmla="*/ 686 h 771"/>
                <a:gd name="T66" fmla="*/ 0 w 1375"/>
                <a:gd name="T67" fmla="*/ 0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5" h="771">
                  <a:moveTo>
                    <a:pt x="0" y="0"/>
                  </a:moveTo>
                  <a:lnTo>
                    <a:pt x="38" y="44"/>
                  </a:lnTo>
                  <a:lnTo>
                    <a:pt x="86" y="85"/>
                  </a:lnTo>
                  <a:lnTo>
                    <a:pt x="140" y="122"/>
                  </a:lnTo>
                  <a:lnTo>
                    <a:pt x="203" y="156"/>
                  </a:lnTo>
                  <a:lnTo>
                    <a:pt x="270" y="185"/>
                  </a:lnTo>
                  <a:lnTo>
                    <a:pt x="345" y="210"/>
                  </a:lnTo>
                  <a:lnTo>
                    <a:pt x="425" y="231"/>
                  </a:lnTo>
                  <a:lnTo>
                    <a:pt x="508" y="244"/>
                  </a:lnTo>
                  <a:lnTo>
                    <a:pt x="596" y="254"/>
                  </a:lnTo>
                  <a:lnTo>
                    <a:pt x="687" y="258"/>
                  </a:lnTo>
                  <a:lnTo>
                    <a:pt x="779" y="254"/>
                  </a:lnTo>
                  <a:lnTo>
                    <a:pt x="867" y="246"/>
                  </a:lnTo>
                  <a:lnTo>
                    <a:pt x="950" y="234"/>
                  </a:lnTo>
                  <a:lnTo>
                    <a:pt x="1029" y="217"/>
                  </a:lnTo>
                  <a:lnTo>
                    <a:pt x="1104" y="195"/>
                  </a:lnTo>
                  <a:lnTo>
                    <a:pt x="1171" y="168"/>
                  </a:lnTo>
                  <a:lnTo>
                    <a:pt x="1234" y="136"/>
                  </a:lnTo>
                  <a:lnTo>
                    <a:pt x="1288" y="102"/>
                  </a:lnTo>
                  <a:lnTo>
                    <a:pt x="1336" y="61"/>
                  </a:lnTo>
                  <a:lnTo>
                    <a:pt x="1375" y="19"/>
                  </a:lnTo>
                  <a:lnTo>
                    <a:pt x="1375" y="686"/>
                  </a:lnTo>
                  <a:lnTo>
                    <a:pt x="1370" y="713"/>
                  </a:lnTo>
                  <a:lnTo>
                    <a:pt x="1358" y="737"/>
                  </a:lnTo>
                  <a:lnTo>
                    <a:pt x="1339" y="754"/>
                  </a:lnTo>
                  <a:lnTo>
                    <a:pt x="1317" y="766"/>
                  </a:lnTo>
                  <a:lnTo>
                    <a:pt x="1290" y="771"/>
                  </a:lnTo>
                  <a:lnTo>
                    <a:pt x="84" y="771"/>
                  </a:lnTo>
                  <a:lnTo>
                    <a:pt x="57" y="766"/>
                  </a:lnTo>
                  <a:lnTo>
                    <a:pt x="33" y="754"/>
                  </a:lnTo>
                  <a:lnTo>
                    <a:pt x="16" y="737"/>
                  </a:lnTo>
                  <a:lnTo>
                    <a:pt x="5" y="713"/>
                  </a:lnTo>
                  <a:lnTo>
                    <a:pt x="0" y="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4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4" name="Freeform 2240"/>
            <p:cNvSpPr>
              <a:spLocks/>
            </p:cNvSpPr>
            <p:nvPr/>
          </p:nvSpPr>
          <p:spPr bwMode="auto">
            <a:xfrm>
              <a:off x="9211583" y="3805226"/>
              <a:ext cx="1090613" cy="238125"/>
            </a:xfrm>
            <a:custGeom>
              <a:avLst/>
              <a:gdLst>
                <a:gd name="T0" fmla="*/ 0 w 1375"/>
                <a:gd name="T1" fmla="*/ 0 h 300"/>
                <a:gd name="T2" fmla="*/ 38 w 1375"/>
                <a:gd name="T3" fmla="*/ 44 h 300"/>
                <a:gd name="T4" fmla="*/ 86 w 1375"/>
                <a:gd name="T5" fmla="*/ 85 h 300"/>
                <a:gd name="T6" fmla="*/ 140 w 1375"/>
                <a:gd name="T7" fmla="*/ 122 h 300"/>
                <a:gd name="T8" fmla="*/ 203 w 1375"/>
                <a:gd name="T9" fmla="*/ 156 h 300"/>
                <a:gd name="T10" fmla="*/ 270 w 1375"/>
                <a:gd name="T11" fmla="*/ 185 h 300"/>
                <a:gd name="T12" fmla="*/ 345 w 1375"/>
                <a:gd name="T13" fmla="*/ 210 h 300"/>
                <a:gd name="T14" fmla="*/ 425 w 1375"/>
                <a:gd name="T15" fmla="*/ 231 h 300"/>
                <a:gd name="T16" fmla="*/ 508 w 1375"/>
                <a:gd name="T17" fmla="*/ 244 h 300"/>
                <a:gd name="T18" fmla="*/ 596 w 1375"/>
                <a:gd name="T19" fmla="*/ 254 h 300"/>
                <a:gd name="T20" fmla="*/ 687 w 1375"/>
                <a:gd name="T21" fmla="*/ 256 h 300"/>
                <a:gd name="T22" fmla="*/ 779 w 1375"/>
                <a:gd name="T23" fmla="*/ 254 h 300"/>
                <a:gd name="T24" fmla="*/ 867 w 1375"/>
                <a:gd name="T25" fmla="*/ 244 h 300"/>
                <a:gd name="T26" fmla="*/ 950 w 1375"/>
                <a:gd name="T27" fmla="*/ 231 h 300"/>
                <a:gd name="T28" fmla="*/ 1029 w 1375"/>
                <a:gd name="T29" fmla="*/ 210 h 300"/>
                <a:gd name="T30" fmla="*/ 1104 w 1375"/>
                <a:gd name="T31" fmla="*/ 185 h 300"/>
                <a:gd name="T32" fmla="*/ 1171 w 1375"/>
                <a:gd name="T33" fmla="*/ 156 h 300"/>
                <a:gd name="T34" fmla="*/ 1234 w 1375"/>
                <a:gd name="T35" fmla="*/ 122 h 300"/>
                <a:gd name="T36" fmla="*/ 1288 w 1375"/>
                <a:gd name="T37" fmla="*/ 85 h 300"/>
                <a:gd name="T38" fmla="*/ 1336 w 1375"/>
                <a:gd name="T39" fmla="*/ 44 h 300"/>
                <a:gd name="T40" fmla="*/ 1375 w 1375"/>
                <a:gd name="T41" fmla="*/ 0 h 300"/>
                <a:gd name="T42" fmla="*/ 1375 w 1375"/>
                <a:gd name="T43" fmla="*/ 44 h 300"/>
                <a:gd name="T44" fmla="*/ 1336 w 1375"/>
                <a:gd name="T45" fmla="*/ 88 h 300"/>
                <a:gd name="T46" fmla="*/ 1288 w 1375"/>
                <a:gd name="T47" fmla="*/ 129 h 300"/>
                <a:gd name="T48" fmla="*/ 1234 w 1375"/>
                <a:gd name="T49" fmla="*/ 166 h 300"/>
                <a:gd name="T50" fmla="*/ 1171 w 1375"/>
                <a:gd name="T51" fmla="*/ 200 h 300"/>
                <a:gd name="T52" fmla="*/ 1104 w 1375"/>
                <a:gd name="T53" fmla="*/ 229 h 300"/>
                <a:gd name="T54" fmla="*/ 1029 w 1375"/>
                <a:gd name="T55" fmla="*/ 254 h 300"/>
                <a:gd name="T56" fmla="*/ 950 w 1375"/>
                <a:gd name="T57" fmla="*/ 273 h 300"/>
                <a:gd name="T58" fmla="*/ 867 w 1375"/>
                <a:gd name="T59" fmla="*/ 288 h 300"/>
                <a:gd name="T60" fmla="*/ 779 w 1375"/>
                <a:gd name="T61" fmla="*/ 297 h 300"/>
                <a:gd name="T62" fmla="*/ 687 w 1375"/>
                <a:gd name="T63" fmla="*/ 300 h 300"/>
                <a:gd name="T64" fmla="*/ 596 w 1375"/>
                <a:gd name="T65" fmla="*/ 297 h 300"/>
                <a:gd name="T66" fmla="*/ 508 w 1375"/>
                <a:gd name="T67" fmla="*/ 288 h 300"/>
                <a:gd name="T68" fmla="*/ 425 w 1375"/>
                <a:gd name="T69" fmla="*/ 273 h 300"/>
                <a:gd name="T70" fmla="*/ 345 w 1375"/>
                <a:gd name="T71" fmla="*/ 254 h 300"/>
                <a:gd name="T72" fmla="*/ 270 w 1375"/>
                <a:gd name="T73" fmla="*/ 229 h 300"/>
                <a:gd name="T74" fmla="*/ 203 w 1375"/>
                <a:gd name="T75" fmla="*/ 200 h 300"/>
                <a:gd name="T76" fmla="*/ 140 w 1375"/>
                <a:gd name="T77" fmla="*/ 166 h 300"/>
                <a:gd name="T78" fmla="*/ 86 w 1375"/>
                <a:gd name="T79" fmla="*/ 129 h 300"/>
                <a:gd name="T80" fmla="*/ 38 w 1375"/>
                <a:gd name="T81" fmla="*/ 88 h 300"/>
                <a:gd name="T82" fmla="*/ 0 w 1375"/>
                <a:gd name="T83" fmla="*/ 44 h 300"/>
                <a:gd name="T84" fmla="*/ 0 w 1375"/>
                <a:gd name="T8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75" h="300">
                  <a:moveTo>
                    <a:pt x="0" y="0"/>
                  </a:moveTo>
                  <a:lnTo>
                    <a:pt x="38" y="44"/>
                  </a:lnTo>
                  <a:lnTo>
                    <a:pt x="86" y="85"/>
                  </a:lnTo>
                  <a:lnTo>
                    <a:pt x="140" y="122"/>
                  </a:lnTo>
                  <a:lnTo>
                    <a:pt x="203" y="156"/>
                  </a:lnTo>
                  <a:lnTo>
                    <a:pt x="270" y="185"/>
                  </a:lnTo>
                  <a:lnTo>
                    <a:pt x="345" y="210"/>
                  </a:lnTo>
                  <a:lnTo>
                    <a:pt x="425" y="231"/>
                  </a:lnTo>
                  <a:lnTo>
                    <a:pt x="508" y="244"/>
                  </a:lnTo>
                  <a:lnTo>
                    <a:pt x="596" y="254"/>
                  </a:lnTo>
                  <a:lnTo>
                    <a:pt x="687" y="256"/>
                  </a:lnTo>
                  <a:lnTo>
                    <a:pt x="779" y="254"/>
                  </a:lnTo>
                  <a:lnTo>
                    <a:pt x="867" y="244"/>
                  </a:lnTo>
                  <a:lnTo>
                    <a:pt x="950" y="231"/>
                  </a:lnTo>
                  <a:lnTo>
                    <a:pt x="1029" y="210"/>
                  </a:lnTo>
                  <a:lnTo>
                    <a:pt x="1104" y="185"/>
                  </a:lnTo>
                  <a:lnTo>
                    <a:pt x="1171" y="156"/>
                  </a:lnTo>
                  <a:lnTo>
                    <a:pt x="1234" y="122"/>
                  </a:lnTo>
                  <a:lnTo>
                    <a:pt x="1288" y="85"/>
                  </a:lnTo>
                  <a:lnTo>
                    <a:pt x="1336" y="44"/>
                  </a:lnTo>
                  <a:lnTo>
                    <a:pt x="1375" y="0"/>
                  </a:lnTo>
                  <a:lnTo>
                    <a:pt x="1375" y="44"/>
                  </a:lnTo>
                  <a:lnTo>
                    <a:pt x="1336" y="88"/>
                  </a:lnTo>
                  <a:lnTo>
                    <a:pt x="1288" y="129"/>
                  </a:lnTo>
                  <a:lnTo>
                    <a:pt x="1234" y="166"/>
                  </a:lnTo>
                  <a:lnTo>
                    <a:pt x="1171" y="200"/>
                  </a:lnTo>
                  <a:lnTo>
                    <a:pt x="1104" y="229"/>
                  </a:lnTo>
                  <a:lnTo>
                    <a:pt x="1029" y="254"/>
                  </a:lnTo>
                  <a:lnTo>
                    <a:pt x="950" y="273"/>
                  </a:lnTo>
                  <a:lnTo>
                    <a:pt x="867" y="288"/>
                  </a:lnTo>
                  <a:lnTo>
                    <a:pt x="779" y="297"/>
                  </a:lnTo>
                  <a:lnTo>
                    <a:pt x="687" y="300"/>
                  </a:lnTo>
                  <a:lnTo>
                    <a:pt x="596" y="297"/>
                  </a:lnTo>
                  <a:lnTo>
                    <a:pt x="508" y="288"/>
                  </a:lnTo>
                  <a:lnTo>
                    <a:pt x="425" y="273"/>
                  </a:lnTo>
                  <a:lnTo>
                    <a:pt x="345" y="254"/>
                  </a:lnTo>
                  <a:lnTo>
                    <a:pt x="270" y="229"/>
                  </a:lnTo>
                  <a:lnTo>
                    <a:pt x="203" y="200"/>
                  </a:lnTo>
                  <a:lnTo>
                    <a:pt x="140" y="166"/>
                  </a:lnTo>
                  <a:lnTo>
                    <a:pt x="86" y="129"/>
                  </a:lnTo>
                  <a:lnTo>
                    <a:pt x="38" y="88"/>
                  </a:lnTo>
                  <a:lnTo>
                    <a:pt x="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8F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5" name="Freeform 2241"/>
            <p:cNvSpPr>
              <a:spLocks/>
            </p:cNvSpPr>
            <p:nvPr/>
          </p:nvSpPr>
          <p:spPr bwMode="auto">
            <a:xfrm>
              <a:off x="9211583" y="3563926"/>
              <a:ext cx="1090613" cy="433388"/>
            </a:xfrm>
            <a:custGeom>
              <a:avLst/>
              <a:gdLst>
                <a:gd name="T0" fmla="*/ 84 w 1375"/>
                <a:gd name="T1" fmla="*/ 0 h 545"/>
                <a:gd name="T2" fmla="*/ 1290 w 1375"/>
                <a:gd name="T3" fmla="*/ 0 h 545"/>
                <a:gd name="T4" fmla="*/ 1317 w 1375"/>
                <a:gd name="T5" fmla="*/ 4 h 545"/>
                <a:gd name="T6" fmla="*/ 1339 w 1375"/>
                <a:gd name="T7" fmla="*/ 15 h 545"/>
                <a:gd name="T8" fmla="*/ 1358 w 1375"/>
                <a:gd name="T9" fmla="*/ 34 h 545"/>
                <a:gd name="T10" fmla="*/ 1370 w 1375"/>
                <a:gd name="T11" fmla="*/ 58 h 545"/>
                <a:gd name="T12" fmla="*/ 1375 w 1375"/>
                <a:gd name="T13" fmla="*/ 83 h 545"/>
                <a:gd name="T14" fmla="*/ 1375 w 1375"/>
                <a:gd name="T15" fmla="*/ 290 h 545"/>
                <a:gd name="T16" fmla="*/ 1336 w 1375"/>
                <a:gd name="T17" fmla="*/ 334 h 545"/>
                <a:gd name="T18" fmla="*/ 1288 w 1375"/>
                <a:gd name="T19" fmla="*/ 374 h 545"/>
                <a:gd name="T20" fmla="*/ 1234 w 1375"/>
                <a:gd name="T21" fmla="*/ 412 h 545"/>
                <a:gd name="T22" fmla="*/ 1171 w 1375"/>
                <a:gd name="T23" fmla="*/ 446 h 545"/>
                <a:gd name="T24" fmla="*/ 1104 w 1375"/>
                <a:gd name="T25" fmla="*/ 474 h 545"/>
                <a:gd name="T26" fmla="*/ 1029 w 1375"/>
                <a:gd name="T27" fmla="*/ 500 h 545"/>
                <a:gd name="T28" fmla="*/ 950 w 1375"/>
                <a:gd name="T29" fmla="*/ 518 h 545"/>
                <a:gd name="T30" fmla="*/ 867 w 1375"/>
                <a:gd name="T31" fmla="*/ 534 h 545"/>
                <a:gd name="T32" fmla="*/ 779 w 1375"/>
                <a:gd name="T33" fmla="*/ 542 h 545"/>
                <a:gd name="T34" fmla="*/ 687 w 1375"/>
                <a:gd name="T35" fmla="*/ 545 h 545"/>
                <a:gd name="T36" fmla="*/ 596 w 1375"/>
                <a:gd name="T37" fmla="*/ 542 h 545"/>
                <a:gd name="T38" fmla="*/ 508 w 1375"/>
                <a:gd name="T39" fmla="*/ 534 h 545"/>
                <a:gd name="T40" fmla="*/ 425 w 1375"/>
                <a:gd name="T41" fmla="*/ 518 h 545"/>
                <a:gd name="T42" fmla="*/ 345 w 1375"/>
                <a:gd name="T43" fmla="*/ 500 h 545"/>
                <a:gd name="T44" fmla="*/ 270 w 1375"/>
                <a:gd name="T45" fmla="*/ 474 h 545"/>
                <a:gd name="T46" fmla="*/ 203 w 1375"/>
                <a:gd name="T47" fmla="*/ 446 h 545"/>
                <a:gd name="T48" fmla="*/ 140 w 1375"/>
                <a:gd name="T49" fmla="*/ 412 h 545"/>
                <a:gd name="T50" fmla="*/ 86 w 1375"/>
                <a:gd name="T51" fmla="*/ 374 h 545"/>
                <a:gd name="T52" fmla="*/ 38 w 1375"/>
                <a:gd name="T53" fmla="*/ 334 h 545"/>
                <a:gd name="T54" fmla="*/ 0 w 1375"/>
                <a:gd name="T55" fmla="*/ 290 h 545"/>
                <a:gd name="T56" fmla="*/ 0 w 1375"/>
                <a:gd name="T57" fmla="*/ 83 h 545"/>
                <a:gd name="T58" fmla="*/ 5 w 1375"/>
                <a:gd name="T59" fmla="*/ 58 h 545"/>
                <a:gd name="T60" fmla="*/ 16 w 1375"/>
                <a:gd name="T61" fmla="*/ 34 h 545"/>
                <a:gd name="T62" fmla="*/ 33 w 1375"/>
                <a:gd name="T63" fmla="*/ 15 h 545"/>
                <a:gd name="T64" fmla="*/ 57 w 1375"/>
                <a:gd name="T65" fmla="*/ 4 h 545"/>
                <a:gd name="T66" fmla="*/ 84 w 1375"/>
                <a:gd name="T67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5" h="545">
                  <a:moveTo>
                    <a:pt x="84" y="0"/>
                  </a:moveTo>
                  <a:lnTo>
                    <a:pt x="1290" y="0"/>
                  </a:lnTo>
                  <a:lnTo>
                    <a:pt x="1317" y="4"/>
                  </a:lnTo>
                  <a:lnTo>
                    <a:pt x="1339" y="15"/>
                  </a:lnTo>
                  <a:lnTo>
                    <a:pt x="1358" y="34"/>
                  </a:lnTo>
                  <a:lnTo>
                    <a:pt x="1370" y="58"/>
                  </a:lnTo>
                  <a:lnTo>
                    <a:pt x="1375" y="83"/>
                  </a:lnTo>
                  <a:lnTo>
                    <a:pt x="1375" y="290"/>
                  </a:lnTo>
                  <a:lnTo>
                    <a:pt x="1336" y="334"/>
                  </a:lnTo>
                  <a:lnTo>
                    <a:pt x="1288" y="374"/>
                  </a:lnTo>
                  <a:lnTo>
                    <a:pt x="1234" y="412"/>
                  </a:lnTo>
                  <a:lnTo>
                    <a:pt x="1171" y="446"/>
                  </a:lnTo>
                  <a:lnTo>
                    <a:pt x="1104" y="474"/>
                  </a:lnTo>
                  <a:lnTo>
                    <a:pt x="1029" y="500"/>
                  </a:lnTo>
                  <a:lnTo>
                    <a:pt x="950" y="518"/>
                  </a:lnTo>
                  <a:lnTo>
                    <a:pt x="867" y="534"/>
                  </a:lnTo>
                  <a:lnTo>
                    <a:pt x="779" y="542"/>
                  </a:lnTo>
                  <a:lnTo>
                    <a:pt x="687" y="545"/>
                  </a:lnTo>
                  <a:lnTo>
                    <a:pt x="596" y="542"/>
                  </a:lnTo>
                  <a:lnTo>
                    <a:pt x="508" y="534"/>
                  </a:lnTo>
                  <a:lnTo>
                    <a:pt x="425" y="518"/>
                  </a:lnTo>
                  <a:lnTo>
                    <a:pt x="345" y="500"/>
                  </a:lnTo>
                  <a:lnTo>
                    <a:pt x="270" y="474"/>
                  </a:lnTo>
                  <a:lnTo>
                    <a:pt x="203" y="446"/>
                  </a:lnTo>
                  <a:lnTo>
                    <a:pt x="140" y="412"/>
                  </a:lnTo>
                  <a:lnTo>
                    <a:pt x="86" y="374"/>
                  </a:lnTo>
                  <a:lnTo>
                    <a:pt x="38" y="334"/>
                  </a:lnTo>
                  <a:lnTo>
                    <a:pt x="0" y="290"/>
                  </a:lnTo>
                  <a:lnTo>
                    <a:pt x="0" y="83"/>
                  </a:lnTo>
                  <a:lnTo>
                    <a:pt x="5" y="58"/>
                  </a:lnTo>
                  <a:lnTo>
                    <a:pt x="16" y="34"/>
                  </a:lnTo>
                  <a:lnTo>
                    <a:pt x="33" y="15"/>
                  </a:lnTo>
                  <a:lnTo>
                    <a:pt x="57" y="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D98F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6" name="Rectangle 2242"/>
            <p:cNvSpPr>
              <a:spLocks noChangeArrowheads="1"/>
            </p:cNvSpPr>
            <p:nvPr/>
          </p:nvSpPr>
          <p:spPr bwMode="auto">
            <a:xfrm>
              <a:off x="9679896" y="3563926"/>
              <a:ext cx="153988" cy="417513"/>
            </a:xfrm>
            <a:prstGeom prst="rect">
              <a:avLst/>
            </a:prstGeom>
            <a:solidFill>
              <a:srgbClr val="A047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7" name="Freeform 2243"/>
            <p:cNvSpPr>
              <a:spLocks/>
            </p:cNvSpPr>
            <p:nvPr/>
          </p:nvSpPr>
          <p:spPr bwMode="auto">
            <a:xfrm>
              <a:off x="9676721" y="3981439"/>
              <a:ext cx="160338" cy="100013"/>
            </a:xfrm>
            <a:custGeom>
              <a:avLst/>
              <a:gdLst>
                <a:gd name="T0" fmla="*/ 0 w 203"/>
                <a:gd name="T1" fmla="*/ 0 h 125"/>
                <a:gd name="T2" fmla="*/ 203 w 203"/>
                <a:gd name="T3" fmla="*/ 0 h 125"/>
                <a:gd name="T4" fmla="*/ 199 w 203"/>
                <a:gd name="T5" fmla="*/ 34 h 125"/>
                <a:gd name="T6" fmla="*/ 189 w 203"/>
                <a:gd name="T7" fmla="*/ 64 h 125"/>
                <a:gd name="T8" fmla="*/ 172 w 203"/>
                <a:gd name="T9" fmla="*/ 90 h 125"/>
                <a:gd name="T10" fmla="*/ 152 w 203"/>
                <a:gd name="T11" fmla="*/ 108 h 125"/>
                <a:gd name="T12" fmla="*/ 128 w 203"/>
                <a:gd name="T13" fmla="*/ 122 h 125"/>
                <a:gd name="T14" fmla="*/ 101 w 203"/>
                <a:gd name="T15" fmla="*/ 125 h 125"/>
                <a:gd name="T16" fmla="*/ 74 w 203"/>
                <a:gd name="T17" fmla="*/ 122 h 125"/>
                <a:gd name="T18" fmla="*/ 50 w 203"/>
                <a:gd name="T19" fmla="*/ 108 h 125"/>
                <a:gd name="T20" fmla="*/ 28 w 203"/>
                <a:gd name="T21" fmla="*/ 90 h 125"/>
                <a:gd name="T22" fmla="*/ 13 w 203"/>
                <a:gd name="T23" fmla="*/ 64 h 125"/>
                <a:gd name="T24" fmla="*/ 3 w 203"/>
                <a:gd name="T25" fmla="*/ 34 h 125"/>
                <a:gd name="T26" fmla="*/ 0 w 203"/>
                <a:gd name="T27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125">
                  <a:moveTo>
                    <a:pt x="0" y="0"/>
                  </a:moveTo>
                  <a:lnTo>
                    <a:pt x="203" y="0"/>
                  </a:lnTo>
                  <a:lnTo>
                    <a:pt x="199" y="34"/>
                  </a:lnTo>
                  <a:lnTo>
                    <a:pt x="189" y="64"/>
                  </a:lnTo>
                  <a:lnTo>
                    <a:pt x="172" y="90"/>
                  </a:lnTo>
                  <a:lnTo>
                    <a:pt x="152" y="108"/>
                  </a:lnTo>
                  <a:lnTo>
                    <a:pt x="128" y="122"/>
                  </a:lnTo>
                  <a:lnTo>
                    <a:pt x="101" y="125"/>
                  </a:lnTo>
                  <a:lnTo>
                    <a:pt x="74" y="122"/>
                  </a:lnTo>
                  <a:lnTo>
                    <a:pt x="50" y="108"/>
                  </a:lnTo>
                  <a:lnTo>
                    <a:pt x="28" y="90"/>
                  </a:lnTo>
                  <a:lnTo>
                    <a:pt x="13" y="64"/>
                  </a:lnTo>
                  <a:lnTo>
                    <a:pt x="3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8" name="Freeform 2244"/>
            <p:cNvSpPr>
              <a:spLocks/>
            </p:cNvSpPr>
            <p:nvPr/>
          </p:nvSpPr>
          <p:spPr bwMode="auto">
            <a:xfrm>
              <a:off x="9695771" y="3994139"/>
              <a:ext cx="123825" cy="76200"/>
            </a:xfrm>
            <a:custGeom>
              <a:avLst/>
              <a:gdLst>
                <a:gd name="T0" fmla="*/ 0 w 156"/>
                <a:gd name="T1" fmla="*/ 0 h 97"/>
                <a:gd name="T2" fmla="*/ 156 w 156"/>
                <a:gd name="T3" fmla="*/ 0 h 97"/>
                <a:gd name="T4" fmla="*/ 153 w 156"/>
                <a:gd name="T5" fmla="*/ 31 h 97"/>
                <a:gd name="T6" fmla="*/ 141 w 156"/>
                <a:gd name="T7" fmla="*/ 56 h 97"/>
                <a:gd name="T8" fmla="*/ 124 w 156"/>
                <a:gd name="T9" fmla="*/ 78 h 97"/>
                <a:gd name="T10" fmla="*/ 102 w 156"/>
                <a:gd name="T11" fmla="*/ 92 h 97"/>
                <a:gd name="T12" fmla="*/ 78 w 156"/>
                <a:gd name="T13" fmla="*/ 97 h 97"/>
                <a:gd name="T14" fmla="*/ 53 w 156"/>
                <a:gd name="T15" fmla="*/ 92 h 97"/>
                <a:gd name="T16" fmla="*/ 32 w 156"/>
                <a:gd name="T17" fmla="*/ 78 h 97"/>
                <a:gd name="T18" fmla="*/ 15 w 156"/>
                <a:gd name="T19" fmla="*/ 56 h 97"/>
                <a:gd name="T20" fmla="*/ 4 w 156"/>
                <a:gd name="T21" fmla="*/ 31 h 97"/>
                <a:gd name="T22" fmla="*/ 0 w 156"/>
                <a:gd name="T2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6" h="97">
                  <a:moveTo>
                    <a:pt x="0" y="0"/>
                  </a:moveTo>
                  <a:lnTo>
                    <a:pt x="156" y="0"/>
                  </a:lnTo>
                  <a:lnTo>
                    <a:pt x="153" y="31"/>
                  </a:lnTo>
                  <a:lnTo>
                    <a:pt x="141" y="56"/>
                  </a:lnTo>
                  <a:lnTo>
                    <a:pt x="124" y="78"/>
                  </a:lnTo>
                  <a:lnTo>
                    <a:pt x="102" y="92"/>
                  </a:lnTo>
                  <a:lnTo>
                    <a:pt x="78" y="97"/>
                  </a:lnTo>
                  <a:lnTo>
                    <a:pt x="53" y="92"/>
                  </a:lnTo>
                  <a:lnTo>
                    <a:pt x="32" y="78"/>
                  </a:lnTo>
                  <a:lnTo>
                    <a:pt x="15" y="56"/>
                  </a:lnTo>
                  <a:lnTo>
                    <a:pt x="4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9" name="Freeform 2245"/>
            <p:cNvSpPr>
              <a:spLocks/>
            </p:cNvSpPr>
            <p:nvPr/>
          </p:nvSpPr>
          <p:spPr bwMode="auto">
            <a:xfrm>
              <a:off x="9590996" y="3541701"/>
              <a:ext cx="68263" cy="22225"/>
            </a:xfrm>
            <a:custGeom>
              <a:avLst/>
              <a:gdLst>
                <a:gd name="T0" fmla="*/ 13 w 84"/>
                <a:gd name="T1" fmla="*/ 0 h 29"/>
                <a:gd name="T2" fmla="*/ 71 w 84"/>
                <a:gd name="T3" fmla="*/ 0 h 29"/>
                <a:gd name="T4" fmla="*/ 76 w 84"/>
                <a:gd name="T5" fmla="*/ 0 h 29"/>
                <a:gd name="T6" fmla="*/ 81 w 84"/>
                <a:gd name="T7" fmla="*/ 4 h 29"/>
                <a:gd name="T8" fmla="*/ 84 w 84"/>
                <a:gd name="T9" fmla="*/ 9 h 29"/>
                <a:gd name="T10" fmla="*/ 84 w 84"/>
                <a:gd name="T11" fmla="*/ 14 h 29"/>
                <a:gd name="T12" fmla="*/ 84 w 84"/>
                <a:gd name="T13" fmla="*/ 21 h 29"/>
                <a:gd name="T14" fmla="*/ 81 w 84"/>
                <a:gd name="T15" fmla="*/ 24 h 29"/>
                <a:gd name="T16" fmla="*/ 76 w 84"/>
                <a:gd name="T17" fmla="*/ 27 h 29"/>
                <a:gd name="T18" fmla="*/ 71 w 84"/>
                <a:gd name="T19" fmla="*/ 29 h 29"/>
                <a:gd name="T20" fmla="*/ 13 w 84"/>
                <a:gd name="T21" fmla="*/ 29 h 29"/>
                <a:gd name="T22" fmla="*/ 8 w 84"/>
                <a:gd name="T23" fmla="*/ 27 h 29"/>
                <a:gd name="T24" fmla="*/ 3 w 84"/>
                <a:gd name="T25" fmla="*/ 24 h 29"/>
                <a:gd name="T26" fmla="*/ 1 w 84"/>
                <a:gd name="T27" fmla="*/ 21 h 29"/>
                <a:gd name="T28" fmla="*/ 0 w 84"/>
                <a:gd name="T29" fmla="*/ 14 h 29"/>
                <a:gd name="T30" fmla="*/ 1 w 84"/>
                <a:gd name="T31" fmla="*/ 9 h 29"/>
                <a:gd name="T32" fmla="*/ 3 w 84"/>
                <a:gd name="T33" fmla="*/ 4 h 29"/>
                <a:gd name="T34" fmla="*/ 8 w 84"/>
                <a:gd name="T35" fmla="*/ 0 h 29"/>
                <a:gd name="T36" fmla="*/ 13 w 84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29">
                  <a:moveTo>
                    <a:pt x="13" y="0"/>
                  </a:moveTo>
                  <a:lnTo>
                    <a:pt x="71" y="0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84" y="9"/>
                  </a:lnTo>
                  <a:lnTo>
                    <a:pt x="84" y="14"/>
                  </a:lnTo>
                  <a:lnTo>
                    <a:pt x="84" y="21"/>
                  </a:lnTo>
                  <a:lnTo>
                    <a:pt x="81" y="24"/>
                  </a:lnTo>
                  <a:lnTo>
                    <a:pt x="76" y="27"/>
                  </a:lnTo>
                  <a:lnTo>
                    <a:pt x="71" y="29"/>
                  </a:lnTo>
                  <a:lnTo>
                    <a:pt x="13" y="29"/>
                  </a:lnTo>
                  <a:lnTo>
                    <a:pt x="8" y="27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4"/>
                  </a:lnTo>
                  <a:lnTo>
                    <a:pt x="1" y="9"/>
                  </a:lnTo>
                  <a:lnTo>
                    <a:pt x="3" y="4"/>
                  </a:lnTo>
                  <a:lnTo>
                    <a:pt x="8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0" name="Freeform 2246"/>
            <p:cNvSpPr>
              <a:spLocks/>
            </p:cNvSpPr>
            <p:nvPr/>
          </p:nvSpPr>
          <p:spPr bwMode="auto">
            <a:xfrm>
              <a:off x="9854521" y="3541701"/>
              <a:ext cx="68263" cy="22225"/>
            </a:xfrm>
            <a:custGeom>
              <a:avLst/>
              <a:gdLst>
                <a:gd name="T0" fmla="*/ 15 w 86"/>
                <a:gd name="T1" fmla="*/ 0 h 29"/>
                <a:gd name="T2" fmla="*/ 71 w 86"/>
                <a:gd name="T3" fmla="*/ 0 h 29"/>
                <a:gd name="T4" fmla="*/ 78 w 86"/>
                <a:gd name="T5" fmla="*/ 0 h 29"/>
                <a:gd name="T6" fmla="*/ 81 w 86"/>
                <a:gd name="T7" fmla="*/ 4 h 29"/>
                <a:gd name="T8" fmla="*/ 85 w 86"/>
                <a:gd name="T9" fmla="*/ 9 h 29"/>
                <a:gd name="T10" fmla="*/ 86 w 86"/>
                <a:gd name="T11" fmla="*/ 14 h 29"/>
                <a:gd name="T12" fmla="*/ 85 w 86"/>
                <a:gd name="T13" fmla="*/ 21 h 29"/>
                <a:gd name="T14" fmla="*/ 81 w 86"/>
                <a:gd name="T15" fmla="*/ 24 h 29"/>
                <a:gd name="T16" fmla="*/ 78 w 86"/>
                <a:gd name="T17" fmla="*/ 27 h 29"/>
                <a:gd name="T18" fmla="*/ 71 w 86"/>
                <a:gd name="T19" fmla="*/ 29 h 29"/>
                <a:gd name="T20" fmla="*/ 15 w 86"/>
                <a:gd name="T21" fmla="*/ 29 h 29"/>
                <a:gd name="T22" fmla="*/ 10 w 86"/>
                <a:gd name="T23" fmla="*/ 27 h 29"/>
                <a:gd name="T24" fmla="*/ 5 w 86"/>
                <a:gd name="T25" fmla="*/ 24 h 29"/>
                <a:gd name="T26" fmla="*/ 2 w 86"/>
                <a:gd name="T27" fmla="*/ 21 h 29"/>
                <a:gd name="T28" fmla="*/ 0 w 86"/>
                <a:gd name="T29" fmla="*/ 14 h 29"/>
                <a:gd name="T30" fmla="*/ 2 w 86"/>
                <a:gd name="T31" fmla="*/ 9 h 29"/>
                <a:gd name="T32" fmla="*/ 5 w 86"/>
                <a:gd name="T33" fmla="*/ 4 h 29"/>
                <a:gd name="T34" fmla="*/ 10 w 86"/>
                <a:gd name="T35" fmla="*/ 0 h 29"/>
                <a:gd name="T36" fmla="*/ 15 w 86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29">
                  <a:moveTo>
                    <a:pt x="15" y="0"/>
                  </a:moveTo>
                  <a:lnTo>
                    <a:pt x="71" y="0"/>
                  </a:lnTo>
                  <a:lnTo>
                    <a:pt x="78" y="0"/>
                  </a:lnTo>
                  <a:lnTo>
                    <a:pt x="81" y="4"/>
                  </a:lnTo>
                  <a:lnTo>
                    <a:pt x="85" y="9"/>
                  </a:lnTo>
                  <a:lnTo>
                    <a:pt x="86" y="14"/>
                  </a:lnTo>
                  <a:lnTo>
                    <a:pt x="85" y="21"/>
                  </a:lnTo>
                  <a:lnTo>
                    <a:pt x="81" y="24"/>
                  </a:lnTo>
                  <a:lnTo>
                    <a:pt x="78" y="27"/>
                  </a:lnTo>
                  <a:lnTo>
                    <a:pt x="71" y="29"/>
                  </a:lnTo>
                  <a:lnTo>
                    <a:pt x="15" y="29"/>
                  </a:lnTo>
                  <a:lnTo>
                    <a:pt x="10" y="27"/>
                  </a:lnTo>
                  <a:lnTo>
                    <a:pt x="5" y="24"/>
                  </a:lnTo>
                  <a:lnTo>
                    <a:pt x="2" y="21"/>
                  </a:lnTo>
                  <a:lnTo>
                    <a:pt x="0" y="14"/>
                  </a:lnTo>
                  <a:lnTo>
                    <a:pt x="2" y="9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1" name="Rectangle 2247"/>
            <p:cNvSpPr>
              <a:spLocks noChangeArrowheads="1"/>
            </p:cNvSpPr>
            <p:nvPr/>
          </p:nvSpPr>
          <p:spPr bwMode="auto">
            <a:xfrm>
              <a:off x="9613221" y="3497251"/>
              <a:ext cx="23813" cy="50800"/>
            </a:xfrm>
            <a:prstGeom prst="rect">
              <a:avLst/>
            </a:prstGeom>
            <a:solidFill>
              <a:srgbClr val="E5B3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2" name="Rectangle 2248"/>
            <p:cNvSpPr>
              <a:spLocks noChangeArrowheads="1"/>
            </p:cNvSpPr>
            <p:nvPr/>
          </p:nvSpPr>
          <p:spPr bwMode="auto">
            <a:xfrm>
              <a:off x="9876746" y="3497251"/>
              <a:ext cx="22225" cy="50800"/>
            </a:xfrm>
            <a:prstGeom prst="rect">
              <a:avLst/>
            </a:prstGeom>
            <a:solidFill>
              <a:srgbClr val="E5B3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3" name="Freeform 2249"/>
            <p:cNvSpPr>
              <a:spLocks/>
            </p:cNvSpPr>
            <p:nvPr/>
          </p:nvSpPr>
          <p:spPr bwMode="auto">
            <a:xfrm>
              <a:off x="9603696" y="3422639"/>
              <a:ext cx="309563" cy="74613"/>
            </a:xfrm>
            <a:custGeom>
              <a:avLst/>
              <a:gdLst>
                <a:gd name="T0" fmla="*/ 193 w 390"/>
                <a:gd name="T1" fmla="*/ 0 h 93"/>
                <a:gd name="T2" fmla="*/ 237 w 390"/>
                <a:gd name="T3" fmla="*/ 2 h 93"/>
                <a:gd name="T4" fmla="*/ 274 w 390"/>
                <a:gd name="T5" fmla="*/ 7 h 93"/>
                <a:gd name="T6" fmla="*/ 305 w 390"/>
                <a:gd name="T7" fmla="*/ 17 h 93"/>
                <a:gd name="T8" fmla="*/ 329 w 390"/>
                <a:gd name="T9" fmla="*/ 27 h 93"/>
                <a:gd name="T10" fmla="*/ 349 w 390"/>
                <a:gd name="T11" fmla="*/ 41 h 93"/>
                <a:gd name="T12" fmla="*/ 364 w 390"/>
                <a:gd name="T13" fmla="*/ 53 h 93"/>
                <a:gd name="T14" fmla="*/ 374 w 390"/>
                <a:gd name="T15" fmla="*/ 65 h 93"/>
                <a:gd name="T16" fmla="*/ 381 w 390"/>
                <a:gd name="T17" fmla="*/ 77 h 93"/>
                <a:gd name="T18" fmla="*/ 386 w 390"/>
                <a:gd name="T19" fmla="*/ 85 h 93"/>
                <a:gd name="T20" fmla="*/ 388 w 390"/>
                <a:gd name="T21" fmla="*/ 92 h 93"/>
                <a:gd name="T22" fmla="*/ 390 w 390"/>
                <a:gd name="T23" fmla="*/ 93 h 93"/>
                <a:gd name="T24" fmla="*/ 327 w 390"/>
                <a:gd name="T25" fmla="*/ 93 h 93"/>
                <a:gd name="T26" fmla="*/ 327 w 390"/>
                <a:gd name="T27" fmla="*/ 92 h 93"/>
                <a:gd name="T28" fmla="*/ 325 w 390"/>
                <a:gd name="T29" fmla="*/ 87 h 93"/>
                <a:gd name="T30" fmla="*/ 320 w 390"/>
                <a:gd name="T31" fmla="*/ 80 h 93"/>
                <a:gd name="T32" fmla="*/ 312 w 390"/>
                <a:gd name="T33" fmla="*/ 70 h 93"/>
                <a:gd name="T34" fmla="*/ 302 w 390"/>
                <a:gd name="T35" fmla="*/ 61 h 93"/>
                <a:gd name="T36" fmla="*/ 285 w 390"/>
                <a:gd name="T37" fmla="*/ 53 h 93"/>
                <a:gd name="T38" fmla="*/ 261 w 390"/>
                <a:gd name="T39" fmla="*/ 44 h 93"/>
                <a:gd name="T40" fmla="*/ 232 w 390"/>
                <a:gd name="T41" fmla="*/ 39 h 93"/>
                <a:gd name="T42" fmla="*/ 195 w 390"/>
                <a:gd name="T43" fmla="*/ 38 h 93"/>
                <a:gd name="T44" fmla="*/ 158 w 390"/>
                <a:gd name="T45" fmla="*/ 39 h 93"/>
                <a:gd name="T46" fmla="*/ 129 w 390"/>
                <a:gd name="T47" fmla="*/ 44 h 93"/>
                <a:gd name="T48" fmla="*/ 105 w 390"/>
                <a:gd name="T49" fmla="*/ 53 h 93"/>
                <a:gd name="T50" fmla="*/ 88 w 390"/>
                <a:gd name="T51" fmla="*/ 61 h 93"/>
                <a:gd name="T52" fmla="*/ 76 w 390"/>
                <a:gd name="T53" fmla="*/ 70 h 93"/>
                <a:gd name="T54" fmla="*/ 69 w 390"/>
                <a:gd name="T55" fmla="*/ 80 h 93"/>
                <a:gd name="T56" fmla="*/ 64 w 390"/>
                <a:gd name="T57" fmla="*/ 87 h 93"/>
                <a:gd name="T58" fmla="*/ 63 w 390"/>
                <a:gd name="T59" fmla="*/ 92 h 93"/>
                <a:gd name="T60" fmla="*/ 63 w 390"/>
                <a:gd name="T61" fmla="*/ 93 h 93"/>
                <a:gd name="T62" fmla="*/ 0 w 390"/>
                <a:gd name="T63" fmla="*/ 93 h 93"/>
                <a:gd name="T64" fmla="*/ 0 w 390"/>
                <a:gd name="T65" fmla="*/ 92 h 93"/>
                <a:gd name="T66" fmla="*/ 3 w 390"/>
                <a:gd name="T67" fmla="*/ 85 h 93"/>
                <a:gd name="T68" fmla="*/ 7 w 390"/>
                <a:gd name="T69" fmla="*/ 77 h 93"/>
                <a:gd name="T70" fmla="*/ 14 w 390"/>
                <a:gd name="T71" fmla="*/ 65 h 93"/>
                <a:gd name="T72" fmla="*/ 24 w 390"/>
                <a:gd name="T73" fmla="*/ 53 h 93"/>
                <a:gd name="T74" fmla="*/ 39 w 390"/>
                <a:gd name="T75" fmla="*/ 41 h 93"/>
                <a:gd name="T76" fmla="*/ 58 w 390"/>
                <a:gd name="T77" fmla="*/ 27 h 93"/>
                <a:gd name="T78" fmla="*/ 81 w 390"/>
                <a:gd name="T79" fmla="*/ 17 h 93"/>
                <a:gd name="T80" fmla="*/ 112 w 390"/>
                <a:gd name="T81" fmla="*/ 7 h 93"/>
                <a:gd name="T82" fmla="*/ 149 w 390"/>
                <a:gd name="T83" fmla="*/ 2 h 93"/>
                <a:gd name="T84" fmla="*/ 193 w 390"/>
                <a:gd name="T8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0" h="93">
                  <a:moveTo>
                    <a:pt x="193" y="0"/>
                  </a:moveTo>
                  <a:lnTo>
                    <a:pt x="237" y="2"/>
                  </a:lnTo>
                  <a:lnTo>
                    <a:pt x="274" y="7"/>
                  </a:lnTo>
                  <a:lnTo>
                    <a:pt x="305" y="17"/>
                  </a:lnTo>
                  <a:lnTo>
                    <a:pt x="329" y="27"/>
                  </a:lnTo>
                  <a:lnTo>
                    <a:pt x="349" y="41"/>
                  </a:lnTo>
                  <a:lnTo>
                    <a:pt x="364" y="53"/>
                  </a:lnTo>
                  <a:lnTo>
                    <a:pt x="374" y="65"/>
                  </a:lnTo>
                  <a:lnTo>
                    <a:pt x="381" y="77"/>
                  </a:lnTo>
                  <a:lnTo>
                    <a:pt x="386" y="85"/>
                  </a:lnTo>
                  <a:lnTo>
                    <a:pt x="388" y="92"/>
                  </a:lnTo>
                  <a:lnTo>
                    <a:pt x="390" y="93"/>
                  </a:lnTo>
                  <a:lnTo>
                    <a:pt x="327" y="93"/>
                  </a:lnTo>
                  <a:lnTo>
                    <a:pt x="327" y="92"/>
                  </a:lnTo>
                  <a:lnTo>
                    <a:pt x="325" y="87"/>
                  </a:lnTo>
                  <a:lnTo>
                    <a:pt x="320" y="80"/>
                  </a:lnTo>
                  <a:lnTo>
                    <a:pt x="312" y="70"/>
                  </a:lnTo>
                  <a:lnTo>
                    <a:pt x="302" y="61"/>
                  </a:lnTo>
                  <a:lnTo>
                    <a:pt x="285" y="53"/>
                  </a:lnTo>
                  <a:lnTo>
                    <a:pt x="261" y="44"/>
                  </a:lnTo>
                  <a:lnTo>
                    <a:pt x="232" y="39"/>
                  </a:lnTo>
                  <a:lnTo>
                    <a:pt x="195" y="38"/>
                  </a:lnTo>
                  <a:lnTo>
                    <a:pt x="158" y="39"/>
                  </a:lnTo>
                  <a:lnTo>
                    <a:pt x="129" y="44"/>
                  </a:lnTo>
                  <a:lnTo>
                    <a:pt x="105" y="53"/>
                  </a:lnTo>
                  <a:lnTo>
                    <a:pt x="88" y="61"/>
                  </a:lnTo>
                  <a:lnTo>
                    <a:pt x="76" y="70"/>
                  </a:lnTo>
                  <a:lnTo>
                    <a:pt x="69" y="80"/>
                  </a:lnTo>
                  <a:lnTo>
                    <a:pt x="64" y="87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0" y="93"/>
                  </a:lnTo>
                  <a:lnTo>
                    <a:pt x="0" y="92"/>
                  </a:lnTo>
                  <a:lnTo>
                    <a:pt x="3" y="85"/>
                  </a:lnTo>
                  <a:lnTo>
                    <a:pt x="7" y="77"/>
                  </a:lnTo>
                  <a:lnTo>
                    <a:pt x="14" y="65"/>
                  </a:lnTo>
                  <a:lnTo>
                    <a:pt x="24" y="53"/>
                  </a:lnTo>
                  <a:lnTo>
                    <a:pt x="39" y="41"/>
                  </a:lnTo>
                  <a:lnTo>
                    <a:pt x="58" y="27"/>
                  </a:lnTo>
                  <a:lnTo>
                    <a:pt x="81" y="17"/>
                  </a:lnTo>
                  <a:lnTo>
                    <a:pt x="112" y="7"/>
                  </a:lnTo>
                  <a:lnTo>
                    <a:pt x="149" y="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A04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4" name="Rectangle 2250"/>
            <p:cNvSpPr>
              <a:spLocks noChangeArrowheads="1"/>
            </p:cNvSpPr>
            <p:nvPr/>
          </p:nvSpPr>
          <p:spPr bwMode="auto">
            <a:xfrm>
              <a:off x="9697358" y="3563926"/>
              <a:ext cx="11113" cy="417513"/>
            </a:xfrm>
            <a:prstGeom prst="rect">
              <a:avLst/>
            </a:prstGeom>
            <a:solidFill>
              <a:srgbClr val="D98F4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5" name="Rectangle 2251"/>
            <p:cNvSpPr>
              <a:spLocks noChangeArrowheads="1"/>
            </p:cNvSpPr>
            <p:nvPr/>
          </p:nvSpPr>
          <p:spPr bwMode="auto">
            <a:xfrm>
              <a:off x="9805308" y="3563926"/>
              <a:ext cx="11113" cy="417513"/>
            </a:xfrm>
            <a:prstGeom prst="rect">
              <a:avLst/>
            </a:prstGeom>
            <a:solidFill>
              <a:srgbClr val="D98F4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6" name="Freeform 2252"/>
            <p:cNvSpPr>
              <a:spLocks/>
            </p:cNvSpPr>
            <p:nvPr/>
          </p:nvSpPr>
          <p:spPr bwMode="auto">
            <a:xfrm>
              <a:off x="9468758" y="427026"/>
              <a:ext cx="106363" cy="220663"/>
            </a:xfrm>
            <a:custGeom>
              <a:avLst/>
              <a:gdLst>
                <a:gd name="T0" fmla="*/ 86 w 133"/>
                <a:gd name="T1" fmla="*/ 0 h 276"/>
                <a:gd name="T2" fmla="*/ 101 w 133"/>
                <a:gd name="T3" fmla="*/ 7 h 276"/>
                <a:gd name="T4" fmla="*/ 115 w 133"/>
                <a:gd name="T5" fmla="*/ 24 h 276"/>
                <a:gd name="T6" fmla="*/ 125 w 133"/>
                <a:gd name="T7" fmla="*/ 47 h 276"/>
                <a:gd name="T8" fmla="*/ 132 w 133"/>
                <a:gd name="T9" fmla="*/ 78 h 276"/>
                <a:gd name="T10" fmla="*/ 133 w 133"/>
                <a:gd name="T11" fmla="*/ 112 h 276"/>
                <a:gd name="T12" fmla="*/ 130 w 133"/>
                <a:gd name="T13" fmla="*/ 149 h 276"/>
                <a:gd name="T14" fmla="*/ 123 w 133"/>
                <a:gd name="T15" fmla="*/ 185 h 276"/>
                <a:gd name="T16" fmla="*/ 111 w 133"/>
                <a:gd name="T17" fmla="*/ 217 h 276"/>
                <a:gd name="T18" fmla="*/ 98 w 133"/>
                <a:gd name="T19" fmla="*/ 244 h 276"/>
                <a:gd name="T20" fmla="*/ 83 w 133"/>
                <a:gd name="T21" fmla="*/ 262 h 276"/>
                <a:gd name="T22" fmla="*/ 66 w 133"/>
                <a:gd name="T23" fmla="*/ 274 h 276"/>
                <a:gd name="T24" fmla="*/ 47 w 133"/>
                <a:gd name="T25" fmla="*/ 276 h 276"/>
                <a:gd name="T26" fmla="*/ 30 w 133"/>
                <a:gd name="T27" fmla="*/ 269 h 276"/>
                <a:gd name="T28" fmla="*/ 17 w 133"/>
                <a:gd name="T29" fmla="*/ 252 h 276"/>
                <a:gd name="T30" fmla="*/ 8 w 133"/>
                <a:gd name="T31" fmla="*/ 229 h 276"/>
                <a:gd name="T32" fmla="*/ 1 w 133"/>
                <a:gd name="T33" fmla="*/ 200 h 276"/>
                <a:gd name="T34" fmla="*/ 0 w 133"/>
                <a:gd name="T35" fmla="*/ 166 h 276"/>
                <a:gd name="T36" fmla="*/ 1 w 133"/>
                <a:gd name="T37" fmla="*/ 129 h 276"/>
                <a:gd name="T38" fmla="*/ 10 w 133"/>
                <a:gd name="T39" fmla="*/ 91 h 276"/>
                <a:gd name="T40" fmla="*/ 20 w 133"/>
                <a:gd name="T41" fmla="*/ 59 h 276"/>
                <a:gd name="T42" fmla="*/ 34 w 133"/>
                <a:gd name="T43" fmla="*/ 34 h 276"/>
                <a:gd name="T44" fmla="*/ 50 w 133"/>
                <a:gd name="T45" fmla="*/ 14 h 276"/>
                <a:gd name="T46" fmla="*/ 67 w 133"/>
                <a:gd name="T47" fmla="*/ 2 h 276"/>
                <a:gd name="T48" fmla="*/ 86 w 133"/>
                <a:gd name="T4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3" h="276">
                  <a:moveTo>
                    <a:pt x="86" y="0"/>
                  </a:moveTo>
                  <a:lnTo>
                    <a:pt x="101" y="7"/>
                  </a:lnTo>
                  <a:lnTo>
                    <a:pt x="115" y="24"/>
                  </a:lnTo>
                  <a:lnTo>
                    <a:pt x="125" y="47"/>
                  </a:lnTo>
                  <a:lnTo>
                    <a:pt x="132" y="78"/>
                  </a:lnTo>
                  <a:lnTo>
                    <a:pt x="133" y="112"/>
                  </a:lnTo>
                  <a:lnTo>
                    <a:pt x="130" y="149"/>
                  </a:lnTo>
                  <a:lnTo>
                    <a:pt x="123" y="185"/>
                  </a:lnTo>
                  <a:lnTo>
                    <a:pt x="111" y="217"/>
                  </a:lnTo>
                  <a:lnTo>
                    <a:pt x="98" y="244"/>
                  </a:lnTo>
                  <a:lnTo>
                    <a:pt x="83" y="262"/>
                  </a:lnTo>
                  <a:lnTo>
                    <a:pt x="66" y="274"/>
                  </a:lnTo>
                  <a:lnTo>
                    <a:pt x="47" y="276"/>
                  </a:lnTo>
                  <a:lnTo>
                    <a:pt x="30" y="269"/>
                  </a:lnTo>
                  <a:lnTo>
                    <a:pt x="17" y="252"/>
                  </a:lnTo>
                  <a:lnTo>
                    <a:pt x="8" y="229"/>
                  </a:lnTo>
                  <a:lnTo>
                    <a:pt x="1" y="200"/>
                  </a:lnTo>
                  <a:lnTo>
                    <a:pt x="0" y="166"/>
                  </a:lnTo>
                  <a:lnTo>
                    <a:pt x="1" y="129"/>
                  </a:lnTo>
                  <a:lnTo>
                    <a:pt x="10" y="91"/>
                  </a:lnTo>
                  <a:lnTo>
                    <a:pt x="20" y="59"/>
                  </a:lnTo>
                  <a:lnTo>
                    <a:pt x="34" y="34"/>
                  </a:lnTo>
                  <a:lnTo>
                    <a:pt x="50" y="14"/>
                  </a:lnTo>
                  <a:lnTo>
                    <a:pt x="67" y="2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7" name="Freeform 2253"/>
            <p:cNvSpPr>
              <a:spLocks/>
            </p:cNvSpPr>
            <p:nvPr/>
          </p:nvSpPr>
          <p:spPr bwMode="auto">
            <a:xfrm>
              <a:off x="8675008" y="420676"/>
              <a:ext cx="95250" cy="217488"/>
            </a:xfrm>
            <a:custGeom>
              <a:avLst/>
              <a:gdLst>
                <a:gd name="T0" fmla="*/ 47 w 120"/>
                <a:gd name="T1" fmla="*/ 0 h 272"/>
                <a:gd name="T2" fmla="*/ 64 w 120"/>
                <a:gd name="T3" fmla="*/ 3 h 272"/>
                <a:gd name="T4" fmla="*/ 79 w 120"/>
                <a:gd name="T5" fmla="*/ 15 h 272"/>
                <a:gd name="T6" fmla="*/ 93 w 120"/>
                <a:gd name="T7" fmla="*/ 35 h 272"/>
                <a:gd name="T8" fmla="*/ 105 w 120"/>
                <a:gd name="T9" fmla="*/ 62 h 272"/>
                <a:gd name="T10" fmla="*/ 113 w 120"/>
                <a:gd name="T11" fmla="*/ 94 h 272"/>
                <a:gd name="T12" fmla="*/ 120 w 120"/>
                <a:gd name="T13" fmla="*/ 130 h 272"/>
                <a:gd name="T14" fmla="*/ 120 w 120"/>
                <a:gd name="T15" fmla="*/ 167 h 272"/>
                <a:gd name="T16" fmla="*/ 117 w 120"/>
                <a:gd name="T17" fmla="*/ 199 h 272"/>
                <a:gd name="T18" fmla="*/ 112 w 120"/>
                <a:gd name="T19" fmla="*/ 228 h 272"/>
                <a:gd name="T20" fmla="*/ 101 w 120"/>
                <a:gd name="T21" fmla="*/ 250 h 272"/>
                <a:gd name="T22" fmla="*/ 88 w 120"/>
                <a:gd name="T23" fmla="*/ 265 h 272"/>
                <a:gd name="T24" fmla="*/ 73 w 120"/>
                <a:gd name="T25" fmla="*/ 272 h 272"/>
                <a:gd name="T26" fmla="*/ 57 w 120"/>
                <a:gd name="T27" fmla="*/ 269 h 272"/>
                <a:gd name="T28" fmla="*/ 42 w 120"/>
                <a:gd name="T29" fmla="*/ 257 h 272"/>
                <a:gd name="T30" fmla="*/ 27 w 120"/>
                <a:gd name="T31" fmla="*/ 237 h 272"/>
                <a:gd name="T32" fmla="*/ 15 w 120"/>
                <a:gd name="T33" fmla="*/ 210 h 272"/>
                <a:gd name="T34" fmla="*/ 7 w 120"/>
                <a:gd name="T35" fmla="*/ 179 h 272"/>
                <a:gd name="T36" fmla="*/ 1 w 120"/>
                <a:gd name="T37" fmla="*/ 142 h 272"/>
                <a:gd name="T38" fmla="*/ 0 w 120"/>
                <a:gd name="T39" fmla="*/ 106 h 272"/>
                <a:gd name="T40" fmla="*/ 3 w 120"/>
                <a:gd name="T41" fmla="*/ 72 h 272"/>
                <a:gd name="T42" fmla="*/ 10 w 120"/>
                <a:gd name="T43" fmla="*/ 44 h 272"/>
                <a:gd name="T44" fmla="*/ 20 w 120"/>
                <a:gd name="T45" fmla="*/ 22 h 272"/>
                <a:gd name="T46" fmla="*/ 32 w 120"/>
                <a:gd name="T47" fmla="*/ 6 h 272"/>
                <a:gd name="T48" fmla="*/ 47 w 120"/>
                <a:gd name="T4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0" h="272">
                  <a:moveTo>
                    <a:pt x="47" y="0"/>
                  </a:moveTo>
                  <a:lnTo>
                    <a:pt x="64" y="3"/>
                  </a:lnTo>
                  <a:lnTo>
                    <a:pt x="79" y="15"/>
                  </a:lnTo>
                  <a:lnTo>
                    <a:pt x="93" y="35"/>
                  </a:lnTo>
                  <a:lnTo>
                    <a:pt x="105" y="62"/>
                  </a:lnTo>
                  <a:lnTo>
                    <a:pt x="113" y="94"/>
                  </a:lnTo>
                  <a:lnTo>
                    <a:pt x="120" y="130"/>
                  </a:lnTo>
                  <a:lnTo>
                    <a:pt x="120" y="167"/>
                  </a:lnTo>
                  <a:lnTo>
                    <a:pt x="117" y="199"/>
                  </a:lnTo>
                  <a:lnTo>
                    <a:pt x="112" y="228"/>
                  </a:lnTo>
                  <a:lnTo>
                    <a:pt x="101" y="250"/>
                  </a:lnTo>
                  <a:lnTo>
                    <a:pt x="88" y="265"/>
                  </a:lnTo>
                  <a:lnTo>
                    <a:pt x="73" y="272"/>
                  </a:lnTo>
                  <a:lnTo>
                    <a:pt x="57" y="269"/>
                  </a:lnTo>
                  <a:lnTo>
                    <a:pt x="42" y="257"/>
                  </a:lnTo>
                  <a:lnTo>
                    <a:pt x="27" y="237"/>
                  </a:lnTo>
                  <a:lnTo>
                    <a:pt x="15" y="210"/>
                  </a:lnTo>
                  <a:lnTo>
                    <a:pt x="7" y="179"/>
                  </a:lnTo>
                  <a:lnTo>
                    <a:pt x="1" y="142"/>
                  </a:lnTo>
                  <a:lnTo>
                    <a:pt x="0" y="106"/>
                  </a:lnTo>
                  <a:lnTo>
                    <a:pt x="3" y="72"/>
                  </a:lnTo>
                  <a:lnTo>
                    <a:pt x="10" y="44"/>
                  </a:lnTo>
                  <a:lnTo>
                    <a:pt x="20" y="22"/>
                  </a:lnTo>
                  <a:lnTo>
                    <a:pt x="32" y="6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8" name="Freeform 2254"/>
            <p:cNvSpPr>
              <a:spLocks/>
            </p:cNvSpPr>
            <p:nvPr/>
          </p:nvSpPr>
          <p:spPr bwMode="auto">
            <a:xfrm>
              <a:off x="8738508" y="74601"/>
              <a:ext cx="388938" cy="949325"/>
            </a:xfrm>
            <a:custGeom>
              <a:avLst/>
              <a:gdLst>
                <a:gd name="T0" fmla="*/ 492 w 492"/>
                <a:gd name="T1" fmla="*/ 0 h 1195"/>
                <a:gd name="T2" fmla="*/ 492 w 492"/>
                <a:gd name="T3" fmla="*/ 1195 h 1195"/>
                <a:gd name="T4" fmla="*/ 492 w 492"/>
                <a:gd name="T5" fmla="*/ 1195 h 1195"/>
                <a:gd name="T6" fmla="*/ 480 w 492"/>
                <a:gd name="T7" fmla="*/ 1194 h 1195"/>
                <a:gd name="T8" fmla="*/ 419 w 492"/>
                <a:gd name="T9" fmla="*/ 1187 h 1195"/>
                <a:gd name="T10" fmla="*/ 361 w 492"/>
                <a:gd name="T11" fmla="*/ 1172 h 1195"/>
                <a:gd name="T12" fmla="*/ 307 w 492"/>
                <a:gd name="T13" fmla="*/ 1146 h 1195"/>
                <a:gd name="T14" fmla="*/ 254 w 492"/>
                <a:gd name="T15" fmla="*/ 1112 h 1195"/>
                <a:gd name="T16" fmla="*/ 205 w 492"/>
                <a:gd name="T17" fmla="*/ 1070 h 1195"/>
                <a:gd name="T18" fmla="*/ 161 w 492"/>
                <a:gd name="T19" fmla="*/ 1022 h 1195"/>
                <a:gd name="T20" fmla="*/ 122 w 492"/>
                <a:gd name="T21" fmla="*/ 967 h 1195"/>
                <a:gd name="T22" fmla="*/ 87 w 492"/>
                <a:gd name="T23" fmla="*/ 906 h 1195"/>
                <a:gd name="T24" fmla="*/ 56 w 492"/>
                <a:gd name="T25" fmla="*/ 840 h 1195"/>
                <a:gd name="T26" fmla="*/ 33 w 492"/>
                <a:gd name="T27" fmla="*/ 768 h 1195"/>
                <a:gd name="T28" fmla="*/ 16 w 492"/>
                <a:gd name="T29" fmla="*/ 692 h 1195"/>
                <a:gd name="T30" fmla="*/ 5 w 492"/>
                <a:gd name="T31" fmla="*/ 614 h 1195"/>
                <a:gd name="T32" fmla="*/ 0 w 492"/>
                <a:gd name="T33" fmla="*/ 531 h 1195"/>
                <a:gd name="T34" fmla="*/ 2 w 492"/>
                <a:gd name="T35" fmla="*/ 470 h 1195"/>
                <a:gd name="T36" fmla="*/ 4 w 492"/>
                <a:gd name="T37" fmla="*/ 413 h 1195"/>
                <a:gd name="T38" fmla="*/ 7 w 492"/>
                <a:gd name="T39" fmla="*/ 359 h 1195"/>
                <a:gd name="T40" fmla="*/ 14 w 492"/>
                <a:gd name="T41" fmla="*/ 308 h 1195"/>
                <a:gd name="T42" fmla="*/ 22 w 492"/>
                <a:gd name="T43" fmla="*/ 262 h 1195"/>
                <a:gd name="T44" fmla="*/ 34 w 492"/>
                <a:gd name="T45" fmla="*/ 218 h 1195"/>
                <a:gd name="T46" fmla="*/ 49 w 492"/>
                <a:gd name="T47" fmla="*/ 179 h 1195"/>
                <a:gd name="T48" fmla="*/ 68 w 492"/>
                <a:gd name="T49" fmla="*/ 144 h 1195"/>
                <a:gd name="T50" fmla="*/ 92 w 492"/>
                <a:gd name="T51" fmla="*/ 111 h 1195"/>
                <a:gd name="T52" fmla="*/ 119 w 492"/>
                <a:gd name="T53" fmla="*/ 84 h 1195"/>
                <a:gd name="T54" fmla="*/ 153 w 492"/>
                <a:gd name="T55" fmla="*/ 61 h 1195"/>
                <a:gd name="T56" fmla="*/ 190 w 492"/>
                <a:gd name="T57" fmla="*/ 40 h 1195"/>
                <a:gd name="T58" fmla="*/ 236 w 492"/>
                <a:gd name="T59" fmla="*/ 23 h 1195"/>
                <a:gd name="T60" fmla="*/ 285 w 492"/>
                <a:gd name="T61" fmla="*/ 11 h 1195"/>
                <a:gd name="T62" fmla="*/ 342 w 492"/>
                <a:gd name="T63" fmla="*/ 3 h 1195"/>
                <a:gd name="T64" fmla="*/ 407 w 492"/>
                <a:gd name="T65" fmla="*/ 0 h 1195"/>
                <a:gd name="T66" fmla="*/ 480 w 492"/>
                <a:gd name="T67" fmla="*/ 0 h 1195"/>
                <a:gd name="T68" fmla="*/ 492 w 492"/>
                <a:gd name="T69" fmla="*/ 0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2" h="1195">
                  <a:moveTo>
                    <a:pt x="492" y="0"/>
                  </a:moveTo>
                  <a:lnTo>
                    <a:pt x="492" y="1195"/>
                  </a:lnTo>
                  <a:lnTo>
                    <a:pt x="492" y="1195"/>
                  </a:lnTo>
                  <a:lnTo>
                    <a:pt x="480" y="1194"/>
                  </a:lnTo>
                  <a:lnTo>
                    <a:pt x="419" y="1187"/>
                  </a:lnTo>
                  <a:lnTo>
                    <a:pt x="361" y="1172"/>
                  </a:lnTo>
                  <a:lnTo>
                    <a:pt x="307" y="1146"/>
                  </a:lnTo>
                  <a:lnTo>
                    <a:pt x="254" y="1112"/>
                  </a:lnTo>
                  <a:lnTo>
                    <a:pt x="205" y="1070"/>
                  </a:lnTo>
                  <a:lnTo>
                    <a:pt x="161" y="1022"/>
                  </a:lnTo>
                  <a:lnTo>
                    <a:pt x="122" y="967"/>
                  </a:lnTo>
                  <a:lnTo>
                    <a:pt x="87" y="906"/>
                  </a:lnTo>
                  <a:lnTo>
                    <a:pt x="56" y="840"/>
                  </a:lnTo>
                  <a:lnTo>
                    <a:pt x="33" y="768"/>
                  </a:lnTo>
                  <a:lnTo>
                    <a:pt x="16" y="692"/>
                  </a:lnTo>
                  <a:lnTo>
                    <a:pt x="5" y="614"/>
                  </a:lnTo>
                  <a:lnTo>
                    <a:pt x="0" y="531"/>
                  </a:lnTo>
                  <a:lnTo>
                    <a:pt x="2" y="470"/>
                  </a:lnTo>
                  <a:lnTo>
                    <a:pt x="4" y="413"/>
                  </a:lnTo>
                  <a:lnTo>
                    <a:pt x="7" y="359"/>
                  </a:lnTo>
                  <a:lnTo>
                    <a:pt x="14" y="308"/>
                  </a:lnTo>
                  <a:lnTo>
                    <a:pt x="22" y="262"/>
                  </a:lnTo>
                  <a:lnTo>
                    <a:pt x="34" y="218"/>
                  </a:lnTo>
                  <a:lnTo>
                    <a:pt x="49" y="179"/>
                  </a:lnTo>
                  <a:lnTo>
                    <a:pt x="68" y="144"/>
                  </a:lnTo>
                  <a:lnTo>
                    <a:pt x="92" y="111"/>
                  </a:lnTo>
                  <a:lnTo>
                    <a:pt x="119" y="84"/>
                  </a:lnTo>
                  <a:lnTo>
                    <a:pt x="153" y="61"/>
                  </a:lnTo>
                  <a:lnTo>
                    <a:pt x="190" y="40"/>
                  </a:lnTo>
                  <a:lnTo>
                    <a:pt x="236" y="23"/>
                  </a:lnTo>
                  <a:lnTo>
                    <a:pt x="285" y="11"/>
                  </a:lnTo>
                  <a:lnTo>
                    <a:pt x="342" y="3"/>
                  </a:lnTo>
                  <a:lnTo>
                    <a:pt x="407" y="0"/>
                  </a:lnTo>
                  <a:lnTo>
                    <a:pt x="480" y="0"/>
                  </a:lnTo>
                  <a:lnTo>
                    <a:pt x="492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9" name="Freeform 2255"/>
            <p:cNvSpPr>
              <a:spLocks/>
            </p:cNvSpPr>
            <p:nvPr/>
          </p:nvSpPr>
          <p:spPr bwMode="auto">
            <a:xfrm>
              <a:off x="9127446" y="74601"/>
              <a:ext cx="388938" cy="949325"/>
            </a:xfrm>
            <a:custGeom>
              <a:avLst/>
              <a:gdLst>
                <a:gd name="T0" fmla="*/ 10 w 489"/>
                <a:gd name="T1" fmla="*/ 0 h 1195"/>
                <a:gd name="T2" fmla="*/ 67 w 489"/>
                <a:gd name="T3" fmla="*/ 1 h 1195"/>
                <a:gd name="T4" fmla="*/ 121 w 489"/>
                <a:gd name="T5" fmla="*/ 10 h 1195"/>
                <a:gd name="T6" fmla="*/ 174 w 489"/>
                <a:gd name="T7" fmla="*/ 22 h 1195"/>
                <a:gd name="T8" fmla="*/ 223 w 489"/>
                <a:gd name="T9" fmla="*/ 40 h 1195"/>
                <a:gd name="T10" fmla="*/ 269 w 489"/>
                <a:gd name="T11" fmla="*/ 64 h 1195"/>
                <a:gd name="T12" fmla="*/ 311 w 489"/>
                <a:gd name="T13" fmla="*/ 93 h 1195"/>
                <a:gd name="T14" fmla="*/ 350 w 489"/>
                <a:gd name="T15" fmla="*/ 128 h 1195"/>
                <a:gd name="T16" fmla="*/ 386 w 489"/>
                <a:gd name="T17" fmla="*/ 169 h 1195"/>
                <a:gd name="T18" fmla="*/ 416 w 489"/>
                <a:gd name="T19" fmla="*/ 215 h 1195"/>
                <a:gd name="T20" fmla="*/ 442 w 489"/>
                <a:gd name="T21" fmla="*/ 265 h 1195"/>
                <a:gd name="T22" fmla="*/ 462 w 489"/>
                <a:gd name="T23" fmla="*/ 323 h 1195"/>
                <a:gd name="T24" fmla="*/ 477 w 489"/>
                <a:gd name="T25" fmla="*/ 387 h 1195"/>
                <a:gd name="T26" fmla="*/ 486 w 489"/>
                <a:gd name="T27" fmla="*/ 457 h 1195"/>
                <a:gd name="T28" fmla="*/ 489 w 489"/>
                <a:gd name="T29" fmla="*/ 531 h 1195"/>
                <a:gd name="T30" fmla="*/ 486 w 489"/>
                <a:gd name="T31" fmla="*/ 614 h 1195"/>
                <a:gd name="T32" fmla="*/ 474 w 489"/>
                <a:gd name="T33" fmla="*/ 696 h 1195"/>
                <a:gd name="T34" fmla="*/ 455 w 489"/>
                <a:gd name="T35" fmla="*/ 772 h 1195"/>
                <a:gd name="T36" fmla="*/ 431 w 489"/>
                <a:gd name="T37" fmla="*/ 843 h 1195"/>
                <a:gd name="T38" fmla="*/ 401 w 489"/>
                <a:gd name="T39" fmla="*/ 911 h 1195"/>
                <a:gd name="T40" fmla="*/ 365 w 489"/>
                <a:gd name="T41" fmla="*/ 972 h 1195"/>
                <a:gd name="T42" fmla="*/ 325 w 489"/>
                <a:gd name="T43" fmla="*/ 1028 h 1195"/>
                <a:gd name="T44" fmla="*/ 279 w 489"/>
                <a:gd name="T45" fmla="*/ 1077 h 1195"/>
                <a:gd name="T46" fmla="*/ 230 w 489"/>
                <a:gd name="T47" fmla="*/ 1117 h 1195"/>
                <a:gd name="T48" fmla="*/ 176 w 489"/>
                <a:gd name="T49" fmla="*/ 1150 h 1195"/>
                <a:gd name="T50" fmla="*/ 120 w 489"/>
                <a:gd name="T51" fmla="*/ 1175 h 1195"/>
                <a:gd name="T52" fmla="*/ 60 w 489"/>
                <a:gd name="T53" fmla="*/ 1190 h 1195"/>
                <a:gd name="T54" fmla="*/ 0 w 489"/>
                <a:gd name="T55" fmla="*/ 1195 h 1195"/>
                <a:gd name="T56" fmla="*/ 0 w 489"/>
                <a:gd name="T57" fmla="*/ 0 h 1195"/>
                <a:gd name="T58" fmla="*/ 10 w 489"/>
                <a:gd name="T59" fmla="*/ 0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9" h="1195">
                  <a:moveTo>
                    <a:pt x="10" y="0"/>
                  </a:moveTo>
                  <a:lnTo>
                    <a:pt x="67" y="1"/>
                  </a:lnTo>
                  <a:lnTo>
                    <a:pt x="121" y="10"/>
                  </a:lnTo>
                  <a:lnTo>
                    <a:pt x="174" y="22"/>
                  </a:lnTo>
                  <a:lnTo>
                    <a:pt x="223" y="40"/>
                  </a:lnTo>
                  <a:lnTo>
                    <a:pt x="269" y="64"/>
                  </a:lnTo>
                  <a:lnTo>
                    <a:pt x="311" y="93"/>
                  </a:lnTo>
                  <a:lnTo>
                    <a:pt x="350" y="128"/>
                  </a:lnTo>
                  <a:lnTo>
                    <a:pt x="386" y="169"/>
                  </a:lnTo>
                  <a:lnTo>
                    <a:pt x="416" y="215"/>
                  </a:lnTo>
                  <a:lnTo>
                    <a:pt x="442" y="265"/>
                  </a:lnTo>
                  <a:lnTo>
                    <a:pt x="462" y="323"/>
                  </a:lnTo>
                  <a:lnTo>
                    <a:pt x="477" y="387"/>
                  </a:lnTo>
                  <a:lnTo>
                    <a:pt x="486" y="457"/>
                  </a:lnTo>
                  <a:lnTo>
                    <a:pt x="489" y="531"/>
                  </a:lnTo>
                  <a:lnTo>
                    <a:pt x="486" y="614"/>
                  </a:lnTo>
                  <a:lnTo>
                    <a:pt x="474" y="696"/>
                  </a:lnTo>
                  <a:lnTo>
                    <a:pt x="455" y="772"/>
                  </a:lnTo>
                  <a:lnTo>
                    <a:pt x="431" y="843"/>
                  </a:lnTo>
                  <a:lnTo>
                    <a:pt x="401" y="911"/>
                  </a:lnTo>
                  <a:lnTo>
                    <a:pt x="365" y="972"/>
                  </a:lnTo>
                  <a:lnTo>
                    <a:pt x="325" y="1028"/>
                  </a:lnTo>
                  <a:lnTo>
                    <a:pt x="279" y="1077"/>
                  </a:lnTo>
                  <a:lnTo>
                    <a:pt x="230" y="1117"/>
                  </a:lnTo>
                  <a:lnTo>
                    <a:pt x="176" y="1150"/>
                  </a:lnTo>
                  <a:lnTo>
                    <a:pt x="120" y="1175"/>
                  </a:lnTo>
                  <a:lnTo>
                    <a:pt x="60" y="1190"/>
                  </a:lnTo>
                  <a:lnTo>
                    <a:pt x="0" y="1195"/>
                  </a:lnTo>
                  <a:lnTo>
                    <a:pt x="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0" name="Freeform 2256"/>
            <p:cNvSpPr>
              <a:spLocks/>
            </p:cNvSpPr>
            <p:nvPr/>
          </p:nvSpPr>
          <p:spPr bwMode="auto">
            <a:xfrm>
              <a:off x="8716283" y="-98437"/>
              <a:ext cx="812800" cy="657225"/>
            </a:xfrm>
            <a:custGeom>
              <a:avLst/>
              <a:gdLst>
                <a:gd name="T0" fmla="*/ 525 w 1025"/>
                <a:gd name="T1" fmla="*/ 0 h 828"/>
                <a:gd name="T2" fmla="*/ 662 w 1025"/>
                <a:gd name="T3" fmla="*/ 19 h 828"/>
                <a:gd name="T4" fmla="*/ 771 w 1025"/>
                <a:gd name="T5" fmla="*/ 59 h 828"/>
                <a:gd name="T6" fmla="*/ 856 w 1025"/>
                <a:gd name="T7" fmla="*/ 115 h 828"/>
                <a:gd name="T8" fmla="*/ 918 w 1025"/>
                <a:gd name="T9" fmla="*/ 183 h 828"/>
                <a:gd name="T10" fmla="*/ 964 w 1025"/>
                <a:gd name="T11" fmla="*/ 254 h 828"/>
                <a:gd name="T12" fmla="*/ 994 w 1025"/>
                <a:gd name="T13" fmla="*/ 322 h 828"/>
                <a:gd name="T14" fmla="*/ 1013 w 1025"/>
                <a:gd name="T15" fmla="*/ 383 h 828"/>
                <a:gd name="T16" fmla="*/ 1022 w 1025"/>
                <a:gd name="T17" fmla="*/ 430 h 828"/>
                <a:gd name="T18" fmla="*/ 1025 w 1025"/>
                <a:gd name="T19" fmla="*/ 456 h 828"/>
                <a:gd name="T20" fmla="*/ 1025 w 1025"/>
                <a:gd name="T21" fmla="*/ 466 h 828"/>
                <a:gd name="T22" fmla="*/ 1023 w 1025"/>
                <a:gd name="T23" fmla="*/ 510 h 828"/>
                <a:gd name="T24" fmla="*/ 1020 w 1025"/>
                <a:gd name="T25" fmla="*/ 581 h 828"/>
                <a:gd name="T26" fmla="*/ 1016 w 1025"/>
                <a:gd name="T27" fmla="*/ 666 h 828"/>
                <a:gd name="T28" fmla="*/ 1011 w 1025"/>
                <a:gd name="T29" fmla="*/ 747 h 828"/>
                <a:gd name="T30" fmla="*/ 1005 w 1025"/>
                <a:gd name="T31" fmla="*/ 810 h 828"/>
                <a:gd name="T32" fmla="*/ 981 w 1025"/>
                <a:gd name="T33" fmla="*/ 825 h 828"/>
                <a:gd name="T34" fmla="*/ 935 w 1025"/>
                <a:gd name="T35" fmla="*/ 449 h 828"/>
                <a:gd name="T36" fmla="*/ 925 w 1025"/>
                <a:gd name="T37" fmla="*/ 462 h 828"/>
                <a:gd name="T38" fmla="*/ 901 w 1025"/>
                <a:gd name="T39" fmla="*/ 481 h 828"/>
                <a:gd name="T40" fmla="*/ 862 w 1025"/>
                <a:gd name="T41" fmla="*/ 498 h 828"/>
                <a:gd name="T42" fmla="*/ 808 w 1025"/>
                <a:gd name="T43" fmla="*/ 503 h 828"/>
                <a:gd name="T44" fmla="*/ 735 w 1025"/>
                <a:gd name="T45" fmla="*/ 486 h 828"/>
                <a:gd name="T46" fmla="*/ 678 w 1025"/>
                <a:gd name="T47" fmla="*/ 457 h 828"/>
                <a:gd name="T48" fmla="*/ 615 w 1025"/>
                <a:gd name="T49" fmla="*/ 417 h 828"/>
                <a:gd name="T50" fmla="*/ 549 w 1025"/>
                <a:gd name="T51" fmla="*/ 373 h 828"/>
                <a:gd name="T52" fmla="*/ 478 w 1025"/>
                <a:gd name="T53" fmla="*/ 332 h 828"/>
                <a:gd name="T54" fmla="*/ 400 w 1025"/>
                <a:gd name="T55" fmla="*/ 302 h 828"/>
                <a:gd name="T56" fmla="*/ 315 w 1025"/>
                <a:gd name="T57" fmla="*/ 290 h 828"/>
                <a:gd name="T58" fmla="*/ 224 w 1025"/>
                <a:gd name="T59" fmla="*/ 303 h 828"/>
                <a:gd name="T60" fmla="*/ 122 w 1025"/>
                <a:gd name="T61" fmla="*/ 349 h 828"/>
                <a:gd name="T62" fmla="*/ 114 w 1025"/>
                <a:gd name="T63" fmla="*/ 361 h 828"/>
                <a:gd name="T64" fmla="*/ 97 w 1025"/>
                <a:gd name="T65" fmla="*/ 390 h 828"/>
                <a:gd name="T66" fmla="*/ 82 w 1025"/>
                <a:gd name="T67" fmla="*/ 420 h 828"/>
                <a:gd name="T68" fmla="*/ 76 w 1025"/>
                <a:gd name="T69" fmla="*/ 446 h 828"/>
                <a:gd name="T70" fmla="*/ 70 w 1025"/>
                <a:gd name="T71" fmla="*/ 495 h 828"/>
                <a:gd name="T72" fmla="*/ 61 w 1025"/>
                <a:gd name="T73" fmla="*/ 566 h 828"/>
                <a:gd name="T74" fmla="*/ 53 w 1025"/>
                <a:gd name="T75" fmla="*/ 649 h 828"/>
                <a:gd name="T76" fmla="*/ 46 w 1025"/>
                <a:gd name="T77" fmla="*/ 730 h 828"/>
                <a:gd name="T78" fmla="*/ 46 w 1025"/>
                <a:gd name="T79" fmla="*/ 794 h 828"/>
                <a:gd name="T80" fmla="*/ 26 w 1025"/>
                <a:gd name="T81" fmla="*/ 793 h 828"/>
                <a:gd name="T82" fmla="*/ 24 w 1025"/>
                <a:gd name="T83" fmla="*/ 771 h 828"/>
                <a:gd name="T84" fmla="*/ 17 w 1025"/>
                <a:gd name="T85" fmla="*/ 716 h 828"/>
                <a:gd name="T86" fmla="*/ 10 w 1025"/>
                <a:gd name="T87" fmla="*/ 639 h 828"/>
                <a:gd name="T88" fmla="*/ 4 w 1025"/>
                <a:gd name="T89" fmla="*/ 554 h 828"/>
                <a:gd name="T90" fmla="*/ 0 w 1025"/>
                <a:gd name="T91" fmla="*/ 473 h 828"/>
                <a:gd name="T92" fmla="*/ 4 w 1025"/>
                <a:gd name="T93" fmla="*/ 407 h 828"/>
                <a:gd name="T94" fmla="*/ 14 w 1025"/>
                <a:gd name="T95" fmla="*/ 371 h 828"/>
                <a:gd name="T96" fmla="*/ 46 w 1025"/>
                <a:gd name="T97" fmla="*/ 346 h 828"/>
                <a:gd name="T98" fmla="*/ 65 w 1025"/>
                <a:gd name="T99" fmla="*/ 340 h 828"/>
                <a:gd name="T100" fmla="*/ 71 w 1025"/>
                <a:gd name="T101" fmla="*/ 342 h 828"/>
                <a:gd name="T102" fmla="*/ 65 w 1025"/>
                <a:gd name="T103" fmla="*/ 330 h 828"/>
                <a:gd name="T104" fmla="*/ 51 w 1025"/>
                <a:gd name="T105" fmla="*/ 300 h 828"/>
                <a:gd name="T106" fmla="*/ 39 w 1025"/>
                <a:gd name="T107" fmla="*/ 264 h 828"/>
                <a:gd name="T108" fmla="*/ 41 w 1025"/>
                <a:gd name="T109" fmla="*/ 232 h 828"/>
                <a:gd name="T110" fmla="*/ 53 w 1025"/>
                <a:gd name="T111" fmla="*/ 210 h 828"/>
                <a:gd name="T112" fmla="*/ 76 w 1025"/>
                <a:gd name="T113" fmla="*/ 175 h 828"/>
                <a:gd name="T114" fmla="*/ 117 w 1025"/>
                <a:gd name="T115" fmla="*/ 132 h 828"/>
                <a:gd name="T116" fmla="*/ 173 w 1025"/>
                <a:gd name="T117" fmla="*/ 86 h 828"/>
                <a:gd name="T118" fmla="*/ 248 w 1025"/>
                <a:gd name="T119" fmla="*/ 46 h 828"/>
                <a:gd name="T120" fmla="*/ 341 w 1025"/>
                <a:gd name="T121" fmla="*/ 14 h 828"/>
                <a:gd name="T122" fmla="*/ 458 w 1025"/>
                <a:gd name="T123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25" h="828">
                  <a:moveTo>
                    <a:pt x="458" y="0"/>
                  </a:moveTo>
                  <a:lnTo>
                    <a:pt x="525" y="0"/>
                  </a:lnTo>
                  <a:lnTo>
                    <a:pt x="598" y="7"/>
                  </a:lnTo>
                  <a:lnTo>
                    <a:pt x="662" y="19"/>
                  </a:lnTo>
                  <a:lnTo>
                    <a:pt x="720" y="37"/>
                  </a:lnTo>
                  <a:lnTo>
                    <a:pt x="771" y="59"/>
                  </a:lnTo>
                  <a:lnTo>
                    <a:pt x="815" y="86"/>
                  </a:lnTo>
                  <a:lnTo>
                    <a:pt x="856" y="115"/>
                  </a:lnTo>
                  <a:lnTo>
                    <a:pt x="889" y="149"/>
                  </a:lnTo>
                  <a:lnTo>
                    <a:pt x="918" y="183"/>
                  </a:lnTo>
                  <a:lnTo>
                    <a:pt x="944" y="219"/>
                  </a:lnTo>
                  <a:lnTo>
                    <a:pt x="964" y="254"/>
                  </a:lnTo>
                  <a:lnTo>
                    <a:pt x="981" y="288"/>
                  </a:lnTo>
                  <a:lnTo>
                    <a:pt x="994" y="322"/>
                  </a:lnTo>
                  <a:lnTo>
                    <a:pt x="1005" y="354"/>
                  </a:lnTo>
                  <a:lnTo>
                    <a:pt x="1013" y="383"/>
                  </a:lnTo>
                  <a:lnTo>
                    <a:pt x="1018" y="408"/>
                  </a:lnTo>
                  <a:lnTo>
                    <a:pt x="1022" y="430"/>
                  </a:lnTo>
                  <a:lnTo>
                    <a:pt x="1025" y="446"/>
                  </a:lnTo>
                  <a:lnTo>
                    <a:pt x="1025" y="456"/>
                  </a:lnTo>
                  <a:lnTo>
                    <a:pt x="1025" y="459"/>
                  </a:lnTo>
                  <a:lnTo>
                    <a:pt x="1025" y="466"/>
                  </a:lnTo>
                  <a:lnTo>
                    <a:pt x="1025" y="483"/>
                  </a:lnTo>
                  <a:lnTo>
                    <a:pt x="1023" y="510"/>
                  </a:lnTo>
                  <a:lnTo>
                    <a:pt x="1022" y="542"/>
                  </a:lnTo>
                  <a:lnTo>
                    <a:pt x="1020" y="581"/>
                  </a:lnTo>
                  <a:lnTo>
                    <a:pt x="1018" y="622"/>
                  </a:lnTo>
                  <a:lnTo>
                    <a:pt x="1016" y="666"/>
                  </a:lnTo>
                  <a:lnTo>
                    <a:pt x="1013" y="706"/>
                  </a:lnTo>
                  <a:lnTo>
                    <a:pt x="1011" y="747"/>
                  </a:lnTo>
                  <a:lnTo>
                    <a:pt x="1008" y="781"/>
                  </a:lnTo>
                  <a:lnTo>
                    <a:pt x="1005" y="810"/>
                  </a:lnTo>
                  <a:lnTo>
                    <a:pt x="1003" y="828"/>
                  </a:lnTo>
                  <a:lnTo>
                    <a:pt x="981" y="825"/>
                  </a:lnTo>
                  <a:lnTo>
                    <a:pt x="937" y="447"/>
                  </a:lnTo>
                  <a:lnTo>
                    <a:pt x="935" y="449"/>
                  </a:lnTo>
                  <a:lnTo>
                    <a:pt x="932" y="454"/>
                  </a:lnTo>
                  <a:lnTo>
                    <a:pt x="925" y="462"/>
                  </a:lnTo>
                  <a:lnTo>
                    <a:pt x="915" y="473"/>
                  </a:lnTo>
                  <a:lnTo>
                    <a:pt x="901" y="481"/>
                  </a:lnTo>
                  <a:lnTo>
                    <a:pt x="884" y="491"/>
                  </a:lnTo>
                  <a:lnTo>
                    <a:pt x="862" y="498"/>
                  </a:lnTo>
                  <a:lnTo>
                    <a:pt x="839" y="501"/>
                  </a:lnTo>
                  <a:lnTo>
                    <a:pt x="808" y="503"/>
                  </a:lnTo>
                  <a:lnTo>
                    <a:pt x="774" y="498"/>
                  </a:lnTo>
                  <a:lnTo>
                    <a:pt x="735" y="486"/>
                  </a:lnTo>
                  <a:lnTo>
                    <a:pt x="708" y="474"/>
                  </a:lnTo>
                  <a:lnTo>
                    <a:pt x="678" y="457"/>
                  </a:lnTo>
                  <a:lnTo>
                    <a:pt x="647" y="439"/>
                  </a:lnTo>
                  <a:lnTo>
                    <a:pt x="615" y="417"/>
                  </a:lnTo>
                  <a:lnTo>
                    <a:pt x="583" y="395"/>
                  </a:lnTo>
                  <a:lnTo>
                    <a:pt x="549" y="373"/>
                  </a:lnTo>
                  <a:lnTo>
                    <a:pt x="513" y="351"/>
                  </a:lnTo>
                  <a:lnTo>
                    <a:pt x="478" y="332"/>
                  </a:lnTo>
                  <a:lnTo>
                    <a:pt x="439" y="315"/>
                  </a:lnTo>
                  <a:lnTo>
                    <a:pt x="400" y="302"/>
                  </a:lnTo>
                  <a:lnTo>
                    <a:pt x="358" y="293"/>
                  </a:lnTo>
                  <a:lnTo>
                    <a:pt x="315" y="290"/>
                  </a:lnTo>
                  <a:lnTo>
                    <a:pt x="270" y="293"/>
                  </a:lnTo>
                  <a:lnTo>
                    <a:pt x="224" y="303"/>
                  </a:lnTo>
                  <a:lnTo>
                    <a:pt x="175" y="322"/>
                  </a:lnTo>
                  <a:lnTo>
                    <a:pt x="122" y="349"/>
                  </a:lnTo>
                  <a:lnTo>
                    <a:pt x="121" y="352"/>
                  </a:lnTo>
                  <a:lnTo>
                    <a:pt x="114" y="361"/>
                  </a:lnTo>
                  <a:lnTo>
                    <a:pt x="105" y="374"/>
                  </a:lnTo>
                  <a:lnTo>
                    <a:pt x="97" y="390"/>
                  </a:lnTo>
                  <a:lnTo>
                    <a:pt x="88" y="405"/>
                  </a:lnTo>
                  <a:lnTo>
                    <a:pt x="82" y="420"/>
                  </a:lnTo>
                  <a:lnTo>
                    <a:pt x="78" y="434"/>
                  </a:lnTo>
                  <a:lnTo>
                    <a:pt x="76" y="446"/>
                  </a:lnTo>
                  <a:lnTo>
                    <a:pt x="75" y="466"/>
                  </a:lnTo>
                  <a:lnTo>
                    <a:pt x="70" y="495"/>
                  </a:lnTo>
                  <a:lnTo>
                    <a:pt x="66" y="528"/>
                  </a:lnTo>
                  <a:lnTo>
                    <a:pt x="61" y="566"/>
                  </a:lnTo>
                  <a:lnTo>
                    <a:pt x="56" y="606"/>
                  </a:lnTo>
                  <a:lnTo>
                    <a:pt x="53" y="649"/>
                  </a:lnTo>
                  <a:lnTo>
                    <a:pt x="48" y="691"/>
                  </a:lnTo>
                  <a:lnTo>
                    <a:pt x="46" y="730"/>
                  </a:lnTo>
                  <a:lnTo>
                    <a:pt x="46" y="764"/>
                  </a:lnTo>
                  <a:lnTo>
                    <a:pt x="46" y="794"/>
                  </a:lnTo>
                  <a:lnTo>
                    <a:pt x="49" y="816"/>
                  </a:lnTo>
                  <a:lnTo>
                    <a:pt x="26" y="793"/>
                  </a:lnTo>
                  <a:lnTo>
                    <a:pt x="26" y="786"/>
                  </a:lnTo>
                  <a:lnTo>
                    <a:pt x="24" y="771"/>
                  </a:lnTo>
                  <a:lnTo>
                    <a:pt x="21" y="747"/>
                  </a:lnTo>
                  <a:lnTo>
                    <a:pt x="17" y="716"/>
                  </a:lnTo>
                  <a:lnTo>
                    <a:pt x="14" y="679"/>
                  </a:lnTo>
                  <a:lnTo>
                    <a:pt x="10" y="639"/>
                  </a:lnTo>
                  <a:lnTo>
                    <a:pt x="5" y="596"/>
                  </a:lnTo>
                  <a:lnTo>
                    <a:pt x="4" y="554"/>
                  </a:lnTo>
                  <a:lnTo>
                    <a:pt x="0" y="512"/>
                  </a:lnTo>
                  <a:lnTo>
                    <a:pt x="0" y="473"/>
                  </a:lnTo>
                  <a:lnTo>
                    <a:pt x="0" y="437"/>
                  </a:lnTo>
                  <a:lnTo>
                    <a:pt x="4" y="407"/>
                  </a:lnTo>
                  <a:lnTo>
                    <a:pt x="7" y="385"/>
                  </a:lnTo>
                  <a:lnTo>
                    <a:pt x="14" y="371"/>
                  </a:lnTo>
                  <a:lnTo>
                    <a:pt x="31" y="354"/>
                  </a:lnTo>
                  <a:lnTo>
                    <a:pt x="46" y="346"/>
                  </a:lnTo>
                  <a:lnTo>
                    <a:pt x="56" y="340"/>
                  </a:lnTo>
                  <a:lnTo>
                    <a:pt x="65" y="340"/>
                  </a:lnTo>
                  <a:lnTo>
                    <a:pt x="70" y="342"/>
                  </a:lnTo>
                  <a:lnTo>
                    <a:pt x="71" y="342"/>
                  </a:lnTo>
                  <a:lnTo>
                    <a:pt x="70" y="339"/>
                  </a:lnTo>
                  <a:lnTo>
                    <a:pt x="65" y="330"/>
                  </a:lnTo>
                  <a:lnTo>
                    <a:pt x="58" y="317"/>
                  </a:lnTo>
                  <a:lnTo>
                    <a:pt x="51" y="300"/>
                  </a:lnTo>
                  <a:lnTo>
                    <a:pt x="44" y="283"/>
                  </a:lnTo>
                  <a:lnTo>
                    <a:pt x="39" y="264"/>
                  </a:lnTo>
                  <a:lnTo>
                    <a:pt x="38" y="247"/>
                  </a:lnTo>
                  <a:lnTo>
                    <a:pt x="41" y="232"/>
                  </a:lnTo>
                  <a:lnTo>
                    <a:pt x="44" y="224"/>
                  </a:lnTo>
                  <a:lnTo>
                    <a:pt x="53" y="210"/>
                  </a:lnTo>
                  <a:lnTo>
                    <a:pt x="63" y="195"/>
                  </a:lnTo>
                  <a:lnTo>
                    <a:pt x="76" y="175"/>
                  </a:lnTo>
                  <a:lnTo>
                    <a:pt x="95" y="154"/>
                  </a:lnTo>
                  <a:lnTo>
                    <a:pt x="117" y="132"/>
                  </a:lnTo>
                  <a:lnTo>
                    <a:pt x="143" y="108"/>
                  </a:lnTo>
                  <a:lnTo>
                    <a:pt x="173" y="86"/>
                  </a:lnTo>
                  <a:lnTo>
                    <a:pt x="207" y="64"/>
                  </a:lnTo>
                  <a:lnTo>
                    <a:pt x="248" y="46"/>
                  </a:lnTo>
                  <a:lnTo>
                    <a:pt x="292" y="29"/>
                  </a:lnTo>
                  <a:lnTo>
                    <a:pt x="341" y="14"/>
                  </a:lnTo>
                  <a:lnTo>
                    <a:pt x="397" y="5"/>
                  </a:lnTo>
                  <a:lnTo>
                    <a:pt x="45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1" name="Freeform 2257"/>
            <p:cNvSpPr>
              <a:spLocks/>
            </p:cNvSpPr>
            <p:nvPr/>
          </p:nvSpPr>
          <p:spPr bwMode="auto">
            <a:xfrm>
              <a:off x="8800421" y="339714"/>
              <a:ext cx="254000" cy="57150"/>
            </a:xfrm>
            <a:custGeom>
              <a:avLst/>
              <a:gdLst>
                <a:gd name="T0" fmla="*/ 164 w 318"/>
                <a:gd name="T1" fmla="*/ 0 h 71"/>
                <a:gd name="T2" fmla="*/ 207 w 318"/>
                <a:gd name="T3" fmla="*/ 2 h 71"/>
                <a:gd name="T4" fmla="*/ 252 w 318"/>
                <a:gd name="T5" fmla="*/ 7 h 71"/>
                <a:gd name="T6" fmla="*/ 303 w 318"/>
                <a:gd name="T7" fmla="*/ 20 h 71"/>
                <a:gd name="T8" fmla="*/ 310 w 318"/>
                <a:gd name="T9" fmla="*/ 22 h 71"/>
                <a:gd name="T10" fmla="*/ 313 w 318"/>
                <a:gd name="T11" fmla="*/ 27 h 71"/>
                <a:gd name="T12" fmla="*/ 317 w 318"/>
                <a:gd name="T13" fmla="*/ 32 h 71"/>
                <a:gd name="T14" fmla="*/ 318 w 318"/>
                <a:gd name="T15" fmla="*/ 39 h 71"/>
                <a:gd name="T16" fmla="*/ 317 w 318"/>
                <a:gd name="T17" fmla="*/ 46 h 71"/>
                <a:gd name="T18" fmla="*/ 315 w 318"/>
                <a:gd name="T19" fmla="*/ 51 h 71"/>
                <a:gd name="T20" fmla="*/ 310 w 318"/>
                <a:gd name="T21" fmla="*/ 56 h 71"/>
                <a:gd name="T22" fmla="*/ 305 w 318"/>
                <a:gd name="T23" fmla="*/ 59 h 71"/>
                <a:gd name="T24" fmla="*/ 300 w 318"/>
                <a:gd name="T25" fmla="*/ 61 h 71"/>
                <a:gd name="T26" fmla="*/ 293 w 318"/>
                <a:gd name="T27" fmla="*/ 59 h 71"/>
                <a:gd name="T28" fmla="*/ 244 w 318"/>
                <a:gd name="T29" fmla="*/ 47 h 71"/>
                <a:gd name="T30" fmla="*/ 198 w 318"/>
                <a:gd name="T31" fmla="*/ 42 h 71"/>
                <a:gd name="T32" fmla="*/ 156 w 318"/>
                <a:gd name="T33" fmla="*/ 41 h 71"/>
                <a:gd name="T34" fmla="*/ 120 w 318"/>
                <a:gd name="T35" fmla="*/ 44 h 71"/>
                <a:gd name="T36" fmla="*/ 88 w 318"/>
                <a:gd name="T37" fmla="*/ 49 h 71"/>
                <a:gd name="T38" fmla="*/ 63 w 318"/>
                <a:gd name="T39" fmla="*/ 56 h 71"/>
                <a:gd name="T40" fmla="*/ 44 w 318"/>
                <a:gd name="T41" fmla="*/ 63 h 71"/>
                <a:gd name="T42" fmla="*/ 32 w 318"/>
                <a:gd name="T43" fmla="*/ 66 h 71"/>
                <a:gd name="T44" fmla="*/ 27 w 318"/>
                <a:gd name="T45" fmla="*/ 69 h 71"/>
                <a:gd name="T46" fmla="*/ 24 w 318"/>
                <a:gd name="T47" fmla="*/ 71 h 71"/>
                <a:gd name="T48" fmla="*/ 19 w 318"/>
                <a:gd name="T49" fmla="*/ 71 h 71"/>
                <a:gd name="T50" fmla="*/ 14 w 318"/>
                <a:gd name="T51" fmla="*/ 69 h 71"/>
                <a:gd name="T52" fmla="*/ 8 w 318"/>
                <a:gd name="T53" fmla="*/ 68 h 71"/>
                <a:gd name="T54" fmla="*/ 5 w 318"/>
                <a:gd name="T55" fmla="*/ 64 h 71"/>
                <a:gd name="T56" fmla="*/ 2 w 318"/>
                <a:gd name="T57" fmla="*/ 59 h 71"/>
                <a:gd name="T58" fmla="*/ 0 w 318"/>
                <a:gd name="T59" fmla="*/ 49 h 71"/>
                <a:gd name="T60" fmla="*/ 3 w 318"/>
                <a:gd name="T61" fmla="*/ 39 h 71"/>
                <a:gd name="T62" fmla="*/ 10 w 318"/>
                <a:gd name="T63" fmla="*/ 32 h 71"/>
                <a:gd name="T64" fmla="*/ 15 w 318"/>
                <a:gd name="T65" fmla="*/ 30 h 71"/>
                <a:gd name="T66" fmla="*/ 25 w 318"/>
                <a:gd name="T67" fmla="*/ 25 h 71"/>
                <a:gd name="T68" fmla="*/ 42 w 318"/>
                <a:gd name="T69" fmla="*/ 19 h 71"/>
                <a:gd name="T70" fmla="*/ 66 w 318"/>
                <a:gd name="T71" fmla="*/ 12 h 71"/>
                <a:gd name="T72" fmla="*/ 95 w 318"/>
                <a:gd name="T73" fmla="*/ 5 h 71"/>
                <a:gd name="T74" fmla="*/ 125 w 318"/>
                <a:gd name="T75" fmla="*/ 2 h 71"/>
                <a:gd name="T76" fmla="*/ 164 w 318"/>
                <a:gd name="T7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8" h="71">
                  <a:moveTo>
                    <a:pt x="164" y="0"/>
                  </a:moveTo>
                  <a:lnTo>
                    <a:pt x="207" y="2"/>
                  </a:lnTo>
                  <a:lnTo>
                    <a:pt x="252" y="7"/>
                  </a:lnTo>
                  <a:lnTo>
                    <a:pt x="303" y="20"/>
                  </a:lnTo>
                  <a:lnTo>
                    <a:pt x="310" y="22"/>
                  </a:lnTo>
                  <a:lnTo>
                    <a:pt x="313" y="27"/>
                  </a:lnTo>
                  <a:lnTo>
                    <a:pt x="317" y="32"/>
                  </a:lnTo>
                  <a:lnTo>
                    <a:pt x="318" y="39"/>
                  </a:lnTo>
                  <a:lnTo>
                    <a:pt x="317" y="46"/>
                  </a:lnTo>
                  <a:lnTo>
                    <a:pt x="315" y="51"/>
                  </a:lnTo>
                  <a:lnTo>
                    <a:pt x="310" y="56"/>
                  </a:lnTo>
                  <a:lnTo>
                    <a:pt x="305" y="59"/>
                  </a:lnTo>
                  <a:lnTo>
                    <a:pt x="300" y="61"/>
                  </a:lnTo>
                  <a:lnTo>
                    <a:pt x="293" y="59"/>
                  </a:lnTo>
                  <a:lnTo>
                    <a:pt x="244" y="47"/>
                  </a:lnTo>
                  <a:lnTo>
                    <a:pt x="198" y="42"/>
                  </a:lnTo>
                  <a:lnTo>
                    <a:pt x="156" y="41"/>
                  </a:lnTo>
                  <a:lnTo>
                    <a:pt x="120" y="44"/>
                  </a:lnTo>
                  <a:lnTo>
                    <a:pt x="88" y="49"/>
                  </a:lnTo>
                  <a:lnTo>
                    <a:pt x="63" y="56"/>
                  </a:lnTo>
                  <a:lnTo>
                    <a:pt x="44" y="63"/>
                  </a:lnTo>
                  <a:lnTo>
                    <a:pt x="32" y="66"/>
                  </a:lnTo>
                  <a:lnTo>
                    <a:pt x="27" y="69"/>
                  </a:lnTo>
                  <a:lnTo>
                    <a:pt x="24" y="71"/>
                  </a:lnTo>
                  <a:lnTo>
                    <a:pt x="19" y="71"/>
                  </a:lnTo>
                  <a:lnTo>
                    <a:pt x="14" y="69"/>
                  </a:lnTo>
                  <a:lnTo>
                    <a:pt x="8" y="68"/>
                  </a:lnTo>
                  <a:lnTo>
                    <a:pt x="5" y="64"/>
                  </a:lnTo>
                  <a:lnTo>
                    <a:pt x="2" y="59"/>
                  </a:lnTo>
                  <a:lnTo>
                    <a:pt x="0" y="49"/>
                  </a:lnTo>
                  <a:lnTo>
                    <a:pt x="3" y="39"/>
                  </a:lnTo>
                  <a:lnTo>
                    <a:pt x="10" y="32"/>
                  </a:lnTo>
                  <a:lnTo>
                    <a:pt x="15" y="30"/>
                  </a:lnTo>
                  <a:lnTo>
                    <a:pt x="25" y="25"/>
                  </a:lnTo>
                  <a:lnTo>
                    <a:pt x="42" y="19"/>
                  </a:lnTo>
                  <a:lnTo>
                    <a:pt x="66" y="12"/>
                  </a:lnTo>
                  <a:lnTo>
                    <a:pt x="95" y="5"/>
                  </a:lnTo>
                  <a:lnTo>
                    <a:pt x="125" y="2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2" name="Freeform 2258"/>
            <p:cNvSpPr>
              <a:spLocks/>
            </p:cNvSpPr>
            <p:nvPr/>
          </p:nvSpPr>
          <p:spPr bwMode="auto">
            <a:xfrm>
              <a:off x="9170308" y="339714"/>
              <a:ext cx="250825" cy="57150"/>
            </a:xfrm>
            <a:custGeom>
              <a:avLst/>
              <a:gdLst>
                <a:gd name="T0" fmla="*/ 154 w 317"/>
                <a:gd name="T1" fmla="*/ 0 h 71"/>
                <a:gd name="T2" fmla="*/ 191 w 317"/>
                <a:gd name="T3" fmla="*/ 2 h 71"/>
                <a:gd name="T4" fmla="*/ 222 w 317"/>
                <a:gd name="T5" fmla="*/ 5 h 71"/>
                <a:gd name="T6" fmla="*/ 251 w 317"/>
                <a:gd name="T7" fmla="*/ 12 h 71"/>
                <a:gd name="T8" fmla="*/ 274 w 317"/>
                <a:gd name="T9" fmla="*/ 19 h 71"/>
                <a:gd name="T10" fmla="*/ 291 w 317"/>
                <a:gd name="T11" fmla="*/ 25 h 71"/>
                <a:gd name="T12" fmla="*/ 303 w 317"/>
                <a:gd name="T13" fmla="*/ 30 h 71"/>
                <a:gd name="T14" fmla="*/ 307 w 317"/>
                <a:gd name="T15" fmla="*/ 32 h 71"/>
                <a:gd name="T16" fmla="*/ 315 w 317"/>
                <a:gd name="T17" fmla="*/ 39 h 71"/>
                <a:gd name="T18" fmla="*/ 317 w 317"/>
                <a:gd name="T19" fmla="*/ 49 h 71"/>
                <a:gd name="T20" fmla="*/ 315 w 317"/>
                <a:gd name="T21" fmla="*/ 59 h 71"/>
                <a:gd name="T22" fmla="*/ 312 w 317"/>
                <a:gd name="T23" fmla="*/ 64 h 71"/>
                <a:gd name="T24" fmla="*/ 308 w 317"/>
                <a:gd name="T25" fmla="*/ 68 h 71"/>
                <a:gd name="T26" fmla="*/ 303 w 317"/>
                <a:gd name="T27" fmla="*/ 69 h 71"/>
                <a:gd name="T28" fmla="*/ 298 w 317"/>
                <a:gd name="T29" fmla="*/ 71 h 71"/>
                <a:gd name="T30" fmla="*/ 293 w 317"/>
                <a:gd name="T31" fmla="*/ 71 h 71"/>
                <a:gd name="T32" fmla="*/ 290 w 317"/>
                <a:gd name="T33" fmla="*/ 69 h 71"/>
                <a:gd name="T34" fmla="*/ 286 w 317"/>
                <a:gd name="T35" fmla="*/ 68 h 71"/>
                <a:gd name="T36" fmla="*/ 276 w 317"/>
                <a:gd name="T37" fmla="*/ 63 h 71"/>
                <a:gd name="T38" fmla="*/ 261 w 317"/>
                <a:gd name="T39" fmla="*/ 57 h 71"/>
                <a:gd name="T40" fmla="*/ 241 w 317"/>
                <a:gd name="T41" fmla="*/ 52 h 71"/>
                <a:gd name="T42" fmla="*/ 215 w 317"/>
                <a:gd name="T43" fmla="*/ 46 h 71"/>
                <a:gd name="T44" fmla="*/ 186 w 317"/>
                <a:gd name="T45" fmla="*/ 42 h 71"/>
                <a:gd name="T46" fmla="*/ 152 w 317"/>
                <a:gd name="T47" fmla="*/ 41 h 71"/>
                <a:gd name="T48" fmla="*/ 113 w 317"/>
                <a:gd name="T49" fmla="*/ 42 h 71"/>
                <a:gd name="T50" fmla="*/ 71 w 317"/>
                <a:gd name="T51" fmla="*/ 47 h 71"/>
                <a:gd name="T52" fmla="*/ 24 w 317"/>
                <a:gd name="T53" fmla="*/ 59 h 71"/>
                <a:gd name="T54" fmla="*/ 19 w 317"/>
                <a:gd name="T55" fmla="*/ 61 h 71"/>
                <a:gd name="T56" fmla="*/ 12 w 317"/>
                <a:gd name="T57" fmla="*/ 59 h 71"/>
                <a:gd name="T58" fmla="*/ 7 w 317"/>
                <a:gd name="T59" fmla="*/ 56 h 71"/>
                <a:gd name="T60" fmla="*/ 3 w 317"/>
                <a:gd name="T61" fmla="*/ 51 h 71"/>
                <a:gd name="T62" fmla="*/ 0 w 317"/>
                <a:gd name="T63" fmla="*/ 46 h 71"/>
                <a:gd name="T64" fmla="*/ 0 w 317"/>
                <a:gd name="T65" fmla="*/ 39 h 71"/>
                <a:gd name="T66" fmla="*/ 0 w 317"/>
                <a:gd name="T67" fmla="*/ 32 h 71"/>
                <a:gd name="T68" fmla="*/ 3 w 317"/>
                <a:gd name="T69" fmla="*/ 27 h 71"/>
                <a:gd name="T70" fmla="*/ 7 w 317"/>
                <a:gd name="T71" fmla="*/ 22 h 71"/>
                <a:gd name="T72" fmla="*/ 14 w 317"/>
                <a:gd name="T73" fmla="*/ 20 h 71"/>
                <a:gd name="T74" fmla="*/ 64 w 317"/>
                <a:gd name="T75" fmla="*/ 7 h 71"/>
                <a:gd name="T76" fmla="*/ 112 w 317"/>
                <a:gd name="T77" fmla="*/ 2 h 71"/>
                <a:gd name="T78" fmla="*/ 154 w 317"/>
                <a:gd name="T7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7" h="71">
                  <a:moveTo>
                    <a:pt x="154" y="0"/>
                  </a:moveTo>
                  <a:lnTo>
                    <a:pt x="191" y="2"/>
                  </a:lnTo>
                  <a:lnTo>
                    <a:pt x="222" y="5"/>
                  </a:lnTo>
                  <a:lnTo>
                    <a:pt x="251" y="12"/>
                  </a:lnTo>
                  <a:lnTo>
                    <a:pt x="274" y="19"/>
                  </a:lnTo>
                  <a:lnTo>
                    <a:pt x="291" y="25"/>
                  </a:lnTo>
                  <a:lnTo>
                    <a:pt x="303" y="30"/>
                  </a:lnTo>
                  <a:lnTo>
                    <a:pt x="307" y="32"/>
                  </a:lnTo>
                  <a:lnTo>
                    <a:pt x="315" y="39"/>
                  </a:lnTo>
                  <a:lnTo>
                    <a:pt x="317" y="49"/>
                  </a:lnTo>
                  <a:lnTo>
                    <a:pt x="315" y="59"/>
                  </a:lnTo>
                  <a:lnTo>
                    <a:pt x="312" y="64"/>
                  </a:lnTo>
                  <a:lnTo>
                    <a:pt x="308" y="68"/>
                  </a:lnTo>
                  <a:lnTo>
                    <a:pt x="303" y="69"/>
                  </a:lnTo>
                  <a:lnTo>
                    <a:pt x="298" y="71"/>
                  </a:lnTo>
                  <a:lnTo>
                    <a:pt x="293" y="71"/>
                  </a:lnTo>
                  <a:lnTo>
                    <a:pt x="290" y="69"/>
                  </a:lnTo>
                  <a:lnTo>
                    <a:pt x="286" y="68"/>
                  </a:lnTo>
                  <a:lnTo>
                    <a:pt x="276" y="63"/>
                  </a:lnTo>
                  <a:lnTo>
                    <a:pt x="261" y="57"/>
                  </a:lnTo>
                  <a:lnTo>
                    <a:pt x="241" y="52"/>
                  </a:lnTo>
                  <a:lnTo>
                    <a:pt x="215" y="46"/>
                  </a:lnTo>
                  <a:lnTo>
                    <a:pt x="186" y="42"/>
                  </a:lnTo>
                  <a:lnTo>
                    <a:pt x="152" y="41"/>
                  </a:lnTo>
                  <a:lnTo>
                    <a:pt x="113" y="42"/>
                  </a:lnTo>
                  <a:lnTo>
                    <a:pt x="71" y="47"/>
                  </a:lnTo>
                  <a:lnTo>
                    <a:pt x="24" y="59"/>
                  </a:lnTo>
                  <a:lnTo>
                    <a:pt x="19" y="61"/>
                  </a:lnTo>
                  <a:lnTo>
                    <a:pt x="12" y="59"/>
                  </a:lnTo>
                  <a:lnTo>
                    <a:pt x="7" y="56"/>
                  </a:lnTo>
                  <a:lnTo>
                    <a:pt x="3" y="51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3" y="27"/>
                  </a:lnTo>
                  <a:lnTo>
                    <a:pt x="7" y="22"/>
                  </a:lnTo>
                  <a:lnTo>
                    <a:pt x="14" y="20"/>
                  </a:lnTo>
                  <a:lnTo>
                    <a:pt x="64" y="7"/>
                  </a:lnTo>
                  <a:lnTo>
                    <a:pt x="112" y="2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3" name="Freeform 2259"/>
            <p:cNvSpPr>
              <a:spLocks/>
            </p:cNvSpPr>
            <p:nvPr/>
          </p:nvSpPr>
          <p:spPr bwMode="auto">
            <a:xfrm>
              <a:off x="8736921" y="530214"/>
              <a:ext cx="779463" cy="512763"/>
            </a:xfrm>
            <a:custGeom>
              <a:avLst/>
              <a:gdLst>
                <a:gd name="T0" fmla="*/ 22 w 982"/>
                <a:gd name="T1" fmla="*/ 10 h 647"/>
                <a:gd name="T2" fmla="*/ 62 w 982"/>
                <a:gd name="T3" fmla="*/ 122 h 647"/>
                <a:gd name="T4" fmla="*/ 110 w 982"/>
                <a:gd name="T5" fmla="*/ 203 h 647"/>
                <a:gd name="T6" fmla="*/ 161 w 982"/>
                <a:gd name="T7" fmla="*/ 259 h 647"/>
                <a:gd name="T8" fmla="*/ 208 w 982"/>
                <a:gd name="T9" fmla="*/ 294 h 647"/>
                <a:gd name="T10" fmla="*/ 250 w 982"/>
                <a:gd name="T11" fmla="*/ 315 h 647"/>
                <a:gd name="T12" fmla="*/ 269 w 982"/>
                <a:gd name="T13" fmla="*/ 313 h 647"/>
                <a:gd name="T14" fmla="*/ 283 w 982"/>
                <a:gd name="T15" fmla="*/ 291 h 647"/>
                <a:gd name="T16" fmla="*/ 311 w 982"/>
                <a:gd name="T17" fmla="*/ 264 h 647"/>
                <a:gd name="T18" fmla="*/ 362 w 982"/>
                <a:gd name="T19" fmla="*/ 244 h 647"/>
                <a:gd name="T20" fmla="*/ 423 w 982"/>
                <a:gd name="T21" fmla="*/ 230 h 647"/>
                <a:gd name="T22" fmla="*/ 464 w 982"/>
                <a:gd name="T23" fmla="*/ 228 h 647"/>
                <a:gd name="T24" fmla="*/ 506 w 982"/>
                <a:gd name="T25" fmla="*/ 227 h 647"/>
                <a:gd name="T26" fmla="*/ 530 w 982"/>
                <a:gd name="T27" fmla="*/ 228 h 647"/>
                <a:gd name="T28" fmla="*/ 591 w 982"/>
                <a:gd name="T29" fmla="*/ 237 h 647"/>
                <a:gd name="T30" fmla="*/ 650 w 982"/>
                <a:gd name="T31" fmla="*/ 254 h 647"/>
                <a:gd name="T32" fmla="*/ 687 w 982"/>
                <a:gd name="T33" fmla="*/ 277 h 647"/>
                <a:gd name="T34" fmla="*/ 708 w 982"/>
                <a:gd name="T35" fmla="*/ 303 h 647"/>
                <a:gd name="T36" fmla="*/ 716 w 982"/>
                <a:gd name="T37" fmla="*/ 320 h 647"/>
                <a:gd name="T38" fmla="*/ 752 w 982"/>
                <a:gd name="T39" fmla="*/ 306 h 647"/>
                <a:gd name="T40" fmla="*/ 797 w 982"/>
                <a:gd name="T41" fmla="*/ 279 h 647"/>
                <a:gd name="T42" fmla="*/ 846 w 982"/>
                <a:gd name="T43" fmla="*/ 235 h 647"/>
                <a:gd name="T44" fmla="*/ 897 w 982"/>
                <a:gd name="T45" fmla="*/ 166 h 647"/>
                <a:gd name="T46" fmla="*/ 941 w 982"/>
                <a:gd name="T47" fmla="*/ 69 h 647"/>
                <a:gd name="T48" fmla="*/ 982 w 982"/>
                <a:gd name="T49" fmla="*/ 0 h 647"/>
                <a:gd name="T50" fmla="*/ 980 w 982"/>
                <a:gd name="T51" fmla="*/ 13 h 647"/>
                <a:gd name="T52" fmla="*/ 975 w 982"/>
                <a:gd name="T53" fmla="*/ 52 h 647"/>
                <a:gd name="T54" fmla="*/ 965 w 982"/>
                <a:gd name="T55" fmla="*/ 111 h 647"/>
                <a:gd name="T56" fmla="*/ 948 w 982"/>
                <a:gd name="T57" fmla="*/ 184 h 647"/>
                <a:gd name="T58" fmla="*/ 923 w 982"/>
                <a:gd name="T59" fmla="*/ 266 h 647"/>
                <a:gd name="T60" fmla="*/ 887 w 982"/>
                <a:gd name="T61" fmla="*/ 350 h 647"/>
                <a:gd name="T62" fmla="*/ 838 w 982"/>
                <a:gd name="T63" fmla="*/ 432 h 647"/>
                <a:gd name="T64" fmla="*/ 777 w 982"/>
                <a:gd name="T65" fmla="*/ 504 h 647"/>
                <a:gd name="T66" fmla="*/ 699 w 982"/>
                <a:gd name="T67" fmla="*/ 564 h 647"/>
                <a:gd name="T68" fmla="*/ 604 w 982"/>
                <a:gd name="T69" fmla="*/ 604 h 647"/>
                <a:gd name="T70" fmla="*/ 493 w 982"/>
                <a:gd name="T71" fmla="*/ 621 h 647"/>
                <a:gd name="T72" fmla="*/ 491 w 982"/>
                <a:gd name="T73" fmla="*/ 625 h 647"/>
                <a:gd name="T74" fmla="*/ 487 w 982"/>
                <a:gd name="T75" fmla="*/ 631 h 647"/>
                <a:gd name="T76" fmla="*/ 482 w 982"/>
                <a:gd name="T77" fmla="*/ 640 h 647"/>
                <a:gd name="T78" fmla="*/ 479 w 982"/>
                <a:gd name="T79" fmla="*/ 647 h 647"/>
                <a:gd name="T80" fmla="*/ 477 w 982"/>
                <a:gd name="T81" fmla="*/ 635 h 647"/>
                <a:gd name="T82" fmla="*/ 476 w 982"/>
                <a:gd name="T83" fmla="*/ 618 h 647"/>
                <a:gd name="T84" fmla="*/ 382 w 982"/>
                <a:gd name="T85" fmla="*/ 594 h 647"/>
                <a:gd name="T86" fmla="*/ 281 w 982"/>
                <a:gd name="T87" fmla="*/ 567 h 647"/>
                <a:gd name="T88" fmla="*/ 200 w 982"/>
                <a:gd name="T89" fmla="*/ 518 h 647"/>
                <a:gd name="T90" fmla="*/ 135 w 982"/>
                <a:gd name="T91" fmla="*/ 454 h 647"/>
                <a:gd name="T92" fmla="*/ 86 w 982"/>
                <a:gd name="T93" fmla="*/ 377 h 647"/>
                <a:gd name="T94" fmla="*/ 50 w 982"/>
                <a:gd name="T95" fmla="*/ 298 h 647"/>
                <a:gd name="T96" fmla="*/ 27 w 982"/>
                <a:gd name="T97" fmla="*/ 216 h 647"/>
                <a:gd name="T98" fmla="*/ 12 w 982"/>
                <a:gd name="T99" fmla="*/ 142 h 647"/>
                <a:gd name="T100" fmla="*/ 5 w 982"/>
                <a:gd name="T101" fmla="*/ 78 h 647"/>
                <a:gd name="T102" fmla="*/ 1 w 982"/>
                <a:gd name="T103" fmla="*/ 28 h 647"/>
                <a:gd name="T104" fmla="*/ 0 w 982"/>
                <a:gd name="T105" fmla="*/ 3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2" h="647">
                  <a:moveTo>
                    <a:pt x="0" y="0"/>
                  </a:moveTo>
                  <a:lnTo>
                    <a:pt x="22" y="10"/>
                  </a:lnTo>
                  <a:lnTo>
                    <a:pt x="40" y="69"/>
                  </a:lnTo>
                  <a:lnTo>
                    <a:pt x="62" y="122"/>
                  </a:lnTo>
                  <a:lnTo>
                    <a:pt x="86" y="166"/>
                  </a:lnTo>
                  <a:lnTo>
                    <a:pt x="110" y="203"/>
                  </a:lnTo>
                  <a:lnTo>
                    <a:pt x="135" y="233"/>
                  </a:lnTo>
                  <a:lnTo>
                    <a:pt x="161" y="259"/>
                  </a:lnTo>
                  <a:lnTo>
                    <a:pt x="184" y="279"/>
                  </a:lnTo>
                  <a:lnTo>
                    <a:pt x="208" y="294"/>
                  </a:lnTo>
                  <a:lnTo>
                    <a:pt x="230" y="306"/>
                  </a:lnTo>
                  <a:lnTo>
                    <a:pt x="250" y="315"/>
                  </a:lnTo>
                  <a:lnTo>
                    <a:pt x="267" y="320"/>
                  </a:lnTo>
                  <a:lnTo>
                    <a:pt x="269" y="313"/>
                  </a:lnTo>
                  <a:lnTo>
                    <a:pt x="274" y="303"/>
                  </a:lnTo>
                  <a:lnTo>
                    <a:pt x="283" y="291"/>
                  </a:lnTo>
                  <a:lnTo>
                    <a:pt x="294" y="277"/>
                  </a:lnTo>
                  <a:lnTo>
                    <a:pt x="311" y="264"/>
                  </a:lnTo>
                  <a:lnTo>
                    <a:pt x="333" y="254"/>
                  </a:lnTo>
                  <a:lnTo>
                    <a:pt x="362" y="244"/>
                  </a:lnTo>
                  <a:lnTo>
                    <a:pt x="393" y="235"/>
                  </a:lnTo>
                  <a:lnTo>
                    <a:pt x="423" y="230"/>
                  </a:lnTo>
                  <a:lnTo>
                    <a:pt x="452" y="228"/>
                  </a:lnTo>
                  <a:lnTo>
                    <a:pt x="464" y="228"/>
                  </a:lnTo>
                  <a:lnTo>
                    <a:pt x="476" y="227"/>
                  </a:lnTo>
                  <a:lnTo>
                    <a:pt x="506" y="227"/>
                  </a:lnTo>
                  <a:lnTo>
                    <a:pt x="518" y="228"/>
                  </a:lnTo>
                  <a:lnTo>
                    <a:pt x="530" y="228"/>
                  </a:lnTo>
                  <a:lnTo>
                    <a:pt x="559" y="230"/>
                  </a:lnTo>
                  <a:lnTo>
                    <a:pt x="591" y="237"/>
                  </a:lnTo>
                  <a:lnTo>
                    <a:pt x="621" y="244"/>
                  </a:lnTo>
                  <a:lnTo>
                    <a:pt x="650" y="254"/>
                  </a:lnTo>
                  <a:lnTo>
                    <a:pt x="672" y="266"/>
                  </a:lnTo>
                  <a:lnTo>
                    <a:pt x="687" y="277"/>
                  </a:lnTo>
                  <a:lnTo>
                    <a:pt x="699" y="291"/>
                  </a:lnTo>
                  <a:lnTo>
                    <a:pt x="708" y="303"/>
                  </a:lnTo>
                  <a:lnTo>
                    <a:pt x="713" y="313"/>
                  </a:lnTo>
                  <a:lnTo>
                    <a:pt x="716" y="320"/>
                  </a:lnTo>
                  <a:lnTo>
                    <a:pt x="731" y="315"/>
                  </a:lnTo>
                  <a:lnTo>
                    <a:pt x="752" y="306"/>
                  </a:lnTo>
                  <a:lnTo>
                    <a:pt x="774" y="296"/>
                  </a:lnTo>
                  <a:lnTo>
                    <a:pt x="797" y="279"/>
                  </a:lnTo>
                  <a:lnTo>
                    <a:pt x="821" y="261"/>
                  </a:lnTo>
                  <a:lnTo>
                    <a:pt x="846" y="235"/>
                  </a:lnTo>
                  <a:lnTo>
                    <a:pt x="872" y="203"/>
                  </a:lnTo>
                  <a:lnTo>
                    <a:pt x="897" y="166"/>
                  </a:lnTo>
                  <a:lnTo>
                    <a:pt x="919" y="122"/>
                  </a:lnTo>
                  <a:lnTo>
                    <a:pt x="941" y="69"/>
                  </a:lnTo>
                  <a:lnTo>
                    <a:pt x="962" y="10"/>
                  </a:lnTo>
                  <a:lnTo>
                    <a:pt x="982" y="0"/>
                  </a:lnTo>
                  <a:lnTo>
                    <a:pt x="982" y="3"/>
                  </a:lnTo>
                  <a:lnTo>
                    <a:pt x="980" y="13"/>
                  </a:lnTo>
                  <a:lnTo>
                    <a:pt x="979" y="30"/>
                  </a:lnTo>
                  <a:lnTo>
                    <a:pt x="975" y="52"/>
                  </a:lnTo>
                  <a:lnTo>
                    <a:pt x="972" y="81"/>
                  </a:lnTo>
                  <a:lnTo>
                    <a:pt x="965" y="111"/>
                  </a:lnTo>
                  <a:lnTo>
                    <a:pt x="958" y="147"/>
                  </a:lnTo>
                  <a:lnTo>
                    <a:pt x="948" y="184"/>
                  </a:lnTo>
                  <a:lnTo>
                    <a:pt x="936" y="225"/>
                  </a:lnTo>
                  <a:lnTo>
                    <a:pt x="923" y="266"/>
                  </a:lnTo>
                  <a:lnTo>
                    <a:pt x="906" y="308"/>
                  </a:lnTo>
                  <a:lnTo>
                    <a:pt x="887" y="350"/>
                  </a:lnTo>
                  <a:lnTo>
                    <a:pt x="863" y="391"/>
                  </a:lnTo>
                  <a:lnTo>
                    <a:pt x="838" y="432"/>
                  </a:lnTo>
                  <a:lnTo>
                    <a:pt x="809" y="469"/>
                  </a:lnTo>
                  <a:lnTo>
                    <a:pt x="777" y="504"/>
                  </a:lnTo>
                  <a:lnTo>
                    <a:pt x="740" y="537"/>
                  </a:lnTo>
                  <a:lnTo>
                    <a:pt x="699" y="564"/>
                  </a:lnTo>
                  <a:lnTo>
                    <a:pt x="655" y="587"/>
                  </a:lnTo>
                  <a:lnTo>
                    <a:pt x="604" y="604"/>
                  </a:lnTo>
                  <a:lnTo>
                    <a:pt x="550" y="616"/>
                  </a:lnTo>
                  <a:lnTo>
                    <a:pt x="493" y="621"/>
                  </a:lnTo>
                  <a:lnTo>
                    <a:pt x="491" y="621"/>
                  </a:lnTo>
                  <a:lnTo>
                    <a:pt x="491" y="625"/>
                  </a:lnTo>
                  <a:lnTo>
                    <a:pt x="489" y="628"/>
                  </a:lnTo>
                  <a:lnTo>
                    <a:pt x="487" y="631"/>
                  </a:lnTo>
                  <a:lnTo>
                    <a:pt x="484" y="636"/>
                  </a:lnTo>
                  <a:lnTo>
                    <a:pt x="482" y="640"/>
                  </a:lnTo>
                  <a:lnTo>
                    <a:pt x="481" y="643"/>
                  </a:lnTo>
                  <a:lnTo>
                    <a:pt x="479" y="647"/>
                  </a:lnTo>
                  <a:lnTo>
                    <a:pt x="479" y="647"/>
                  </a:lnTo>
                  <a:lnTo>
                    <a:pt x="477" y="635"/>
                  </a:lnTo>
                  <a:lnTo>
                    <a:pt x="477" y="623"/>
                  </a:lnTo>
                  <a:lnTo>
                    <a:pt x="476" y="618"/>
                  </a:lnTo>
                  <a:lnTo>
                    <a:pt x="440" y="599"/>
                  </a:lnTo>
                  <a:lnTo>
                    <a:pt x="382" y="594"/>
                  </a:lnTo>
                  <a:lnTo>
                    <a:pt x="328" y="584"/>
                  </a:lnTo>
                  <a:lnTo>
                    <a:pt x="281" y="567"/>
                  </a:lnTo>
                  <a:lnTo>
                    <a:pt x="237" y="545"/>
                  </a:lnTo>
                  <a:lnTo>
                    <a:pt x="200" y="518"/>
                  </a:lnTo>
                  <a:lnTo>
                    <a:pt x="164" y="487"/>
                  </a:lnTo>
                  <a:lnTo>
                    <a:pt x="135" y="454"/>
                  </a:lnTo>
                  <a:lnTo>
                    <a:pt x="108" y="416"/>
                  </a:lnTo>
                  <a:lnTo>
                    <a:pt x="86" y="377"/>
                  </a:lnTo>
                  <a:lnTo>
                    <a:pt x="67" y="338"/>
                  </a:lnTo>
                  <a:lnTo>
                    <a:pt x="50" y="298"/>
                  </a:lnTo>
                  <a:lnTo>
                    <a:pt x="39" y="257"/>
                  </a:lnTo>
                  <a:lnTo>
                    <a:pt x="27" y="216"/>
                  </a:lnTo>
                  <a:lnTo>
                    <a:pt x="18" y="178"/>
                  </a:lnTo>
                  <a:lnTo>
                    <a:pt x="12" y="142"/>
                  </a:lnTo>
                  <a:lnTo>
                    <a:pt x="8" y="108"/>
                  </a:lnTo>
                  <a:lnTo>
                    <a:pt x="5" y="78"/>
                  </a:lnTo>
                  <a:lnTo>
                    <a:pt x="1" y="50"/>
                  </a:lnTo>
                  <a:lnTo>
                    <a:pt x="1" y="28"/>
                  </a:lnTo>
                  <a:lnTo>
                    <a:pt x="1" y="1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4" name="Freeform 2260"/>
            <p:cNvSpPr>
              <a:spLocks/>
            </p:cNvSpPr>
            <p:nvPr/>
          </p:nvSpPr>
          <p:spPr bwMode="auto">
            <a:xfrm>
              <a:off x="9032196" y="638164"/>
              <a:ext cx="84138" cy="61913"/>
            </a:xfrm>
            <a:custGeom>
              <a:avLst/>
              <a:gdLst>
                <a:gd name="T0" fmla="*/ 54 w 107"/>
                <a:gd name="T1" fmla="*/ 0 h 78"/>
                <a:gd name="T2" fmla="*/ 75 w 107"/>
                <a:gd name="T3" fmla="*/ 2 h 78"/>
                <a:gd name="T4" fmla="*/ 92 w 107"/>
                <a:gd name="T5" fmla="*/ 10 h 78"/>
                <a:gd name="T6" fmla="*/ 104 w 107"/>
                <a:gd name="T7" fmla="*/ 24 h 78"/>
                <a:gd name="T8" fmla="*/ 107 w 107"/>
                <a:gd name="T9" fmla="*/ 39 h 78"/>
                <a:gd name="T10" fmla="*/ 104 w 107"/>
                <a:gd name="T11" fmla="*/ 54 h 78"/>
                <a:gd name="T12" fmla="*/ 92 w 107"/>
                <a:gd name="T13" fmla="*/ 66 h 78"/>
                <a:gd name="T14" fmla="*/ 75 w 107"/>
                <a:gd name="T15" fmla="*/ 74 h 78"/>
                <a:gd name="T16" fmla="*/ 54 w 107"/>
                <a:gd name="T17" fmla="*/ 78 h 78"/>
                <a:gd name="T18" fmla="*/ 34 w 107"/>
                <a:gd name="T19" fmla="*/ 74 h 78"/>
                <a:gd name="T20" fmla="*/ 17 w 107"/>
                <a:gd name="T21" fmla="*/ 66 h 78"/>
                <a:gd name="T22" fmla="*/ 5 w 107"/>
                <a:gd name="T23" fmla="*/ 54 h 78"/>
                <a:gd name="T24" fmla="*/ 0 w 107"/>
                <a:gd name="T25" fmla="*/ 39 h 78"/>
                <a:gd name="T26" fmla="*/ 5 w 107"/>
                <a:gd name="T27" fmla="*/ 24 h 78"/>
                <a:gd name="T28" fmla="*/ 17 w 107"/>
                <a:gd name="T29" fmla="*/ 10 h 78"/>
                <a:gd name="T30" fmla="*/ 34 w 107"/>
                <a:gd name="T31" fmla="*/ 2 h 78"/>
                <a:gd name="T32" fmla="*/ 54 w 107"/>
                <a:gd name="T3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78">
                  <a:moveTo>
                    <a:pt x="54" y="0"/>
                  </a:moveTo>
                  <a:lnTo>
                    <a:pt x="75" y="2"/>
                  </a:lnTo>
                  <a:lnTo>
                    <a:pt x="92" y="10"/>
                  </a:lnTo>
                  <a:lnTo>
                    <a:pt x="104" y="24"/>
                  </a:lnTo>
                  <a:lnTo>
                    <a:pt x="107" y="39"/>
                  </a:lnTo>
                  <a:lnTo>
                    <a:pt x="104" y="54"/>
                  </a:lnTo>
                  <a:lnTo>
                    <a:pt x="92" y="66"/>
                  </a:lnTo>
                  <a:lnTo>
                    <a:pt x="75" y="74"/>
                  </a:lnTo>
                  <a:lnTo>
                    <a:pt x="54" y="78"/>
                  </a:lnTo>
                  <a:lnTo>
                    <a:pt x="34" y="74"/>
                  </a:lnTo>
                  <a:lnTo>
                    <a:pt x="17" y="66"/>
                  </a:lnTo>
                  <a:lnTo>
                    <a:pt x="5" y="54"/>
                  </a:lnTo>
                  <a:lnTo>
                    <a:pt x="0" y="39"/>
                  </a:lnTo>
                  <a:lnTo>
                    <a:pt x="5" y="24"/>
                  </a:lnTo>
                  <a:lnTo>
                    <a:pt x="17" y="10"/>
                  </a:lnTo>
                  <a:lnTo>
                    <a:pt x="34" y="2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5" name="Freeform 2261"/>
            <p:cNvSpPr>
              <a:spLocks/>
            </p:cNvSpPr>
            <p:nvPr/>
          </p:nvSpPr>
          <p:spPr bwMode="auto">
            <a:xfrm>
              <a:off x="9143321" y="638164"/>
              <a:ext cx="84138" cy="61913"/>
            </a:xfrm>
            <a:custGeom>
              <a:avLst/>
              <a:gdLst>
                <a:gd name="T0" fmla="*/ 53 w 107"/>
                <a:gd name="T1" fmla="*/ 0 h 78"/>
                <a:gd name="T2" fmla="*/ 73 w 107"/>
                <a:gd name="T3" fmla="*/ 2 h 78"/>
                <a:gd name="T4" fmla="*/ 90 w 107"/>
                <a:gd name="T5" fmla="*/ 10 h 78"/>
                <a:gd name="T6" fmla="*/ 102 w 107"/>
                <a:gd name="T7" fmla="*/ 24 h 78"/>
                <a:gd name="T8" fmla="*/ 107 w 107"/>
                <a:gd name="T9" fmla="*/ 39 h 78"/>
                <a:gd name="T10" fmla="*/ 102 w 107"/>
                <a:gd name="T11" fmla="*/ 54 h 78"/>
                <a:gd name="T12" fmla="*/ 90 w 107"/>
                <a:gd name="T13" fmla="*/ 66 h 78"/>
                <a:gd name="T14" fmla="*/ 73 w 107"/>
                <a:gd name="T15" fmla="*/ 74 h 78"/>
                <a:gd name="T16" fmla="*/ 53 w 107"/>
                <a:gd name="T17" fmla="*/ 78 h 78"/>
                <a:gd name="T18" fmla="*/ 32 w 107"/>
                <a:gd name="T19" fmla="*/ 74 h 78"/>
                <a:gd name="T20" fmla="*/ 15 w 107"/>
                <a:gd name="T21" fmla="*/ 66 h 78"/>
                <a:gd name="T22" fmla="*/ 4 w 107"/>
                <a:gd name="T23" fmla="*/ 54 h 78"/>
                <a:gd name="T24" fmla="*/ 0 w 107"/>
                <a:gd name="T25" fmla="*/ 39 h 78"/>
                <a:gd name="T26" fmla="*/ 4 w 107"/>
                <a:gd name="T27" fmla="*/ 24 h 78"/>
                <a:gd name="T28" fmla="*/ 15 w 107"/>
                <a:gd name="T29" fmla="*/ 10 h 78"/>
                <a:gd name="T30" fmla="*/ 32 w 107"/>
                <a:gd name="T31" fmla="*/ 2 h 78"/>
                <a:gd name="T32" fmla="*/ 53 w 107"/>
                <a:gd name="T3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78">
                  <a:moveTo>
                    <a:pt x="53" y="0"/>
                  </a:moveTo>
                  <a:lnTo>
                    <a:pt x="73" y="2"/>
                  </a:lnTo>
                  <a:lnTo>
                    <a:pt x="90" y="10"/>
                  </a:lnTo>
                  <a:lnTo>
                    <a:pt x="102" y="24"/>
                  </a:lnTo>
                  <a:lnTo>
                    <a:pt x="107" y="39"/>
                  </a:lnTo>
                  <a:lnTo>
                    <a:pt x="102" y="54"/>
                  </a:lnTo>
                  <a:lnTo>
                    <a:pt x="90" y="66"/>
                  </a:lnTo>
                  <a:lnTo>
                    <a:pt x="73" y="74"/>
                  </a:lnTo>
                  <a:lnTo>
                    <a:pt x="53" y="78"/>
                  </a:lnTo>
                  <a:lnTo>
                    <a:pt x="32" y="74"/>
                  </a:lnTo>
                  <a:lnTo>
                    <a:pt x="15" y="66"/>
                  </a:lnTo>
                  <a:lnTo>
                    <a:pt x="4" y="54"/>
                  </a:lnTo>
                  <a:lnTo>
                    <a:pt x="0" y="39"/>
                  </a:lnTo>
                  <a:lnTo>
                    <a:pt x="4" y="24"/>
                  </a:lnTo>
                  <a:lnTo>
                    <a:pt x="15" y="10"/>
                  </a:lnTo>
                  <a:lnTo>
                    <a:pt x="32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6" name="Freeform 2262"/>
            <p:cNvSpPr>
              <a:spLocks/>
            </p:cNvSpPr>
            <p:nvPr/>
          </p:nvSpPr>
          <p:spPr bwMode="auto">
            <a:xfrm>
              <a:off x="9086171" y="655626"/>
              <a:ext cx="41275" cy="61913"/>
            </a:xfrm>
            <a:custGeom>
              <a:avLst/>
              <a:gdLst>
                <a:gd name="T0" fmla="*/ 53 w 53"/>
                <a:gd name="T1" fmla="*/ 0 h 78"/>
                <a:gd name="T2" fmla="*/ 53 w 53"/>
                <a:gd name="T3" fmla="*/ 78 h 78"/>
                <a:gd name="T4" fmla="*/ 32 w 53"/>
                <a:gd name="T5" fmla="*/ 75 h 78"/>
                <a:gd name="T6" fmla="*/ 15 w 53"/>
                <a:gd name="T7" fmla="*/ 66 h 78"/>
                <a:gd name="T8" fmla="*/ 5 w 53"/>
                <a:gd name="T9" fmla="*/ 54 h 78"/>
                <a:gd name="T10" fmla="*/ 0 w 53"/>
                <a:gd name="T11" fmla="*/ 39 h 78"/>
                <a:gd name="T12" fmla="*/ 5 w 53"/>
                <a:gd name="T13" fmla="*/ 24 h 78"/>
                <a:gd name="T14" fmla="*/ 15 w 53"/>
                <a:gd name="T15" fmla="*/ 12 h 78"/>
                <a:gd name="T16" fmla="*/ 32 w 53"/>
                <a:gd name="T17" fmla="*/ 4 h 78"/>
                <a:gd name="T18" fmla="*/ 53 w 53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78">
                  <a:moveTo>
                    <a:pt x="53" y="0"/>
                  </a:moveTo>
                  <a:lnTo>
                    <a:pt x="53" y="78"/>
                  </a:lnTo>
                  <a:lnTo>
                    <a:pt x="32" y="75"/>
                  </a:lnTo>
                  <a:lnTo>
                    <a:pt x="15" y="66"/>
                  </a:lnTo>
                  <a:lnTo>
                    <a:pt x="5" y="54"/>
                  </a:lnTo>
                  <a:lnTo>
                    <a:pt x="0" y="39"/>
                  </a:lnTo>
                  <a:lnTo>
                    <a:pt x="5" y="24"/>
                  </a:lnTo>
                  <a:lnTo>
                    <a:pt x="15" y="12"/>
                  </a:lnTo>
                  <a:lnTo>
                    <a:pt x="32" y="4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7" name="Freeform 2263"/>
            <p:cNvSpPr>
              <a:spLocks/>
            </p:cNvSpPr>
            <p:nvPr/>
          </p:nvSpPr>
          <p:spPr bwMode="auto">
            <a:xfrm>
              <a:off x="9127446" y="655626"/>
              <a:ext cx="42863" cy="61913"/>
            </a:xfrm>
            <a:custGeom>
              <a:avLst/>
              <a:gdLst>
                <a:gd name="T0" fmla="*/ 1 w 54"/>
                <a:gd name="T1" fmla="*/ 0 h 78"/>
                <a:gd name="T2" fmla="*/ 22 w 54"/>
                <a:gd name="T3" fmla="*/ 4 h 78"/>
                <a:gd name="T4" fmla="*/ 38 w 54"/>
                <a:gd name="T5" fmla="*/ 10 h 78"/>
                <a:gd name="T6" fmla="*/ 50 w 54"/>
                <a:gd name="T7" fmla="*/ 24 h 78"/>
                <a:gd name="T8" fmla="*/ 54 w 54"/>
                <a:gd name="T9" fmla="*/ 39 h 78"/>
                <a:gd name="T10" fmla="*/ 50 w 54"/>
                <a:gd name="T11" fmla="*/ 54 h 78"/>
                <a:gd name="T12" fmla="*/ 38 w 54"/>
                <a:gd name="T13" fmla="*/ 66 h 78"/>
                <a:gd name="T14" fmla="*/ 22 w 54"/>
                <a:gd name="T15" fmla="*/ 75 h 78"/>
                <a:gd name="T16" fmla="*/ 1 w 54"/>
                <a:gd name="T17" fmla="*/ 78 h 78"/>
                <a:gd name="T18" fmla="*/ 0 w 54"/>
                <a:gd name="T19" fmla="*/ 78 h 78"/>
                <a:gd name="T20" fmla="*/ 0 w 54"/>
                <a:gd name="T21" fmla="*/ 0 h 78"/>
                <a:gd name="T22" fmla="*/ 1 w 54"/>
                <a:gd name="T2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78">
                  <a:moveTo>
                    <a:pt x="1" y="0"/>
                  </a:moveTo>
                  <a:lnTo>
                    <a:pt x="22" y="4"/>
                  </a:lnTo>
                  <a:lnTo>
                    <a:pt x="38" y="10"/>
                  </a:lnTo>
                  <a:lnTo>
                    <a:pt x="50" y="24"/>
                  </a:lnTo>
                  <a:lnTo>
                    <a:pt x="54" y="39"/>
                  </a:lnTo>
                  <a:lnTo>
                    <a:pt x="50" y="54"/>
                  </a:lnTo>
                  <a:lnTo>
                    <a:pt x="38" y="66"/>
                  </a:lnTo>
                  <a:lnTo>
                    <a:pt x="22" y="75"/>
                  </a:lnTo>
                  <a:lnTo>
                    <a:pt x="1" y="78"/>
                  </a:lnTo>
                  <a:lnTo>
                    <a:pt x="0" y="78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8" name="Freeform 2264"/>
            <p:cNvSpPr>
              <a:spLocks/>
            </p:cNvSpPr>
            <p:nvPr/>
          </p:nvSpPr>
          <p:spPr bwMode="auto">
            <a:xfrm>
              <a:off x="8855983" y="442901"/>
              <a:ext cx="158750" cy="73025"/>
            </a:xfrm>
            <a:custGeom>
              <a:avLst/>
              <a:gdLst>
                <a:gd name="T0" fmla="*/ 100 w 200"/>
                <a:gd name="T1" fmla="*/ 0 h 91"/>
                <a:gd name="T2" fmla="*/ 124 w 200"/>
                <a:gd name="T3" fmla="*/ 3 h 91"/>
                <a:gd name="T4" fmla="*/ 144 w 200"/>
                <a:gd name="T5" fmla="*/ 10 h 91"/>
                <a:gd name="T6" fmla="*/ 163 w 200"/>
                <a:gd name="T7" fmla="*/ 18 h 91"/>
                <a:gd name="T8" fmla="*/ 178 w 200"/>
                <a:gd name="T9" fmla="*/ 27 h 91"/>
                <a:gd name="T10" fmla="*/ 190 w 200"/>
                <a:gd name="T11" fmla="*/ 37 h 91"/>
                <a:gd name="T12" fmla="*/ 199 w 200"/>
                <a:gd name="T13" fmla="*/ 44 h 91"/>
                <a:gd name="T14" fmla="*/ 200 w 200"/>
                <a:gd name="T15" fmla="*/ 45 h 91"/>
                <a:gd name="T16" fmla="*/ 199 w 200"/>
                <a:gd name="T17" fmla="*/ 47 h 91"/>
                <a:gd name="T18" fmla="*/ 190 w 200"/>
                <a:gd name="T19" fmla="*/ 54 h 91"/>
                <a:gd name="T20" fmla="*/ 178 w 200"/>
                <a:gd name="T21" fmla="*/ 64 h 91"/>
                <a:gd name="T22" fmla="*/ 163 w 200"/>
                <a:gd name="T23" fmla="*/ 72 h 91"/>
                <a:gd name="T24" fmla="*/ 144 w 200"/>
                <a:gd name="T25" fmla="*/ 81 h 91"/>
                <a:gd name="T26" fmla="*/ 124 w 200"/>
                <a:gd name="T27" fmla="*/ 88 h 91"/>
                <a:gd name="T28" fmla="*/ 100 w 200"/>
                <a:gd name="T29" fmla="*/ 91 h 91"/>
                <a:gd name="T30" fmla="*/ 78 w 200"/>
                <a:gd name="T31" fmla="*/ 88 h 91"/>
                <a:gd name="T32" fmla="*/ 56 w 200"/>
                <a:gd name="T33" fmla="*/ 81 h 91"/>
                <a:gd name="T34" fmla="*/ 38 w 200"/>
                <a:gd name="T35" fmla="*/ 72 h 91"/>
                <a:gd name="T36" fmla="*/ 22 w 200"/>
                <a:gd name="T37" fmla="*/ 64 h 91"/>
                <a:gd name="T38" fmla="*/ 11 w 200"/>
                <a:gd name="T39" fmla="*/ 54 h 91"/>
                <a:gd name="T40" fmla="*/ 2 w 200"/>
                <a:gd name="T41" fmla="*/ 47 h 91"/>
                <a:gd name="T42" fmla="*/ 0 w 200"/>
                <a:gd name="T43" fmla="*/ 45 h 91"/>
                <a:gd name="T44" fmla="*/ 2 w 200"/>
                <a:gd name="T45" fmla="*/ 44 h 91"/>
                <a:gd name="T46" fmla="*/ 11 w 200"/>
                <a:gd name="T47" fmla="*/ 37 h 91"/>
                <a:gd name="T48" fmla="*/ 22 w 200"/>
                <a:gd name="T49" fmla="*/ 27 h 91"/>
                <a:gd name="T50" fmla="*/ 38 w 200"/>
                <a:gd name="T51" fmla="*/ 18 h 91"/>
                <a:gd name="T52" fmla="*/ 56 w 200"/>
                <a:gd name="T53" fmla="*/ 10 h 91"/>
                <a:gd name="T54" fmla="*/ 78 w 200"/>
                <a:gd name="T55" fmla="*/ 3 h 91"/>
                <a:gd name="T56" fmla="*/ 100 w 200"/>
                <a:gd name="T5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0" h="91">
                  <a:moveTo>
                    <a:pt x="100" y="0"/>
                  </a:moveTo>
                  <a:lnTo>
                    <a:pt x="124" y="3"/>
                  </a:lnTo>
                  <a:lnTo>
                    <a:pt x="144" y="10"/>
                  </a:lnTo>
                  <a:lnTo>
                    <a:pt x="163" y="18"/>
                  </a:lnTo>
                  <a:lnTo>
                    <a:pt x="178" y="27"/>
                  </a:lnTo>
                  <a:lnTo>
                    <a:pt x="190" y="37"/>
                  </a:lnTo>
                  <a:lnTo>
                    <a:pt x="199" y="44"/>
                  </a:lnTo>
                  <a:lnTo>
                    <a:pt x="200" y="45"/>
                  </a:lnTo>
                  <a:lnTo>
                    <a:pt x="199" y="47"/>
                  </a:lnTo>
                  <a:lnTo>
                    <a:pt x="190" y="54"/>
                  </a:lnTo>
                  <a:lnTo>
                    <a:pt x="178" y="64"/>
                  </a:lnTo>
                  <a:lnTo>
                    <a:pt x="163" y="72"/>
                  </a:lnTo>
                  <a:lnTo>
                    <a:pt x="144" y="81"/>
                  </a:lnTo>
                  <a:lnTo>
                    <a:pt x="124" y="88"/>
                  </a:lnTo>
                  <a:lnTo>
                    <a:pt x="100" y="91"/>
                  </a:lnTo>
                  <a:lnTo>
                    <a:pt x="78" y="88"/>
                  </a:lnTo>
                  <a:lnTo>
                    <a:pt x="56" y="81"/>
                  </a:lnTo>
                  <a:lnTo>
                    <a:pt x="38" y="72"/>
                  </a:lnTo>
                  <a:lnTo>
                    <a:pt x="22" y="64"/>
                  </a:lnTo>
                  <a:lnTo>
                    <a:pt x="11" y="54"/>
                  </a:lnTo>
                  <a:lnTo>
                    <a:pt x="2" y="47"/>
                  </a:lnTo>
                  <a:lnTo>
                    <a:pt x="0" y="45"/>
                  </a:lnTo>
                  <a:lnTo>
                    <a:pt x="2" y="44"/>
                  </a:lnTo>
                  <a:lnTo>
                    <a:pt x="11" y="37"/>
                  </a:lnTo>
                  <a:lnTo>
                    <a:pt x="22" y="27"/>
                  </a:lnTo>
                  <a:lnTo>
                    <a:pt x="38" y="18"/>
                  </a:lnTo>
                  <a:lnTo>
                    <a:pt x="56" y="10"/>
                  </a:lnTo>
                  <a:lnTo>
                    <a:pt x="78" y="3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9" name="Freeform 2265"/>
            <p:cNvSpPr>
              <a:spLocks/>
            </p:cNvSpPr>
            <p:nvPr/>
          </p:nvSpPr>
          <p:spPr bwMode="auto">
            <a:xfrm>
              <a:off x="8900433" y="444489"/>
              <a:ext cx="66675" cy="69850"/>
            </a:xfrm>
            <a:custGeom>
              <a:avLst/>
              <a:gdLst>
                <a:gd name="T0" fmla="*/ 41 w 83"/>
                <a:gd name="T1" fmla="*/ 0 h 86"/>
                <a:gd name="T2" fmla="*/ 58 w 83"/>
                <a:gd name="T3" fmla="*/ 3 h 86"/>
                <a:gd name="T4" fmla="*/ 71 w 83"/>
                <a:gd name="T5" fmla="*/ 12 h 86"/>
                <a:gd name="T6" fmla="*/ 80 w 83"/>
                <a:gd name="T7" fmla="*/ 27 h 86"/>
                <a:gd name="T8" fmla="*/ 83 w 83"/>
                <a:gd name="T9" fmla="*/ 44 h 86"/>
                <a:gd name="T10" fmla="*/ 80 w 83"/>
                <a:gd name="T11" fmla="*/ 61 h 86"/>
                <a:gd name="T12" fmla="*/ 71 w 83"/>
                <a:gd name="T13" fmla="*/ 75 h 86"/>
                <a:gd name="T14" fmla="*/ 58 w 83"/>
                <a:gd name="T15" fmla="*/ 83 h 86"/>
                <a:gd name="T16" fmla="*/ 41 w 83"/>
                <a:gd name="T17" fmla="*/ 86 h 86"/>
                <a:gd name="T18" fmla="*/ 26 w 83"/>
                <a:gd name="T19" fmla="*/ 83 h 86"/>
                <a:gd name="T20" fmla="*/ 12 w 83"/>
                <a:gd name="T21" fmla="*/ 75 h 86"/>
                <a:gd name="T22" fmla="*/ 4 w 83"/>
                <a:gd name="T23" fmla="*/ 61 h 86"/>
                <a:gd name="T24" fmla="*/ 0 w 83"/>
                <a:gd name="T25" fmla="*/ 44 h 86"/>
                <a:gd name="T26" fmla="*/ 4 w 83"/>
                <a:gd name="T27" fmla="*/ 27 h 86"/>
                <a:gd name="T28" fmla="*/ 12 w 83"/>
                <a:gd name="T29" fmla="*/ 12 h 86"/>
                <a:gd name="T30" fmla="*/ 26 w 83"/>
                <a:gd name="T31" fmla="*/ 3 h 86"/>
                <a:gd name="T32" fmla="*/ 41 w 83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86">
                  <a:moveTo>
                    <a:pt x="41" y="0"/>
                  </a:moveTo>
                  <a:lnTo>
                    <a:pt x="58" y="3"/>
                  </a:lnTo>
                  <a:lnTo>
                    <a:pt x="71" y="12"/>
                  </a:lnTo>
                  <a:lnTo>
                    <a:pt x="80" y="27"/>
                  </a:lnTo>
                  <a:lnTo>
                    <a:pt x="83" y="44"/>
                  </a:lnTo>
                  <a:lnTo>
                    <a:pt x="80" y="61"/>
                  </a:lnTo>
                  <a:lnTo>
                    <a:pt x="71" y="75"/>
                  </a:lnTo>
                  <a:lnTo>
                    <a:pt x="58" y="83"/>
                  </a:lnTo>
                  <a:lnTo>
                    <a:pt x="41" y="86"/>
                  </a:lnTo>
                  <a:lnTo>
                    <a:pt x="26" y="83"/>
                  </a:lnTo>
                  <a:lnTo>
                    <a:pt x="12" y="75"/>
                  </a:lnTo>
                  <a:lnTo>
                    <a:pt x="4" y="61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2"/>
                  </a:lnTo>
                  <a:lnTo>
                    <a:pt x="26" y="3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0" name="Freeform 2266"/>
            <p:cNvSpPr>
              <a:spLocks/>
            </p:cNvSpPr>
            <p:nvPr/>
          </p:nvSpPr>
          <p:spPr bwMode="auto">
            <a:xfrm>
              <a:off x="8930596" y="458776"/>
              <a:ext cx="20638" cy="22225"/>
            </a:xfrm>
            <a:custGeom>
              <a:avLst/>
              <a:gdLst>
                <a:gd name="T0" fmla="*/ 13 w 27"/>
                <a:gd name="T1" fmla="*/ 0 h 29"/>
                <a:gd name="T2" fmla="*/ 18 w 27"/>
                <a:gd name="T3" fmla="*/ 2 h 29"/>
                <a:gd name="T4" fmla="*/ 23 w 27"/>
                <a:gd name="T5" fmla="*/ 5 h 29"/>
                <a:gd name="T6" fmla="*/ 27 w 27"/>
                <a:gd name="T7" fmla="*/ 8 h 29"/>
                <a:gd name="T8" fmla="*/ 27 w 27"/>
                <a:gd name="T9" fmla="*/ 15 h 29"/>
                <a:gd name="T10" fmla="*/ 27 w 27"/>
                <a:gd name="T11" fmla="*/ 20 h 29"/>
                <a:gd name="T12" fmla="*/ 23 w 27"/>
                <a:gd name="T13" fmla="*/ 25 h 29"/>
                <a:gd name="T14" fmla="*/ 18 w 27"/>
                <a:gd name="T15" fmla="*/ 29 h 29"/>
                <a:gd name="T16" fmla="*/ 13 w 27"/>
                <a:gd name="T17" fmla="*/ 29 h 29"/>
                <a:gd name="T18" fmla="*/ 8 w 27"/>
                <a:gd name="T19" fmla="*/ 29 h 29"/>
                <a:gd name="T20" fmla="*/ 3 w 27"/>
                <a:gd name="T21" fmla="*/ 25 h 29"/>
                <a:gd name="T22" fmla="*/ 1 w 27"/>
                <a:gd name="T23" fmla="*/ 20 h 29"/>
                <a:gd name="T24" fmla="*/ 0 w 27"/>
                <a:gd name="T25" fmla="*/ 15 h 29"/>
                <a:gd name="T26" fmla="*/ 1 w 27"/>
                <a:gd name="T27" fmla="*/ 8 h 29"/>
                <a:gd name="T28" fmla="*/ 3 w 27"/>
                <a:gd name="T29" fmla="*/ 5 h 29"/>
                <a:gd name="T30" fmla="*/ 8 w 27"/>
                <a:gd name="T31" fmla="*/ 2 h 29"/>
                <a:gd name="T32" fmla="*/ 13 w 27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9">
                  <a:moveTo>
                    <a:pt x="13" y="0"/>
                  </a:moveTo>
                  <a:lnTo>
                    <a:pt x="18" y="2"/>
                  </a:lnTo>
                  <a:lnTo>
                    <a:pt x="23" y="5"/>
                  </a:lnTo>
                  <a:lnTo>
                    <a:pt x="27" y="8"/>
                  </a:lnTo>
                  <a:lnTo>
                    <a:pt x="27" y="15"/>
                  </a:lnTo>
                  <a:lnTo>
                    <a:pt x="27" y="20"/>
                  </a:lnTo>
                  <a:lnTo>
                    <a:pt x="23" y="25"/>
                  </a:lnTo>
                  <a:lnTo>
                    <a:pt x="18" y="29"/>
                  </a:lnTo>
                  <a:lnTo>
                    <a:pt x="13" y="29"/>
                  </a:lnTo>
                  <a:lnTo>
                    <a:pt x="8" y="29"/>
                  </a:lnTo>
                  <a:lnTo>
                    <a:pt x="3" y="25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1" y="8"/>
                  </a:lnTo>
                  <a:lnTo>
                    <a:pt x="3" y="5"/>
                  </a:lnTo>
                  <a:lnTo>
                    <a:pt x="8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1" name="Freeform 2267"/>
            <p:cNvSpPr>
              <a:spLocks/>
            </p:cNvSpPr>
            <p:nvPr/>
          </p:nvSpPr>
          <p:spPr bwMode="auto">
            <a:xfrm>
              <a:off x="9240158" y="442901"/>
              <a:ext cx="160338" cy="73025"/>
            </a:xfrm>
            <a:custGeom>
              <a:avLst/>
              <a:gdLst>
                <a:gd name="T0" fmla="*/ 100 w 201"/>
                <a:gd name="T1" fmla="*/ 0 h 91"/>
                <a:gd name="T2" fmla="*/ 123 w 201"/>
                <a:gd name="T3" fmla="*/ 3 h 91"/>
                <a:gd name="T4" fmla="*/ 145 w 201"/>
                <a:gd name="T5" fmla="*/ 10 h 91"/>
                <a:gd name="T6" fmla="*/ 164 w 201"/>
                <a:gd name="T7" fmla="*/ 18 h 91"/>
                <a:gd name="T8" fmla="*/ 179 w 201"/>
                <a:gd name="T9" fmla="*/ 27 h 91"/>
                <a:gd name="T10" fmla="*/ 191 w 201"/>
                <a:gd name="T11" fmla="*/ 37 h 91"/>
                <a:gd name="T12" fmla="*/ 198 w 201"/>
                <a:gd name="T13" fmla="*/ 44 h 91"/>
                <a:gd name="T14" fmla="*/ 201 w 201"/>
                <a:gd name="T15" fmla="*/ 45 h 91"/>
                <a:gd name="T16" fmla="*/ 198 w 201"/>
                <a:gd name="T17" fmla="*/ 47 h 91"/>
                <a:gd name="T18" fmla="*/ 191 w 201"/>
                <a:gd name="T19" fmla="*/ 54 h 91"/>
                <a:gd name="T20" fmla="*/ 179 w 201"/>
                <a:gd name="T21" fmla="*/ 64 h 91"/>
                <a:gd name="T22" fmla="*/ 164 w 201"/>
                <a:gd name="T23" fmla="*/ 72 h 91"/>
                <a:gd name="T24" fmla="*/ 145 w 201"/>
                <a:gd name="T25" fmla="*/ 81 h 91"/>
                <a:gd name="T26" fmla="*/ 123 w 201"/>
                <a:gd name="T27" fmla="*/ 88 h 91"/>
                <a:gd name="T28" fmla="*/ 100 w 201"/>
                <a:gd name="T29" fmla="*/ 91 h 91"/>
                <a:gd name="T30" fmla="*/ 78 w 201"/>
                <a:gd name="T31" fmla="*/ 88 h 91"/>
                <a:gd name="T32" fmla="*/ 56 w 201"/>
                <a:gd name="T33" fmla="*/ 81 h 91"/>
                <a:gd name="T34" fmla="*/ 37 w 201"/>
                <a:gd name="T35" fmla="*/ 72 h 91"/>
                <a:gd name="T36" fmla="*/ 22 w 201"/>
                <a:gd name="T37" fmla="*/ 64 h 91"/>
                <a:gd name="T38" fmla="*/ 10 w 201"/>
                <a:gd name="T39" fmla="*/ 54 h 91"/>
                <a:gd name="T40" fmla="*/ 3 w 201"/>
                <a:gd name="T41" fmla="*/ 47 h 91"/>
                <a:gd name="T42" fmla="*/ 0 w 201"/>
                <a:gd name="T43" fmla="*/ 45 h 91"/>
                <a:gd name="T44" fmla="*/ 3 w 201"/>
                <a:gd name="T45" fmla="*/ 44 h 91"/>
                <a:gd name="T46" fmla="*/ 10 w 201"/>
                <a:gd name="T47" fmla="*/ 37 h 91"/>
                <a:gd name="T48" fmla="*/ 22 w 201"/>
                <a:gd name="T49" fmla="*/ 27 h 91"/>
                <a:gd name="T50" fmla="*/ 37 w 201"/>
                <a:gd name="T51" fmla="*/ 18 h 91"/>
                <a:gd name="T52" fmla="*/ 56 w 201"/>
                <a:gd name="T53" fmla="*/ 10 h 91"/>
                <a:gd name="T54" fmla="*/ 78 w 201"/>
                <a:gd name="T55" fmla="*/ 3 h 91"/>
                <a:gd name="T56" fmla="*/ 100 w 201"/>
                <a:gd name="T5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1" h="91">
                  <a:moveTo>
                    <a:pt x="100" y="0"/>
                  </a:moveTo>
                  <a:lnTo>
                    <a:pt x="123" y="3"/>
                  </a:lnTo>
                  <a:lnTo>
                    <a:pt x="145" y="10"/>
                  </a:lnTo>
                  <a:lnTo>
                    <a:pt x="164" y="18"/>
                  </a:lnTo>
                  <a:lnTo>
                    <a:pt x="179" y="27"/>
                  </a:lnTo>
                  <a:lnTo>
                    <a:pt x="191" y="37"/>
                  </a:lnTo>
                  <a:lnTo>
                    <a:pt x="198" y="44"/>
                  </a:lnTo>
                  <a:lnTo>
                    <a:pt x="201" y="45"/>
                  </a:lnTo>
                  <a:lnTo>
                    <a:pt x="198" y="47"/>
                  </a:lnTo>
                  <a:lnTo>
                    <a:pt x="191" y="54"/>
                  </a:lnTo>
                  <a:lnTo>
                    <a:pt x="179" y="64"/>
                  </a:lnTo>
                  <a:lnTo>
                    <a:pt x="164" y="72"/>
                  </a:lnTo>
                  <a:lnTo>
                    <a:pt x="145" y="81"/>
                  </a:lnTo>
                  <a:lnTo>
                    <a:pt x="123" y="88"/>
                  </a:lnTo>
                  <a:lnTo>
                    <a:pt x="100" y="91"/>
                  </a:lnTo>
                  <a:lnTo>
                    <a:pt x="78" y="88"/>
                  </a:lnTo>
                  <a:lnTo>
                    <a:pt x="56" y="81"/>
                  </a:lnTo>
                  <a:lnTo>
                    <a:pt x="37" y="72"/>
                  </a:lnTo>
                  <a:lnTo>
                    <a:pt x="22" y="64"/>
                  </a:lnTo>
                  <a:lnTo>
                    <a:pt x="10" y="54"/>
                  </a:lnTo>
                  <a:lnTo>
                    <a:pt x="3" y="47"/>
                  </a:lnTo>
                  <a:lnTo>
                    <a:pt x="0" y="45"/>
                  </a:lnTo>
                  <a:lnTo>
                    <a:pt x="3" y="44"/>
                  </a:lnTo>
                  <a:lnTo>
                    <a:pt x="10" y="37"/>
                  </a:lnTo>
                  <a:lnTo>
                    <a:pt x="22" y="27"/>
                  </a:lnTo>
                  <a:lnTo>
                    <a:pt x="37" y="18"/>
                  </a:lnTo>
                  <a:lnTo>
                    <a:pt x="56" y="10"/>
                  </a:lnTo>
                  <a:lnTo>
                    <a:pt x="78" y="3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2" name="Freeform 2268"/>
            <p:cNvSpPr>
              <a:spLocks/>
            </p:cNvSpPr>
            <p:nvPr/>
          </p:nvSpPr>
          <p:spPr bwMode="auto">
            <a:xfrm>
              <a:off x="9289371" y="444489"/>
              <a:ext cx="65088" cy="69850"/>
            </a:xfrm>
            <a:custGeom>
              <a:avLst/>
              <a:gdLst>
                <a:gd name="T0" fmla="*/ 40 w 81"/>
                <a:gd name="T1" fmla="*/ 0 h 86"/>
                <a:gd name="T2" fmla="*/ 56 w 81"/>
                <a:gd name="T3" fmla="*/ 3 h 86"/>
                <a:gd name="T4" fmla="*/ 69 w 81"/>
                <a:gd name="T5" fmla="*/ 12 h 86"/>
                <a:gd name="T6" fmla="*/ 78 w 81"/>
                <a:gd name="T7" fmla="*/ 27 h 86"/>
                <a:gd name="T8" fmla="*/ 81 w 81"/>
                <a:gd name="T9" fmla="*/ 44 h 86"/>
                <a:gd name="T10" fmla="*/ 78 w 81"/>
                <a:gd name="T11" fmla="*/ 61 h 86"/>
                <a:gd name="T12" fmla="*/ 69 w 81"/>
                <a:gd name="T13" fmla="*/ 75 h 86"/>
                <a:gd name="T14" fmla="*/ 56 w 81"/>
                <a:gd name="T15" fmla="*/ 83 h 86"/>
                <a:gd name="T16" fmla="*/ 40 w 81"/>
                <a:gd name="T17" fmla="*/ 86 h 86"/>
                <a:gd name="T18" fmla="*/ 25 w 81"/>
                <a:gd name="T19" fmla="*/ 83 h 86"/>
                <a:gd name="T20" fmla="*/ 12 w 81"/>
                <a:gd name="T21" fmla="*/ 75 h 86"/>
                <a:gd name="T22" fmla="*/ 3 w 81"/>
                <a:gd name="T23" fmla="*/ 61 h 86"/>
                <a:gd name="T24" fmla="*/ 0 w 81"/>
                <a:gd name="T25" fmla="*/ 44 h 86"/>
                <a:gd name="T26" fmla="*/ 3 w 81"/>
                <a:gd name="T27" fmla="*/ 27 h 86"/>
                <a:gd name="T28" fmla="*/ 12 w 81"/>
                <a:gd name="T29" fmla="*/ 12 h 86"/>
                <a:gd name="T30" fmla="*/ 25 w 81"/>
                <a:gd name="T31" fmla="*/ 3 h 86"/>
                <a:gd name="T32" fmla="*/ 40 w 81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86">
                  <a:moveTo>
                    <a:pt x="40" y="0"/>
                  </a:moveTo>
                  <a:lnTo>
                    <a:pt x="56" y="3"/>
                  </a:lnTo>
                  <a:lnTo>
                    <a:pt x="69" y="12"/>
                  </a:lnTo>
                  <a:lnTo>
                    <a:pt x="78" y="27"/>
                  </a:lnTo>
                  <a:lnTo>
                    <a:pt x="81" y="44"/>
                  </a:lnTo>
                  <a:lnTo>
                    <a:pt x="78" y="61"/>
                  </a:lnTo>
                  <a:lnTo>
                    <a:pt x="69" y="75"/>
                  </a:lnTo>
                  <a:lnTo>
                    <a:pt x="56" y="83"/>
                  </a:lnTo>
                  <a:lnTo>
                    <a:pt x="40" y="86"/>
                  </a:lnTo>
                  <a:lnTo>
                    <a:pt x="25" y="83"/>
                  </a:lnTo>
                  <a:lnTo>
                    <a:pt x="12" y="75"/>
                  </a:lnTo>
                  <a:lnTo>
                    <a:pt x="3" y="61"/>
                  </a:lnTo>
                  <a:lnTo>
                    <a:pt x="0" y="44"/>
                  </a:lnTo>
                  <a:lnTo>
                    <a:pt x="3" y="27"/>
                  </a:lnTo>
                  <a:lnTo>
                    <a:pt x="12" y="12"/>
                  </a:lnTo>
                  <a:lnTo>
                    <a:pt x="25" y="3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3" name="Freeform 2269"/>
            <p:cNvSpPr>
              <a:spLocks/>
            </p:cNvSpPr>
            <p:nvPr/>
          </p:nvSpPr>
          <p:spPr bwMode="auto">
            <a:xfrm>
              <a:off x="9319533" y="458776"/>
              <a:ext cx="20638" cy="22225"/>
            </a:xfrm>
            <a:custGeom>
              <a:avLst/>
              <a:gdLst>
                <a:gd name="T0" fmla="*/ 14 w 27"/>
                <a:gd name="T1" fmla="*/ 0 h 29"/>
                <a:gd name="T2" fmla="*/ 19 w 27"/>
                <a:gd name="T3" fmla="*/ 2 h 29"/>
                <a:gd name="T4" fmla="*/ 22 w 27"/>
                <a:gd name="T5" fmla="*/ 5 h 29"/>
                <a:gd name="T6" fmla="*/ 25 w 27"/>
                <a:gd name="T7" fmla="*/ 8 h 29"/>
                <a:gd name="T8" fmla="*/ 27 w 27"/>
                <a:gd name="T9" fmla="*/ 15 h 29"/>
                <a:gd name="T10" fmla="*/ 25 w 27"/>
                <a:gd name="T11" fmla="*/ 20 h 29"/>
                <a:gd name="T12" fmla="*/ 22 w 27"/>
                <a:gd name="T13" fmla="*/ 25 h 29"/>
                <a:gd name="T14" fmla="*/ 19 w 27"/>
                <a:gd name="T15" fmla="*/ 29 h 29"/>
                <a:gd name="T16" fmla="*/ 14 w 27"/>
                <a:gd name="T17" fmla="*/ 29 h 29"/>
                <a:gd name="T18" fmla="*/ 8 w 27"/>
                <a:gd name="T19" fmla="*/ 29 h 29"/>
                <a:gd name="T20" fmla="*/ 3 w 27"/>
                <a:gd name="T21" fmla="*/ 25 h 29"/>
                <a:gd name="T22" fmla="*/ 0 w 27"/>
                <a:gd name="T23" fmla="*/ 20 h 29"/>
                <a:gd name="T24" fmla="*/ 0 w 27"/>
                <a:gd name="T25" fmla="*/ 15 h 29"/>
                <a:gd name="T26" fmla="*/ 0 w 27"/>
                <a:gd name="T27" fmla="*/ 8 h 29"/>
                <a:gd name="T28" fmla="*/ 3 w 27"/>
                <a:gd name="T29" fmla="*/ 5 h 29"/>
                <a:gd name="T30" fmla="*/ 8 w 27"/>
                <a:gd name="T31" fmla="*/ 2 h 29"/>
                <a:gd name="T32" fmla="*/ 14 w 27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9">
                  <a:moveTo>
                    <a:pt x="14" y="0"/>
                  </a:moveTo>
                  <a:lnTo>
                    <a:pt x="19" y="2"/>
                  </a:lnTo>
                  <a:lnTo>
                    <a:pt x="22" y="5"/>
                  </a:lnTo>
                  <a:lnTo>
                    <a:pt x="25" y="8"/>
                  </a:lnTo>
                  <a:lnTo>
                    <a:pt x="27" y="15"/>
                  </a:lnTo>
                  <a:lnTo>
                    <a:pt x="25" y="20"/>
                  </a:lnTo>
                  <a:lnTo>
                    <a:pt x="22" y="25"/>
                  </a:lnTo>
                  <a:lnTo>
                    <a:pt x="19" y="29"/>
                  </a:lnTo>
                  <a:lnTo>
                    <a:pt x="14" y="29"/>
                  </a:lnTo>
                  <a:lnTo>
                    <a:pt x="8" y="29"/>
                  </a:lnTo>
                  <a:lnTo>
                    <a:pt x="3" y="25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5"/>
                  </a:lnTo>
                  <a:lnTo>
                    <a:pt x="8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4" name="Freeform 2270"/>
            <p:cNvSpPr>
              <a:spLocks/>
            </p:cNvSpPr>
            <p:nvPr/>
          </p:nvSpPr>
          <p:spPr bwMode="auto">
            <a:xfrm>
              <a:off x="9027433" y="809614"/>
              <a:ext cx="203200" cy="92075"/>
            </a:xfrm>
            <a:custGeom>
              <a:avLst/>
              <a:gdLst>
                <a:gd name="T0" fmla="*/ 0 w 256"/>
                <a:gd name="T1" fmla="*/ 0 h 117"/>
                <a:gd name="T2" fmla="*/ 256 w 256"/>
                <a:gd name="T3" fmla="*/ 0 h 117"/>
                <a:gd name="T4" fmla="*/ 256 w 256"/>
                <a:gd name="T5" fmla="*/ 2 h 117"/>
                <a:gd name="T6" fmla="*/ 256 w 256"/>
                <a:gd name="T7" fmla="*/ 5 h 117"/>
                <a:gd name="T8" fmla="*/ 255 w 256"/>
                <a:gd name="T9" fmla="*/ 8 h 117"/>
                <a:gd name="T10" fmla="*/ 253 w 256"/>
                <a:gd name="T11" fmla="*/ 15 h 117"/>
                <a:gd name="T12" fmla="*/ 244 w 256"/>
                <a:gd name="T13" fmla="*/ 32 h 117"/>
                <a:gd name="T14" fmla="*/ 234 w 256"/>
                <a:gd name="T15" fmla="*/ 52 h 117"/>
                <a:gd name="T16" fmla="*/ 217 w 256"/>
                <a:gd name="T17" fmla="*/ 74 h 117"/>
                <a:gd name="T18" fmla="*/ 195 w 256"/>
                <a:gd name="T19" fmla="*/ 93 h 117"/>
                <a:gd name="T20" fmla="*/ 177 w 256"/>
                <a:gd name="T21" fmla="*/ 105 h 117"/>
                <a:gd name="T22" fmla="*/ 155 w 256"/>
                <a:gd name="T23" fmla="*/ 113 h 117"/>
                <a:gd name="T24" fmla="*/ 129 w 256"/>
                <a:gd name="T25" fmla="*/ 117 h 117"/>
                <a:gd name="T26" fmla="*/ 102 w 256"/>
                <a:gd name="T27" fmla="*/ 113 h 117"/>
                <a:gd name="T28" fmla="*/ 80 w 256"/>
                <a:gd name="T29" fmla="*/ 105 h 117"/>
                <a:gd name="T30" fmla="*/ 61 w 256"/>
                <a:gd name="T31" fmla="*/ 93 h 117"/>
                <a:gd name="T32" fmla="*/ 39 w 256"/>
                <a:gd name="T33" fmla="*/ 73 h 117"/>
                <a:gd name="T34" fmla="*/ 24 w 256"/>
                <a:gd name="T35" fmla="*/ 52 h 117"/>
                <a:gd name="T36" fmla="*/ 12 w 256"/>
                <a:gd name="T37" fmla="*/ 32 h 117"/>
                <a:gd name="T38" fmla="*/ 6 w 256"/>
                <a:gd name="T39" fmla="*/ 15 h 117"/>
                <a:gd name="T40" fmla="*/ 4 w 256"/>
                <a:gd name="T41" fmla="*/ 8 h 117"/>
                <a:gd name="T42" fmla="*/ 2 w 256"/>
                <a:gd name="T43" fmla="*/ 5 h 117"/>
                <a:gd name="T44" fmla="*/ 0 w 256"/>
                <a:gd name="T45" fmla="*/ 2 h 117"/>
                <a:gd name="T46" fmla="*/ 0 w 256"/>
                <a:gd name="T4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6" h="117">
                  <a:moveTo>
                    <a:pt x="0" y="0"/>
                  </a:moveTo>
                  <a:lnTo>
                    <a:pt x="256" y="0"/>
                  </a:lnTo>
                  <a:lnTo>
                    <a:pt x="256" y="2"/>
                  </a:lnTo>
                  <a:lnTo>
                    <a:pt x="256" y="5"/>
                  </a:lnTo>
                  <a:lnTo>
                    <a:pt x="255" y="8"/>
                  </a:lnTo>
                  <a:lnTo>
                    <a:pt x="253" y="15"/>
                  </a:lnTo>
                  <a:lnTo>
                    <a:pt x="244" y="32"/>
                  </a:lnTo>
                  <a:lnTo>
                    <a:pt x="234" y="52"/>
                  </a:lnTo>
                  <a:lnTo>
                    <a:pt x="217" y="74"/>
                  </a:lnTo>
                  <a:lnTo>
                    <a:pt x="195" y="93"/>
                  </a:lnTo>
                  <a:lnTo>
                    <a:pt x="177" y="105"/>
                  </a:lnTo>
                  <a:lnTo>
                    <a:pt x="155" y="113"/>
                  </a:lnTo>
                  <a:lnTo>
                    <a:pt x="129" y="117"/>
                  </a:lnTo>
                  <a:lnTo>
                    <a:pt x="102" y="113"/>
                  </a:lnTo>
                  <a:lnTo>
                    <a:pt x="80" y="105"/>
                  </a:lnTo>
                  <a:lnTo>
                    <a:pt x="61" y="93"/>
                  </a:lnTo>
                  <a:lnTo>
                    <a:pt x="39" y="73"/>
                  </a:lnTo>
                  <a:lnTo>
                    <a:pt x="24" y="52"/>
                  </a:lnTo>
                  <a:lnTo>
                    <a:pt x="12" y="32"/>
                  </a:lnTo>
                  <a:lnTo>
                    <a:pt x="6" y="15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5B9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5" name="Freeform 2271"/>
            <p:cNvSpPr>
              <a:spLocks noEditPoints="1"/>
            </p:cNvSpPr>
            <p:nvPr/>
          </p:nvSpPr>
          <p:spPr bwMode="auto">
            <a:xfrm>
              <a:off x="9021083" y="803264"/>
              <a:ext cx="217488" cy="107950"/>
            </a:xfrm>
            <a:custGeom>
              <a:avLst/>
              <a:gdLst>
                <a:gd name="T0" fmla="*/ 22 w 274"/>
                <a:gd name="T1" fmla="*/ 21 h 138"/>
                <a:gd name="T2" fmla="*/ 29 w 274"/>
                <a:gd name="T3" fmla="*/ 36 h 138"/>
                <a:gd name="T4" fmla="*/ 39 w 274"/>
                <a:gd name="T5" fmla="*/ 56 h 138"/>
                <a:gd name="T6" fmla="*/ 54 w 274"/>
                <a:gd name="T7" fmla="*/ 75 h 138"/>
                <a:gd name="T8" fmla="*/ 75 w 274"/>
                <a:gd name="T9" fmla="*/ 94 h 138"/>
                <a:gd name="T10" fmla="*/ 103 w 274"/>
                <a:gd name="T11" fmla="*/ 109 h 138"/>
                <a:gd name="T12" fmla="*/ 137 w 274"/>
                <a:gd name="T13" fmla="*/ 116 h 138"/>
                <a:gd name="T14" fmla="*/ 169 w 274"/>
                <a:gd name="T15" fmla="*/ 109 h 138"/>
                <a:gd name="T16" fmla="*/ 198 w 274"/>
                <a:gd name="T17" fmla="*/ 94 h 138"/>
                <a:gd name="T18" fmla="*/ 218 w 274"/>
                <a:gd name="T19" fmla="*/ 75 h 138"/>
                <a:gd name="T20" fmla="*/ 234 w 274"/>
                <a:gd name="T21" fmla="*/ 56 h 138"/>
                <a:gd name="T22" fmla="*/ 244 w 274"/>
                <a:gd name="T23" fmla="*/ 36 h 138"/>
                <a:gd name="T24" fmla="*/ 251 w 274"/>
                <a:gd name="T25" fmla="*/ 21 h 138"/>
                <a:gd name="T26" fmla="*/ 22 w 274"/>
                <a:gd name="T27" fmla="*/ 21 h 138"/>
                <a:gd name="T28" fmla="*/ 8 w 274"/>
                <a:gd name="T29" fmla="*/ 0 h 138"/>
                <a:gd name="T30" fmla="*/ 264 w 274"/>
                <a:gd name="T31" fmla="*/ 0 h 138"/>
                <a:gd name="T32" fmla="*/ 268 w 274"/>
                <a:gd name="T33" fmla="*/ 0 h 138"/>
                <a:gd name="T34" fmla="*/ 269 w 274"/>
                <a:gd name="T35" fmla="*/ 2 h 138"/>
                <a:gd name="T36" fmla="*/ 273 w 274"/>
                <a:gd name="T37" fmla="*/ 4 h 138"/>
                <a:gd name="T38" fmla="*/ 274 w 274"/>
                <a:gd name="T39" fmla="*/ 7 h 138"/>
                <a:gd name="T40" fmla="*/ 274 w 274"/>
                <a:gd name="T41" fmla="*/ 12 h 138"/>
                <a:gd name="T42" fmla="*/ 274 w 274"/>
                <a:gd name="T43" fmla="*/ 14 h 138"/>
                <a:gd name="T44" fmla="*/ 273 w 274"/>
                <a:gd name="T45" fmla="*/ 17 h 138"/>
                <a:gd name="T46" fmla="*/ 271 w 274"/>
                <a:gd name="T47" fmla="*/ 23 h 138"/>
                <a:gd name="T48" fmla="*/ 269 w 274"/>
                <a:gd name="T49" fmla="*/ 28 h 138"/>
                <a:gd name="T50" fmla="*/ 263 w 274"/>
                <a:gd name="T51" fmla="*/ 46 h 138"/>
                <a:gd name="T52" fmla="*/ 249 w 274"/>
                <a:gd name="T53" fmla="*/ 67 h 138"/>
                <a:gd name="T54" fmla="*/ 232 w 274"/>
                <a:gd name="T55" fmla="*/ 90 h 138"/>
                <a:gd name="T56" fmla="*/ 210 w 274"/>
                <a:gd name="T57" fmla="*/ 111 h 138"/>
                <a:gd name="T58" fmla="*/ 188 w 274"/>
                <a:gd name="T59" fmla="*/ 124 h 138"/>
                <a:gd name="T60" fmla="*/ 163 w 274"/>
                <a:gd name="T61" fmla="*/ 133 h 138"/>
                <a:gd name="T62" fmla="*/ 137 w 274"/>
                <a:gd name="T63" fmla="*/ 138 h 138"/>
                <a:gd name="T64" fmla="*/ 137 w 274"/>
                <a:gd name="T65" fmla="*/ 138 h 138"/>
                <a:gd name="T66" fmla="*/ 136 w 274"/>
                <a:gd name="T67" fmla="*/ 138 h 138"/>
                <a:gd name="T68" fmla="*/ 110 w 274"/>
                <a:gd name="T69" fmla="*/ 133 h 138"/>
                <a:gd name="T70" fmla="*/ 86 w 274"/>
                <a:gd name="T71" fmla="*/ 124 h 138"/>
                <a:gd name="T72" fmla="*/ 64 w 274"/>
                <a:gd name="T73" fmla="*/ 111 h 138"/>
                <a:gd name="T74" fmla="*/ 41 w 274"/>
                <a:gd name="T75" fmla="*/ 90 h 138"/>
                <a:gd name="T76" fmla="*/ 24 w 274"/>
                <a:gd name="T77" fmla="*/ 67 h 138"/>
                <a:gd name="T78" fmla="*/ 12 w 274"/>
                <a:gd name="T79" fmla="*/ 46 h 138"/>
                <a:gd name="T80" fmla="*/ 5 w 274"/>
                <a:gd name="T81" fmla="*/ 28 h 138"/>
                <a:gd name="T82" fmla="*/ 2 w 274"/>
                <a:gd name="T83" fmla="*/ 21 h 138"/>
                <a:gd name="T84" fmla="*/ 0 w 274"/>
                <a:gd name="T85" fmla="*/ 17 h 138"/>
                <a:gd name="T86" fmla="*/ 0 w 274"/>
                <a:gd name="T87" fmla="*/ 14 h 138"/>
                <a:gd name="T88" fmla="*/ 0 w 274"/>
                <a:gd name="T89" fmla="*/ 12 h 138"/>
                <a:gd name="T90" fmla="*/ 0 w 274"/>
                <a:gd name="T91" fmla="*/ 7 h 138"/>
                <a:gd name="T92" fmla="*/ 2 w 274"/>
                <a:gd name="T93" fmla="*/ 4 h 138"/>
                <a:gd name="T94" fmla="*/ 3 w 274"/>
                <a:gd name="T95" fmla="*/ 2 h 138"/>
                <a:gd name="T96" fmla="*/ 7 w 274"/>
                <a:gd name="T97" fmla="*/ 0 h 138"/>
                <a:gd name="T98" fmla="*/ 8 w 274"/>
                <a:gd name="T9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4" h="138">
                  <a:moveTo>
                    <a:pt x="22" y="21"/>
                  </a:moveTo>
                  <a:lnTo>
                    <a:pt x="29" y="36"/>
                  </a:lnTo>
                  <a:lnTo>
                    <a:pt x="39" y="56"/>
                  </a:lnTo>
                  <a:lnTo>
                    <a:pt x="54" y="75"/>
                  </a:lnTo>
                  <a:lnTo>
                    <a:pt x="75" y="94"/>
                  </a:lnTo>
                  <a:lnTo>
                    <a:pt x="103" y="109"/>
                  </a:lnTo>
                  <a:lnTo>
                    <a:pt x="137" y="116"/>
                  </a:lnTo>
                  <a:lnTo>
                    <a:pt x="169" y="109"/>
                  </a:lnTo>
                  <a:lnTo>
                    <a:pt x="198" y="94"/>
                  </a:lnTo>
                  <a:lnTo>
                    <a:pt x="218" y="75"/>
                  </a:lnTo>
                  <a:lnTo>
                    <a:pt x="234" y="56"/>
                  </a:lnTo>
                  <a:lnTo>
                    <a:pt x="244" y="36"/>
                  </a:lnTo>
                  <a:lnTo>
                    <a:pt x="251" y="21"/>
                  </a:lnTo>
                  <a:lnTo>
                    <a:pt x="22" y="21"/>
                  </a:lnTo>
                  <a:close/>
                  <a:moveTo>
                    <a:pt x="8" y="0"/>
                  </a:moveTo>
                  <a:lnTo>
                    <a:pt x="264" y="0"/>
                  </a:lnTo>
                  <a:lnTo>
                    <a:pt x="268" y="0"/>
                  </a:lnTo>
                  <a:lnTo>
                    <a:pt x="269" y="2"/>
                  </a:lnTo>
                  <a:lnTo>
                    <a:pt x="273" y="4"/>
                  </a:lnTo>
                  <a:lnTo>
                    <a:pt x="274" y="7"/>
                  </a:lnTo>
                  <a:lnTo>
                    <a:pt x="274" y="12"/>
                  </a:lnTo>
                  <a:lnTo>
                    <a:pt x="274" y="14"/>
                  </a:lnTo>
                  <a:lnTo>
                    <a:pt x="273" y="17"/>
                  </a:lnTo>
                  <a:lnTo>
                    <a:pt x="271" y="23"/>
                  </a:lnTo>
                  <a:lnTo>
                    <a:pt x="269" y="28"/>
                  </a:lnTo>
                  <a:lnTo>
                    <a:pt x="263" y="46"/>
                  </a:lnTo>
                  <a:lnTo>
                    <a:pt x="249" y="67"/>
                  </a:lnTo>
                  <a:lnTo>
                    <a:pt x="232" y="90"/>
                  </a:lnTo>
                  <a:lnTo>
                    <a:pt x="210" y="111"/>
                  </a:lnTo>
                  <a:lnTo>
                    <a:pt x="188" y="124"/>
                  </a:lnTo>
                  <a:lnTo>
                    <a:pt x="163" y="133"/>
                  </a:lnTo>
                  <a:lnTo>
                    <a:pt x="137" y="138"/>
                  </a:lnTo>
                  <a:lnTo>
                    <a:pt x="137" y="138"/>
                  </a:lnTo>
                  <a:lnTo>
                    <a:pt x="136" y="138"/>
                  </a:lnTo>
                  <a:lnTo>
                    <a:pt x="110" y="133"/>
                  </a:lnTo>
                  <a:lnTo>
                    <a:pt x="86" y="124"/>
                  </a:lnTo>
                  <a:lnTo>
                    <a:pt x="64" y="111"/>
                  </a:lnTo>
                  <a:lnTo>
                    <a:pt x="41" y="90"/>
                  </a:lnTo>
                  <a:lnTo>
                    <a:pt x="24" y="67"/>
                  </a:lnTo>
                  <a:lnTo>
                    <a:pt x="12" y="46"/>
                  </a:lnTo>
                  <a:lnTo>
                    <a:pt x="5" y="28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3" y="2"/>
                  </a:lnTo>
                  <a:lnTo>
                    <a:pt x="7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6" name="Freeform 2272"/>
            <p:cNvSpPr>
              <a:spLocks/>
            </p:cNvSpPr>
            <p:nvPr/>
          </p:nvSpPr>
          <p:spPr bwMode="auto">
            <a:xfrm>
              <a:off x="9075058" y="884226"/>
              <a:ext cx="106363" cy="17463"/>
            </a:xfrm>
            <a:custGeom>
              <a:avLst/>
              <a:gdLst>
                <a:gd name="T0" fmla="*/ 0 w 134"/>
                <a:gd name="T1" fmla="*/ 0 h 24"/>
                <a:gd name="T2" fmla="*/ 134 w 134"/>
                <a:gd name="T3" fmla="*/ 0 h 24"/>
                <a:gd name="T4" fmla="*/ 116 w 134"/>
                <a:gd name="T5" fmla="*/ 12 h 24"/>
                <a:gd name="T6" fmla="*/ 94 w 134"/>
                <a:gd name="T7" fmla="*/ 20 h 24"/>
                <a:gd name="T8" fmla="*/ 68 w 134"/>
                <a:gd name="T9" fmla="*/ 24 h 24"/>
                <a:gd name="T10" fmla="*/ 41 w 134"/>
                <a:gd name="T11" fmla="*/ 20 h 24"/>
                <a:gd name="T12" fmla="*/ 19 w 134"/>
                <a:gd name="T13" fmla="*/ 12 h 24"/>
                <a:gd name="T14" fmla="*/ 0 w 13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" h="24">
                  <a:moveTo>
                    <a:pt x="0" y="0"/>
                  </a:moveTo>
                  <a:lnTo>
                    <a:pt x="134" y="0"/>
                  </a:lnTo>
                  <a:lnTo>
                    <a:pt x="116" y="12"/>
                  </a:lnTo>
                  <a:lnTo>
                    <a:pt x="94" y="20"/>
                  </a:lnTo>
                  <a:lnTo>
                    <a:pt x="68" y="24"/>
                  </a:lnTo>
                  <a:lnTo>
                    <a:pt x="41" y="20"/>
                  </a:lnTo>
                  <a:lnTo>
                    <a:pt x="19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7" name="Freeform 2273"/>
            <p:cNvSpPr>
              <a:spLocks/>
            </p:cNvSpPr>
            <p:nvPr/>
          </p:nvSpPr>
          <p:spPr bwMode="auto">
            <a:xfrm>
              <a:off x="9027433" y="811201"/>
              <a:ext cx="203200" cy="17463"/>
            </a:xfrm>
            <a:custGeom>
              <a:avLst/>
              <a:gdLst>
                <a:gd name="T0" fmla="*/ 0 w 256"/>
                <a:gd name="T1" fmla="*/ 0 h 22"/>
                <a:gd name="T2" fmla="*/ 256 w 256"/>
                <a:gd name="T3" fmla="*/ 0 h 22"/>
                <a:gd name="T4" fmla="*/ 256 w 256"/>
                <a:gd name="T5" fmla="*/ 0 h 22"/>
                <a:gd name="T6" fmla="*/ 256 w 256"/>
                <a:gd name="T7" fmla="*/ 3 h 22"/>
                <a:gd name="T8" fmla="*/ 255 w 256"/>
                <a:gd name="T9" fmla="*/ 8 h 22"/>
                <a:gd name="T10" fmla="*/ 253 w 256"/>
                <a:gd name="T11" fmla="*/ 13 h 22"/>
                <a:gd name="T12" fmla="*/ 248 w 256"/>
                <a:gd name="T13" fmla="*/ 22 h 22"/>
                <a:gd name="T14" fmla="*/ 9 w 256"/>
                <a:gd name="T15" fmla="*/ 22 h 22"/>
                <a:gd name="T16" fmla="*/ 6 w 256"/>
                <a:gd name="T17" fmla="*/ 13 h 22"/>
                <a:gd name="T18" fmla="*/ 4 w 256"/>
                <a:gd name="T19" fmla="*/ 8 h 22"/>
                <a:gd name="T20" fmla="*/ 2 w 256"/>
                <a:gd name="T21" fmla="*/ 3 h 22"/>
                <a:gd name="T22" fmla="*/ 0 w 256"/>
                <a:gd name="T23" fmla="*/ 0 h 22"/>
                <a:gd name="T24" fmla="*/ 0 w 256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2">
                  <a:moveTo>
                    <a:pt x="0" y="0"/>
                  </a:moveTo>
                  <a:lnTo>
                    <a:pt x="256" y="0"/>
                  </a:lnTo>
                  <a:lnTo>
                    <a:pt x="256" y="0"/>
                  </a:lnTo>
                  <a:lnTo>
                    <a:pt x="256" y="3"/>
                  </a:lnTo>
                  <a:lnTo>
                    <a:pt x="255" y="8"/>
                  </a:lnTo>
                  <a:lnTo>
                    <a:pt x="253" y="13"/>
                  </a:lnTo>
                  <a:lnTo>
                    <a:pt x="248" y="22"/>
                  </a:lnTo>
                  <a:lnTo>
                    <a:pt x="9" y="22"/>
                  </a:lnTo>
                  <a:lnTo>
                    <a:pt x="6" y="13"/>
                  </a:lnTo>
                  <a:lnTo>
                    <a:pt x="4" y="8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8" name="Freeform 2274"/>
            <p:cNvSpPr>
              <a:spLocks/>
            </p:cNvSpPr>
            <p:nvPr/>
          </p:nvSpPr>
          <p:spPr bwMode="auto">
            <a:xfrm>
              <a:off x="9033783" y="828664"/>
              <a:ext cx="188913" cy="55563"/>
            </a:xfrm>
            <a:custGeom>
              <a:avLst/>
              <a:gdLst>
                <a:gd name="T0" fmla="*/ 0 w 239"/>
                <a:gd name="T1" fmla="*/ 0 h 69"/>
                <a:gd name="T2" fmla="*/ 239 w 239"/>
                <a:gd name="T3" fmla="*/ 0 h 69"/>
                <a:gd name="T4" fmla="*/ 229 w 239"/>
                <a:gd name="T5" fmla="*/ 22 h 69"/>
                <a:gd name="T6" fmla="*/ 212 w 239"/>
                <a:gd name="T7" fmla="*/ 47 h 69"/>
                <a:gd name="T8" fmla="*/ 186 w 239"/>
                <a:gd name="T9" fmla="*/ 69 h 69"/>
                <a:gd name="T10" fmla="*/ 52 w 239"/>
                <a:gd name="T11" fmla="*/ 69 h 69"/>
                <a:gd name="T12" fmla="*/ 29 w 239"/>
                <a:gd name="T13" fmla="*/ 47 h 69"/>
                <a:gd name="T14" fmla="*/ 12 w 239"/>
                <a:gd name="T15" fmla="*/ 22 h 69"/>
                <a:gd name="T16" fmla="*/ 0 w 239"/>
                <a:gd name="T1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69">
                  <a:moveTo>
                    <a:pt x="0" y="0"/>
                  </a:moveTo>
                  <a:lnTo>
                    <a:pt x="239" y="0"/>
                  </a:lnTo>
                  <a:lnTo>
                    <a:pt x="229" y="22"/>
                  </a:lnTo>
                  <a:lnTo>
                    <a:pt x="212" y="47"/>
                  </a:lnTo>
                  <a:lnTo>
                    <a:pt x="186" y="69"/>
                  </a:lnTo>
                  <a:lnTo>
                    <a:pt x="52" y="69"/>
                  </a:lnTo>
                  <a:lnTo>
                    <a:pt x="29" y="47"/>
                  </a:lnTo>
                  <a:lnTo>
                    <a:pt x="12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5B9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9" name="Freeform 2275"/>
            <p:cNvSpPr>
              <a:spLocks/>
            </p:cNvSpPr>
            <p:nvPr/>
          </p:nvSpPr>
          <p:spPr bwMode="auto">
            <a:xfrm>
              <a:off x="9263971" y="1214426"/>
              <a:ext cx="606425" cy="2122488"/>
            </a:xfrm>
            <a:custGeom>
              <a:avLst/>
              <a:gdLst>
                <a:gd name="T0" fmla="*/ 533 w 763"/>
                <a:gd name="T1" fmla="*/ 137 h 2674"/>
                <a:gd name="T2" fmla="*/ 547 w 763"/>
                <a:gd name="T3" fmla="*/ 144 h 2674"/>
                <a:gd name="T4" fmla="*/ 582 w 763"/>
                <a:gd name="T5" fmla="*/ 162 h 2674"/>
                <a:gd name="T6" fmla="*/ 628 w 763"/>
                <a:gd name="T7" fmla="*/ 198 h 2674"/>
                <a:gd name="T8" fmla="*/ 677 w 763"/>
                <a:gd name="T9" fmla="*/ 250 h 2674"/>
                <a:gd name="T10" fmla="*/ 719 w 763"/>
                <a:gd name="T11" fmla="*/ 323 h 2674"/>
                <a:gd name="T12" fmla="*/ 745 w 763"/>
                <a:gd name="T13" fmla="*/ 420 h 2674"/>
                <a:gd name="T14" fmla="*/ 750 w 763"/>
                <a:gd name="T15" fmla="*/ 491 h 2674"/>
                <a:gd name="T16" fmla="*/ 755 w 763"/>
                <a:gd name="T17" fmla="*/ 598 h 2674"/>
                <a:gd name="T18" fmla="*/ 758 w 763"/>
                <a:gd name="T19" fmla="*/ 731 h 2674"/>
                <a:gd name="T20" fmla="*/ 762 w 763"/>
                <a:gd name="T21" fmla="*/ 885 h 2674"/>
                <a:gd name="T22" fmla="*/ 762 w 763"/>
                <a:gd name="T23" fmla="*/ 1051 h 2674"/>
                <a:gd name="T24" fmla="*/ 763 w 763"/>
                <a:gd name="T25" fmla="*/ 1224 h 2674"/>
                <a:gd name="T26" fmla="*/ 763 w 763"/>
                <a:gd name="T27" fmla="*/ 1394 h 2674"/>
                <a:gd name="T28" fmla="*/ 763 w 763"/>
                <a:gd name="T29" fmla="*/ 1553 h 2674"/>
                <a:gd name="T30" fmla="*/ 762 w 763"/>
                <a:gd name="T31" fmla="*/ 1695 h 2674"/>
                <a:gd name="T32" fmla="*/ 762 w 763"/>
                <a:gd name="T33" fmla="*/ 1814 h 2674"/>
                <a:gd name="T34" fmla="*/ 762 w 763"/>
                <a:gd name="T35" fmla="*/ 1900 h 2674"/>
                <a:gd name="T36" fmla="*/ 760 w 763"/>
                <a:gd name="T37" fmla="*/ 1946 h 2674"/>
                <a:gd name="T38" fmla="*/ 741 w 763"/>
                <a:gd name="T39" fmla="*/ 2674 h 2674"/>
                <a:gd name="T40" fmla="*/ 482 w 763"/>
                <a:gd name="T41" fmla="*/ 1742 h 2674"/>
                <a:gd name="T42" fmla="*/ 411 w 763"/>
                <a:gd name="T43" fmla="*/ 2234 h 2674"/>
                <a:gd name="T44" fmla="*/ 0 w 763"/>
                <a:gd name="T45" fmla="*/ 823 h 2674"/>
                <a:gd name="T46" fmla="*/ 1 w 763"/>
                <a:gd name="T47" fmla="*/ 799 h 2674"/>
                <a:gd name="T48" fmla="*/ 3 w 763"/>
                <a:gd name="T49" fmla="*/ 736 h 2674"/>
                <a:gd name="T50" fmla="*/ 8 w 763"/>
                <a:gd name="T51" fmla="*/ 645 h 2674"/>
                <a:gd name="T52" fmla="*/ 15 w 763"/>
                <a:gd name="T53" fmla="*/ 538 h 2674"/>
                <a:gd name="T54" fmla="*/ 25 w 763"/>
                <a:gd name="T55" fmla="*/ 428 h 2674"/>
                <a:gd name="T56" fmla="*/ 39 w 763"/>
                <a:gd name="T57" fmla="*/ 325 h 2674"/>
                <a:gd name="T58" fmla="*/ 55 w 763"/>
                <a:gd name="T59" fmla="*/ 240 h 2674"/>
                <a:gd name="T60" fmla="*/ 77 w 763"/>
                <a:gd name="T61" fmla="*/ 188 h 2674"/>
                <a:gd name="T62" fmla="*/ 120 w 763"/>
                <a:gd name="T63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63" h="2674">
                  <a:moveTo>
                    <a:pt x="120" y="0"/>
                  </a:moveTo>
                  <a:lnTo>
                    <a:pt x="533" y="137"/>
                  </a:lnTo>
                  <a:lnTo>
                    <a:pt x="536" y="139"/>
                  </a:lnTo>
                  <a:lnTo>
                    <a:pt x="547" y="144"/>
                  </a:lnTo>
                  <a:lnTo>
                    <a:pt x="562" y="150"/>
                  </a:lnTo>
                  <a:lnTo>
                    <a:pt x="582" y="162"/>
                  </a:lnTo>
                  <a:lnTo>
                    <a:pt x="604" y="178"/>
                  </a:lnTo>
                  <a:lnTo>
                    <a:pt x="628" y="198"/>
                  </a:lnTo>
                  <a:lnTo>
                    <a:pt x="653" y="222"/>
                  </a:lnTo>
                  <a:lnTo>
                    <a:pt x="677" y="250"/>
                  </a:lnTo>
                  <a:lnTo>
                    <a:pt x="699" y="284"/>
                  </a:lnTo>
                  <a:lnTo>
                    <a:pt x="719" y="323"/>
                  </a:lnTo>
                  <a:lnTo>
                    <a:pt x="735" y="369"/>
                  </a:lnTo>
                  <a:lnTo>
                    <a:pt x="745" y="420"/>
                  </a:lnTo>
                  <a:lnTo>
                    <a:pt x="748" y="450"/>
                  </a:lnTo>
                  <a:lnTo>
                    <a:pt x="750" y="491"/>
                  </a:lnTo>
                  <a:lnTo>
                    <a:pt x="753" y="540"/>
                  </a:lnTo>
                  <a:lnTo>
                    <a:pt x="755" y="598"/>
                  </a:lnTo>
                  <a:lnTo>
                    <a:pt x="757" y="662"/>
                  </a:lnTo>
                  <a:lnTo>
                    <a:pt x="758" y="731"/>
                  </a:lnTo>
                  <a:lnTo>
                    <a:pt x="760" y="806"/>
                  </a:lnTo>
                  <a:lnTo>
                    <a:pt x="762" y="885"/>
                  </a:lnTo>
                  <a:lnTo>
                    <a:pt x="762" y="968"/>
                  </a:lnTo>
                  <a:lnTo>
                    <a:pt x="762" y="1051"/>
                  </a:lnTo>
                  <a:lnTo>
                    <a:pt x="763" y="1138"/>
                  </a:lnTo>
                  <a:lnTo>
                    <a:pt x="763" y="1224"/>
                  </a:lnTo>
                  <a:lnTo>
                    <a:pt x="763" y="1309"/>
                  </a:lnTo>
                  <a:lnTo>
                    <a:pt x="763" y="1394"/>
                  </a:lnTo>
                  <a:lnTo>
                    <a:pt x="763" y="1475"/>
                  </a:lnTo>
                  <a:lnTo>
                    <a:pt x="763" y="1553"/>
                  </a:lnTo>
                  <a:lnTo>
                    <a:pt x="763" y="1627"/>
                  </a:lnTo>
                  <a:lnTo>
                    <a:pt x="762" y="1695"/>
                  </a:lnTo>
                  <a:lnTo>
                    <a:pt x="762" y="1758"/>
                  </a:lnTo>
                  <a:lnTo>
                    <a:pt x="762" y="1814"/>
                  </a:lnTo>
                  <a:lnTo>
                    <a:pt x="762" y="1861"/>
                  </a:lnTo>
                  <a:lnTo>
                    <a:pt x="762" y="1900"/>
                  </a:lnTo>
                  <a:lnTo>
                    <a:pt x="760" y="1929"/>
                  </a:lnTo>
                  <a:lnTo>
                    <a:pt x="760" y="1946"/>
                  </a:lnTo>
                  <a:lnTo>
                    <a:pt x="760" y="1952"/>
                  </a:lnTo>
                  <a:lnTo>
                    <a:pt x="741" y="2674"/>
                  </a:lnTo>
                  <a:lnTo>
                    <a:pt x="526" y="2674"/>
                  </a:lnTo>
                  <a:lnTo>
                    <a:pt x="482" y="1742"/>
                  </a:lnTo>
                  <a:lnTo>
                    <a:pt x="442" y="1211"/>
                  </a:lnTo>
                  <a:lnTo>
                    <a:pt x="411" y="2234"/>
                  </a:lnTo>
                  <a:lnTo>
                    <a:pt x="0" y="2340"/>
                  </a:lnTo>
                  <a:lnTo>
                    <a:pt x="0" y="823"/>
                  </a:lnTo>
                  <a:lnTo>
                    <a:pt x="0" y="818"/>
                  </a:lnTo>
                  <a:lnTo>
                    <a:pt x="1" y="799"/>
                  </a:lnTo>
                  <a:lnTo>
                    <a:pt x="1" y="772"/>
                  </a:lnTo>
                  <a:lnTo>
                    <a:pt x="3" y="736"/>
                  </a:lnTo>
                  <a:lnTo>
                    <a:pt x="5" y="694"/>
                  </a:lnTo>
                  <a:lnTo>
                    <a:pt x="8" y="645"/>
                  </a:lnTo>
                  <a:lnTo>
                    <a:pt x="11" y="594"/>
                  </a:lnTo>
                  <a:lnTo>
                    <a:pt x="15" y="538"/>
                  </a:lnTo>
                  <a:lnTo>
                    <a:pt x="20" y="484"/>
                  </a:lnTo>
                  <a:lnTo>
                    <a:pt x="25" y="428"/>
                  </a:lnTo>
                  <a:lnTo>
                    <a:pt x="32" y="374"/>
                  </a:lnTo>
                  <a:lnTo>
                    <a:pt x="39" y="325"/>
                  </a:lnTo>
                  <a:lnTo>
                    <a:pt x="47" y="279"/>
                  </a:lnTo>
                  <a:lnTo>
                    <a:pt x="55" y="240"/>
                  </a:lnTo>
                  <a:lnTo>
                    <a:pt x="66" y="210"/>
                  </a:lnTo>
                  <a:lnTo>
                    <a:pt x="77" y="188"/>
                  </a:lnTo>
                  <a:lnTo>
                    <a:pt x="89" y="178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0" name="Freeform 2276"/>
            <p:cNvSpPr>
              <a:spLocks/>
            </p:cNvSpPr>
            <p:nvPr/>
          </p:nvSpPr>
          <p:spPr bwMode="auto">
            <a:xfrm>
              <a:off x="9263971" y="1181089"/>
              <a:ext cx="188913" cy="1268413"/>
            </a:xfrm>
            <a:custGeom>
              <a:avLst/>
              <a:gdLst>
                <a:gd name="T0" fmla="*/ 0 w 238"/>
                <a:gd name="T1" fmla="*/ 0 h 1599"/>
                <a:gd name="T2" fmla="*/ 238 w 238"/>
                <a:gd name="T3" fmla="*/ 87 h 1599"/>
                <a:gd name="T4" fmla="*/ 120 w 238"/>
                <a:gd name="T5" fmla="*/ 507 h 1599"/>
                <a:gd name="T6" fmla="*/ 39 w 238"/>
                <a:gd name="T7" fmla="*/ 559 h 1599"/>
                <a:gd name="T8" fmla="*/ 120 w 238"/>
                <a:gd name="T9" fmla="*/ 642 h 1599"/>
                <a:gd name="T10" fmla="*/ 0 w 238"/>
                <a:gd name="T11" fmla="*/ 1599 h 1599"/>
                <a:gd name="T12" fmla="*/ 0 w 238"/>
                <a:gd name="T13" fmla="*/ 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1599">
                  <a:moveTo>
                    <a:pt x="0" y="0"/>
                  </a:moveTo>
                  <a:lnTo>
                    <a:pt x="238" y="87"/>
                  </a:lnTo>
                  <a:lnTo>
                    <a:pt x="120" y="507"/>
                  </a:lnTo>
                  <a:lnTo>
                    <a:pt x="39" y="559"/>
                  </a:lnTo>
                  <a:lnTo>
                    <a:pt x="120" y="642"/>
                  </a:lnTo>
                  <a:lnTo>
                    <a:pt x="0" y="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6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1" name="Freeform 2277"/>
            <p:cNvSpPr>
              <a:spLocks/>
            </p:cNvSpPr>
            <p:nvPr/>
          </p:nvSpPr>
          <p:spPr bwMode="auto">
            <a:xfrm>
              <a:off x="8641671" y="1422389"/>
              <a:ext cx="334963" cy="1649413"/>
            </a:xfrm>
            <a:custGeom>
              <a:avLst/>
              <a:gdLst>
                <a:gd name="T0" fmla="*/ 363 w 422"/>
                <a:gd name="T1" fmla="*/ 0 h 2078"/>
                <a:gd name="T2" fmla="*/ 422 w 422"/>
                <a:gd name="T3" fmla="*/ 495 h 2078"/>
                <a:gd name="T4" fmla="*/ 422 w 422"/>
                <a:gd name="T5" fmla="*/ 2078 h 2078"/>
                <a:gd name="T6" fmla="*/ 68 w 422"/>
                <a:gd name="T7" fmla="*/ 1904 h 2078"/>
                <a:gd name="T8" fmla="*/ 0 w 422"/>
                <a:gd name="T9" fmla="*/ 1546 h 2078"/>
                <a:gd name="T10" fmla="*/ 0 w 422"/>
                <a:gd name="T11" fmla="*/ 600 h 2078"/>
                <a:gd name="T12" fmla="*/ 6 w 422"/>
                <a:gd name="T13" fmla="*/ 557 h 2078"/>
                <a:gd name="T14" fmla="*/ 16 w 422"/>
                <a:gd name="T15" fmla="*/ 513 h 2078"/>
                <a:gd name="T16" fmla="*/ 31 w 422"/>
                <a:gd name="T17" fmla="*/ 468 h 2078"/>
                <a:gd name="T18" fmla="*/ 50 w 422"/>
                <a:gd name="T19" fmla="*/ 422 h 2078"/>
                <a:gd name="T20" fmla="*/ 73 w 422"/>
                <a:gd name="T21" fmla="*/ 378 h 2078"/>
                <a:gd name="T22" fmla="*/ 99 w 422"/>
                <a:gd name="T23" fmla="*/ 332 h 2078"/>
                <a:gd name="T24" fmla="*/ 127 w 422"/>
                <a:gd name="T25" fmla="*/ 288 h 2078"/>
                <a:gd name="T26" fmla="*/ 156 w 422"/>
                <a:gd name="T27" fmla="*/ 246 h 2078"/>
                <a:gd name="T28" fmla="*/ 185 w 422"/>
                <a:gd name="T29" fmla="*/ 205 h 2078"/>
                <a:gd name="T30" fmla="*/ 216 w 422"/>
                <a:gd name="T31" fmla="*/ 168 h 2078"/>
                <a:gd name="T32" fmla="*/ 244 w 422"/>
                <a:gd name="T33" fmla="*/ 132 h 2078"/>
                <a:gd name="T34" fmla="*/ 271 w 422"/>
                <a:gd name="T35" fmla="*/ 100 h 2078"/>
                <a:gd name="T36" fmla="*/ 297 w 422"/>
                <a:gd name="T37" fmla="*/ 71 h 2078"/>
                <a:gd name="T38" fmla="*/ 319 w 422"/>
                <a:gd name="T39" fmla="*/ 48 h 2078"/>
                <a:gd name="T40" fmla="*/ 337 w 422"/>
                <a:gd name="T41" fmla="*/ 27 h 2078"/>
                <a:gd name="T42" fmla="*/ 351 w 422"/>
                <a:gd name="T43" fmla="*/ 12 h 2078"/>
                <a:gd name="T44" fmla="*/ 359 w 422"/>
                <a:gd name="T45" fmla="*/ 4 h 2078"/>
                <a:gd name="T46" fmla="*/ 363 w 422"/>
                <a:gd name="T47" fmla="*/ 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2" h="2078">
                  <a:moveTo>
                    <a:pt x="363" y="0"/>
                  </a:moveTo>
                  <a:lnTo>
                    <a:pt x="422" y="495"/>
                  </a:lnTo>
                  <a:lnTo>
                    <a:pt x="422" y="2078"/>
                  </a:lnTo>
                  <a:lnTo>
                    <a:pt x="68" y="1904"/>
                  </a:lnTo>
                  <a:lnTo>
                    <a:pt x="0" y="1546"/>
                  </a:lnTo>
                  <a:lnTo>
                    <a:pt x="0" y="600"/>
                  </a:lnTo>
                  <a:lnTo>
                    <a:pt x="6" y="557"/>
                  </a:lnTo>
                  <a:lnTo>
                    <a:pt x="16" y="513"/>
                  </a:lnTo>
                  <a:lnTo>
                    <a:pt x="31" y="468"/>
                  </a:lnTo>
                  <a:lnTo>
                    <a:pt x="50" y="422"/>
                  </a:lnTo>
                  <a:lnTo>
                    <a:pt x="73" y="378"/>
                  </a:lnTo>
                  <a:lnTo>
                    <a:pt x="99" y="332"/>
                  </a:lnTo>
                  <a:lnTo>
                    <a:pt x="127" y="288"/>
                  </a:lnTo>
                  <a:lnTo>
                    <a:pt x="156" y="246"/>
                  </a:lnTo>
                  <a:lnTo>
                    <a:pt x="185" y="205"/>
                  </a:lnTo>
                  <a:lnTo>
                    <a:pt x="216" y="168"/>
                  </a:lnTo>
                  <a:lnTo>
                    <a:pt x="244" y="132"/>
                  </a:lnTo>
                  <a:lnTo>
                    <a:pt x="271" y="100"/>
                  </a:lnTo>
                  <a:lnTo>
                    <a:pt x="297" y="71"/>
                  </a:lnTo>
                  <a:lnTo>
                    <a:pt x="319" y="48"/>
                  </a:lnTo>
                  <a:lnTo>
                    <a:pt x="337" y="27"/>
                  </a:lnTo>
                  <a:lnTo>
                    <a:pt x="351" y="12"/>
                  </a:lnTo>
                  <a:lnTo>
                    <a:pt x="359" y="4"/>
                  </a:lnTo>
                  <a:lnTo>
                    <a:pt x="363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2" name="Freeform 2278"/>
            <p:cNvSpPr>
              <a:spLocks/>
            </p:cNvSpPr>
            <p:nvPr/>
          </p:nvSpPr>
          <p:spPr bwMode="auto">
            <a:xfrm>
              <a:off x="9062358" y="1222364"/>
              <a:ext cx="115888" cy="115888"/>
            </a:xfrm>
            <a:custGeom>
              <a:avLst/>
              <a:gdLst>
                <a:gd name="T0" fmla="*/ 72 w 145"/>
                <a:gd name="T1" fmla="*/ 0 h 146"/>
                <a:gd name="T2" fmla="*/ 72 w 145"/>
                <a:gd name="T3" fmla="*/ 0 h 146"/>
                <a:gd name="T4" fmla="*/ 72 w 145"/>
                <a:gd name="T5" fmla="*/ 0 h 146"/>
                <a:gd name="T6" fmla="*/ 72 w 145"/>
                <a:gd name="T7" fmla="*/ 0 h 146"/>
                <a:gd name="T8" fmla="*/ 145 w 145"/>
                <a:gd name="T9" fmla="*/ 42 h 146"/>
                <a:gd name="T10" fmla="*/ 142 w 145"/>
                <a:gd name="T11" fmla="*/ 107 h 146"/>
                <a:gd name="T12" fmla="*/ 116 w 145"/>
                <a:gd name="T13" fmla="*/ 146 h 146"/>
                <a:gd name="T14" fmla="*/ 28 w 145"/>
                <a:gd name="T15" fmla="*/ 146 h 146"/>
                <a:gd name="T16" fmla="*/ 3 w 145"/>
                <a:gd name="T17" fmla="*/ 107 h 146"/>
                <a:gd name="T18" fmla="*/ 0 w 145"/>
                <a:gd name="T19" fmla="*/ 42 h 146"/>
                <a:gd name="T20" fmla="*/ 72 w 145"/>
                <a:gd name="T21" fmla="*/ 0 h 146"/>
                <a:gd name="T22" fmla="*/ 72 w 145"/>
                <a:gd name="T2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146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145" y="42"/>
                  </a:lnTo>
                  <a:lnTo>
                    <a:pt x="142" y="107"/>
                  </a:lnTo>
                  <a:lnTo>
                    <a:pt x="116" y="146"/>
                  </a:lnTo>
                  <a:lnTo>
                    <a:pt x="28" y="146"/>
                  </a:lnTo>
                  <a:lnTo>
                    <a:pt x="3" y="107"/>
                  </a:lnTo>
                  <a:lnTo>
                    <a:pt x="0" y="42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B24F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3" name="Freeform 2279"/>
            <p:cNvSpPr>
              <a:spLocks/>
            </p:cNvSpPr>
            <p:nvPr/>
          </p:nvSpPr>
          <p:spPr bwMode="auto">
            <a:xfrm>
              <a:off x="8976633" y="1116001"/>
              <a:ext cx="142875" cy="198438"/>
            </a:xfrm>
            <a:custGeom>
              <a:avLst/>
              <a:gdLst>
                <a:gd name="T0" fmla="*/ 51 w 181"/>
                <a:gd name="T1" fmla="*/ 0 h 249"/>
                <a:gd name="T2" fmla="*/ 181 w 181"/>
                <a:gd name="T3" fmla="*/ 134 h 249"/>
                <a:gd name="T4" fmla="*/ 107 w 181"/>
                <a:gd name="T5" fmla="*/ 249 h 249"/>
                <a:gd name="T6" fmla="*/ 0 w 181"/>
                <a:gd name="T7" fmla="*/ 81 h 249"/>
                <a:gd name="T8" fmla="*/ 51 w 181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249">
                  <a:moveTo>
                    <a:pt x="51" y="0"/>
                  </a:moveTo>
                  <a:lnTo>
                    <a:pt x="181" y="134"/>
                  </a:lnTo>
                  <a:lnTo>
                    <a:pt x="107" y="249"/>
                  </a:lnTo>
                  <a:lnTo>
                    <a:pt x="0" y="8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B5EB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4" name="Freeform 2280"/>
            <p:cNvSpPr>
              <a:spLocks/>
            </p:cNvSpPr>
            <p:nvPr/>
          </p:nvSpPr>
          <p:spPr bwMode="auto">
            <a:xfrm>
              <a:off x="9119508" y="1116001"/>
              <a:ext cx="144463" cy="198438"/>
            </a:xfrm>
            <a:custGeom>
              <a:avLst/>
              <a:gdLst>
                <a:gd name="T0" fmla="*/ 131 w 182"/>
                <a:gd name="T1" fmla="*/ 0 h 249"/>
                <a:gd name="T2" fmla="*/ 182 w 182"/>
                <a:gd name="T3" fmla="*/ 81 h 249"/>
                <a:gd name="T4" fmla="*/ 75 w 182"/>
                <a:gd name="T5" fmla="*/ 249 h 249"/>
                <a:gd name="T6" fmla="*/ 0 w 182"/>
                <a:gd name="T7" fmla="*/ 134 h 249"/>
                <a:gd name="T8" fmla="*/ 131 w 182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249">
                  <a:moveTo>
                    <a:pt x="131" y="0"/>
                  </a:moveTo>
                  <a:lnTo>
                    <a:pt x="182" y="81"/>
                  </a:lnTo>
                  <a:lnTo>
                    <a:pt x="75" y="249"/>
                  </a:lnTo>
                  <a:lnTo>
                    <a:pt x="0" y="134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B5EB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5" name="Freeform 2281"/>
            <p:cNvSpPr>
              <a:spLocks/>
            </p:cNvSpPr>
            <p:nvPr/>
          </p:nvSpPr>
          <p:spPr bwMode="auto">
            <a:xfrm>
              <a:off x="8746446" y="558789"/>
              <a:ext cx="381000" cy="539750"/>
            </a:xfrm>
            <a:custGeom>
              <a:avLst/>
              <a:gdLst>
                <a:gd name="T0" fmla="*/ 0 w 481"/>
                <a:gd name="T1" fmla="*/ 0 h 679"/>
                <a:gd name="T2" fmla="*/ 15 w 481"/>
                <a:gd name="T3" fmla="*/ 15 h 679"/>
                <a:gd name="T4" fmla="*/ 155 w 481"/>
                <a:gd name="T5" fmla="*/ 339 h 679"/>
                <a:gd name="T6" fmla="*/ 257 w 481"/>
                <a:gd name="T7" fmla="*/ 398 h 679"/>
                <a:gd name="T8" fmla="*/ 481 w 481"/>
                <a:gd name="T9" fmla="*/ 545 h 679"/>
                <a:gd name="T10" fmla="*/ 481 w 481"/>
                <a:gd name="T11" fmla="*/ 679 h 679"/>
                <a:gd name="T12" fmla="*/ 401 w 481"/>
                <a:gd name="T13" fmla="*/ 645 h 679"/>
                <a:gd name="T14" fmla="*/ 330 w 481"/>
                <a:gd name="T15" fmla="*/ 608 h 679"/>
                <a:gd name="T16" fmla="*/ 267 w 481"/>
                <a:gd name="T17" fmla="*/ 571 h 679"/>
                <a:gd name="T18" fmla="*/ 215 w 481"/>
                <a:gd name="T19" fmla="*/ 532 h 679"/>
                <a:gd name="T20" fmla="*/ 169 w 481"/>
                <a:gd name="T21" fmla="*/ 494 h 679"/>
                <a:gd name="T22" fmla="*/ 130 w 481"/>
                <a:gd name="T23" fmla="*/ 457 h 679"/>
                <a:gd name="T24" fmla="*/ 99 w 481"/>
                <a:gd name="T25" fmla="*/ 425 h 679"/>
                <a:gd name="T26" fmla="*/ 74 w 481"/>
                <a:gd name="T27" fmla="*/ 395 h 679"/>
                <a:gd name="T28" fmla="*/ 57 w 481"/>
                <a:gd name="T29" fmla="*/ 369 h 679"/>
                <a:gd name="T30" fmla="*/ 44 w 481"/>
                <a:gd name="T31" fmla="*/ 351 h 679"/>
                <a:gd name="T32" fmla="*/ 37 w 481"/>
                <a:gd name="T33" fmla="*/ 337 h 679"/>
                <a:gd name="T34" fmla="*/ 35 w 481"/>
                <a:gd name="T35" fmla="*/ 334 h 679"/>
                <a:gd name="T36" fmla="*/ 33 w 481"/>
                <a:gd name="T37" fmla="*/ 329 h 679"/>
                <a:gd name="T38" fmla="*/ 32 w 481"/>
                <a:gd name="T39" fmla="*/ 313 h 679"/>
                <a:gd name="T40" fmla="*/ 30 w 481"/>
                <a:gd name="T41" fmla="*/ 290 h 679"/>
                <a:gd name="T42" fmla="*/ 27 w 481"/>
                <a:gd name="T43" fmla="*/ 261 h 679"/>
                <a:gd name="T44" fmla="*/ 23 w 481"/>
                <a:gd name="T45" fmla="*/ 227 h 679"/>
                <a:gd name="T46" fmla="*/ 20 w 481"/>
                <a:gd name="T47" fmla="*/ 190 h 679"/>
                <a:gd name="T48" fmla="*/ 15 w 481"/>
                <a:gd name="T49" fmla="*/ 152 h 679"/>
                <a:gd name="T50" fmla="*/ 11 w 481"/>
                <a:gd name="T51" fmla="*/ 115 h 679"/>
                <a:gd name="T52" fmla="*/ 8 w 481"/>
                <a:gd name="T53" fmla="*/ 80 h 679"/>
                <a:gd name="T54" fmla="*/ 5 w 481"/>
                <a:gd name="T55" fmla="*/ 49 h 679"/>
                <a:gd name="T56" fmla="*/ 3 w 481"/>
                <a:gd name="T57" fmla="*/ 25 h 679"/>
                <a:gd name="T58" fmla="*/ 1 w 481"/>
                <a:gd name="T59" fmla="*/ 8 h 679"/>
                <a:gd name="T60" fmla="*/ 0 w 481"/>
                <a:gd name="T61" fmla="*/ 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1" h="679">
                  <a:moveTo>
                    <a:pt x="0" y="0"/>
                  </a:moveTo>
                  <a:lnTo>
                    <a:pt x="15" y="15"/>
                  </a:lnTo>
                  <a:lnTo>
                    <a:pt x="155" y="339"/>
                  </a:lnTo>
                  <a:lnTo>
                    <a:pt x="257" y="398"/>
                  </a:lnTo>
                  <a:lnTo>
                    <a:pt x="481" y="545"/>
                  </a:lnTo>
                  <a:lnTo>
                    <a:pt x="481" y="679"/>
                  </a:lnTo>
                  <a:lnTo>
                    <a:pt x="401" y="645"/>
                  </a:lnTo>
                  <a:lnTo>
                    <a:pt x="330" y="608"/>
                  </a:lnTo>
                  <a:lnTo>
                    <a:pt x="267" y="571"/>
                  </a:lnTo>
                  <a:lnTo>
                    <a:pt x="215" y="532"/>
                  </a:lnTo>
                  <a:lnTo>
                    <a:pt x="169" y="494"/>
                  </a:lnTo>
                  <a:lnTo>
                    <a:pt x="130" y="457"/>
                  </a:lnTo>
                  <a:lnTo>
                    <a:pt x="99" y="425"/>
                  </a:lnTo>
                  <a:lnTo>
                    <a:pt x="74" y="395"/>
                  </a:lnTo>
                  <a:lnTo>
                    <a:pt x="57" y="369"/>
                  </a:lnTo>
                  <a:lnTo>
                    <a:pt x="44" y="351"/>
                  </a:lnTo>
                  <a:lnTo>
                    <a:pt x="37" y="337"/>
                  </a:lnTo>
                  <a:lnTo>
                    <a:pt x="35" y="334"/>
                  </a:lnTo>
                  <a:lnTo>
                    <a:pt x="33" y="329"/>
                  </a:lnTo>
                  <a:lnTo>
                    <a:pt x="32" y="313"/>
                  </a:lnTo>
                  <a:lnTo>
                    <a:pt x="30" y="290"/>
                  </a:lnTo>
                  <a:lnTo>
                    <a:pt x="27" y="261"/>
                  </a:lnTo>
                  <a:lnTo>
                    <a:pt x="23" y="227"/>
                  </a:lnTo>
                  <a:lnTo>
                    <a:pt x="20" y="190"/>
                  </a:lnTo>
                  <a:lnTo>
                    <a:pt x="15" y="152"/>
                  </a:lnTo>
                  <a:lnTo>
                    <a:pt x="11" y="115"/>
                  </a:lnTo>
                  <a:lnTo>
                    <a:pt x="8" y="80"/>
                  </a:lnTo>
                  <a:lnTo>
                    <a:pt x="5" y="49"/>
                  </a:lnTo>
                  <a:lnTo>
                    <a:pt x="3" y="25"/>
                  </a:lnTo>
                  <a:lnTo>
                    <a:pt x="1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6" name="Freeform 2282"/>
            <p:cNvSpPr>
              <a:spLocks/>
            </p:cNvSpPr>
            <p:nvPr/>
          </p:nvSpPr>
          <p:spPr bwMode="auto">
            <a:xfrm>
              <a:off x="9127446" y="558789"/>
              <a:ext cx="382588" cy="539750"/>
            </a:xfrm>
            <a:custGeom>
              <a:avLst/>
              <a:gdLst>
                <a:gd name="T0" fmla="*/ 480 w 480"/>
                <a:gd name="T1" fmla="*/ 0 h 679"/>
                <a:gd name="T2" fmla="*/ 480 w 480"/>
                <a:gd name="T3" fmla="*/ 8 h 679"/>
                <a:gd name="T4" fmla="*/ 479 w 480"/>
                <a:gd name="T5" fmla="*/ 25 h 679"/>
                <a:gd name="T6" fmla="*/ 475 w 480"/>
                <a:gd name="T7" fmla="*/ 49 h 679"/>
                <a:gd name="T8" fmla="*/ 474 w 480"/>
                <a:gd name="T9" fmla="*/ 80 h 679"/>
                <a:gd name="T10" fmla="*/ 469 w 480"/>
                <a:gd name="T11" fmla="*/ 115 h 679"/>
                <a:gd name="T12" fmla="*/ 465 w 480"/>
                <a:gd name="T13" fmla="*/ 152 h 679"/>
                <a:gd name="T14" fmla="*/ 462 w 480"/>
                <a:gd name="T15" fmla="*/ 190 h 679"/>
                <a:gd name="T16" fmla="*/ 457 w 480"/>
                <a:gd name="T17" fmla="*/ 227 h 679"/>
                <a:gd name="T18" fmla="*/ 453 w 480"/>
                <a:gd name="T19" fmla="*/ 261 h 679"/>
                <a:gd name="T20" fmla="*/ 450 w 480"/>
                <a:gd name="T21" fmla="*/ 290 h 679"/>
                <a:gd name="T22" fmla="*/ 448 w 480"/>
                <a:gd name="T23" fmla="*/ 313 h 679"/>
                <a:gd name="T24" fmla="*/ 447 w 480"/>
                <a:gd name="T25" fmla="*/ 329 h 679"/>
                <a:gd name="T26" fmla="*/ 447 w 480"/>
                <a:gd name="T27" fmla="*/ 334 h 679"/>
                <a:gd name="T28" fmla="*/ 443 w 480"/>
                <a:gd name="T29" fmla="*/ 337 h 679"/>
                <a:gd name="T30" fmla="*/ 436 w 480"/>
                <a:gd name="T31" fmla="*/ 351 h 679"/>
                <a:gd name="T32" fmla="*/ 425 w 480"/>
                <a:gd name="T33" fmla="*/ 369 h 679"/>
                <a:gd name="T34" fmla="*/ 406 w 480"/>
                <a:gd name="T35" fmla="*/ 395 h 679"/>
                <a:gd name="T36" fmla="*/ 382 w 480"/>
                <a:gd name="T37" fmla="*/ 425 h 679"/>
                <a:gd name="T38" fmla="*/ 350 w 480"/>
                <a:gd name="T39" fmla="*/ 457 h 679"/>
                <a:gd name="T40" fmla="*/ 313 w 480"/>
                <a:gd name="T41" fmla="*/ 494 h 679"/>
                <a:gd name="T42" fmla="*/ 267 w 480"/>
                <a:gd name="T43" fmla="*/ 532 h 679"/>
                <a:gd name="T44" fmla="*/ 213 w 480"/>
                <a:gd name="T45" fmla="*/ 571 h 679"/>
                <a:gd name="T46" fmla="*/ 150 w 480"/>
                <a:gd name="T47" fmla="*/ 608 h 679"/>
                <a:gd name="T48" fmla="*/ 81 w 480"/>
                <a:gd name="T49" fmla="*/ 645 h 679"/>
                <a:gd name="T50" fmla="*/ 0 w 480"/>
                <a:gd name="T51" fmla="*/ 679 h 679"/>
                <a:gd name="T52" fmla="*/ 0 w 480"/>
                <a:gd name="T53" fmla="*/ 545 h 679"/>
                <a:gd name="T54" fmla="*/ 225 w 480"/>
                <a:gd name="T55" fmla="*/ 398 h 679"/>
                <a:gd name="T56" fmla="*/ 325 w 480"/>
                <a:gd name="T57" fmla="*/ 339 h 679"/>
                <a:gd name="T58" fmla="*/ 467 w 480"/>
                <a:gd name="T59" fmla="*/ 15 h 679"/>
                <a:gd name="T60" fmla="*/ 480 w 480"/>
                <a:gd name="T61" fmla="*/ 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0" h="679">
                  <a:moveTo>
                    <a:pt x="480" y="0"/>
                  </a:moveTo>
                  <a:lnTo>
                    <a:pt x="480" y="8"/>
                  </a:lnTo>
                  <a:lnTo>
                    <a:pt x="479" y="25"/>
                  </a:lnTo>
                  <a:lnTo>
                    <a:pt x="475" y="49"/>
                  </a:lnTo>
                  <a:lnTo>
                    <a:pt x="474" y="80"/>
                  </a:lnTo>
                  <a:lnTo>
                    <a:pt x="469" y="115"/>
                  </a:lnTo>
                  <a:lnTo>
                    <a:pt x="465" y="152"/>
                  </a:lnTo>
                  <a:lnTo>
                    <a:pt x="462" y="190"/>
                  </a:lnTo>
                  <a:lnTo>
                    <a:pt x="457" y="227"/>
                  </a:lnTo>
                  <a:lnTo>
                    <a:pt x="453" y="261"/>
                  </a:lnTo>
                  <a:lnTo>
                    <a:pt x="450" y="290"/>
                  </a:lnTo>
                  <a:lnTo>
                    <a:pt x="448" y="313"/>
                  </a:lnTo>
                  <a:lnTo>
                    <a:pt x="447" y="329"/>
                  </a:lnTo>
                  <a:lnTo>
                    <a:pt x="447" y="334"/>
                  </a:lnTo>
                  <a:lnTo>
                    <a:pt x="443" y="337"/>
                  </a:lnTo>
                  <a:lnTo>
                    <a:pt x="436" y="351"/>
                  </a:lnTo>
                  <a:lnTo>
                    <a:pt x="425" y="369"/>
                  </a:lnTo>
                  <a:lnTo>
                    <a:pt x="406" y="395"/>
                  </a:lnTo>
                  <a:lnTo>
                    <a:pt x="382" y="425"/>
                  </a:lnTo>
                  <a:lnTo>
                    <a:pt x="350" y="457"/>
                  </a:lnTo>
                  <a:lnTo>
                    <a:pt x="313" y="494"/>
                  </a:lnTo>
                  <a:lnTo>
                    <a:pt x="267" y="532"/>
                  </a:lnTo>
                  <a:lnTo>
                    <a:pt x="213" y="571"/>
                  </a:lnTo>
                  <a:lnTo>
                    <a:pt x="150" y="608"/>
                  </a:lnTo>
                  <a:lnTo>
                    <a:pt x="81" y="645"/>
                  </a:lnTo>
                  <a:lnTo>
                    <a:pt x="0" y="679"/>
                  </a:lnTo>
                  <a:lnTo>
                    <a:pt x="0" y="545"/>
                  </a:lnTo>
                  <a:lnTo>
                    <a:pt x="225" y="398"/>
                  </a:lnTo>
                  <a:lnTo>
                    <a:pt x="325" y="339"/>
                  </a:lnTo>
                  <a:lnTo>
                    <a:pt x="467" y="15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7" name="Freeform 2283"/>
            <p:cNvSpPr>
              <a:spLocks/>
            </p:cNvSpPr>
            <p:nvPr/>
          </p:nvSpPr>
          <p:spPr bwMode="auto">
            <a:xfrm>
              <a:off x="9611633" y="3336914"/>
              <a:ext cx="230188" cy="198438"/>
            </a:xfrm>
            <a:custGeom>
              <a:avLst/>
              <a:gdLst>
                <a:gd name="T0" fmla="*/ 126 w 290"/>
                <a:gd name="T1" fmla="*/ 0 h 251"/>
                <a:gd name="T2" fmla="*/ 271 w 290"/>
                <a:gd name="T3" fmla="*/ 0 h 251"/>
                <a:gd name="T4" fmla="*/ 273 w 290"/>
                <a:gd name="T5" fmla="*/ 2 h 251"/>
                <a:gd name="T6" fmla="*/ 273 w 290"/>
                <a:gd name="T7" fmla="*/ 7 h 251"/>
                <a:gd name="T8" fmla="*/ 276 w 290"/>
                <a:gd name="T9" fmla="*/ 15 h 251"/>
                <a:gd name="T10" fmla="*/ 278 w 290"/>
                <a:gd name="T11" fmla="*/ 34 h 251"/>
                <a:gd name="T12" fmla="*/ 283 w 290"/>
                <a:gd name="T13" fmla="*/ 66 h 251"/>
                <a:gd name="T14" fmla="*/ 288 w 290"/>
                <a:gd name="T15" fmla="*/ 103 h 251"/>
                <a:gd name="T16" fmla="*/ 290 w 290"/>
                <a:gd name="T17" fmla="*/ 140 h 251"/>
                <a:gd name="T18" fmla="*/ 288 w 290"/>
                <a:gd name="T19" fmla="*/ 166 h 251"/>
                <a:gd name="T20" fmla="*/ 286 w 290"/>
                <a:gd name="T21" fmla="*/ 186 h 251"/>
                <a:gd name="T22" fmla="*/ 283 w 290"/>
                <a:gd name="T23" fmla="*/ 201 h 251"/>
                <a:gd name="T24" fmla="*/ 280 w 290"/>
                <a:gd name="T25" fmla="*/ 212 h 251"/>
                <a:gd name="T26" fmla="*/ 276 w 290"/>
                <a:gd name="T27" fmla="*/ 218 h 251"/>
                <a:gd name="T28" fmla="*/ 268 w 290"/>
                <a:gd name="T29" fmla="*/ 222 h 251"/>
                <a:gd name="T30" fmla="*/ 259 w 290"/>
                <a:gd name="T31" fmla="*/ 225 h 251"/>
                <a:gd name="T32" fmla="*/ 251 w 290"/>
                <a:gd name="T33" fmla="*/ 227 h 251"/>
                <a:gd name="T34" fmla="*/ 236 w 290"/>
                <a:gd name="T35" fmla="*/ 234 h 251"/>
                <a:gd name="T36" fmla="*/ 219 w 290"/>
                <a:gd name="T37" fmla="*/ 242 h 251"/>
                <a:gd name="T38" fmla="*/ 207 w 290"/>
                <a:gd name="T39" fmla="*/ 244 h 251"/>
                <a:gd name="T40" fmla="*/ 195 w 290"/>
                <a:gd name="T41" fmla="*/ 244 h 251"/>
                <a:gd name="T42" fmla="*/ 185 w 290"/>
                <a:gd name="T43" fmla="*/ 245 h 251"/>
                <a:gd name="T44" fmla="*/ 175 w 290"/>
                <a:gd name="T45" fmla="*/ 249 h 251"/>
                <a:gd name="T46" fmla="*/ 164 w 290"/>
                <a:gd name="T47" fmla="*/ 249 h 251"/>
                <a:gd name="T48" fmla="*/ 156 w 290"/>
                <a:gd name="T49" fmla="*/ 249 h 251"/>
                <a:gd name="T50" fmla="*/ 148 w 290"/>
                <a:gd name="T51" fmla="*/ 251 h 251"/>
                <a:gd name="T52" fmla="*/ 134 w 290"/>
                <a:gd name="T53" fmla="*/ 249 h 251"/>
                <a:gd name="T54" fmla="*/ 122 w 290"/>
                <a:gd name="T55" fmla="*/ 244 h 251"/>
                <a:gd name="T56" fmla="*/ 117 w 290"/>
                <a:gd name="T57" fmla="*/ 239 h 251"/>
                <a:gd name="T58" fmla="*/ 112 w 290"/>
                <a:gd name="T59" fmla="*/ 225 h 251"/>
                <a:gd name="T60" fmla="*/ 109 w 290"/>
                <a:gd name="T61" fmla="*/ 212 h 251"/>
                <a:gd name="T62" fmla="*/ 107 w 290"/>
                <a:gd name="T63" fmla="*/ 196 h 251"/>
                <a:gd name="T64" fmla="*/ 107 w 290"/>
                <a:gd name="T65" fmla="*/ 185 h 251"/>
                <a:gd name="T66" fmla="*/ 107 w 290"/>
                <a:gd name="T67" fmla="*/ 174 h 251"/>
                <a:gd name="T68" fmla="*/ 105 w 290"/>
                <a:gd name="T69" fmla="*/ 161 h 251"/>
                <a:gd name="T70" fmla="*/ 105 w 290"/>
                <a:gd name="T71" fmla="*/ 146 h 251"/>
                <a:gd name="T72" fmla="*/ 104 w 290"/>
                <a:gd name="T73" fmla="*/ 132 h 251"/>
                <a:gd name="T74" fmla="*/ 100 w 290"/>
                <a:gd name="T75" fmla="*/ 122 h 251"/>
                <a:gd name="T76" fmla="*/ 98 w 290"/>
                <a:gd name="T77" fmla="*/ 118 h 251"/>
                <a:gd name="T78" fmla="*/ 92 w 290"/>
                <a:gd name="T79" fmla="*/ 120 h 251"/>
                <a:gd name="T80" fmla="*/ 82 w 290"/>
                <a:gd name="T81" fmla="*/ 127 h 251"/>
                <a:gd name="T82" fmla="*/ 68 w 290"/>
                <a:gd name="T83" fmla="*/ 134 h 251"/>
                <a:gd name="T84" fmla="*/ 54 w 290"/>
                <a:gd name="T85" fmla="*/ 142 h 251"/>
                <a:gd name="T86" fmla="*/ 43 w 290"/>
                <a:gd name="T87" fmla="*/ 151 h 251"/>
                <a:gd name="T88" fmla="*/ 29 w 290"/>
                <a:gd name="T89" fmla="*/ 157 h 251"/>
                <a:gd name="T90" fmla="*/ 15 w 290"/>
                <a:gd name="T91" fmla="*/ 157 h 251"/>
                <a:gd name="T92" fmla="*/ 7 w 290"/>
                <a:gd name="T93" fmla="*/ 152 h 251"/>
                <a:gd name="T94" fmla="*/ 0 w 290"/>
                <a:gd name="T95" fmla="*/ 146 h 251"/>
                <a:gd name="T96" fmla="*/ 4 w 290"/>
                <a:gd name="T97" fmla="*/ 137 h 251"/>
                <a:gd name="T98" fmla="*/ 12 w 290"/>
                <a:gd name="T99" fmla="*/ 127 h 251"/>
                <a:gd name="T100" fmla="*/ 26 w 290"/>
                <a:gd name="T101" fmla="*/ 113 h 251"/>
                <a:gd name="T102" fmla="*/ 43 w 290"/>
                <a:gd name="T103" fmla="*/ 100 h 251"/>
                <a:gd name="T104" fmla="*/ 59 w 290"/>
                <a:gd name="T105" fmla="*/ 85 h 251"/>
                <a:gd name="T106" fmla="*/ 76 w 290"/>
                <a:gd name="T107" fmla="*/ 71 h 251"/>
                <a:gd name="T108" fmla="*/ 92 w 290"/>
                <a:gd name="T109" fmla="*/ 61 h 251"/>
                <a:gd name="T110" fmla="*/ 102 w 290"/>
                <a:gd name="T111" fmla="*/ 52 h 251"/>
                <a:gd name="T112" fmla="*/ 112 w 290"/>
                <a:gd name="T113" fmla="*/ 41 h 251"/>
                <a:gd name="T114" fmla="*/ 119 w 290"/>
                <a:gd name="T115" fmla="*/ 27 h 251"/>
                <a:gd name="T116" fmla="*/ 122 w 290"/>
                <a:gd name="T117" fmla="*/ 13 h 251"/>
                <a:gd name="T118" fmla="*/ 126 w 290"/>
                <a:gd name="T119" fmla="*/ 5 h 251"/>
                <a:gd name="T120" fmla="*/ 126 w 290"/>
                <a:gd name="T121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0" h="251">
                  <a:moveTo>
                    <a:pt x="126" y="0"/>
                  </a:moveTo>
                  <a:lnTo>
                    <a:pt x="271" y="0"/>
                  </a:lnTo>
                  <a:lnTo>
                    <a:pt x="273" y="2"/>
                  </a:lnTo>
                  <a:lnTo>
                    <a:pt x="273" y="7"/>
                  </a:lnTo>
                  <a:lnTo>
                    <a:pt x="276" y="15"/>
                  </a:lnTo>
                  <a:lnTo>
                    <a:pt x="278" y="34"/>
                  </a:lnTo>
                  <a:lnTo>
                    <a:pt x="283" y="66"/>
                  </a:lnTo>
                  <a:lnTo>
                    <a:pt x="288" y="103"/>
                  </a:lnTo>
                  <a:lnTo>
                    <a:pt x="290" y="140"/>
                  </a:lnTo>
                  <a:lnTo>
                    <a:pt x="288" y="166"/>
                  </a:lnTo>
                  <a:lnTo>
                    <a:pt x="286" y="186"/>
                  </a:lnTo>
                  <a:lnTo>
                    <a:pt x="283" y="201"/>
                  </a:lnTo>
                  <a:lnTo>
                    <a:pt x="280" y="212"/>
                  </a:lnTo>
                  <a:lnTo>
                    <a:pt x="276" y="218"/>
                  </a:lnTo>
                  <a:lnTo>
                    <a:pt x="268" y="222"/>
                  </a:lnTo>
                  <a:lnTo>
                    <a:pt x="259" y="225"/>
                  </a:lnTo>
                  <a:lnTo>
                    <a:pt x="251" y="227"/>
                  </a:lnTo>
                  <a:lnTo>
                    <a:pt x="236" y="234"/>
                  </a:lnTo>
                  <a:lnTo>
                    <a:pt x="219" y="242"/>
                  </a:lnTo>
                  <a:lnTo>
                    <a:pt x="207" y="244"/>
                  </a:lnTo>
                  <a:lnTo>
                    <a:pt x="195" y="244"/>
                  </a:lnTo>
                  <a:lnTo>
                    <a:pt x="185" y="245"/>
                  </a:lnTo>
                  <a:lnTo>
                    <a:pt x="175" y="249"/>
                  </a:lnTo>
                  <a:lnTo>
                    <a:pt x="164" y="249"/>
                  </a:lnTo>
                  <a:lnTo>
                    <a:pt x="156" y="249"/>
                  </a:lnTo>
                  <a:lnTo>
                    <a:pt x="148" y="251"/>
                  </a:lnTo>
                  <a:lnTo>
                    <a:pt x="134" y="249"/>
                  </a:lnTo>
                  <a:lnTo>
                    <a:pt x="122" y="244"/>
                  </a:lnTo>
                  <a:lnTo>
                    <a:pt x="117" y="239"/>
                  </a:lnTo>
                  <a:lnTo>
                    <a:pt x="112" y="225"/>
                  </a:lnTo>
                  <a:lnTo>
                    <a:pt x="109" y="212"/>
                  </a:lnTo>
                  <a:lnTo>
                    <a:pt x="107" y="196"/>
                  </a:lnTo>
                  <a:lnTo>
                    <a:pt x="107" y="185"/>
                  </a:lnTo>
                  <a:lnTo>
                    <a:pt x="107" y="174"/>
                  </a:lnTo>
                  <a:lnTo>
                    <a:pt x="105" y="161"/>
                  </a:lnTo>
                  <a:lnTo>
                    <a:pt x="105" y="146"/>
                  </a:lnTo>
                  <a:lnTo>
                    <a:pt x="104" y="132"/>
                  </a:lnTo>
                  <a:lnTo>
                    <a:pt x="100" y="122"/>
                  </a:lnTo>
                  <a:lnTo>
                    <a:pt x="98" y="118"/>
                  </a:lnTo>
                  <a:lnTo>
                    <a:pt x="92" y="120"/>
                  </a:lnTo>
                  <a:lnTo>
                    <a:pt x="82" y="127"/>
                  </a:lnTo>
                  <a:lnTo>
                    <a:pt x="68" y="134"/>
                  </a:lnTo>
                  <a:lnTo>
                    <a:pt x="54" y="142"/>
                  </a:lnTo>
                  <a:lnTo>
                    <a:pt x="43" y="151"/>
                  </a:lnTo>
                  <a:lnTo>
                    <a:pt x="29" y="157"/>
                  </a:lnTo>
                  <a:lnTo>
                    <a:pt x="15" y="157"/>
                  </a:lnTo>
                  <a:lnTo>
                    <a:pt x="7" y="152"/>
                  </a:lnTo>
                  <a:lnTo>
                    <a:pt x="0" y="146"/>
                  </a:lnTo>
                  <a:lnTo>
                    <a:pt x="4" y="137"/>
                  </a:lnTo>
                  <a:lnTo>
                    <a:pt x="12" y="127"/>
                  </a:lnTo>
                  <a:lnTo>
                    <a:pt x="26" y="113"/>
                  </a:lnTo>
                  <a:lnTo>
                    <a:pt x="43" y="100"/>
                  </a:lnTo>
                  <a:lnTo>
                    <a:pt x="59" y="85"/>
                  </a:lnTo>
                  <a:lnTo>
                    <a:pt x="76" y="71"/>
                  </a:lnTo>
                  <a:lnTo>
                    <a:pt x="92" y="61"/>
                  </a:lnTo>
                  <a:lnTo>
                    <a:pt x="102" y="52"/>
                  </a:lnTo>
                  <a:lnTo>
                    <a:pt x="112" y="41"/>
                  </a:lnTo>
                  <a:lnTo>
                    <a:pt x="119" y="27"/>
                  </a:lnTo>
                  <a:lnTo>
                    <a:pt x="122" y="13"/>
                  </a:lnTo>
                  <a:lnTo>
                    <a:pt x="126" y="5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8" name="Freeform 2284"/>
            <p:cNvSpPr>
              <a:spLocks/>
            </p:cNvSpPr>
            <p:nvPr/>
          </p:nvSpPr>
          <p:spPr bwMode="auto">
            <a:xfrm>
              <a:off x="8638496" y="2401876"/>
              <a:ext cx="174625" cy="588963"/>
            </a:xfrm>
            <a:custGeom>
              <a:avLst/>
              <a:gdLst>
                <a:gd name="T0" fmla="*/ 3 w 220"/>
                <a:gd name="T1" fmla="*/ 0 h 744"/>
                <a:gd name="T2" fmla="*/ 220 w 220"/>
                <a:gd name="T3" fmla="*/ 744 h 744"/>
                <a:gd name="T4" fmla="*/ 207 w 220"/>
                <a:gd name="T5" fmla="*/ 737 h 744"/>
                <a:gd name="T6" fmla="*/ 0 w 220"/>
                <a:gd name="T7" fmla="*/ 43 h 744"/>
                <a:gd name="T8" fmla="*/ 3 w 220"/>
                <a:gd name="T9" fmla="*/ 14 h 744"/>
                <a:gd name="T10" fmla="*/ 3 w 220"/>
                <a:gd name="T11" fmla="*/ 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744">
                  <a:moveTo>
                    <a:pt x="3" y="0"/>
                  </a:moveTo>
                  <a:lnTo>
                    <a:pt x="220" y="744"/>
                  </a:lnTo>
                  <a:lnTo>
                    <a:pt x="207" y="737"/>
                  </a:lnTo>
                  <a:lnTo>
                    <a:pt x="0" y="43"/>
                  </a:lnTo>
                  <a:lnTo>
                    <a:pt x="3" y="1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9" name="Freeform 2285"/>
            <p:cNvSpPr>
              <a:spLocks/>
            </p:cNvSpPr>
            <p:nvPr/>
          </p:nvSpPr>
          <p:spPr bwMode="auto">
            <a:xfrm>
              <a:off x="8641671" y="1893876"/>
              <a:ext cx="71438" cy="195263"/>
            </a:xfrm>
            <a:custGeom>
              <a:avLst/>
              <a:gdLst>
                <a:gd name="T0" fmla="*/ 92 w 92"/>
                <a:gd name="T1" fmla="*/ 0 h 245"/>
                <a:gd name="T2" fmla="*/ 0 w 92"/>
                <a:gd name="T3" fmla="*/ 245 h 245"/>
                <a:gd name="T4" fmla="*/ 0 w 92"/>
                <a:gd name="T5" fmla="*/ 225 h 245"/>
                <a:gd name="T6" fmla="*/ 65 w 92"/>
                <a:gd name="T7" fmla="*/ 13 h 245"/>
                <a:gd name="T8" fmla="*/ 92 w 92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45">
                  <a:moveTo>
                    <a:pt x="92" y="0"/>
                  </a:moveTo>
                  <a:lnTo>
                    <a:pt x="0" y="245"/>
                  </a:lnTo>
                  <a:lnTo>
                    <a:pt x="0" y="225"/>
                  </a:lnTo>
                  <a:lnTo>
                    <a:pt x="65" y="13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90" name="Freeform 2286"/>
            <p:cNvSpPr>
              <a:spLocks/>
            </p:cNvSpPr>
            <p:nvPr/>
          </p:nvSpPr>
          <p:spPr bwMode="auto">
            <a:xfrm>
              <a:off x="8330521" y="1222364"/>
              <a:ext cx="622300" cy="1925638"/>
            </a:xfrm>
            <a:custGeom>
              <a:avLst/>
              <a:gdLst>
                <a:gd name="T0" fmla="*/ 784 w 784"/>
                <a:gd name="T1" fmla="*/ 340 h 2425"/>
                <a:gd name="T2" fmla="*/ 483 w 784"/>
                <a:gd name="T3" fmla="*/ 847 h 2425"/>
                <a:gd name="T4" fmla="*/ 476 w 784"/>
                <a:gd name="T5" fmla="*/ 864 h 2425"/>
                <a:gd name="T6" fmla="*/ 457 w 784"/>
                <a:gd name="T7" fmla="*/ 906 h 2425"/>
                <a:gd name="T8" fmla="*/ 434 w 784"/>
                <a:gd name="T9" fmla="*/ 969 h 2425"/>
                <a:gd name="T10" fmla="*/ 405 w 784"/>
                <a:gd name="T11" fmla="*/ 1043 h 2425"/>
                <a:gd name="T12" fmla="*/ 376 w 784"/>
                <a:gd name="T13" fmla="*/ 1121 h 2425"/>
                <a:gd name="T14" fmla="*/ 351 w 784"/>
                <a:gd name="T15" fmla="*/ 1194 h 2425"/>
                <a:gd name="T16" fmla="*/ 334 w 784"/>
                <a:gd name="T17" fmla="*/ 1255 h 2425"/>
                <a:gd name="T18" fmla="*/ 327 w 784"/>
                <a:gd name="T19" fmla="*/ 1295 h 2425"/>
                <a:gd name="T20" fmla="*/ 334 w 784"/>
                <a:gd name="T21" fmla="*/ 1316 h 2425"/>
                <a:gd name="T22" fmla="*/ 349 w 784"/>
                <a:gd name="T23" fmla="*/ 1362 h 2425"/>
                <a:gd name="T24" fmla="*/ 373 w 784"/>
                <a:gd name="T25" fmla="*/ 1436 h 2425"/>
                <a:gd name="T26" fmla="*/ 402 w 784"/>
                <a:gd name="T27" fmla="*/ 1534 h 2425"/>
                <a:gd name="T28" fmla="*/ 435 w 784"/>
                <a:gd name="T29" fmla="*/ 1648 h 2425"/>
                <a:gd name="T30" fmla="*/ 471 w 784"/>
                <a:gd name="T31" fmla="*/ 1770 h 2425"/>
                <a:gd name="T32" fmla="*/ 507 w 784"/>
                <a:gd name="T33" fmla="*/ 1895 h 2425"/>
                <a:gd name="T34" fmla="*/ 542 w 784"/>
                <a:gd name="T35" fmla="*/ 2017 h 2425"/>
                <a:gd name="T36" fmla="*/ 573 w 784"/>
                <a:gd name="T37" fmla="*/ 2127 h 2425"/>
                <a:gd name="T38" fmla="*/ 600 w 784"/>
                <a:gd name="T39" fmla="*/ 2219 h 2425"/>
                <a:gd name="T40" fmla="*/ 618 w 784"/>
                <a:gd name="T41" fmla="*/ 2288 h 2425"/>
                <a:gd name="T42" fmla="*/ 630 w 784"/>
                <a:gd name="T43" fmla="*/ 2325 h 2425"/>
                <a:gd name="T44" fmla="*/ 439 w 784"/>
                <a:gd name="T45" fmla="*/ 2425 h 2425"/>
                <a:gd name="T46" fmla="*/ 432 w 784"/>
                <a:gd name="T47" fmla="*/ 2408 h 2425"/>
                <a:gd name="T48" fmla="*/ 410 w 784"/>
                <a:gd name="T49" fmla="*/ 2362 h 2425"/>
                <a:gd name="T50" fmla="*/ 376 w 784"/>
                <a:gd name="T51" fmla="*/ 2291 h 2425"/>
                <a:gd name="T52" fmla="*/ 334 w 784"/>
                <a:gd name="T53" fmla="*/ 2202 h 2425"/>
                <a:gd name="T54" fmla="*/ 285 w 784"/>
                <a:gd name="T55" fmla="*/ 2098 h 2425"/>
                <a:gd name="T56" fmla="*/ 232 w 784"/>
                <a:gd name="T57" fmla="*/ 1988 h 2425"/>
                <a:gd name="T58" fmla="*/ 180 w 784"/>
                <a:gd name="T59" fmla="*/ 1876 h 2425"/>
                <a:gd name="T60" fmla="*/ 129 w 784"/>
                <a:gd name="T61" fmla="*/ 1768 h 2425"/>
                <a:gd name="T62" fmla="*/ 83 w 784"/>
                <a:gd name="T63" fmla="*/ 1668 h 2425"/>
                <a:gd name="T64" fmla="*/ 46 w 784"/>
                <a:gd name="T65" fmla="*/ 1583 h 2425"/>
                <a:gd name="T66" fmla="*/ 17 w 784"/>
                <a:gd name="T67" fmla="*/ 1519 h 2425"/>
                <a:gd name="T68" fmla="*/ 2 w 784"/>
                <a:gd name="T69" fmla="*/ 1482 h 2425"/>
                <a:gd name="T70" fmla="*/ 0 w 784"/>
                <a:gd name="T71" fmla="*/ 1465 h 2425"/>
                <a:gd name="T72" fmla="*/ 5 w 784"/>
                <a:gd name="T73" fmla="*/ 1414 h 2425"/>
                <a:gd name="T74" fmla="*/ 15 w 784"/>
                <a:gd name="T75" fmla="*/ 1329 h 2425"/>
                <a:gd name="T76" fmla="*/ 29 w 784"/>
                <a:gd name="T77" fmla="*/ 1218 h 2425"/>
                <a:gd name="T78" fmla="*/ 46 w 784"/>
                <a:gd name="T79" fmla="*/ 1087 h 2425"/>
                <a:gd name="T80" fmla="*/ 63 w 784"/>
                <a:gd name="T81" fmla="*/ 945 h 2425"/>
                <a:gd name="T82" fmla="*/ 82 w 784"/>
                <a:gd name="T83" fmla="*/ 803 h 2425"/>
                <a:gd name="T84" fmla="*/ 100 w 784"/>
                <a:gd name="T85" fmla="*/ 665 h 2425"/>
                <a:gd name="T86" fmla="*/ 117 w 784"/>
                <a:gd name="T87" fmla="*/ 540 h 2425"/>
                <a:gd name="T88" fmla="*/ 131 w 784"/>
                <a:gd name="T89" fmla="*/ 440 h 2425"/>
                <a:gd name="T90" fmla="*/ 141 w 784"/>
                <a:gd name="T91" fmla="*/ 367 h 2425"/>
                <a:gd name="T92" fmla="*/ 148 w 784"/>
                <a:gd name="T93" fmla="*/ 335 h 2425"/>
                <a:gd name="T94" fmla="*/ 151 w 784"/>
                <a:gd name="T95" fmla="*/ 318 h 2425"/>
                <a:gd name="T96" fmla="*/ 158 w 784"/>
                <a:gd name="T97" fmla="*/ 298 h 2425"/>
                <a:gd name="T98" fmla="*/ 170 w 784"/>
                <a:gd name="T99" fmla="*/ 273 h 2425"/>
                <a:gd name="T100" fmla="*/ 195 w 784"/>
                <a:gd name="T101" fmla="*/ 244 h 2425"/>
                <a:gd name="T102" fmla="*/ 236 w 784"/>
                <a:gd name="T103" fmla="*/ 207 h 2425"/>
                <a:gd name="T104" fmla="*/ 298 w 784"/>
                <a:gd name="T105" fmla="*/ 166 h 2425"/>
                <a:gd name="T106" fmla="*/ 388 w 784"/>
                <a:gd name="T107" fmla="*/ 117 h 2425"/>
                <a:gd name="T108" fmla="*/ 510 w 784"/>
                <a:gd name="T109" fmla="*/ 63 h 2425"/>
                <a:gd name="T110" fmla="*/ 669 w 784"/>
                <a:gd name="T111" fmla="*/ 0 h 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84" h="2425">
                  <a:moveTo>
                    <a:pt x="669" y="0"/>
                  </a:moveTo>
                  <a:lnTo>
                    <a:pt x="784" y="340"/>
                  </a:lnTo>
                  <a:lnTo>
                    <a:pt x="784" y="613"/>
                  </a:lnTo>
                  <a:lnTo>
                    <a:pt x="483" y="847"/>
                  </a:lnTo>
                  <a:lnTo>
                    <a:pt x="481" y="852"/>
                  </a:lnTo>
                  <a:lnTo>
                    <a:pt x="476" y="864"/>
                  </a:lnTo>
                  <a:lnTo>
                    <a:pt x="468" y="882"/>
                  </a:lnTo>
                  <a:lnTo>
                    <a:pt x="457" y="906"/>
                  </a:lnTo>
                  <a:lnTo>
                    <a:pt x="446" y="936"/>
                  </a:lnTo>
                  <a:lnTo>
                    <a:pt x="434" y="969"/>
                  </a:lnTo>
                  <a:lnTo>
                    <a:pt x="419" y="1004"/>
                  </a:lnTo>
                  <a:lnTo>
                    <a:pt x="405" y="1043"/>
                  </a:lnTo>
                  <a:lnTo>
                    <a:pt x="390" y="1082"/>
                  </a:lnTo>
                  <a:lnTo>
                    <a:pt x="376" y="1121"/>
                  </a:lnTo>
                  <a:lnTo>
                    <a:pt x="363" y="1158"/>
                  </a:lnTo>
                  <a:lnTo>
                    <a:pt x="351" y="1194"/>
                  </a:lnTo>
                  <a:lnTo>
                    <a:pt x="341" y="1226"/>
                  </a:lnTo>
                  <a:lnTo>
                    <a:pt x="334" y="1255"/>
                  </a:lnTo>
                  <a:lnTo>
                    <a:pt x="329" y="1279"/>
                  </a:lnTo>
                  <a:lnTo>
                    <a:pt x="327" y="1295"/>
                  </a:lnTo>
                  <a:lnTo>
                    <a:pt x="329" y="1306"/>
                  </a:lnTo>
                  <a:lnTo>
                    <a:pt x="334" y="1316"/>
                  </a:lnTo>
                  <a:lnTo>
                    <a:pt x="341" y="1334"/>
                  </a:lnTo>
                  <a:lnTo>
                    <a:pt x="349" y="1362"/>
                  </a:lnTo>
                  <a:lnTo>
                    <a:pt x="361" y="1395"/>
                  </a:lnTo>
                  <a:lnTo>
                    <a:pt x="373" y="1436"/>
                  </a:lnTo>
                  <a:lnTo>
                    <a:pt x="386" y="1482"/>
                  </a:lnTo>
                  <a:lnTo>
                    <a:pt x="402" y="1534"/>
                  </a:lnTo>
                  <a:lnTo>
                    <a:pt x="419" y="1588"/>
                  </a:lnTo>
                  <a:lnTo>
                    <a:pt x="435" y="1648"/>
                  </a:lnTo>
                  <a:lnTo>
                    <a:pt x="452" y="1707"/>
                  </a:lnTo>
                  <a:lnTo>
                    <a:pt x="471" y="1770"/>
                  </a:lnTo>
                  <a:lnTo>
                    <a:pt x="490" y="1832"/>
                  </a:lnTo>
                  <a:lnTo>
                    <a:pt x="507" y="1895"/>
                  </a:lnTo>
                  <a:lnTo>
                    <a:pt x="525" y="1956"/>
                  </a:lnTo>
                  <a:lnTo>
                    <a:pt x="542" y="2017"/>
                  </a:lnTo>
                  <a:lnTo>
                    <a:pt x="557" y="2073"/>
                  </a:lnTo>
                  <a:lnTo>
                    <a:pt x="573" y="2127"/>
                  </a:lnTo>
                  <a:lnTo>
                    <a:pt x="588" y="2176"/>
                  </a:lnTo>
                  <a:lnTo>
                    <a:pt x="600" y="2219"/>
                  </a:lnTo>
                  <a:lnTo>
                    <a:pt x="610" y="2257"/>
                  </a:lnTo>
                  <a:lnTo>
                    <a:pt x="618" y="2288"/>
                  </a:lnTo>
                  <a:lnTo>
                    <a:pt x="625" y="2310"/>
                  </a:lnTo>
                  <a:lnTo>
                    <a:pt x="630" y="2325"/>
                  </a:lnTo>
                  <a:lnTo>
                    <a:pt x="630" y="2330"/>
                  </a:lnTo>
                  <a:lnTo>
                    <a:pt x="439" y="2425"/>
                  </a:lnTo>
                  <a:lnTo>
                    <a:pt x="437" y="2422"/>
                  </a:lnTo>
                  <a:lnTo>
                    <a:pt x="432" y="2408"/>
                  </a:lnTo>
                  <a:lnTo>
                    <a:pt x="422" y="2390"/>
                  </a:lnTo>
                  <a:lnTo>
                    <a:pt x="410" y="2362"/>
                  </a:lnTo>
                  <a:lnTo>
                    <a:pt x="393" y="2330"/>
                  </a:lnTo>
                  <a:lnTo>
                    <a:pt x="376" y="2291"/>
                  </a:lnTo>
                  <a:lnTo>
                    <a:pt x="356" y="2249"/>
                  </a:lnTo>
                  <a:lnTo>
                    <a:pt x="334" y="2202"/>
                  </a:lnTo>
                  <a:lnTo>
                    <a:pt x="310" y="2151"/>
                  </a:lnTo>
                  <a:lnTo>
                    <a:pt x="285" y="2098"/>
                  </a:lnTo>
                  <a:lnTo>
                    <a:pt x="259" y="2044"/>
                  </a:lnTo>
                  <a:lnTo>
                    <a:pt x="232" y="1988"/>
                  </a:lnTo>
                  <a:lnTo>
                    <a:pt x="207" y="1932"/>
                  </a:lnTo>
                  <a:lnTo>
                    <a:pt x="180" y="1876"/>
                  </a:lnTo>
                  <a:lnTo>
                    <a:pt x="154" y="1821"/>
                  </a:lnTo>
                  <a:lnTo>
                    <a:pt x="129" y="1768"/>
                  </a:lnTo>
                  <a:lnTo>
                    <a:pt x="105" y="1717"/>
                  </a:lnTo>
                  <a:lnTo>
                    <a:pt x="83" y="1668"/>
                  </a:lnTo>
                  <a:lnTo>
                    <a:pt x="63" y="1624"/>
                  </a:lnTo>
                  <a:lnTo>
                    <a:pt x="46" y="1583"/>
                  </a:lnTo>
                  <a:lnTo>
                    <a:pt x="29" y="1548"/>
                  </a:lnTo>
                  <a:lnTo>
                    <a:pt x="17" y="1519"/>
                  </a:lnTo>
                  <a:lnTo>
                    <a:pt x="7" y="1497"/>
                  </a:lnTo>
                  <a:lnTo>
                    <a:pt x="2" y="1482"/>
                  </a:lnTo>
                  <a:lnTo>
                    <a:pt x="0" y="1473"/>
                  </a:lnTo>
                  <a:lnTo>
                    <a:pt x="0" y="1465"/>
                  </a:lnTo>
                  <a:lnTo>
                    <a:pt x="2" y="1445"/>
                  </a:lnTo>
                  <a:lnTo>
                    <a:pt x="5" y="1414"/>
                  </a:lnTo>
                  <a:lnTo>
                    <a:pt x="10" y="1375"/>
                  </a:lnTo>
                  <a:lnTo>
                    <a:pt x="15" y="1329"/>
                  </a:lnTo>
                  <a:lnTo>
                    <a:pt x="22" y="1275"/>
                  </a:lnTo>
                  <a:lnTo>
                    <a:pt x="29" y="1218"/>
                  </a:lnTo>
                  <a:lnTo>
                    <a:pt x="37" y="1153"/>
                  </a:lnTo>
                  <a:lnTo>
                    <a:pt x="46" y="1087"/>
                  </a:lnTo>
                  <a:lnTo>
                    <a:pt x="54" y="1016"/>
                  </a:lnTo>
                  <a:lnTo>
                    <a:pt x="63" y="945"/>
                  </a:lnTo>
                  <a:lnTo>
                    <a:pt x="73" y="874"/>
                  </a:lnTo>
                  <a:lnTo>
                    <a:pt x="82" y="803"/>
                  </a:lnTo>
                  <a:lnTo>
                    <a:pt x="92" y="732"/>
                  </a:lnTo>
                  <a:lnTo>
                    <a:pt x="100" y="665"/>
                  </a:lnTo>
                  <a:lnTo>
                    <a:pt x="109" y="601"/>
                  </a:lnTo>
                  <a:lnTo>
                    <a:pt x="117" y="540"/>
                  </a:lnTo>
                  <a:lnTo>
                    <a:pt x="124" y="488"/>
                  </a:lnTo>
                  <a:lnTo>
                    <a:pt x="131" y="440"/>
                  </a:lnTo>
                  <a:lnTo>
                    <a:pt x="136" y="400"/>
                  </a:lnTo>
                  <a:lnTo>
                    <a:pt x="141" y="367"/>
                  </a:lnTo>
                  <a:lnTo>
                    <a:pt x="146" y="345"/>
                  </a:lnTo>
                  <a:lnTo>
                    <a:pt x="148" y="335"/>
                  </a:lnTo>
                  <a:lnTo>
                    <a:pt x="149" y="327"/>
                  </a:lnTo>
                  <a:lnTo>
                    <a:pt x="151" y="318"/>
                  </a:lnTo>
                  <a:lnTo>
                    <a:pt x="154" y="308"/>
                  </a:lnTo>
                  <a:lnTo>
                    <a:pt x="158" y="298"/>
                  </a:lnTo>
                  <a:lnTo>
                    <a:pt x="163" y="286"/>
                  </a:lnTo>
                  <a:lnTo>
                    <a:pt x="170" y="273"/>
                  </a:lnTo>
                  <a:lnTo>
                    <a:pt x="180" y="259"/>
                  </a:lnTo>
                  <a:lnTo>
                    <a:pt x="195" y="244"/>
                  </a:lnTo>
                  <a:lnTo>
                    <a:pt x="212" y="225"/>
                  </a:lnTo>
                  <a:lnTo>
                    <a:pt x="236" y="207"/>
                  </a:lnTo>
                  <a:lnTo>
                    <a:pt x="264" y="188"/>
                  </a:lnTo>
                  <a:lnTo>
                    <a:pt x="298" y="166"/>
                  </a:lnTo>
                  <a:lnTo>
                    <a:pt x="341" y="142"/>
                  </a:lnTo>
                  <a:lnTo>
                    <a:pt x="388" y="117"/>
                  </a:lnTo>
                  <a:lnTo>
                    <a:pt x="446" y="90"/>
                  </a:lnTo>
                  <a:lnTo>
                    <a:pt x="510" y="63"/>
                  </a:lnTo>
                  <a:lnTo>
                    <a:pt x="584" y="3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91" name="Freeform 2287"/>
            <p:cNvSpPr>
              <a:spLocks/>
            </p:cNvSpPr>
            <p:nvPr/>
          </p:nvSpPr>
          <p:spPr bwMode="auto">
            <a:xfrm>
              <a:off x="8786133" y="1181089"/>
              <a:ext cx="190500" cy="1268413"/>
            </a:xfrm>
            <a:custGeom>
              <a:avLst/>
              <a:gdLst>
                <a:gd name="T0" fmla="*/ 239 w 239"/>
                <a:gd name="T1" fmla="*/ 0 h 1599"/>
                <a:gd name="T2" fmla="*/ 239 w 239"/>
                <a:gd name="T3" fmla="*/ 1599 h 1599"/>
                <a:gd name="T4" fmla="*/ 119 w 239"/>
                <a:gd name="T5" fmla="*/ 642 h 1599"/>
                <a:gd name="T6" fmla="*/ 200 w 239"/>
                <a:gd name="T7" fmla="*/ 559 h 1599"/>
                <a:gd name="T8" fmla="*/ 119 w 239"/>
                <a:gd name="T9" fmla="*/ 507 h 1599"/>
                <a:gd name="T10" fmla="*/ 0 w 239"/>
                <a:gd name="T11" fmla="*/ 87 h 1599"/>
                <a:gd name="T12" fmla="*/ 239 w 239"/>
                <a:gd name="T13" fmla="*/ 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1599">
                  <a:moveTo>
                    <a:pt x="239" y="0"/>
                  </a:moveTo>
                  <a:lnTo>
                    <a:pt x="239" y="1599"/>
                  </a:lnTo>
                  <a:lnTo>
                    <a:pt x="119" y="642"/>
                  </a:lnTo>
                  <a:lnTo>
                    <a:pt x="200" y="559"/>
                  </a:lnTo>
                  <a:lnTo>
                    <a:pt x="119" y="507"/>
                  </a:lnTo>
                  <a:lnTo>
                    <a:pt x="0" y="87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0026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48" name="Group 947"/>
          <p:cNvGrpSpPr/>
          <p:nvPr/>
        </p:nvGrpSpPr>
        <p:grpSpPr>
          <a:xfrm>
            <a:off x="7561135" y="4036766"/>
            <a:ext cx="134282" cy="439845"/>
            <a:chOff x="-4251325" y="3627438"/>
            <a:chExt cx="823913" cy="2725738"/>
          </a:xfrm>
        </p:grpSpPr>
        <p:sp>
          <p:nvSpPr>
            <p:cNvPr id="564" name="Freeform 222"/>
            <p:cNvSpPr>
              <a:spLocks/>
            </p:cNvSpPr>
            <p:nvPr/>
          </p:nvSpPr>
          <p:spPr bwMode="auto">
            <a:xfrm>
              <a:off x="-4035425" y="5373688"/>
              <a:ext cx="133350" cy="798513"/>
            </a:xfrm>
            <a:custGeom>
              <a:avLst/>
              <a:gdLst>
                <a:gd name="T0" fmla="*/ 22 w 84"/>
                <a:gd name="T1" fmla="*/ 0 h 503"/>
                <a:gd name="T2" fmla="*/ 28 w 84"/>
                <a:gd name="T3" fmla="*/ 3 h 503"/>
                <a:gd name="T4" fmla="*/ 36 w 84"/>
                <a:gd name="T5" fmla="*/ 10 h 503"/>
                <a:gd name="T6" fmla="*/ 44 w 84"/>
                <a:gd name="T7" fmla="*/ 21 h 503"/>
                <a:gd name="T8" fmla="*/ 52 w 84"/>
                <a:gd name="T9" fmla="*/ 36 h 503"/>
                <a:gd name="T10" fmla="*/ 59 w 84"/>
                <a:gd name="T11" fmla="*/ 54 h 503"/>
                <a:gd name="T12" fmla="*/ 66 w 84"/>
                <a:gd name="T13" fmla="*/ 74 h 503"/>
                <a:gd name="T14" fmla="*/ 72 w 84"/>
                <a:gd name="T15" fmla="*/ 96 h 503"/>
                <a:gd name="T16" fmla="*/ 77 w 84"/>
                <a:gd name="T17" fmla="*/ 120 h 503"/>
                <a:gd name="T18" fmla="*/ 81 w 84"/>
                <a:gd name="T19" fmla="*/ 145 h 503"/>
                <a:gd name="T20" fmla="*/ 82 w 84"/>
                <a:gd name="T21" fmla="*/ 170 h 503"/>
                <a:gd name="T22" fmla="*/ 84 w 84"/>
                <a:gd name="T23" fmla="*/ 196 h 503"/>
                <a:gd name="T24" fmla="*/ 81 w 84"/>
                <a:gd name="T25" fmla="*/ 223 h 503"/>
                <a:gd name="T26" fmla="*/ 80 w 84"/>
                <a:gd name="T27" fmla="*/ 240 h 503"/>
                <a:gd name="T28" fmla="*/ 78 w 84"/>
                <a:gd name="T29" fmla="*/ 261 h 503"/>
                <a:gd name="T30" fmla="*/ 77 w 84"/>
                <a:gd name="T31" fmla="*/ 288 h 503"/>
                <a:gd name="T32" fmla="*/ 76 w 84"/>
                <a:gd name="T33" fmla="*/ 318 h 503"/>
                <a:gd name="T34" fmla="*/ 73 w 84"/>
                <a:gd name="T35" fmla="*/ 350 h 503"/>
                <a:gd name="T36" fmla="*/ 71 w 84"/>
                <a:gd name="T37" fmla="*/ 381 h 503"/>
                <a:gd name="T38" fmla="*/ 67 w 84"/>
                <a:gd name="T39" fmla="*/ 411 h 503"/>
                <a:gd name="T40" fmla="*/ 63 w 84"/>
                <a:gd name="T41" fmla="*/ 440 h 503"/>
                <a:gd name="T42" fmla="*/ 58 w 84"/>
                <a:gd name="T43" fmla="*/ 464 h 503"/>
                <a:gd name="T44" fmla="*/ 50 w 84"/>
                <a:gd name="T45" fmla="*/ 485 h 503"/>
                <a:gd name="T46" fmla="*/ 43 w 84"/>
                <a:gd name="T47" fmla="*/ 497 h 503"/>
                <a:gd name="T48" fmla="*/ 35 w 84"/>
                <a:gd name="T49" fmla="*/ 503 h 503"/>
                <a:gd name="T50" fmla="*/ 28 w 84"/>
                <a:gd name="T51" fmla="*/ 500 h 503"/>
                <a:gd name="T52" fmla="*/ 23 w 84"/>
                <a:gd name="T53" fmla="*/ 491 h 503"/>
                <a:gd name="T54" fmla="*/ 19 w 84"/>
                <a:gd name="T55" fmla="*/ 476 h 503"/>
                <a:gd name="T56" fmla="*/ 16 w 84"/>
                <a:gd name="T57" fmla="*/ 455 h 503"/>
                <a:gd name="T58" fmla="*/ 13 w 84"/>
                <a:gd name="T59" fmla="*/ 431 h 503"/>
                <a:gd name="T60" fmla="*/ 10 w 84"/>
                <a:gd name="T61" fmla="*/ 403 h 503"/>
                <a:gd name="T62" fmla="*/ 9 w 84"/>
                <a:gd name="T63" fmla="*/ 372 h 503"/>
                <a:gd name="T64" fmla="*/ 8 w 84"/>
                <a:gd name="T65" fmla="*/ 340 h 503"/>
                <a:gd name="T66" fmla="*/ 7 w 84"/>
                <a:gd name="T67" fmla="*/ 306 h 503"/>
                <a:gd name="T68" fmla="*/ 7 w 84"/>
                <a:gd name="T69" fmla="*/ 273 h 503"/>
                <a:gd name="T70" fmla="*/ 5 w 84"/>
                <a:gd name="T71" fmla="*/ 241 h 503"/>
                <a:gd name="T72" fmla="*/ 5 w 84"/>
                <a:gd name="T73" fmla="*/ 211 h 503"/>
                <a:gd name="T74" fmla="*/ 4 w 84"/>
                <a:gd name="T75" fmla="*/ 183 h 503"/>
                <a:gd name="T76" fmla="*/ 4 w 84"/>
                <a:gd name="T77" fmla="*/ 159 h 503"/>
                <a:gd name="T78" fmla="*/ 3 w 84"/>
                <a:gd name="T79" fmla="*/ 138 h 503"/>
                <a:gd name="T80" fmla="*/ 0 w 84"/>
                <a:gd name="T81" fmla="*/ 98 h 503"/>
                <a:gd name="T82" fmla="*/ 0 w 84"/>
                <a:gd name="T83" fmla="*/ 66 h 503"/>
                <a:gd name="T84" fmla="*/ 1 w 84"/>
                <a:gd name="T85" fmla="*/ 41 h 503"/>
                <a:gd name="T86" fmla="*/ 4 w 84"/>
                <a:gd name="T87" fmla="*/ 21 h 503"/>
                <a:gd name="T88" fmla="*/ 9 w 84"/>
                <a:gd name="T89" fmla="*/ 9 h 503"/>
                <a:gd name="T90" fmla="*/ 14 w 84"/>
                <a:gd name="T91" fmla="*/ 2 h 503"/>
                <a:gd name="T92" fmla="*/ 22 w 84"/>
                <a:gd name="T9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4" h="503">
                  <a:moveTo>
                    <a:pt x="22" y="0"/>
                  </a:moveTo>
                  <a:lnTo>
                    <a:pt x="28" y="3"/>
                  </a:lnTo>
                  <a:lnTo>
                    <a:pt x="36" y="10"/>
                  </a:lnTo>
                  <a:lnTo>
                    <a:pt x="44" y="21"/>
                  </a:lnTo>
                  <a:lnTo>
                    <a:pt x="52" y="36"/>
                  </a:lnTo>
                  <a:lnTo>
                    <a:pt x="59" y="54"/>
                  </a:lnTo>
                  <a:lnTo>
                    <a:pt x="66" y="74"/>
                  </a:lnTo>
                  <a:lnTo>
                    <a:pt x="72" y="96"/>
                  </a:lnTo>
                  <a:lnTo>
                    <a:pt x="77" y="120"/>
                  </a:lnTo>
                  <a:lnTo>
                    <a:pt x="81" y="145"/>
                  </a:lnTo>
                  <a:lnTo>
                    <a:pt x="82" y="170"/>
                  </a:lnTo>
                  <a:lnTo>
                    <a:pt x="84" y="196"/>
                  </a:lnTo>
                  <a:lnTo>
                    <a:pt x="81" y="223"/>
                  </a:lnTo>
                  <a:lnTo>
                    <a:pt x="80" y="240"/>
                  </a:lnTo>
                  <a:lnTo>
                    <a:pt x="78" y="261"/>
                  </a:lnTo>
                  <a:lnTo>
                    <a:pt x="77" y="288"/>
                  </a:lnTo>
                  <a:lnTo>
                    <a:pt x="76" y="318"/>
                  </a:lnTo>
                  <a:lnTo>
                    <a:pt x="73" y="350"/>
                  </a:lnTo>
                  <a:lnTo>
                    <a:pt x="71" y="381"/>
                  </a:lnTo>
                  <a:lnTo>
                    <a:pt x="67" y="411"/>
                  </a:lnTo>
                  <a:lnTo>
                    <a:pt x="63" y="440"/>
                  </a:lnTo>
                  <a:lnTo>
                    <a:pt x="58" y="464"/>
                  </a:lnTo>
                  <a:lnTo>
                    <a:pt x="50" y="485"/>
                  </a:lnTo>
                  <a:lnTo>
                    <a:pt x="43" y="497"/>
                  </a:lnTo>
                  <a:lnTo>
                    <a:pt x="35" y="503"/>
                  </a:lnTo>
                  <a:lnTo>
                    <a:pt x="28" y="500"/>
                  </a:lnTo>
                  <a:lnTo>
                    <a:pt x="23" y="491"/>
                  </a:lnTo>
                  <a:lnTo>
                    <a:pt x="19" y="476"/>
                  </a:lnTo>
                  <a:lnTo>
                    <a:pt x="16" y="455"/>
                  </a:lnTo>
                  <a:lnTo>
                    <a:pt x="13" y="431"/>
                  </a:lnTo>
                  <a:lnTo>
                    <a:pt x="10" y="403"/>
                  </a:lnTo>
                  <a:lnTo>
                    <a:pt x="9" y="372"/>
                  </a:lnTo>
                  <a:lnTo>
                    <a:pt x="8" y="340"/>
                  </a:lnTo>
                  <a:lnTo>
                    <a:pt x="7" y="306"/>
                  </a:lnTo>
                  <a:lnTo>
                    <a:pt x="7" y="273"/>
                  </a:lnTo>
                  <a:lnTo>
                    <a:pt x="5" y="241"/>
                  </a:lnTo>
                  <a:lnTo>
                    <a:pt x="5" y="211"/>
                  </a:lnTo>
                  <a:lnTo>
                    <a:pt x="4" y="183"/>
                  </a:lnTo>
                  <a:lnTo>
                    <a:pt x="4" y="159"/>
                  </a:lnTo>
                  <a:lnTo>
                    <a:pt x="3" y="138"/>
                  </a:lnTo>
                  <a:lnTo>
                    <a:pt x="0" y="98"/>
                  </a:lnTo>
                  <a:lnTo>
                    <a:pt x="0" y="66"/>
                  </a:lnTo>
                  <a:lnTo>
                    <a:pt x="1" y="41"/>
                  </a:lnTo>
                  <a:lnTo>
                    <a:pt x="4" y="21"/>
                  </a:lnTo>
                  <a:lnTo>
                    <a:pt x="9" y="9"/>
                  </a:lnTo>
                  <a:lnTo>
                    <a:pt x="14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5" name="Freeform 223"/>
            <p:cNvSpPr>
              <a:spLocks/>
            </p:cNvSpPr>
            <p:nvPr/>
          </p:nvSpPr>
          <p:spPr bwMode="auto">
            <a:xfrm>
              <a:off x="-3863975" y="5373688"/>
              <a:ext cx="138113" cy="798513"/>
            </a:xfrm>
            <a:custGeom>
              <a:avLst/>
              <a:gdLst>
                <a:gd name="T0" fmla="*/ 67 w 87"/>
                <a:gd name="T1" fmla="*/ 0 h 503"/>
                <a:gd name="T2" fmla="*/ 73 w 87"/>
                <a:gd name="T3" fmla="*/ 2 h 503"/>
                <a:gd name="T4" fmla="*/ 78 w 87"/>
                <a:gd name="T5" fmla="*/ 11 h 503"/>
                <a:gd name="T6" fmla="*/ 83 w 87"/>
                <a:gd name="T7" fmla="*/ 24 h 503"/>
                <a:gd name="T8" fmla="*/ 86 w 87"/>
                <a:gd name="T9" fmla="*/ 43 h 503"/>
                <a:gd name="T10" fmla="*/ 87 w 87"/>
                <a:gd name="T11" fmla="*/ 69 h 503"/>
                <a:gd name="T12" fmla="*/ 87 w 87"/>
                <a:gd name="T13" fmla="*/ 100 h 503"/>
                <a:gd name="T14" fmla="*/ 85 w 87"/>
                <a:gd name="T15" fmla="*/ 138 h 503"/>
                <a:gd name="T16" fmla="*/ 83 w 87"/>
                <a:gd name="T17" fmla="*/ 159 h 503"/>
                <a:gd name="T18" fmla="*/ 82 w 87"/>
                <a:gd name="T19" fmla="*/ 183 h 503"/>
                <a:gd name="T20" fmla="*/ 82 w 87"/>
                <a:gd name="T21" fmla="*/ 211 h 503"/>
                <a:gd name="T22" fmla="*/ 81 w 87"/>
                <a:gd name="T23" fmla="*/ 241 h 503"/>
                <a:gd name="T24" fmla="*/ 81 w 87"/>
                <a:gd name="T25" fmla="*/ 273 h 503"/>
                <a:gd name="T26" fmla="*/ 80 w 87"/>
                <a:gd name="T27" fmla="*/ 306 h 503"/>
                <a:gd name="T28" fmla="*/ 80 w 87"/>
                <a:gd name="T29" fmla="*/ 340 h 503"/>
                <a:gd name="T30" fmla="*/ 78 w 87"/>
                <a:gd name="T31" fmla="*/ 372 h 503"/>
                <a:gd name="T32" fmla="*/ 76 w 87"/>
                <a:gd name="T33" fmla="*/ 403 h 503"/>
                <a:gd name="T34" fmla="*/ 74 w 87"/>
                <a:gd name="T35" fmla="*/ 431 h 503"/>
                <a:gd name="T36" fmla="*/ 72 w 87"/>
                <a:gd name="T37" fmla="*/ 455 h 503"/>
                <a:gd name="T38" fmla="*/ 68 w 87"/>
                <a:gd name="T39" fmla="*/ 476 h 503"/>
                <a:gd name="T40" fmla="*/ 63 w 87"/>
                <a:gd name="T41" fmla="*/ 491 h 503"/>
                <a:gd name="T42" fmla="*/ 58 w 87"/>
                <a:gd name="T43" fmla="*/ 500 h 503"/>
                <a:gd name="T44" fmla="*/ 51 w 87"/>
                <a:gd name="T45" fmla="*/ 503 h 503"/>
                <a:gd name="T46" fmla="*/ 45 w 87"/>
                <a:gd name="T47" fmla="*/ 497 h 503"/>
                <a:gd name="T48" fmla="*/ 36 w 87"/>
                <a:gd name="T49" fmla="*/ 485 h 503"/>
                <a:gd name="T50" fmla="*/ 29 w 87"/>
                <a:gd name="T51" fmla="*/ 464 h 503"/>
                <a:gd name="T52" fmla="*/ 23 w 87"/>
                <a:gd name="T53" fmla="*/ 440 h 503"/>
                <a:gd name="T54" fmla="*/ 19 w 87"/>
                <a:gd name="T55" fmla="*/ 411 h 503"/>
                <a:gd name="T56" fmla="*/ 15 w 87"/>
                <a:gd name="T57" fmla="*/ 381 h 503"/>
                <a:gd name="T58" fmla="*/ 12 w 87"/>
                <a:gd name="T59" fmla="*/ 349 h 503"/>
                <a:gd name="T60" fmla="*/ 9 w 87"/>
                <a:gd name="T61" fmla="*/ 317 h 503"/>
                <a:gd name="T62" fmla="*/ 6 w 87"/>
                <a:gd name="T63" fmla="*/ 287 h 503"/>
                <a:gd name="T64" fmla="*/ 5 w 87"/>
                <a:gd name="T65" fmla="*/ 260 h 503"/>
                <a:gd name="T66" fmla="*/ 4 w 87"/>
                <a:gd name="T67" fmla="*/ 237 h 503"/>
                <a:gd name="T68" fmla="*/ 3 w 87"/>
                <a:gd name="T69" fmla="*/ 220 h 503"/>
                <a:gd name="T70" fmla="*/ 0 w 87"/>
                <a:gd name="T71" fmla="*/ 196 h 503"/>
                <a:gd name="T72" fmla="*/ 0 w 87"/>
                <a:gd name="T73" fmla="*/ 170 h 503"/>
                <a:gd name="T74" fmla="*/ 3 w 87"/>
                <a:gd name="T75" fmla="*/ 146 h 503"/>
                <a:gd name="T76" fmla="*/ 6 w 87"/>
                <a:gd name="T77" fmla="*/ 123 h 503"/>
                <a:gd name="T78" fmla="*/ 10 w 87"/>
                <a:gd name="T79" fmla="*/ 100 h 503"/>
                <a:gd name="T80" fmla="*/ 17 w 87"/>
                <a:gd name="T81" fmla="*/ 78 h 503"/>
                <a:gd name="T82" fmla="*/ 23 w 87"/>
                <a:gd name="T83" fmla="*/ 59 h 503"/>
                <a:gd name="T84" fmla="*/ 29 w 87"/>
                <a:gd name="T85" fmla="*/ 41 h 503"/>
                <a:gd name="T86" fmla="*/ 37 w 87"/>
                <a:gd name="T87" fmla="*/ 27 h 503"/>
                <a:gd name="T88" fmla="*/ 45 w 87"/>
                <a:gd name="T89" fmla="*/ 14 h 503"/>
                <a:gd name="T90" fmla="*/ 53 w 87"/>
                <a:gd name="T91" fmla="*/ 6 h 503"/>
                <a:gd name="T92" fmla="*/ 60 w 87"/>
                <a:gd name="T93" fmla="*/ 1 h 503"/>
                <a:gd name="T94" fmla="*/ 67 w 87"/>
                <a:gd name="T95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503">
                  <a:moveTo>
                    <a:pt x="67" y="0"/>
                  </a:moveTo>
                  <a:lnTo>
                    <a:pt x="73" y="2"/>
                  </a:lnTo>
                  <a:lnTo>
                    <a:pt x="78" y="11"/>
                  </a:lnTo>
                  <a:lnTo>
                    <a:pt x="83" y="24"/>
                  </a:lnTo>
                  <a:lnTo>
                    <a:pt x="86" y="43"/>
                  </a:lnTo>
                  <a:lnTo>
                    <a:pt x="87" y="69"/>
                  </a:lnTo>
                  <a:lnTo>
                    <a:pt x="87" y="100"/>
                  </a:lnTo>
                  <a:lnTo>
                    <a:pt x="85" y="138"/>
                  </a:lnTo>
                  <a:lnTo>
                    <a:pt x="83" y="159"/>
                  </a:lnTo>
                  <a:lnTo>
                    <a:pt x="82" y="183"/>
                  </a:lnTo>
                  <a:lnTo>
                    <a:pt x="82" y="211"/>
                  </a:lnTo>
                  <a:lnTo>
                    <a:pt x="81" y="241"/>
                  </a:lnTo>
                  <a:lnTo>
                    <a:pt x="81" y="273"/>
                  </a:lnTo>
                  <a:lnTo>
                    <a:pt x="80" y="306"/>
                  </a:lnTo>
                  <a:lnTo>
                    <a:pt x="80" y="340"/>
                  </a:lnTo>
                  <a:lnTo>
                    <a:pt x="78" y="372"/>
                  </a:lnTo>
                  <a:lnTo>
                    <a:pt x="76" y="403"/>
                  </a:lnTo>
                  <a:lnTo>
                    <a:pt x="74" y="431"/>
                  </a:lnTo>
                  <a:lnTo>
                    <a:pt x="72" y="455"/>
                  </a:lnTo>
                  <a:lnTo>
                    <a:pt x="68" y="476"/>
                  </a:lnTo>
                  <a:lnTo>
                    <a:pt x="63" y="491"/>
                  </a:lnTo>
                  <a:lnTo>
                    <a:pt x="58" y="500"/>
                  </a:lnTo>
                  <a:lnTo>
                    <a:pt x="51" y="503"/>
                  </a:lnTo>
                  <a:lnTo>
                    <a:pt x="45" y="497"/>
                  </a:lnTo>
                  <a:lnTo>
                    <a:pt x="36" y="485"/>
                  </a:lnTo>
                  <a:lnTo>
                    <a:pt x="29" y="464"/>
                  </a:lnTo>
                  <a:lnTo>
                    <a:pt x="23" y="440"/>
                  </a:lnTo>
                  <a:lnTo>
                    <a:pt x="19" y="411"/>
                  </a:lnTo>
                  <a:lnTo>
                    <a:pt x="15" y="381"/>
                  </a:lnTo>
                  <a:lnTo>
                    <a:pt x="12" y="349"/>
                  </a:lnTo>
                  <a:lnTo>
                    <a:pt x="9" y="317"/>
                  </a:lnTo>
                  <a:lnTo>
                    <a:pt x="6" y="287"/>
                  </a:lnTo>
                  <a:lnTo>
                    <a:pt x="5" y="260"/>
                  </a:lnTo>
                  <a:lnTo>
                    <a:pt x="4" y="237"/>
                  </a:lnTo>
                  <a:lnTo>
                    <a:pt x="3" y="220"/>
                  </a:lnTo>
                  <a:lnTo>
                    <a:pt x="0" y="196"/>
                  </a:lnTo>
                  <a:lnTo>
                    <a:pt x="0" y="170"/>
                  </a:lnTo>
                  <a:lnTo>
                    <a:pt x="3" y="146"/>
                  </a:lnTo>
                  <a:lnTo>
                    <a:pt x="6" y="123"/>
                  </a:lnTo>
                  <a:lnTo>
                    <a:pt x="10" y="100"/>
                  </a:lnTo>
                  <a:lnTo>
                    <a:pt x="17" y="78"/>
                  </a:lnTo>
                  <a:lnTo>
                    <a:pt x="23" y="59"/>
                  </a:lnTo>
                  <a:lnTo>
                    <a:pt x="29" y="41"/>
                  </a:lnTo>
                  <a:lnTo>
                    <a:pt x="37" y="27"/>
                  </a:lnTo>
                  <a:lnTo>
                    <a:pt x="45" y="14"/>
                  </a:lnTo>
                  <a:lnTo>
                    <a:pt x="53" y="6"/>
                  </a:lnTo>
                  <a:lnTo>
                    <a:pt x="60" y="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6" name="Freeform 224"/>
            <p:cNvSpPr>
              <a:spLocks/>
            </p:cNvSpPr>
            <p:nvPr/>
          </p:nvSpPr>
          <p:spPr bwMode="auto">
            <a:xfrm>
              <a:off x="-3829050" y="6230938"/>
              <a:ext cx="296863" cy="122238"/>
            </a:xfrm>
            <a:custGeom>
              <a:avLst/>
              <a:gdLst>
                <a:gd name="T0" fmla="*/ 2 w 187"/>
                <a:gd name="T1" fmla="*/ 0 h 77"/>
                <a:gd name="T2" fmla="*/ 4 w 187"/>
                <a:gd name="T3" fmla="*/ 0 h 77"/>
                <a:gd name="T4" fmla="*/ 5 w 187"/>
                <a:gd name="T5" fmla="*/ 0 h 77"/>
                <a:gd name="T6" fmla="*/ 7 w 187"/>
                <a:gd name="T7" fmla="*/ 0 h 77"/>
                <a:gd name="T8" fmla="*/ 10 w 187"/>
                <a:gd name="T9" fmla="*/ 0 h 77"/>
                <a:gd name="T10" fmla="*/ 13 w 187"/>
                <a:gd name="T11" fmla="*/ 0 h 77"/>
                <a:gd name="T12" fmla="*/ 14 w 187"/>
                <a:gd name="T13" fmla="*/ 0 h 77"/>
                <a:gd name="T14" fmla="*/ 15 w 187"/>
                <a:gd name="T15" fmla="*/ 0 h 77"/>
                <a:gd name="T16" fmla="*/ 20 w 187"/>
                <a:gd name="T17" fmla="*/ 6 h 77"/>
                <a:gd name="T18" fmla="*/ 31 w 187"/>
                <a:gd name="T19" fmla="*/ 11 h 77"/>
                <a:gd name="T20" fmla="*/ 43 w 187"/>
                <a:gd name="T21" fmla="*/ 14 h 77"/>
                <a:gd name="T22" fmla="*/ 56 w 187"/>
                <a:gd name="T23" fmla="*/ 15 h 77"/>
                <a:gd name="T24" fmla="*/ 72 w 187"/>
                <a:gd name="T25" fmla="*/ 19 h 77"/>
                <a:gd name="T26" fmla="*/ 84 w 187"/>
                <a:gd name="T27" fmla="*/ 24 h 77"/>
                <a:gd name="T28" fmla="*/ 96 w 187"/>
                <a:gd name="T29" fmla="*/ 33 h 77"/>
                <a:gd name="T30" fmla="*/ 109 w 187"/>
                <a:gd name="T31" fmla="*/ 42 h 77"/>
                <a:gd name="T32" fmla="*/ 123 w 187"/>
                <a:gd name="T33" fmla="*/ 47 h 77"/>
                <a:gd name="T34" fmla="*/ 140 w 187"/>
                <a:gd name="T35" fmla="*/ 50 h 77"/>
                <a:gd name="T36" fmla="*/ 156 w 187"/>
                <a:gd name="T37" fmla="*/ 49 h 77"/>
                <a:gd name="T38" fmla="*/ 172 w 187"/>
                <a:gd name="T39" fmla="*/ 47 h 77"/>
                <a:gd name="T40" fmla="*/ 185 w 187"/>
                <a:gd name="T41" fmla="*/ 45 h 77"/>
                <a:gd name="T42" fmla="*/ 186 w 187"/>
                <a:gd name="T43" fmla="*/ 45 h 77"/>
                <a:gd name="T44" fmla="*/ 186 w 187"/>
                <a:gd name="T45" fmla="*/ 43 h 77"/>
                <a:gd name="T46" fmla="*/ 185 w 187"/>
                <a:gd name="T47" fmla="*/ 43 h 77"/>
                <a:gd name="T48" fmla="*/ 186 w 187"/>
                <a:gd name="T49" fmla="*/ 46 h 77"/>
                <a:gd name="T50" fmla="*/ 187 w 187"/>
                <a:gd name="T51" fmla="*/ 49 h 77"/>
                <a:gd name="T52" fmla="*/ 187 w 187"/>
                <a:gd name="T53" fmla="*/ 52 h 77"/>
                <a:gd name="T54" fmla="*/ 185 w 187"/>
                <a:gd name="T55" fmla="*/ 60 h 77"/>
                <a:gd name="T56" fmla="*/ 177 w 187"/>
                <a:gd name="T57" fmla="*/ 67 h 77"/>
                <a:gd name="T58" fmla="*/ 164 w 187"/>
                <a:gd name="T59" fmla="*/ 73 h 77"/>
                <a:gd name="T60" fmla="*/ 150 w 187"/>
                <a:gd name="T61" fmla="*/ 77 h 77"/>
                <a:gd name="T62" fmla="*/ 136 w 187"/>
                <a:gd name="T63" fmla="*/ 77 h 77"/>
                <a:gd name="T64" fmla="*/ 118 w 187"/>
                <a:gd name="T65" fmla="*/ 75 h 77"/>
                <a:gd name="T66" fmla="*/ 104 w 187"/>
                <a:gd name="T67" fmla="*/ 72 h 77"/>
                <a:gd name="T68" fmla="*/ 93 w 187"/>
                <a:gd name="T69" fmla="*/ 67 h 77"/>
                <a:gd name="T70" fmla="*/ 83 w 187"/>
                <a:gd name="T71" fmla="*/ 61 h 77"/>
                <a:gd name="T72" fmla="*/ 75 w 187"/>
                <a:gd name="T73" fmla="*/ 55 h 77"/>
                <a:gd name="T74" fmla="*/ 67 w 187"/>
                <a:gd name="T75" fmla="*/ 49 h 77"/>
                <a:gd name="T76" fmla="*/ 55 w 187"/>
                <a:gd name="T77" fmla="*/ 41 h 77"/>
                <a:gd name="T78" fmla="*/ 40 w 187"/>
                <a:gd name="T79" fmla="*/ 34 h 77"/>
                <a:gd name="T80" fmla="*/ 40 w 187"/>
                <a:gd name="T81" fmla="*/ 36 h 77"/>
                <a:gd name="T82" fmla="*/ 40 w 187"/>
                <a:gd name="T83" fmla="*/ 36 h 77"/>
                <a:gd name="T84" fmla="*/ 38 w 187"/>
                <a:gd name="T85" fmla="*/ 37 h 77"/>
                <a:gd name="T86" fmla="*/ 37 w 187"/>
                <a:gd name="T87" fmla="*/ 38 h 77"/>
                <a:gd name="T88" fmla="*/ 34 w 187"/>
                <a:gd name="T89" fmla="*/ 40 h 77"/>
                <a:gd name="T90" fmla="*/ 32 w 187"/>
                <a:gd name="T91" fmla="*/ 38 h 77"/>
                <a:gd name="T92" fmla="*/ 24 w 187"/>
                <a:gd name="T93" fmla="*/ 36 h 77"/>
                <a:gd name="T94" fmla="*/ 14 w 187"/>
                <a:gd name="T95" fmla="*/ 32 h 77"/>
                <a:gd name="T96" fmla="*/ 5 w 187"/>
                <a:gd name="T97" fmla="*/ 28 h 77"/>
                <a:gd name="T98" fmla="*/ 1 w 187"/>
                <a:gd name="T99" fmla="*/ 24 h 77"/>
                <a:gd name="T100" fmla="*/ 0 w 187"/>
                <a:gd name="T101" fmla="*/ 14 h 77"/>
                <a:gd name="T102" fmla="*/ 0 w 187"/>
                <a:gd name="T103" fmla="*/ 2 h 77"/>
                <a:gd name="T104" fmla="*/ 1 w 187"/>
                <a:gd name="T105" fmla="*/ 1 h 77"/>
                <a:gd name="T106" fmla="*/ 2 w 187"/>
                <a:gd name="T10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7" h="77">
                  <a:moveTo>
                    <a:pt x="2" y="0"/>
                  </a:moveTo>
                  <a:lnTo>
                    <a:pt x="4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20" y="6"/>
                  </a:lnTo>
                  <a:lnTo>
                    <a:pt x="31" y="11"/>
                  </a:lnTo>
                  <a:lnTo>
                    <a:pt x="43" y="14"/>
                  </a:lnTo>
                  <a:lnTo>
                    <a:pt x="56" y="15"/>
                  </a:lnTo>
                  <a:lnTo>
                    <a:pt x="72" y="19"/>
                  </a:lnTo>
                  <a:lnTo>
                    <a:pt x="84" y="24"/>
                  </a:lnTo>
                  <a:lnTo>
                    <a:pt x="96" y="33"/>
                  </a:lnTo>
                  <a:lnTo>
                    <a:pt x="109" y="42"/>
                  </a:lnTo>
                  <a:lnTo>
                    <a:pt x="123" y="47"/>
                  </a:lnTo>
                  <a:lnTo>
                    <a:pt x="140" y="50"/>
                  </a:lnTo>
                  <a:lnTo>
                    <a:pt x="156" y="49"/>
                  </a:lnTo>
                  <a:lnTo>
                    <a:pt x="172" y="47"/>
                  </a:lnTo>
                  <a:lnTo>
                    <a:pt x="185" y="45"/>
                  </a:lnTo>
                  <a:lnTo>
                    <a:pt x="186" y="45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6" y="46"/>
                  </a:lnTo>
                  <a:lnTo>
                    <a:pt x="187" y="49"/>
                  </a:lnTo>
                  <a:lnTo>
                    <a:pt x="187" y="52"/>
                  </a:lnTo>
                  <a:lnTo>
                    <a:pt x="185" y="60"/>
                  </a:lnTo>
                  <a:lnTo>
                    <a:pt x="177" y="67"/>
                  </a:lnTo>
                  <a:lnTo>
                    <a:pt x="164" y="73"/>
                  </a:lnTo>
                  <a:lnTo>
                    <a:pt x="150" y="77"/>
                  </a:lnTo>
                  <a:lnTo>
                    <a:pt x="136" y="77"/>
                  </a:lnTo>
                  <a:lnTo>
                    <a:pt x="118" y="75"/>
                  </a:lnTo>
                  <a:lnTo>
                    <a:pt x="104" y="72"/>
                  </a:lnTo>
                  <a:lnTo>
                    <a:pt x="93" y="67"/>
                  </a:lnTo>
                  <a:lnTo>
                    <a:pt x="83" y="61"/>
                  </a:lnTo>
                  <a:lnTo>
                    <a:pt x="75" y="55"/>
                  </a:lnTo>
                  <a:lnTo>
                    <a:pt x="67" y="49"/>
                  </a:lnTo>
                  <a:lnTo>
                    <a:pt x="55" y="41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7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2" y="38"/>
                  </a:lnTo>
                  <a:lnTo>
                    <a:pt x="24" y="36"/>
                  </a:lnTo>
                  <a:lnTo>
                    <a:pt x="14" y="32"/>
                  </a:lnTo>
                  <a:lnTo>
                    <a:pt x="5" y="28"/>
                  </a:lnTo>
                  <a:lnTo>
                    <a:pt x="1" y="24"/>
                  </a:lnTo>
                  <a:lnTo>
                    <a:pt x="0" y="14"/>
                  </a:ln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7" name="Freeform 225"/>
            <p:cNvSpPr>
              <a:spLocks/>
            </p:cNvSpPr>
            <p:nvPr/>
          </p:nvSpPr>
          <p:spPr bwMode="auto">
            <a:xfrm>
              <a:off x="-3829050" y="6032500"/>
              <a:ext cx="293688" cy="304800"/>
            </a:xfrm>
            <a:custGeom>
              <a:avLst/>
              <a:gdLst>
                <a:gd name="T0" fmla="*/ 24 w 185"/>
                <a:gd name="T1" fmla="*/ 0 h 192"/>
                <a:gd name="T2" fmla="*/ 36 w 185"/>
                <a:gd name="T3" fmla="*/ 0 h 192"/>
                <a:gd name="T4" fmla="*/ 47 w 185"/>
                <a:gd name="T5" fmla="*/ 3 h 192"/>
                <a:gd name="T6" fmla="*/ 56 w 185"/>
                <a:gd name="T7" fmla="*/ 8 h 192"/>
                <a:gd name="T8" fmla="*/ 61 w 185"/>
                <a:gd name="T9" fmla="*/ 16 h 192"/>
                <a:gd name="T10" fmla="*/ 63 w 185"/>
                <a:gd name="T11" fmla="*/ 26 h 192"/>
                <a:gd name="T12" fmla="*/ 64 w 185"/>
                <a:gd name="T13" fmla="*/ 40 h 192"/>
                <a:gd name="T14" fmla="*/ 69 w 185"/>
                <a:gd name="T15" fmla="*/ 57 h 192"/>
                <a:gd name="T16" fmla="*/ 81 w 185"/>
                <a:gd name="T17" fmla="*/ 73 h 192"/>
                <a:gd name="T18" fmla="*/ 88 w 185"/>
                <a:gd name="T19" fmla="*/ 82 h 192"/>
                <a:gd name="T20" fmla="*/ 99 w 185"/>
                <a:gd name="T21" fmla="*/ 93 h 192"/>
                <a:gd name="T22" fmla="*/ 110 w 185"/>
                <a:gd name="T23" fmla="*/ 104 h 192"/>
                <a:gd name="T24" fmla="*/ 122 w 185"/>
                <a:gd name="T25" fmla="*/ 116 h 192"/>
                <a:gd name="T26" fmla="*/ 132 w 185"/>
                <a:gd name="T27" fmla="*/ 126 h 192"/>
                <a:gd name="T28" fmla="*/ 141 w 185"/>
                <a:gd name="T29" fmla="*/ 132 h 192"/>
                <a:gd name="T30" fmla="*/ 146 w 185"/>
                <a:gd name="T31" fmla="*/ 135 h 192"/>
                <a:gd name="T32" fmla="*/ 163 w 185"/>
                <a:gd name="T33" fmla="*/ 140 h 192"/>
                <a:gd name="T34" fmla="*/ 174 w 185"/>
                <a:gd name="T35" fmla="*/ 149 h 192"/>
                <a:gd name="T36" fmla="*/ 182 w 185"/>
                <a:gd name="T37" fmla="*/ 159 h 192"/>
                <a:gd name="T38" fmla="*/ 185 w 185"/>
                <a:gd name="T39" fmla="*/ 170 h 192"/>
                <a:gd name="T40" fmla="*/ 179 w 185"/>
                <a:gd name="T41" fmla="*/ 179 h 192"/>
                <a:gd name="T42" fmla="*/ 170 w 185"/>
                <a:gd name="T43" fmla="*/ 186 h 192"/>
                <a:gd name="T44" fmla="*/ 158 w 185"/>
                <a:gd name="T45" fmla="*/ 190 h 192"/>
                <a:gd name="T46" fmla="*/ 141 w 185"/>
                <a:gd name="T47" fmla="*/ 192 h 192"/>
                <a:gd name="T48" fmla="*/ 124 w 185"/>
                <a:gd name="T49" fmla="*/ 192 h 192"/>
                <a:gd name="T50" fmla="*/ 108 w 185"/>
                <a:gd name="T51" fmla="*/ 188 h 192"/>
                <a:gd name="T52" fmla="*/ 91 w 185"/>
                <a:gd name="T53" fmla="*/ 181 h 192"/>
                <a:gd name="T54" fmla="*/ 77 w 185"/>
                <a:gd name="T55" fmla="*/ 171 h 192"/>
                <a:gd name="T56" fmla="*/ 63 w 185"/>
                <a:gd name="T57" fmla="*/ 162 h 192"/>
                <a:gd name="T58" fmla="*/ 47 w 185"/>
                <a:gd name="T59" fmla="*/ 156 h 192"/>
                <a:gd name="T60" fmla="*/ 32 w 185"/>
                <a:gd name="T61" fmla="*/ 149 h 192"/>
                <a:gd name="T62" fmla="*/ 19 w 185"/>
                <a:gd name="T63" fmla="*/ 144 h 192"/>
                <a:gd name="T64" fmla="*/ 7 w 185"/>
                <a:gd name="T65" fmla="*/ 138 h 192"/>
                <a:gd name="T66" fmla="*/ 1 w 185"/>
                <a:gd name="T67" fmla="*/ 129 h 192"/>
                <a:gd name="T68" fmla="*/ 0 w 185"/>
                <a:gd name="T69" fmla="*/ 116 h 192"/>
                <a:gd name="T70" fmla="*/ 0 w 185"/>
                <a:gd name="T71" fmla="*/ 99 h 192"/>
                <a:gd name="T72" fmla="*/ 1 w 185"/>
                <a:gd name="T73" fmla="*/ 80 h 192"/>
                <a:gd name="T74" fmla="*/ 4 w 185"/>
                <a:gd name="T75" fmla="*/ 59 h 192"/>
                <a:gd name="T76" fmla="*/ 4 w 185"/>
                <a:gd name="T77" fmla="*/ 40 h 192"/>
                <a:gd name="T78" fmla="*/ 1 w 185"/>
                <a:gd name="T79" fmla="*/ 25 h 192"/>
                <a:gd name="T80" fmla="*/ 1 w 185"/>
                <a:gd name="T81" fmla="*/ 14 h 192"/>
                <a:gd name="T82" fmla="*/ 6 w 185"/>
                <a:gd name="T83" fmla="*/ 8 h 192"/>
                <a:gd name="T84" fmla="*/ 14 w 185"/>
                <a:gd name="T85" fmla="*/ 3 h 192"/>
                <a:gd name="T86" fmla="*/ 24 w 185"/>
                <a:gd name="T8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" h="192">
                  <a:moveTo>
                    <a:pt x="24" y="0"/>
                  </a:moveTo>
                  <a:lnTo>
                    <a:pt x="36" y="0"/>
                  </a:lnTo>
                  <a:lnTo>
                    <a:pt x="47" y="3"/>
                  </a:lnTo>
                  <a:lnTo>
                    <a:pt x="56" y="8"/>
                  </a:lnTo>
                  <a:lnTo>
                    <a:pt x="61" y="16"/>
                  </a:lnTo>
                  <a:lnTo>
                    <a:pt x="63" y="26"/>
                  </a:lnTo>
                  <a:lnTo>
                    <a:pt x="64" y="40"/>
                  </a:lnTo>
                  <a:lnTo>
                    <a:pt x="69" y="57"/>
                  </a:lnTo>
                  <a:lnTo>
                    <a:pt x="81" y="73"/>
                  </a:lnTo>
                  <a:lnTo>
                    <a:pt x="88" y="82"/>
                  </a:lnTo>
                  <a:lnTo>
                    <a:pt x="99" y="93"/>
                  </a:lnTo>
                  <a:lnTo>
                    <a:pt x="110" y="104"/>
                  </a:lnTo>
                  <a:lnTo>
                    <a:pt x="122" y="116"/>
                  </a:lnTo>
                  <a:lnTo>
                    <a:pt x="132" y="126"/>
                  </a:lnTo>
                  <a:lnTo>
                    <a:pt x="141" y="132"/>
                  </a:lnTo>
                  <a:lnTo>
                    <a:pt x="146" y="135"/>
                  </a:lnTo>
                  <a:lnTo>
                    <a:pt x="163" y="140"/>
                  </a:lnTo>
                  <a:lnTo>
                    <a:pt x="174" y="149"/>
                  </a:lnTo>
                  <a:lnTo>
                    <a:pt x="182" y="159"/>
                  </a:lnTo>
                  <a:lnTo>
                    <a:pt x="185" y="170"/>
                  </a:lnTo>
                  <a:lnTo>
                    <a:pt x="179" y="179"/>
                  </a:lnTo>
                  <a:lnTo>
                    <a:pt x="170" y="186"/>
                  </a:lnTo>
                  <a:lnTo>
                    <a:pt x="158" y="190"/>
                  </a:lnTo>
                  <a:lnTo>
                    <a:pt x="141" y="192"/>
                  </a:lnTo>
                  <a:lnTo>
                    <a:pt x="124" y="192"/>
                  </a:lnTo>
                  <a:lnTo>
                    <a:pt x="108" y="188"/>
                  </a:lnTo>
                  <a:lnTo>
                    <a:pt x="91" y="181"/>
                  </a:lnTo>
                  <a:lnTo>
                    <a:pt x="77" y="171"/>
                  </a:lnTo>
                  <a:lnTo>
                    <a:pt x="63" y="162"/>
                  </a:lnTo>
                  <a:lnTo>
                    <a:pt x="47" y="156"/>
                  </a:lnTo>
                  <a:lnTo>
                    <a:pt x="32" y="149"/>
                  </a:lnTo>
                  <a:lnTo>
                    <a:pt x="19" y="144"/>
                  </a:lnTo>
                  <a:lnTo>
                    <a:pt x="7" y="138"/>
                  </a:lnTo>
                  <a:lnTo>
                    <a:pt x="1" y="129"/>
                  </a:lnTo>
                  <a:lnTo>
                    <a:pt x="0" y="116"/>
                  </a:lnTo>
                  <a:lnTo>
                    <a:pt x="0" y="99"/>
                  </a:lnTo>
                  <a:lnTo>
                    <a:pt x="1" y="80"/>
                  </a:lnTo>
                  <a:lnTo>
                    <a:pt x="4" y="59"/>
                  </a:lnTo>
                  <a:lnTo>
                    <a:pt x="4" y="40"/>
                  </a:lnTo>
                  <a:lnTo>
                    <a:pt x="1" y="25"/>
                  </a:lnTo>
                  <a:lnTo>
                    <a:pt x="1" y="14"/>
                  </a:lnTo>
                  <a:lnTo>
                    <a:pt x="6" y="8"/>
                  </a:lnTo>
                  <a:lnTo>
                    <a:pt x="14" y="3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8" name="Line 226"/>
            <p:cNvSpPr>
              <a:spLocks noChangeShapeType="1"/>
            </p:cNvSpPr>
            <p:nvPr/>
          </p:nvSpPr>
          <p:spPr bwMode="auto">
            <a:xfrm>
              <a:off x="-3817938" y="6000750"/>
              <a:ext cx="3175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9" name="Line 227"/>
            <p:cNvSpPr>
              <a:spLocks noChangeShapeType="1"/>
            </p:cNvSpPr>
            <p:nvPr/>
          </p:nvSpPr>
          <p:spPr bwMode="auto">
            <a:xfrm>
              <a:off x="-3814763" y="6029325"/>
              <a:ext cx="3175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0" name="Line 228"/>
            <p:cNvSpPr>
              <a:spLocks noChangeShapeType="1"/>
            </p:cNvSpPr>
            <p:nvPr/>
          </p:nvSpPr>
          <p:spPr bwMode="auto">
            <a:xfrm>
              <a:off x="-3811588" y="60658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Line 229"/>
            <p:cNvSpPr>
              <a:spLocks noChangeShapeType="1"/>
            </p:cNvSpPr>
            <p:nvPr/>
          </p:nvSpPr>
          <p:spPr bwMode="auto">
            <a:xfrm>
              <a:off x="-3806825" y="6108700"/>
              <a:ext cx="3175" cy="460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Line 230"/>
            <p:cNvSpPr>
              <a:spLocks noChangeShapeType="1"/>
            </p:cNvSpPr>
            <p:nvPr/>
          </p:nvSpPr>
          <p:spPr bwMode="auto">
            <a:xfrm>
              <a:off x="-3803650" y="61547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Line 231"/>
            <p:cNvSpPr>
              <a:spLocks noChangeShapeType="1"/>
            </p:cNvSpPr>
            <p:nvPr/>
          </p:nvSpPr>
          <p:spPr bwMode="auto">
            <a:xfrm>
              <a:off x="-3798888" y="6197600"/>
              <a:ext cx="6350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Line 232"/>
            <p:cNvSpPr>
              <a:spLocks noChangeShapeType="1"/>
            </p:cNvSpPr>
            <p:nvPr/>
          </p:nvSpPr>
          <p:spPr bwMode="auto">
            <a:xfrm>
              <a:off x="-3792538" y="6234113"/>
              <a:ext cx="6350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Line 233"/>
            <p:cNvSpPr>
              <a:spLocks noChangeShapeType="1"/>
            </p:cNvSpPr>
            <p:nvPr/>
          </p:nvSpPr>
          <p:spPr bwMode="auto">
            <a:xfrm>
              <a:off x="-3800475" y="6008688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Line 234"/>
            <p:cNvSpPr>
              <a:spLocks noChangeShapeType="1"/>
            </p:cNvSpPr>
            <p:nvPr/>
          </p:nvSpPr>
          <p:spPr bwMode="auto">
            <a:xfrm>
              <a:off x="-3798888" y="6035675"/>
              <a:ext cx="1588" cy="381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Line 235"/>
            <p:cNvSpPr>
              <a:spLocks noChangeShapeType="1"/>
            </p:cNvSpPr>
            <p:nvPr/>
          </p:nvSpPr>
          <p:spPr bwMode="auto">
            <a:xfrm>
              <a:off x="-3797300" y="6073775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Line 236"/>
            <p:cNvSpPr>
              <a:spLocks noChangeShapeType="1"/>
            </p:cNvSpPr>
            <p:nvPr/>
          </p:nvSpPr>
          <p:spPr bwMode="auto">
            <a:xfrm>
              <a:off x="-3792538" y="6116638"/>
              <a:ext cx="3175" cy="4445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Line 237"/>
            <p:cNvSpPr>
              <a:spLocks noChangeShapeType="1"/>
            </p:cNvSpPr>
            <p:nvPr/>
          </p:nvSpPr>
          <p:spPr bwMode="auto">
            <a:xfrm>
              <a:off x="-3789363" y="6161088"/>
              <a:ext cx="6350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Line 238"/>
            <p:cNvSpPr>
              <a:spLocks noChangeShapeType="1"/>
            </p:cNvSpPr>
            <p:nvPr/>
          </p:nvSpPr>
          <p:spPr bwMode="auto">
            <a:xfrm>
              <a:off x="-3783013" y="6203950"/>
              <a:ext cx="4763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Line 239"/>
            <p:cNvSpPr>
              <a:spLocks noChangeShapeType="1"/>
            </p:cNvSpPr>
            <p:nvPr/>
          </p:nvSpPr>
          <p:spPr bwMode="auto">
            <a:xfrm>
              <a:off x="-3778250" y="6240463"/>
              <a:ext cx="6350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240"/>
            <p:cNvSpPr>
              <a:spLocks/>
            </p:cNvSpPr>
            <p:nvPr/>
          </p:nvSpPr>
          <p:spPr bwMode="auto">
            <a:xfrm>
              <a:off x="-3562350" y="4492625"/>
              <a:ext cx="134938" cy="173038"/>
            </a:xfrm>
            <a:custGeom>
              <a:avLst/>
              <a:gdLst>
                <a:gd name="T0" fmla="*/ 61 w 85"/>
                <a:gd name="T1" fmla="*/ 0 h 109"/>
                <a:gd name="T2" fmla="*/ 72 w 85"/>
                <a:gd name="T3" fmla="*/ 3 h 109"/>
                <a:gd name="T4" fmla="*/ 76 w 85"/>
                <a:gd name="T5" fmla="*/ 5 h 109"/>
                <a:gd name="T6" fmla="*/ 78 w 85"/>
                <a:gd name="T7" fmla="*/ 9 h 109"/>
                <a:gd name="T8" fmla="*/ 81 w 85"/>
                <a:gd name="T9" fmla="*/ 14 h 109"/>
                <a:gd name="T10" fmla="*/ 83 w 85"/>
                <a:gd name="T11" fmla="*/ 20 h 109"/>
                <a:gd name="T12" fmla="*/ 85 w 85"/>
                <a:gd name="T13" fmla="*/ 35 h 109"/>
                <a:gd name="T14" fmla="*/ 82 w 85"/>
                <a:gd name="T15" fmla="*/ 56 h 109"/>
                <a:gd name="T16" fmla="*/ 74 w 85"/>
                <a:gd name="T17" fmla="*/ 81 h 109"/>
                <a:gd name="T18" fmla="*/ 64 w 85"/>
                <a:gd name="T19" fmla="*/ 109 h 109"/>
                <a:gd name="T20" fmla="*/ 47 w 85"/>
                <a:gd name="T21" fmla="*/ 103 h 109"/>
                <a:gd name="T22" fmla="*/ 59 w 85"/>
                <a:gd name="T23" fmla="*/ 76 h 109"/>
                <a:gd name="T24" fmla="*/ 65 w 85"/>
                <a:gd name="T25" fmla="*/ 54 h 109"/>
                <a:gd name="T26" fmla="*/ 68 w 85"/>
                <a:gd name="T27" fmla="*/ 36 h 109"/>
                <a:gd name="T28" fmla="*/ 67 w 85"/>
                <a:gd name="T29" fmla="*/ 23 h 109"/>
                <a:gd name="T30" fmla="*/ 65 w 85"/>
                <a:gd name="T31" fmla="*/ 20 h 109"/>
                <a:gd name="T32" fmla="*/ 64 w 85"/>
                <a:gd name="T33" fmla="*/ 18 h 109"/>
                <a:gd name="T34" fmla="*/ 61 w 85"/>
                <a:gd name="T35" fmla="*/ 18 h 109"/>
                <a:gd name="T36" fmla="*/ 58 w 85"/>
                <a:gd name="T37" fmla="*/ 18 h 109"/>
                <a:gd name="T38" fmla="*/ 49 w 85"/>
                <a:gd name="T39" fmla="*/ 26 h 109"/>
                <a:gd name="T40" fmla="*/ 38 w 85"/>
                <a:gd name="T41" fmla="*/ 38 h 109"/>
                <a:gd name="T42" fmla="*/ 28 w 85"/>
                <a:gd name="T43" fmla="*/ 54 h 109"/>
                <a:gd name="T44" fmla="*/ 15 w 85"/>
                <a:gd name="T45" fmla="*/ 77 h 109"/>
                <a:gd name="T46" fmla="*/ 0 w 85"/>
                <a:gd name="T47" fmla="*/ 70 h 109"/>
                <a:gd name="T48" fmla="*/ 14 w 85"/>
                <a:gd name="T49" fmla="*/ 44 h 109"/>
                <a:gd name="T50" fmla="*/ 27 w 85"/>
                <a:gd name="T51" fmla="*/ 25 h 109"/>
                <a:gd name="T52" fmla="*/ 40 w 85"/>
                <a:gd name="T53" fmla="*/ 12 h 109"/>
                <a:gd name="T54" fmla="*/ 51 w 85"/>
                <a:gd name="T55" fmla="*/ 4 h 109"/>
                <a:gd name="T56" fmla="*/ 61 w 85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09">
                  <a:moveTo>
                    <a:pt x="61" y="0"/>
                  </a:moveTo>
                  <a:lnTo>
                    <a:pt x="72" y="3"/>
                  </a:lnTo>
                  <a:lnTo>
                    <a:pt x="76" y="5"/>
                  </a:lnTo>
                  <a:lnTo>
                    <a:pt x="78" y="9"/>
                  </a:lnTo>
                  <a:lnTo>
                    <a:pt x="81" y="14"/>
                  </a:lnTo>
                  <a:lnTo>
                    <a:pt x="83" y="20"/>
                  </a:lnTo>
                  <a:lnTo>
                    <a:pt x="85" y="35"/>
                  </a:lnTo>
                  <a:lnTo>
                    <a:pt x="82" y="56"/>
                  </a:lnTo>
                  <a:lnTo>
                    <a:pt x="74" y="81"/>
                  </a:lnTo>
                  <a:lnTo>
                    <a:pt x="64" y="109"/>
                  </a:lnTo>
                  <a:lnTo>
                    <a:pt x="47" y="103"/>
                  </a:lnTo>
                  <a:lnTo>
                    <a:pt x="59" y="76"/>
                  </a:lnTo>
                  <a:lnTo>
                    <a:pt x="65" y="54"/>
                  </a:lnTo>
                  <a:lnTo>
                    <a:pt x="68" y="36"/>
                  </a:lnTo>
                  <a:lnTo>
                    <a:pt x="67" y="23"/>
                  </a:lnTo>
                  <a:lnTo>
                    <a:pt x="65" y="20"/>
                  </a:lnTo>
                  <a:lnTo>
                    <a:pt x="64" y="18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49" y="26"/>
                  </a:lnTo>
                  <a:lnTo>
                    <a:pt x="38" y="38"/>
                  </a:lnTo>
                  <a:lnTo>
                    <a:pt x="28" y="54"/>
                  </a:lnTo>
                  <a:lnTo>
                    <a:pt x="15" y="77"/>
                  </a:lnTo>
                  <a:lnTo>
                    <a:pt x="0" y="70"/>
                  </a:lnTo>
                  <a:lnTo>
                    <a:pt x="14" y="44"/>
                  </a:lnTo>
                  <a:lnTo>
                    <a:pt x="27" y="25"/>
                  </a:lnTo>
                  <a:lnTo>
                    <a:pt x="40" y="12"/>
                  </a:lnTo>
                  <a:lnTo>
                    <a:pt x="51" y="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41"/>
            <p:cNvSpPr>
              <a:spLocks/>
            </p:cNvSpPr>
            <p:nvPr/>
          </p:nvSpPr>
          <p:spPr bwMode="auto">
            <a:xfrm>
              <a:off x="-3776663" y="4532313"/>
              <a:ext cx="334963" cy="542925"/>
            </a:xfrm>
            <a:custGeom>
              <a:avLst/>
              <a:gdLst>
                <a:gd name="T0" fmla="*/ 126 w 211"/>
                <a:gd name="T1" fmla="*/ 0 h 342"/>
                <a:gd name="T2" fmla="*/ 143 w 211"/>
                <a:gd name="T3" fmla="*/ 1 h 342"/>
                <a:gd name="T4" fmla="*/ 155 w 211"/>
                <a:gd name="T5" fmla="*/ 6 h 342"/>
                <a:gd name="T6" fmla="*/ 168 w 211"/>
                <a:gd name="T7" fmla="*/ 15 h 342"/>
                <a:gd name="T8" fmla="*/ 181 w 211"/>
                <a:gd name="T9" fmla="*/ 29 h 342"/>
                <a:gd name="T10" fmla="*/ 193 w 211"/>
                <a:gd name="T11" fmla="*/ 46 h 342"/>
                <a:gd name="T12" fmla="*/ 203 w 211"/>
                <a:gd name="T13" fmla="*/ 64 h 342"/>
                <a:gd name="T14" fmla="*/ 208 w 211"/>
                <a:gd name="T15" fmla="*/ 86 h 342"/>
                <a:gd name="T16" fmla="*/ 207 w 211"/>
                <a:gd name="T17" fmla="*/ 108 h 342"/>
                <a:gd name="T18" fmla="*/ 199 w 211"/>
                <a:gd name="T19" fmla="*/ 131 h 342"/>
                <a:gd name="T20" fmla="*/ 194 w 211"/>
                <a:gd name="T21" fmla="*/ 149 h 342"/>
                <a:gd name="T22" fmla="*/ 194 w 211"/>
                <a:gd name="T23" fmla="*/ 168 h 342"/>
                <a:gd name="T24" fmla="*/ 198 w 211"/>
                <a:gd name="T25" fmla="*/ 190 h 342"/>
                <a:gd name="T26" fmla="*/ 203 w 211"/>
                <a:gd name="T27" fmla="*/ 213 h 342"/>
                <a:gd name="T28" fmla="*/ 208 w 211"/>
                <a:gd name="T29" fmla="*/ 240 h 342"/>
                <a:gd name="T30" fmla="*/ 211 w 211"/>
                <a:gd name="T31" fmla="*/ 268 h 342"/>
                <a:gd name="T32" fmla="*/ 209 w 211"/>
                <a:gd name="T33" fmla="*/ 299 h 342"/>
                <a:gd name="T34" fmla="*/ 204 w 211"/>
                <a:gd name="T35" fmla="*/ 308 h 342"/>
                <a:gd name="T36" fmla="*/ 194 w 211"/>
                <a:gd name="T37" fmla="*/ 314 h 342"/>
                <a:gd name="T38" fmla="*/ 184 w 211"/>
                <a:gd name="T39" fmla="*/ 319 h 342"/>
                <a:gd name="T40" fmla="*/ 110 w 211"/>
                <a:gd name="T41" fmla="*/ 341 h 342"/>
                <a:gd name="T42" fmla="*/ 103 w 211"/>
                <a:gd name="T43" fmla="*/ 342 h 342"/>
                <a:gd name="T44" fmla="*/ 91 w 211"/>
                <a:gd name="T45" fmla="*/ 342 h 342"/>
                <a:gd name="T46" fmla="*/ 76 w 211"/>
                <a:gd name="T47" fmla="*/ 341 h 342"/>
                <a:gd name="T48" fmla="*/ 62 w 211"/>
                <a:gd name="T49" fmla="*/ 340 h 342"/>
                <a:gd name="T50" fmla="*/ 51 w 211"/>
                <a:gd name="T51" fmla="*/ 337 h 342"/>
                <a:gd name="T52" fmla="*/ 46 w 211"/>
                <a:gd name="T53" fmla="*/ 333 h 342"/>
                <a:gd name="T54" fmla="*/ 0 w 211"/>
                <a:gd name="T55" fmla="*/ 64 h 342"/>
                <a:gd name="T56" fmla="*/ 3 w 211"/>
                <a:gd name="T57" fmla="*/ 52 h 342"/>
                <a:gd name="T58" fmla="*/ 10 w 211"/>
                <a:gd name="T59" fmla="*/ 41 h 342"/>
                <a:gd name="T60" fmla="*/ 25 w 211"/>
                <a:gd name="T61" fmla="*/ 29 h 342"/>
                <a:gd name="T62" fmla="*/ 42 w 211"/>
                <a:gd name="T63" fmla="*/ 20 h 342"/>
                <a:gd name="T64" fmla="*/ 63 w 211"/>
                <a:gd name="T65" fmla="*/ 11 h 342"/>
                <a:gd name="T66" fmla="*/ 85 w 211"/>
                <a:gd name="T67" fmla="*/ 5 h 342"/>
                <a:gd name="T68" fmla="*/ 107 w 211"/>
                <a:gd name="T69" fmla="*/ 1 h 342"/>
                <a:gd name="T70" fmla="*/ 126 w 211"/>
                <a:gd name="T71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1" h="342">
                  <a:moveTo>
                    <a:pt x="126" y="0"/>
                  </a:moveTo>
                  <a:lnTo>
                    <a:pt x="143" y="1"/>
                  </a:lnTo>
                  <a:lnTo>
                    <a:pt x="155" y="6"/>
                  </a:lnTo>
                  <a:lnTo>
                    <a:pt x="168" y="15"/>
                  </a:lnTo>
                  <a:lnTo>
                    <a:pt x="181" y="29"/>
                  </a:lnTo>
                  <a:lnTo>
                    <a:pt x="193" y="46"/>
                  </a:lnTo>
                  <a:lnTo>
                    <a:pt x="203" y="64"/>
                  </a:lnTo>
                  <a:lnTo>
                    <a:pt x="208" y="86"/>
                  </a:lnTo>
                  <a:lnTo>
                    <a:pt x="207" y="108"/>
                  </a:lnTo>
                  <a:lnTo>
                    <a:pt x="199" y="131"/>
                  </a:lnTo>
                  <a:lnTo>
                    <a:pt x="194" y="149"/>
                  </a:lnTo>
                  <a:lnTo>
                    <a:pt x="194" y="168"/>
                  </a:lnTo>
                  <a:lnTo>
                    <a:pt x="198" y="190"/>
                  </a:lnTo>
                  <a:lnTo>
                    <a:pt x="203" y="213"/>
                  </a:lnTo>
                  <a:lnTo>
                    <a:pt x="208" y="240"/>
                  </a:lnTo>
                  <a:lnTo>
                    <a:pt x="211" y="268"/>
                  </a:lnTo>
                  <a:lnTo>
                    <a:pt x="209" y="299"/>
                  </a:lnTo>
                  <a:lnTo>
                    <a:pt x="204" y="308"/>
                  </a:lnTo>
                  <a:lnTo>
                    <a:pt x="194" y="314"/>
                  </a:lnTo>
                  <a:lnTo>
                    <a:pt x="184" y="319"/>
                  </a:lnTo>
                  <a:lnTo>
                    <a:pt x="110" y="341"/>
                  </a:lnTo>
                  <a:lnTo>
                    <a:pt x="103" y="342"/>
                  </a:lnTo>
                  <a:lnTo>
                    <a:pt x="91" y="342"/>
                  </a:lnTo>
                  <a:lnTo>
                    <a:pt x="76" y="341"/>
                  </a:lnTo>
                  <a:lnTo>
                    <a:pt x="62" y="340"/>
                  </a:lnTo>
                  <a:lnTo>
                    <a:pt x="51" y="337"/>
                  </a:lnTo>
                  <a:lnTo>
                    <a:pt x="46" y="333"/>
                  </a:lnTo>
                  <a:lnTo>
                    <a:pt x="0" y="64"/>
                  </a:lnTo>
                  <a:lnTo>
                    <a:pt x="3" y="52"/>
                  </a:lnTo>
                  <a:lnTo>
                    <a:pt x="10" y="41"/>
                  </a:lnTo>
                  <a:lnTo>
                    <a:pt x="25" y="29"/>
                  </a:lnTo>
                  <a:lnTo>
                    <a:pt x="42" y="20"/>
                  </a:lnTo>
                  <a:lnTo>
                    <a:pt x="63" y="11"/>
                  </a:lnTo>
                  <a:lnTo>
                    <a:pt x="85" y="5"/>
                  </a:lnTo>
                  <a:lnTo>
                    <a:pt x="107" y="1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B9A0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42"/>
            <p:cNvSpPr>
              <a:spLocks/>
            </p:cNvSpPr>
            <p:nvPr/>
          </p:nvSpPr>
          <p:spPr bwMode="auto">
            <a:xfrm>
              <a:off x="-4092575" y="4756150"/>
              <a:ext cx="198438" cy="814388"/>
            </a:xfrm>
            <a:custGeom>
              <a:avLst/>
              <a:gdLst>
                <a:gd name="T0" fmla="*/ 49 w 125"/>
                <a:gd name="T1" fmla="*/ 0 h 513"/>
                <a:gd name="T2" fmla="*/ 61 w 125"/>
                <a:gd name="T3" fmla="*/ 1 h 513"/>
                <a:gd name="T4" fmla="*/ 72 w 125"/>
                <a:gd name="T5" fmla="*/ 10 h 513"/>
                <a:gd name="T6" fmla="*/ 84 w 125"/>
                <a:gd name="T7" fmla="*/ 24 h 513"/>
                <a:gd name="T8" fmla="*/ 94 w 125"/>
                <a:gd name="T9" fmla="*/ 46 h 513"/>
                <a:gd name="T10" fmla="*/ 103 w 125"/>
                <a:gd name="T11" fmla="*/ 74 h 513"/>
                <a:gd name="T12" fmla="*/ 112 w 125"/>
                <a:gd name="T13" fmla="*/ 109 h 513"/>
                <a:gd name="T14" fmla="*/ 118 w 125"/>
                <a:gd name="T15" fmla="*/ 150 h 513"/>
                <a:gd name="T16" fmla="*/ 122 w 125"/>
                <a:gd name="T17" fmla="*/ 199 h 513"/>
                <a:gd name="T18" fmla="*/ 123 w 125"/>
                <a:gd name="T19" fmla="*/ 221 h 513"/>
                <a:gd name="T20" fmla="*/ 125 w 125"/>
                <a:gd name="T21" fmla="*/ 246 h 513"/>
                <a:gd name="T22" fmla="*/ 125 w 125"/>
                <a:gd name="T23" fmla="*/ 276 h 513"/>
                <a:gd name="T24" fmla="*/ 123 w 125"/>
                <a:gd name="T25" fmla="*/ 307 h 513"/>
                <a:gd name="T26" fmla="*/ 122 w 125"/>
                <a:gd name="T27" fmla="*/ 340 h 513"/>
                <a:gd name="T28" fmla="*/ 121 w 125"/>
                <a:gd name="T29" fmla="*/ 372 h 513"/>
                <a:gd name="T30" fmla="*/ 118 w 125"/>
                <a:gd name="T31" fmla="*/ 403 h 513"/>
                <a:gd name="T32" fmla="*/ 114 w 125"/>
                <a:gd name="T33" fmla="*/ 432 h 513"/>
                <a:gd name="T34" fmla="*/ 109 w 125"/>
                <a:gd name="T35" fmla="*/ 459 h 513"/>
                <a:gd name="T36" fmla="*/ 104 w 125"/>
                <a:gd name="T37" fmla="*/ 481 h 513"/>
                <a:gd name="T38" fmla="*/ 98 w 125"/>
                <a:gd name="T39" fmla="*/ 498 h 513"/>
                <a:gd name="T40" fmla="*/ 90 w 125"/>
                <a:gd name="T41" fmla="*/ 509 h 513"/>
                <a:gd name="T42" fmla="*/ 81 w 125"/>
                <a:gd name="T43" fmla="*/ 513 h 513"/>
                <a:gd name="T44" fmla="*/ 68 w 125"/>
                <a:gd name="T45" fmla="*/ 509 h 513"/>
                <a:gd name="T46" fmla="*/ 57 w 125"/>
                <a:gd name="T47" fmla="*/ 499 h 513"/>
                <a:gd name="T48" fmla="*/ 45 w 125"/>
                <a:gd name="T49" fmla="*/ 481 h 513"/>
                <a:gd name="T50" fmla="*/ 34 w 125"/>
                <a:gd name="T51" fmla="*/ 457 h 513"/>
                <a:gd name="T52" fmla="*/ 25 w 125"/>
                <a:gd name="T53" fmla="*/ 425 h 513"/>
                <a:gd name="T54" fmla="*/ 16 w 125"/>
                <a:gd name="T55" fmla="*/ 385 h 513"/>
                <a:gd name="T56" fmla="*/ 9 w 125"/>
                <a:gd name="T57" fmla="*/ 337 h 513"/>
                <a:gd name="T58" fmla="*/ 4 w 125"/>
                <a:gd name="T59" fmla="*/ 282 h 513"/>
                <a:gd name="T60" fmla="*/ 0 w 125"/>
                <a:gd name="T61" fmla="*/ 221 h 513"/>
                <a:gd name="T62" fmla="*/ 0 w 125"/>
                <a:gd name="T63" fmla="*/ 151 h 513"/>
                <a:gd name="T64" fmla="*/ 2 w 125"/>
                <a:gd name="T65" fmla="*/ 113 h 513"/>
                <a:gd name="T66" fmla="*/ 5 w 125"/>
                <a:gd name="T67" fmla="*/ 79 h 513"/>
                <a:gd name="T68" fmla="*/ 12 w 125"/>
                <a:gd name="T69" fmla="*/ 51 h 513"/>
                <a:gd name="T70" fmla="*/ 20 w 125"/>
                <a:gd name="T71" fmla="*/ 29 h 513"/>
                <a:gd name="T72" fmla="*/ 29 w 125"/>
                <a:gd name="T73" fmla="*/ 14 h 513"/>
                <a:gd name="T74" fmla="*/ 39 w 125"/>
                <a:gd name="T75" fmla="*/ 4 h 513"/>
                <a:gd name="T76" fmla="*/ 49 w 125"/>
                <a:gd name="T77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513">
                  <a:moveTo>
                    <a:pt x="49" y="0"/>
                  </a:moveTo>
                  <a:lnTo>
                    <a:pt x="61" y="1"/>
                  </a:lnTo>
                  <a:lnTo>
                    <a:pt x="72" y="10"/>
                  </a:lnTo>
                  <a:lnTo>
                    <a:pt x="84" y="24"/>
                  </a:lnTo>
                  <a:lnTo>
                    <a:pt x="94" y="46"/>
                  </a:lnTo>
                  <a:lnTo>
                    <a:pt x="103" y="74"/>
                  </a:lnTo>
                  <a:lnTo>
                    <a:pt x="112" y="109"/>
                  </a:lnTo>
                  <a:lnTo>
                    <a:pt x="118" y="150"/>
                  </a:lnTo>
                  <a:lnTo>
                    <a:pt x="122" y="199"/>
                  </a:lnTo>
                  <a:lnTo>
                    <a:pt x="123" y="221"/>
                  </a:lnTo>
                  <a:lnTo>
                    <a:pt x="125" y="246"/>
                  </a:lnTo>
                  <a:lnTo>
                    <a:pt x="125" y="276"/>
                  </a:lnTo>
                  <a:lnTo>
                    <a:pt x="123" y="307"/>
                  </a:lnTo>
                  <a:lnTo>
                    <a:pt x="122" y="340"/>
                  </a:lnTo>
                  <a:lnTo>
                    <a:pt x="121" y="372"/>
                  </a:lnTo>
                  <a:lnTo>
                    <a:pt x="118" y="403"/>
                  </a:lnTo>
                  <a:lnTo>
                    <a:pt x="114" y="432"/>
                  </a:lnTo>
                  <a:lnTo>
                    <a:pt x="109" y="459"/>
                  </a:lnTo>
                  <a:lnTo>
                    <a:pt x="104" y="481"/>
                  </a:lnTo>
                  <a:lnTo>
                    <a:pt x="98" y="498"/>
                  </a:lnTo>
                  <a:lnTo>
                    <a:pt x="90" y="509"/>
                  </a:lnTo>
                  <a:lnTo>
                    <a:pt x="81" y="513"/>
                  </a:lnTo>
                  <a:lnTo>
                    <a:pt x="68" y="509"/>
                  </a:lnTo>
                  <a:lnTo>
                    <a:pt x="57" y="499"/>
                  </a:lnTo>
                  <a:lnTo>
                    <a:pt x="45" y="481"/>
                  </a:lnTo>
                  <a:lnTo>
                    <a:pt x="34" y="457"/>
                  </a:lnTo>
                  <a:lnTo>
                    <a:pt x="25" y="425"/>
                  </a:lnTo>
                  <a:lnTo>
                    <a:pt x="16" y="385"/>
                  </a:lnTo>
                  <a:lnTo>
                    <a:pt x="9" y="337"/>
                  </a:lnTo>
                  <a:lnTo>
                    <a:pt x="4" y="282"/>
                  </a:lnTo>
                  <a:lnTo>
                    <a:pt x="0" y="221"/>
                  </a:lnTo>
                  <a:lnTo>
                    <a:pt x="0" y="151"/>
                  </a:lnTo>
                  <a:lnTo>
                    <a:pt x="2" y="113"/>
                  </a:lnTo>
                  <a:lnTo>
                    <a:pt x="5" y="79"/>
                  </a:lnTo>
                  <a:lnTo>
                    <a:pt x="12" y="51"/>
                  </a:lnTo>
                  <a:lnTo>
                    <a:pt x="20" y="29"/>
                  </a:lnTo>
                  <a:lnTo>
                    <a:pt x="29" y="14"/>
                  </a:lnTo>
                  <a:lnTo>
                    <a:pt x="39" y="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43"/>
            <p:cNvSpPr>
              <a:spLocks/>
            </p:cNvSpPr>
            <p:nvPr/>
          </p:nvSpPr>
          <p:spPr bwMode="auto">
            <a:xfrm>
              <a:off x="-3865563" y="4759325"/>
              <a:ext cx="195263" cy="811213"/>
            </a:xfrm>
            <a:custGeom>
              <a:avLst/>
              <a:gdLst>
                <a:gd name="T0" fmla="*/ 74 w 123"/>
                <a:gd name="T1" fmla="*/ 0 h 511"/>
                <a:gd name="T2" fmla="*/ 86 w 123"/>
                <a:gd name="T3" fmla="*/ 6 h 511"/>
                <a:gd name="T4" fmla="*/ 96 w 123"/>
                <a:gd name="T5" fmla="*/ 16 h 511"/>
                <a:gd name="T6" fmla="*/ 105 w 123"/>
                <a:gd name="T7" fmla="*/ 33 h 511"/>
                <a:gd name="T8" fmla="*/ 113 w 123"/>
                <a:gd name="T9" fmla="*/ 54 h 511"/>
                <a:gd name="T10" fmla="*/ 118 w 123"/>
                <a:gd name="T11" fmla="*/ 83 h 511"/>
                <a:gd name="T12" fmla="*/ 122 w 123"/>
                <a:gd name="T13" fmla="*/ 116 h 511"/>
                <a:gd name="T14" fmla="*/ 123 w 123"/>
                <a:gd name="T15" fmla="*/ 154 h 511"/>
                <a:gd name="T16" fmla="*/ 122 w 123"/>
                <a:gd name="T17" fmla="*/ 222 h 511"/>
                <a:gd name="T18" fmla="*/ 119 w 123"/>
                <a:gd name="T19" fmla="*/ 284 h 511"/>
                <a:gd name="T20" fmla="*/ 114 w 123"/>
                <a:gd name="T21" fmla="*/ 337 h 511"/>
                <a:gd name="T22" fmla="*/ 107 w 123"/>
                <a:gd name="T23" fmla="*/ 383 h 511"/>
                <a:gd name="T24" fmla="*/ 98 w 123"/>
                <a:gd name="T25" fmla="*/ 423 h 511"/>
                <a:gd name="T26" fmla="*/ 90 w 123"/>
                <a:gd name="T27" fmla="*/ 455 h 511"/>
                <a:gd name="T28" fmla="*/ 79 w 123"/>
                <a:gd name="T29" fmla="*/ 479 h 511"/>
                <a:gd name="T30" fmla="*/ 68 w 123"/>
                <a:gd name="T31" fmla="*/ 497 h 511"/>
                <a:gd name="T32" fmla="*/ 56 w 123"/>
                <a:gd name="T33" fmla="*/ 507 h 511"/>
                <a:gd name="T34" fmla="*/ 43 w 123"/>
                <a:gd name="T35" fmla="*/ 511 h 511"/>
                <a:gd name="T36" fmla="*/ 34 w 123"/>
                <a:gd name="T37" fmla="*/ 507 h 511"/>
                <a:gd name="T38" fmla="*/ 27 w 123"/>
                <a:gd name="T39" fmla="*/ 496 h 511"/>
                <a:gd name="T40" fmla="*/ 20 w 123"/>
                <a:gd name="T41" fmla="*/ 479 h 511"/>
                <a:gd name="T42" fmla="*/ 14 w 123"/>
                <a:gd name="T43" fmla="*/ 457 h 511"/>
                <a:gd name="T44" fmla="*/ 10 w 123"/>
                <a:gd name="T45" fmla="*/ 430 h 511"/>
                <a:gd name="T46" fmla="*/ 6 w 123"/>
                <a:gd name="T47" fmla="*/ 401 h 511"/>
                <a:gd name="T48" fmla="*/ 4 w 123"/>
                <a:gd name="T49" fmla="*/ 370 h 511"/>
                <a:gd name="T50" fmla="*/ 1 w 123"/>
                <a:gd name="T51" fmla="*/ 338 h 511"/>
                <a:gd name="T52" fmla="*/ 1 w 123"/>
                <a:gd name="T53" fmla="*/ 305 h 511"/>
                <a:gd name="T54" fmla="*/ 0 w 123"/>
                <a:gd name="T55" fmla="*/ 274 h 511"/>
                <a:gd name="T56" fmla="*/ 0 w 123"/>
                <a:gd name="T57" fmla="*/ 244 h 511"/>
                <a:gd name="T58" fmla="*/ 1 w 123"/>
                <a:gd name="T59" fmla="*/ 219 h 511"/>
                <a:gd name="T60" fmla="*/ 1 w 123"/>
                <a:gd name="T61" fmla="*/ 197 h 511"/>
                <a:gd name="T62" fmla="*/ 6 w 123"/>
                <a:gd name="T63" fmla="*/ 148 h 511"/>
                <a:gd name="T64" fmla="*/ 13 w 123"/>
                <a:gd name="T65" fmla="*/ 107 h 511"/>
                <a:gd name="T66" fmla="*/ 20 w 123"/>
                <a:gd name="T67" fmla="*/ 72 h 511"/>
                <a:gd name="T68" fmla="*/ 30 w 123"/>
                <a:gd name="T69" fmla="*/ 45 h 511"/>
                <a:gd name="T70" fmla="*/ 41 w 123"/>
                <a:gd name="T71" fmla="*/ 25 h 511"/>
                <a:gd name="T72" fmla="*/ 52 w 123"/>
                <a:gd name="T73" fmla="*/ 11 h 511"/>
                <a:gd name="T74" fmla="*/ 63 w 123"/>
                <a:gd name="T75" fmla="*/ 2 h 511"/>
                <a:gd name="T76" fmla="*/ 74 w 123"/>
                <a:gd name="T77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511">
                  <a:moveTo>
                    <a:pt x="74" y="0"/>
                  </a:moveTo>
                  <a:lnTo>
                    <a:pt x="86" y="6"/>
                  </a:lnTo>
                  <a:lnTo>
                    <a:pt x="96" y="16"/>
                  </a:lnTo>
                  <a:lnTo>
                    <a:pt x="105" y="33"/>
                  </a:lnTo>
                  <a:lnTo>
                    <a:pt x="113" y="54"/>
                  </a:lnTo>
                  <a:lnTo>
                    <a:pt x="118" y="83"/>
                  </a:lnTo>
                  <a:lnTo>
                    <a:pt x="122" y="116"/>
                  </a:lnTo>
                  <a:lnTo>
                    <a:pt x="123" y="154"/>
                  </a:lnTo>
                  <a:lnTo>
                    <a:pt x="122" y="222"/>
                  </a:lnTo>
                  <a:lnTo>
                    <a:pt x="119" y="284"/>
                  </a:lnTo>
                  <a:lnTo>
                    <a:pt x="114" y="337"/>
                  </a:lnTo>
                  <a:lnTo>
                    <a:pt x="107" y="383"/>
                  </a:lnTo>
                  <a:lnTo>
                    <a:pt x="98" y="423"/>
                  </a:lnTo>
                  <a:lnTo>
                    <a:pt x="90" y="455"/>
                  </a:lnTo>
                  <a:lnTo>
                    <a:pt x="79" y="479"/>
                  </a:lnTo>
                  <a:lnTo>
                    <a:pt x="68" y="497"/>
                  </a:lnTo>
                  <a:lnTo>
                    <a:pt x="56" y="507"/>
                  </a:lnTo>
                  <a:lnTo>
                    <a:pt x="43" y="511"/>
                  </a:lnTo>
                  <a:lnTo>
                    <a:pt x="34" y="507"/>
                  </a:lnTo>
                  <a:lnTo>
                    <a:pt x="27" y="496"/>
                  </a:lnTo>
                  <a:lnTo>
                    <a:pt x="20" y="479"/>
                  </a:lnTo>
                  <a:lnTo>
                    <a:pt x="14" y="457"/>
                  </a:lnTo>
                  <a:lnTo>
                    <a:pt x="10" y="430"/>
                  </a:lnTo>
                  <a:lnTo>
                    <a:pt x="6" y="401"/>
                  </a:lnTo>
                  <a:lnTo>
                    <a:pt x="4" y="370"/>
                  </a:lnTo>
                  <a:lnTo>
                    <a:pt x="1" y="338"/>
                  </a:lnTo>
                  <a:lnTo>
                    <a:pt x="1" y="305"/>
                  </a:lnTo>
                  <a:lnTo>
                    <a:pt x="0" y="274"/>
                  </a:lnTo>
                  <a:lnTo>
                    <a:pt x="0" y="244"/>
                  </a:lnTo>
                  <a:lnTo>
                    <a:pt x="1" y="219"/>
                  </a:lnTo>
                  <a:lnTo>
                    <a:pt x="1" y="197"/>
                  </a:lnTo>
                  <a:lnTo>
                    <a:pt x="6" y="148"/>
                  </a:lnTo>
                  <a:lnTo>
                    <a:pt x="13" y="107"/>
                  </a:lnTo>
                  <a:lnTo>
                    <a:pt x="20" y="72"/>
                  </a:lnTo>
                  <a:lnTo>
                    <a:pt x="30" y="45"/>
                  </a:lnTo>
                  <a:lnTo>
                    <a:pt x="41" y="25"/>
                  </a:lnTo>
                  <a:lnTo>
                    <a:pt x="52" y="11"/>
                  </a:lnTo>
                  <a:lnTo>
                    <a:pt x="63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44"/>
            <p:cNvSpPr>
              <a:spLocks/>
            </p:cNvSpPr>
            <p:nvPr/>
          </p:nvSpPr>
          <p:spPr bwMode="auto">
            <a:xfrm>
              <a:off x="-3879850" y="4165600"/>
              <a:ext cx="107950" cy="103188"/>
            </a:xfrm>
            <a:custGeom>
              <a:avLst/>
              <a:gdLst>
                <a:gd name="T0" fmla="*/ 32 w 68"/>
                <a:gd name="T1" fmla="*/ 0 h 65"/>
                <a:gd name="T2" fmla="*/ 68 w 68"/>
                <a:gd name="T3" fmla="*/ 40 h 65"/>
                <a:gd name="T4" fmla="*/ 18 w 68"/>
                <a:gd name="T5" fmla="*/ 65 h 65"/>
                <a:gd name="T6" fmla="*/ 0 w 68"/>
                <a:gd name="T7" fmla="*/ 20 h 65"/>
                <a:gd name="T8" fmla="*/ 32 w 6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5">
                  <a:moveTo>
                    <a:pt x="32" y="0"/>
                  </a:moveTo>
                  <a:lnTo>
                    <a:pt x="68" y="40"/>
                  </a:lnTo>
                  <a:lnTo>
                    <a:pt x="18" y="65"/>
                  </a:lnTo>
                  <a:lnTo>
                    <a:pt x="0" y="2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5"/>
            <p:cNvSpPr>
              <a:spLocks/>
            </p:cNvSpPr>
            <p:nvPr/>
          </p:nvSpPr>
          <p:spPr bwMode="auto">
            <a:xfrm>
              <a:off x="-3994150" y="4165600"/>
              <a:ext cx="107950" cy="103188"/>
            </a:xfrm>
            <a:custGeom>
              <a:avLst/>
              <a:gdLst>
                <a:gd name="T0" fmla="*/ 35 w 68"/>
                <a:gd name="T1" fmla="*/ 0 h 65"/>
                <a:gd name="T2" fmla="*/ 68 w 68"/>
                <a:gd name="T3" fmla="*/ 20 h 65"/>
                <a:gd name="T4" fmla="*/ 50 w 68"/>
                <a:gd name="T5" fmla="*/ 65 h 65"/>
                <a:gd name="T6" fmla="*/ 0 w 68"/>
                <a:gd name="T7" fmla="*/ 40 h 65"/>
                <a:gd name="T8" fmla="*/ 35 w 6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5">
                  <a:moveTo>
                    <a:pt x="35" y="0"/>
                  </a:moveTo>
                  <a:lnTo>
                    <a:pt x="68" y="20"/>
                  </a:lnTo>
                  <a:lnTo>
                    <a:pt x="50" y="65"/>
                  </a:lnTo>
                  <a:lnTo>
                    <a:pt x="0" y="4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46"/>
            <p:cNvSpPr>
              <a:spLocks/>
            </p:cNvSpPr>
            <p:nvPr/>
          </p:nvSpPr>
          <p:spPr bwMode="auto">
            <a:xfrm>
              <a:off x="-4151313" y="4216400"/>
              <a:ext cx="539750" cy="892175"/>
            </a:xfrm>
            <a:custGeom>
              <a:avLst/>
              <a:gdLst>
                <a:gd name="T0" fmla="*/ 154 w 340"/>
                <a:gd name="T1" fmla="*/ 0 h 562"/>
                <a:gd name="T2" fmla="*/ 184 w 340"/>
                <a:gd name="T3" fmla="*/ 0 h 562"/>
                <a:gd name="T4" fmla="*/ 213 w 340"/>
                <a:gd name="T5" fmla="*/ 2 h 562"/>
                <a:gd name="T6" fmla="*/ 241 w 340"/>
                <a:gd name="T7" fmla="*/ 6 h 562"/>
                <a:gd name="T8" fmla="*/ 267 w 340"/>
                <a:gd name="T9" fmla="*/ 13 h 562"/>
                <a:gd name="T10" fmla="*/ 290 w 340"/>
                <a:gd name="T11" fmla="*/ 20 h 562"/>
                <a:gd name="T12" fmla="*/ 311 w 340"/>
                <a:gd name="T13" fmla="*/ 31 h 562"/>
                <a:gd name="T14" fmla="*/ 326 w 340"/>
                <a:gd name="T15" fmla="*/ 42 h 562"/>
                <a:gd name="T16" fmla="*/ 336 w 340"/>
                <a:gd name="T17" fmla="*/ 55 h 562"/>
                <a:gd name="T18" fmla="*/ 340 w 340"/>
                <a:gd name="T19" fmla="*/ 70 h 562"/>
                <a:gd name="T20" fmla="*/ 338 w 340"/>
                <a:gd name="T21" fmla="*/ 87 h 562"/>
                <a:gd name="T22" fmla="*/ 330 w 340"/>
                <a:gd name="T23" fmla="*/ 114 h 562"/>
                <a:gd name="T24" fmla="*/ 320 w 340"/>
                <a:gd name="T25" fmla="*/ 141 h 562"/>
                <a:gd name="T26" fmla="*/ 309 w 340"/>
                <a:gd name="T27" fmla="*/ 171 h 562"/>
                <a:gd name="T28" fmla="*/ 300 w 340"/>
                <a:gd name="T29" fmla="*/ 200 h 562"/>
                <a:gd name="T30" fmla="*/ 291 w 340"/>
                <a:gd name="T31" fmla="*/ 230 h 562"/>
                <a:gd name="T32" fmla="*/ 285 w 340"/>
                <a:gd name="T33" fmla="*/ 259 h 562"/>
                <a:gd name="T34" fmla="*/ 280 w 340"/>
                <a:gd name="T35" fmla="*/ 286 h 562"/>
                <a:gd name="T36" fmla="*/ 277 w 340"/>
                <a:gd name="T37" fmla="*/ 312 h 562"/>
                <a:gd name="T38" fmla="*/ 277 w 340"/>
                <a:gd name="T39" fmla="*/ 335 h 562"/>
                <a:gd name="T40" fmla="*/ 282 w 340"/>
                <a:gd name="T41" fmla="*/ 354 h 562"/>
                <a:gd name="T42" fmla="*/ 290 w 340"/>
                <a:gd name="T43" fmla="*/ 378 h 562"/>
                <a:gd name="T44" fmla="*/ 296 w 340"/>
                <a:gd name="T45" fmla="*/ 404 h 562"/>
                <a:gd name="T46" fmla="*/ 299 w 340"/>
                <a:gd name="T47" fmla="*/ 428 h 562"/>
                <a:gd name="T48" fmla="*/ 299 w 340"/>
                <a:gd name="T49" fmla="*/ 451 h 562"/>
                <a:gd name="T50" fmla="*/ 295 w 340"/>
                <a:gd name="T51" fmla="*/ 475 h 562"/>
                <a:gd name="T52" fmla="*/ 289 w 340"/>
                <a:gd name="T53" fmla="*/ 495 h 562"/>
                <a:gd name="T54" fmla="*/ 278 w 340"/>
                <a:gd name="T55" fmla="*/ 513 h 562"/>
                <a:gd name="T56" fmla="*/ 264 w 340"/>
                <a:gd name="T57" fmla="*/ 530 h 562"/>
                <a:gd name="T58" fmla="*/ 246 w 340"/>
                <a:gd name="T59" fmla="*/ 544 h 562"/>
                <a:gd name="T60" fmla="*/ 225 w 340"/>
                <a:gd name="T61" fmla="*/ 553 h 562"/>
                <a:gd name="T62" fmla="*/ 199 w 340"/>
                <a:gd name="T63" fmla="*/ 559 h 562"/>
                <a:gd name="T64" fmla="*/ 169 w 340"/>
                <a:gd name="T65" fmla="*/ 562 h 562"/>
                <a:gd name="T66" fmla="*/ 139 w 340"/>
                <a:gd name="T67" fmla="*/ 559 h 562"/>
                <a:gd name="T68" fmla="*/ 113 w 340"/>
                <a:gd name="T69" fmla="*/ 552 h 562"/>
                <a:gd name="T70" fmla="*/ 92 w 340"/>
                <a:gd name="T71" fmla="*/ 539 h 562"/>
                <a:gd name="T72" fmla="*/ 74 w 340"/>
                <a:gd name="T73" fmla="*/ 522 h 562"/>
                <a:gd name="T74" fmla="*/ 62 w 340"/>
                <a:gd name="T75" fmla="*/ 503 h 562"/>
                <a:gd name="T76" fmla="*/ 51 w 340"/>
                <a:gd name="T77" fmla="*/ 481 h 562"/>
                <a:gd name="T78" fmla="*/ 46 w 340"/>
                <a:gd name="T79" fmla="*/ 457 h 562"/>
                <a:gd name="T80" fmla="*/ 44 w 340"/>
                <a:gd name="T81" fmla="*/ 431 h 562"/>
                <a:gd name="T82" fmla="*/ 45 w 340"/>
                <a:gd name="T83" fmla="*/ 405 h 562"/>
                <a:gd name="T84" fmla="*/ 50 w 340"/>
                <a:gd name="T85" fmla="*/ 380 h 562"/>
                <a:gd name="T86" fmla="*/ 58 w 340"/>
                <a:gd name="T87" fmla="*/ 354 h 562"/>
                <a:gd name="T88" fmla="*/ 63 w 340"/>
                <a:gd name="T89" fmla="*/ 332 h 562"/>
                <a:gd name="T90" fmla="*/ 63 w 340"/>
                <a:gd name="T91" fmla="*/ 307 h 562"/>
                <a:gd name="T92" fmla="*/ 59 w 340"/>
                <a:gd name="T93" fmla="*/ 278 h 562"/>
                <a:gd name="T94" fmla="*/ 53 w 340"/>
                <a:gd name="T95" fmla="*/ 247 h 562"/>
                <a:gd name="T96" fmla="*/ 45 w 340"/>
                <a:gd name="T97" fmla="*/ 215 h 562"/>
                <a:gd name="T98" fmla="*/ 35 w 340"/>
                <a:gd name="T99" fmla="*/ 183 h 562"/>
                <a:gd name="T100" fmla="*/ 23 w 340"/>
                <a:gd name="T101" fmla="*/ 151 h 562"/>
                <a:gd name="T102" fmla="*/ 13 w 340"/>
                <a:gd name="T103" fmla="*/ 120 h 562"/>
                <a:gd name="T104" fmla="*/ 3 w 340"/>
                <a:gd name="T105" fmla="*/ 92 h 562"/>
                <a:gd name="T106" fmla="*/ 0 w 340"/>
                <a:gd name="T107" fmla="*/ 73 h 562"/>
                <a:gd name="T108" fmla="*/ 4 w 340"/>
                <a:gd name="T109" fmla="*/ 56 h 562"/>
                <a:gd name="T110" fmla="*/ 14 w 340"/>
                <a:gd name="T111" fmla="*/ 42 h 562"/>
                <a:gd name="T112" fmla="*/ 28 w 340"/>
                <a:gd name="T113" fmla="*/ 29 h 562"/>
                <a:gd name="T114" fmla="*/ 49 w 340"/>
                <a:gd name="T115" fmla="*/ 19 h 562"/>
                <a:gd name="T116" fmla="*/ 72 w 340"/>
                <a:gd name="T117" fmla="*/ 11 h 562"/>
                <a:gd name="T118" fmla="*/ 98 w 340"/>
                <a:gd name="T119" fmla="*/ 5 h 562"/>
                <a:gd name="T120" fmla="*/ 125 w 340"/>
                <a:gd name="T121" fmla="*/ 1 h 562"/>
                <a:gd name="T122" fmla="*/ 154 w 340"/>
                <a:gd name="T12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" h="562">
                  <a:moveTo>
                    <a:pt x="154" y="0"/>
                  </a:moveTo>
                  <a:lnTo>
                    <a:pt x="184" y="0"/>
                  </a:lnTo>
                  <a:lnTo>
                    <a:pt x="213" y="2"/>
                  </a:lnTo>
                  <a:lnTo>
                    <a:pt x="241" y="6"/>
                  </a:lnTo>
                  <a:lnTo>
                    <a:pt x="267" y="13"/>
                  </a:lnTo>
                  <a:lnTo>
                    <a:pt x="290" y="20"/>
                  </a:lnTo>
                  <a:lnTo>
                    <a:pt x="311" y="31"/>
                  </a:lnTo>
                  <a:lnTo>
                    <a:pt x="326" y="42"/>
                  </a:lnTo>
                  <a:lnTo>
                    <a:pt x="336" y="55"/>
                  </a:lnTo>
                  <a:lnTo>
                    <a:pt x="340" y="70"/>
                  </a:lnTo>
                  <a:lnTo>
                    <a:pt x="338" y="87"/>
                  </a:lnTo>
                  <a:lnTo>
                    <a:pt x="330" y="114"/>
                  </a:lnTo>
                  <a:lnTo>
                    <a:pt x="320" y="141"/>
                  </a:lnTo>
                  <a:lnTo>
                    <a:pt x="309" y="171"/>
                  </a:lnTo>
                  <a:lnTo>
                    <a:pt x="300" y="200"/>
                  </a:lnTo>
                  <a:lnTo>
                    <a:pt x="291" y="230"/>
                  </a:lnTo>
                  <a:lnTo>
                    <a:pt x="285" y="259"/>
                  </a:lnTo>
                  <a:lnTo>
                    <a:pt x="280" y="286"/>
                  </a:lnTo>
                  <a:lnTo>
                    <a:pt x="277" y="312"/>
                  </a:lnTo>
                  <a:lnTo>
                    <a:pt x="277" y="335"/>
                  </a:lnTo>
                  <a:lnTo>
                    <a:pt x="282" y="354"/>
                  </a:lnTo>
                  <a:lnTo>
                    <a:pt x="290" y="378"/>
                  </a:lnTo>
                  <a:lnTo>
                    <a:pt x="296" y="404"/>
                  </a:lnTo>
                  <a:lnTo>
                    <a:pt x="299" y="428"/>
                  </a:lnTo>
                  <a:lnTo>
                    <a:pt x="299" y="451"/>
                  </a:lnTo>
                  <a:lnTo>
                    <a:pt x="295" y="475"/>
                  </a:lnTo>
                  <a:lnTo>
                    <a:pt x="289" y="495"/>
                  </a:lnTo>
                  <a:lnTo>
                    <a:pt x="278" y="513"/>
                  </a:lnTo>
                  <a:lnTo>
                    <a:pt x="264" y="530"/>
                  </a:lnTo>
                  <a:lnTo>
                    <a:pt x="246" y="544"/>
                  </a:lnTo>
                  <a:lnTo>
                    <a:pt x="225" y="553"/>
                  </a:lnTo>
                  <a:lnTo>
                    <a:pt x="199" y="559"/>
                  </a:lnTo>
                  <a:lnTo>
                    <a:pt x="169" y="562"/>
                  </a:lnTo>
                  <a:lnTo>
                    <a:pt x="139" y="559"/>
                  </a:lnTo>
                  <a:lnTo>
                    <a:pt x="113" y="552"/>
                  </a:lnTo>
                  <a:lnTo>
                    <a:pt x="92" y="539"/>
                  </a:lnTo>
                  <a:lnTo>
                    <a:pt x="74" y="522"/>
                  </a:lnTo>
                  <a:lnTo>
                    <a:pt x="62" y="503"/>
                  </a:lnTo>
                  <a:lnTo>
                    <a:pt x="51" y="481"/>
                  </a:lnTo>
                  <a:lnTo>
                    <a:pt x="46" y="457"/>
                  </a:lnTo>
                  <a:lnTo>
                    <a:pt x="44" y="431"/>
                  </a:lnTo>
                  <a:lnTo>
                    <a:pt x="45" y="405"/>
                  </a:lnTo>
                  <a:lnTo>
                    <a:pt x="50" y="380"/>
                  </a:lnTo>
                  <a:lnTo>
                    <a:pt x="58" y="354"/>
                  </a:lnTo>
                  <a:lnTo>
                    <a:pt x="63" y="332"/>
                  </a:lnTo>
                  <a:lnTo>
                    <a:pt x="63" y="307"/>
                  </a:lnTo>
                  <a:lnTo>
                    <a:pt x="59" y="278"/>
                  </a:lnTo>
                  <a:lnTo>
                    <a:pt x="53" y="247"/>
                  </a:lnTo>
                  <a:lnTo>
                    <a:pt x="45" y="215"/>
                  </a:lnTo>
                  <a:lnTo>
                    <a:pt x="35" y="183"/>
                  </a:lnTo>
                  <a:lnTo>
                    <a:pt x="23" y="151"/>
                  </a:lnTo>
                  <a:lnTo>
                    <a:pt x="13" y="120"/>
                  </a:lnTo>
                  <a:lnTo>
                    <a:pt x="3" y="92"/>
                  </a:lnTo>
                  <a:lnTo>
                    <a:pt x="0" y="73"/>
                  </a:lnTo>
                  <a:lnTo>
                    <a:pt x="4" y="56"/>
                  </a:lnTo>
                  <a:lnTo>
                    <a:pt x="14" y="42"/>
                  </a:lnTo>
                  <a:lnTo>
                    <a:pt x="28" y="29"/>
                  </a:lnTo>
                  <a:lnTo>
                    <a:pt x="49" y="19"/>
                  </a:lnTo>
                  <a:lnTo>
                    <a:pt x="72" y="11"/>
                  </a:lnTo>
                  <a:lnTo>
                    <a:pt x="98" y="5"/>
                  </a:lnTo>
                  <a:lnTo>
                    <a:pt x="125" y="1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47"/>
            <p:cNvSpPr>
              <a:spLocks/>
            </p:cNvSpPr>
            <p:nvPr/>
          </p:nvSpPr>
          <p:spPr bwMode="auto">
            <a:xfrm>
              <a:off x="-4211638" y="6230938"/>
              <a:ext cx="298450" cy="122238"/>
            </a:xfrm>
            <a:custGeom>
              <a:avLst/>
              <a:gdLst>
                <a:gd name="T0" fmla="*/ 186 w 188"/>
                <a:gd name="T1" fmla="*/ 0 h 77"/>
                <a:gd name="T2" fmla="*/ 187 w 188"/>
                <a:gd name="T3" fmla="*/ 1 h 77"/>
                <a:gd name="T4" fmla="*/ 188 w 188"/>
                <a:gd name="T5" fmla="*/ 2 h 77"/>
                <a:gd name="T6" fmla="*/ 188 w 188"/>
                <a:gd name="T7" fmla="*/ 14 h 77"/>
                <a:gd name="T8" fmla="*/ 187 w 188"/>
                <a:gd name="T9" fmla="*/ 24 h 77"/>
                <a:gd name="T10" fmla="*/ 183 w 188"/>
                <a:gd name="T11" fmla="*/ 28 h 77"/>
                <a:gd name="T12" fmla="*/ 174 w 188"/>
                <a:gd name="T13" fmla="*/ 32 h 77"/>
                <a:gd name="T14" fmla="*/ 164 w 188"/>
                <a:gd name="T15" fmla="*/ 36 h 77"/>
                <a:gd name="T16" fmla="*/ 156 w 188"/>
                <a:gd name="T17" fmla="*/ 38 h 77"/>
                <a:gd name="T18" fmla="*/ 154 w 188"/>
                <a:gd name="T19" fmla="*/ 40 h 77"/>
                <a:gd name="T20" fmla="*/ 151 w 188"/>
                <a:gd name="T21" fmla="*/ 38 h 77"/>
                <a:gd name="T22" fmla="*/ 150 w 188"/>
                <a:gd name="T23" fmla="*/ 37 h 77"/>
                <a:gd name="T24" fmla="*/ 148 w 188"/>
                <a:gd name="T25" fmla="*/ 36 h 77"/>
                <a:gd name="T26" fmla="*/ 148 w 188"/>
                <a:gd name="T27" fmla="*/ 36 h 77"/>
                <a:gd name="T28" fmla="*/ 148 w 188"/>
                <a:gd name="T29" fmla="*/ 34 h 77"/>
                <a:gd name="T30" fmla="*/ 133 w 188"/>
                <a:gd name="T31" fmla="*/ 41 h 77"/>
                <a:gd name="T32" fmla="*/ 121 w 188"/>
                <a:gd name="T33" fmla="*/ 49 h 77"/>
                <a:gd name="T34" fmla="*/ 112 w 188"/>
                <a:gd name="T35" fmla="*/ 55 h 77"/>
                <a:gd name="T36" fmla="*/ 105 w 188"/>
                <a:gd name="T37" fmla="*/ 61 h 77"/>
                <a:gd name="T38" fmla="*/ 95 w 188"/>
                <a:gd name="T39" fmla="*/ 67 h 77"/>
                <a:gd name="T40" fmla="*/ 84 w 188"/>
                <a:gd name="T41" fmla="*/ 72 h 77"/>
                <a:gd name="T42" fmla="*/ 70 w 188"/>
                <a:gd name="T43" fmla="*/ 75 h 77"/>
                <a:gd name="T44" fmla="*/ 52 w 188"/>
                <a:gd name="T45" fmla="*/ 77 h 77"/>
                <a:gd name="T46" fmla="*/ 38 w 188"/>
                <a:gd name="T47" fmla="*/ 77 h 77"/>
                <a:gd name="T48" fmla="*/ 23 w 188"/>
                <a:gd name="T49" fmla="*/ 73 h 77"/>
                <a:gd name="T50" fmla="*/ 11 w 188"/>
                <a:gd name="T51" fmla="*/ 67 h 77"/>
                <a:gd name="T52" fmla="*/ 2 w 188"/>
                <a:gd name="T53" fmla="*/ 60 h 77"/>
                <a:gd name="T54" fmla="*/ 0 w 188"/>
                <a:gd name="T55" fmla="*/ 52 h 77"/>
                <a:gd name="T56" fmla="*/ 1 w 188"/>
                <a:gd name="T57" fmla="*/ 49 h 77"/>
                <a:gd name="T58" fmla="*/ 1 w 188"/>
                <a:gd name="T59" fmla="*/ 46 h 77"/>
                <a:gd name="T60" fmla="*/ 2 w 188"/>
                <a:gd name="T61" fmla="*/ 42 h 77"/>
                <a:gd name="T62" fmla="*/ 2 w 188"/>
                <a:gd name="T63" fmla="*/ 43 h 77"/>
                <a:gd name="T64" fmla="*/ 2 w 188"/>
                <a:gd name="T65" fmla="*/ 45 h 77"/>
                <a:gd name="T66" fmla="*/ 2 w 188"/>
                <a:gd name="T67" fmla="*/ 45 h 77"/>
                <a:gd name="T68" fmla="*/ 15 w 188"/>
                <a:gd name="T69" fmla="*/ 47 h 77"/>
                <a:gd name="T70" fmla="*/ 30 w 188"/>
                <a:gd name="T71" fmla="*/ 49 h 77"/>
                <a:gd name="T72" fmla="*/ 47 w 188"/>
                <a:gd name="T73" fmla="*/ 50 h 77"/>
                <a:gd name="T74" fmla="*/ 64 w 188"/>
                <a:gd name="T75" fmla="*/ 47 h 77"/>
                <a:gd name="T76" fmla="*/ 79 w 188"/>
                <a:gd name="T77" fmla="*/ 42 h 77"/>
                <a:gd name="T78" fmla="*/ 92 w 188"/>
                <a:gd name="T79" fmla="*/ 33 h 77"/>
                <a:gd name="T80" fmla="*/ 104 w 188"/>
                <a:gd name="T81" fmla="*/ 24 h 77"/>
                <a:gd name="T82" fmla="*/ 116 w 188"/>
                <a:gd name="T83" fmla="*/ 19 h 77"/>
                <a:gd name="T84" fmla="*/ 132 w 188"/>
                <a:gd name="T85" fmla="*/ 15 h 77"/>
                <a:gd name="T86" fmla="*/ 145 w 188"/>
                <a:gd name="T87" fmla="*/ 14 h 77"/>
                <a:gd name="T88" fmla="*/ 157 w 188"/>
                <a:gd name="T89" fmla="*/ 11 h 77"/>
                <a:gd name="T90" fmla="*/ 166 w 188"/>
                <a:gd name="T91" fmla="*/ 6 h 77"/>
                <a:gd name="T92" fmla="*/ 173 w 188"/>
                <a:gd name="T93" fmla="*/ 0 h 77"/>
                <a:gd name="T94" fmla="*/ 174 w 188"/>
                <a:gd name="T95" fmla="*/ 0 h 77"/>
                <a:gd name="T96" fmla="*/ 175 w 188"/>
                <a:gd name="T97" fmla="*/ 0 h 77"/>
                <a:gd name="T98" fmla="*/ 178 w 188"/>
                <a:gd name="T99" fmla="*/ 0 h 77"/>
                <a:gd name="T100" fmla="*/ 180 w 188"/>
                <a:gd name="T101" fmla="*/ 0 h 77"/>
                <a:gd name="T102" fmla="*/ 183 w 188"/>
                <a:gd name="T103" fmla="*/ 0 h 77"/>
                <a:gd name="T104" fmla="*/ 184 w 188"/>
                <a:gd name="T105" fmla="*/ 0 h 77"/>
                <a:gd name="T106" fmla="*/ 186 w 188"/>
                <a:gd name="T10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77">
                  <a:moveTo>
                    <a:pt x="186" y="0"/>
                  </a:moveTo>
                  <a:lnTo>
                    <a:pt x="187" y="1"/>
                  </a:lnTo>
                  <a:lnTo>
                    <a:pt x="188" y="2"/>
                  </a:lnTo>
                  <a:lnTo>
                    <a:pt x="188" y="14"/>
                  </a:lnTo>
                  <a:lnTo>
                    <a:pt x="187" y="24"/>
                  </a:lnTo>
                  <a:lnTo>
                    <a:pt x="183" y="28"/>
                  </a:lnTo>
                  <a:lnTo>
                    <a:pt x="174" y="32"/>
                  </a:lnTo>
                  <a:lnTo>
                    <a:pt x="164" y="36"/>
                  </a:lnTo>
                  <a:lnTo>
                    <a:pt x="156" y="38"/>
                  </a:lnTo>
                  <a:lnTo>
                    <a:pt x="154" y="40"/>
                  </a:lnTo>
                  <a:lnTo>
                    <a:pt x="151" y="38"/>
                  </a:lnTo>
                  <a:lnTo>
                    <a:pt x="150" y="37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4"/>
                  </a:lnTo>
                  <a:lnTo>
                    <a:pt x="133" y="41"/>
                  </a:lnTo>
                  <a:lnTo>
                    <a:pt x="121" y="49"/>
                  </a:lnTo>
                  <a:lnTo>
                    <a:pt x="112" y="55"/>
                  </a:lnTo>
                  <a:lnTo>
                    <a:pt x="105" y="61"/>
                  </a:lnTo>
                  <a:lnTo>
                    <a:pt x="95" y="67"/>
                  </a:lnTo>
                  <a:lnTo>
                    <a:pt x="84" y="72"/>
                  </a:lnTo>
                  <a:lnTo>
                    <a:pt x="70" y="75"/>
                  </a:lnTo>
                  <a:lnTo>
                    <a:pt x="52" y="77"/>
                  </a:lnTo>
                  <a:lnTo>
                    <a:pt x="38" y="77"/>
                  </a:lnTo>
                  <a:lnTo>
                    <a:pt x="23" y="73"/>
                  </a:lnTo>
                  <a:lnTo>
                    <a:pt x="11" y="67"/>
                  </a:lnTo>
                  <a:lnTo>
                    <a:pt x="2" y="60"/>
                  </a:lnTo>
                  <a:lnTo>
                    <a:pt x="0" y="52"/>
                  </a:lnTo>
                  <a:lnTo>
                    <a:pt x="1" y="49"/>
                  </a:lnTo>
                  <a:lnTo>
                    <a:pt x="1" y="46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15" y="47"/>
                  </a:lnTo>
                  <a:lnTo>
                    <a:pt x="30" y="49"/>
                  </a:lnTo>
                  <a:lnTo>
                    <a:pt x="47" y="50"/>
                  </a:lnTo>
                  <a:lnTo>
                    <a:pt x="64" y="47"/>
                  </a:lnTo>
                  <a:lnTo>
                    <a:pt x="79" y="42"/>
                  </a:lnTo>
                  <a:lnTo>
                    <a:pt x="92" y="33"/>
                  </a:lnTo>
                  <a:lnTo>
                    <a:pt x="104" y="24"/>
                  </a:lnTo>
                  <a:lnTo>
                    <a:pt x="116" y="19"/>
                  </a:lnTo>
                  <a:lnTo>
                    <a:pt x="132" y="15"/>
                  </a:lnTo>
                  <a:lnTo>
                    <a:pt x="145" y="14"/>
                  </a:lnTo>
                  <a:lnTo>
                    <a:pt x="157" y="11"/>
                  </a:lnTo>
                  <a:lnTo>
                    <a:pt x="166" y="6"/>
                  </a:lnTo>
                  <a:lnTo>
                    <a:pt x="173" y="0"/>
                  </a:lnTo>
                  <a:lnTo>
                    <a:pt x="174" y="0"/>
                  </a:lnTo>
                  <a:lnTo>
                    <a:pt x="175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3" y="0"/>
                  </a:lnTo>
                  <a:lnTo>
                    <a:pt x="184" y="0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48"/>
            <p:cNvSpPr>
              <a:spLocks/>
            </p:cNvSpPr>
            <p:nvPr/>
          </p:nvSpPr>
          <p:spPr bwMode="auto">
            <a:xfrm>
              <a:off x="-4210050" y="6032500"/>
              <a:ext cx="296863" cy="306388"/>
            </a:xfrm>
            <a:custGeom>
              <a:avLst/>
              <a:gdLst>
                <a:gd name="T0" fmla="*/ 163 w 187"/>
                <a:gd name="T1" fmla="*/ 0 h 193"/>
                <a:gd name="T2" fmla="*/ 173 w 187"/>
                <a:gd name="T3" fmla="*/ 3 h 193"/>
                <a:gd name="T4" fmla="*/ 181 w 187"/>
                <a:gd name="T5" fmla="*/ 8 h 193"/>
                <a:gd name="T6" fmla="*/ 186 w 187"/>
                <a:gd name="T7" fmla="*/ 14 h 193"/>
                <a:gd name="T8" fmla="*/ 186 w 187"/>
                <a:gd name="T9" fmla="*/ 25 h 193"/>
                <a:gd name="T10" fmla="*/ 183 w 187"/>
                <a:gd name="T11" fmla="*/ 40 h 193"/>
                <a:gd name="T12" fmla="*/ 183 w 187"/>
                <a:gd name="T13" fmla="*/ 59 h 193"/>
                <a:gd name="T14" fmla="*/ 186 w 187"/>
                <a:gd name="T15" fmla="*/ 80 h 193"/>
                <a:gd name="T16" fmla="*/ 187 w 187"/>
                <a:gd name="T17" fmla="*/ 99 h 193"/>
                <a:gd name="T18" fmla="*/ 187 w 187"/>
                <a:gd name="T19" fmla="*/ 116 h 193"/>
                <a:gd name="T20" fmla="*/ 186 w 187"/>
                <a:gd name="T21" fmla="*/ 129 h 193"/>
                <a:gd name="T22" fmla="*/ 179 w 187"/>
                <a:gd name="T23" fmla="*/ 138 h 193"/>
                <a:gd name="T24" fmla="*/ 168 w 187"/>
                <a:gd name="T25" fmla="*/ 144 h 193"/>
                <a:gd name="T26" fmla="*/ 154 w 187"/>
                <a:gd name="T27" fmla="*/ 149 h 193"/>
                <a:gd name="T28" fmla="*/ 140 w 187"/>
                <a:gd name="T29" fmla="*/ 156 h 193"/>
                <a:gd name="T30" fmla="*/ 124 w 187"/>
                <a:gd name="T31" fmla="*/ 162 h 193"/>
                <a:gd name="T32" fmla="*/ 110 w 187"/>
                <a:gd name="T33" fmla="*/ 171 h 193"/>
                <a:gd name="T34" fmla="*/ 96 w 187"/>
                <a:gd name="T35" fmla="*/ 181 h 193"/>
                <a:gd name="T36" fmla="*/ 79 w 187"/>
                <a:gd name="T37" fmla="*/ 188 h 193"/>
                <a:gd name="T38" fmla="*/ 61 w 187"/>
                <a:gd name="T39" fmla="*/ 192 h 193"/>
                <a:gd name="T40" fmla="*/ 43 w 187"/>
                <a:gd name="T41" fmla="*/ 193 h 193"/>
                <a:gd name="T42" fmla="*/ 28 w 187"/>
                <a:gd name="T43" fmla="*/ 190 h 193"/>
                <a:gd name="T44" fmla="*/ 14 w 187"/>
                <a:gd name="T45" fmla="*/ 186 h 193"/>
                <a:gd name="T46" fmla="*/ 5 w 187"/>
                <a:gd name="T47" fmla="*/ 180 h 193"/>
                <a:gd name="T48" fmla="*/ 0 w 187"/>
                <a:gd name="T49" fmla="*/ 170 h 193"/>
                <a:gd name="T50" fmla="*/ 1 w 187"/>
                <a:gd name="T51" fmla="*/ 162 h 193"/>
                <a:gd name="T52" fmla="*/ 8 w 187"/>
                <a:gd name="T53" fmla="*/ 153 h 193"/>
                <a:gd name="T54" fmla="*/ 17 w 187"/>
                <a:gd name="T55" fmla="*/ 144 h 193"/>
                <a:gd name="T56" fmla="*/ 28 w 187"/>
                <a:gd name="T57" fmla="*/ 138 h 193"/>
                <a:gd name="T58" fmla="*/ 41 w 187"/>
                <a:gd name="T59" fmla="*/ 135 h 193"/>
                <a:gd name="T60" fmla="*/ 46 w 187"/>
                <a:gd name="T61" fmla="*/ 132 h 193"/>
                <a:gd name="T62" fmla="*/ 55 w 187"/>
                <a:gd name="T63" fmla="*/ 126 h 193"/>
                <a:gd name="T64" fmla="*/ 65 w 187"/>
                <a:gd name="T65" fmla="*/ 117 h 193"/>
                <a:gd name="T66" fmla="*/ 77 w 187"/>
                <a:gd name="T67" fmla="*/ 106 h 193"/>
                <a:gd name="T68" fmla="*/ 88 w 187"/>
                <a:gd name="T69" fmla="*/ 93 h 193"/>
                <a:gd name="T70" fmla="*/ 99 w 187"/>
                <a:gd name="T71" fmla="*/ 82 h 193"/>
                <a:gd name="T72" fmla="*/ 106 w 187"/>
                <a:gd name="T73" fmla="*/ 73 h 193"/>
                <a:gd name="T74" fmla="*/ 118 w 187"/>
                <a:gd name="T75" fmla="*/ 57 h 193"/>
                <a:gd name="T76" fmla="*/ 123 w 187"/>
                <a:gd name="T77" fmla="*/ 40 h 193"/>
                <a:gd name="T78" fmla="*/ 124 w 187"/>
                <a:gd name="T79" fmla="*/ 26 h 193"/>
                <a:gd name="T80" fmla="*/ 126 w 187"/>
                <a:gd name="T81" fmla="*/ 16 h 193"/>
                <a:gd name="T82" fmla="*/ 131 w 187"/>
                <a:gd name="T83" fmla="*/ 8 h 193"/>
                <a:gd name="T84" fmla="*/ 140 w 187"/>
                <a:gd name="T85" fmla="*/ 3 h 193"/>
                <a:gd name="T86" fmla="*/ 151 w 187"/>
                <a:gd name="T87" fmla="*/ 0 h 193"/>
                <a:gd name="T88" fmla="*/ 163 w 187"/>
                <a:gd name="T8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7" h="193">
                  <a:moveTo>
                    <a:pt x="163" y="0"/>
                  </a:moveTo>
                  <a:lnTo>
                    <a:pt x="173" y="3"/>
                  </a:lnTo>
                  <a:lnTo>
                    <a:pt x="181" y="8"/>
                  </a:lnTo>
                  <a:lnTo>
                    <a:pt x="186" y="14"/>
                  </a:lnTo>
                  <a:lnTo>
                    <a:pt x="186" y="25"/>
                  </a:lnTo>
                  <a:lnTo>
                    <a:pt x="183" y="40"/>
                  </a:lnTo>
                  <a:lnTo>
                    <a:pt x="183" y="59"/>
                  </a:lnTo>
                  <a:lnTo>
                    <a:pt x="186" y="80"/>
                  </a:lnTo>
                  <a:lnTo>
                    <a:pt x="187" y="99"/>
                  </a:lnTo>
                  <a:lnTo>
                    <a:pt x="187" y="116"/>
                  </a:lnTo>
                  <a:lnTo>
                    <a:pt x="186" y="129"/>
                  </a:lnTo>
                  <a:lnTo>
                    <a:pt x="179" y="138"/>
                  </a:lnTo>
                  <a:lnTo>
                    <a:pt x="168" y="144"/>
                  </a:lnTo>
                  <a:lnTo>
                    <a:pt x="154" y="149"/>
                  </a:lnTo>
                  <a:lnTo>
                    <a:pt x="140" y="156"/>
                  </a:lnTo>
                  <a:lnTo>
                    <a:pt x="124" y="162"/>
                  </a:lnTo>
                  <a:lnTo>
                    <a:pt x="110" y="171"/>
                  </a:lnTo>
                  <a:lnTo>
                    <a:pt x="96" y="181"/>
                  </a:lnTo>
                  <a:lnTo>
                    <a:pt x="79" y="188"/>
                  </a:lnTo>
                  <a:lnTo>
                    <a:pt x="61" y="192"/>
                  </a:lnTo>
                  <a:lnTo>
                    <a:pt x="43" y="193"/>
                  </a:lnTo>
                  <a:lnTo>
                    <a:pt x="28" y="190"/>
                  </a:lnTo>
                  <a:lnTo>
                    <a:pt x="14" y="186"/>
                  </a:lnTo>
                  <a:lnTo>
                    <a:pt x="5" y="180"/>
                  </a:lnTo>
                  <a:lnTo>
                    <a:pt x="0" y="170"/>
                  </a:lnTo>
                  <a:lnTo>
                    <a:pt x="1" y="162"/>
                  </a:lnTo>
                  <a:lnTo>
                    <a:pt x="8" y="153"/>
                  </a:lnTo>
                  <a:lnTo>
                    <a:pt x="17" y="144"/>
                  </a:lnTo>
                  <a:lnTo>
                    <a:pt x="28" y="138"/>
                  </a:lnTo>
                  <a:lnTo>
                    <a:pt x="41" y="135"/>
                  </a:lnTo>
                  <a:lnTo>
                    <a:pt x="46" y="132"/>
                  </a:lnTo>
                  <a:lnTo>
                    <a:pt x="55" y="126"/>
                  </a:lnTo>
                  <a:lnTo>
                    <a:pt x="65" y="117"/>
                  </a:lnTo>
                  <a:lnTo>
                    <a:pt x="77" y="106"/>
                  </a:lnTo>
                  <a:lnTo>
                    <a:pt x="88" y="93"/>
                  </a:lnTo>
                  <a:lnTo>
                    <a:pt x="99" y="82"/>
                  </a:lnTo>
                  <a:lnTo>
                    <a:pt x="106" y="73"/>
                  </a:lnTo>
                  <a:lnTo>
                    <a:pt x="118" y="57"/>
                  </a:lnTo>
                  <a:lnTo>
                    <a:pt x="123" y="40"/>
                  </a:lnTo>
                  <a:lnTo>
                    <a:pt x="124" y="26"/>
                  </a:lnTo>
                  <a:lnTo>
                    <a:pt x="126" y="16"/>
                  </a:lnTo>
                  <a:lnTo>
                    <a:pt x="131" y="8"/>
                  </a:lnTo>
                  <a:lnTo>
                    <a:pt x="140" y="3"/>
                  </a:lnTo>
                  <a:lnTo>
                    <a:pt x="151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Line 249"/>
            <p:cNvSpPr>
              <a:spLocks noChangeShapeType="1"/>
            </p:cNvSpPr>
            <p:nvPr/>
          </p:nvSpPr>
          <p:spPr bwMode="auto">
            <a:xfrm flipH="1">
              <a:off x="-3927475" y="6000750"/>
              <a:ext cx="1588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Line 250"/>
            <p:cNvSpPr>
              <a:spLocks noChangeShapeType="1"/>
            </p:cNvSpPr>
            <p:nvPr/>
          </p:nvSpPr>
          <p:spPr bwMode="auto">
            <a:xfrm flipH="1">
              <a:off x="-3930650" y="6029325"/>
              <a:ext cx="3175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Line 251"/>
            <p:cNvSpPr>
              <a:spLocks noChangeShapeType="1"/>
            </p:cNvSpPr>
            <p:nvPr/>
          </p:nvSpPr>
          <p:spPr bwMode="auto">
            <a:xfrm flipH="1">
              <a:off x="-3935413" y="60658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Line 252"/>
            <p:cNvSpPr>
              <a:spLocks noChangeShapeType="1"/>
            </p:cNvSpPr>
            <p:nvPr/>
          </p:nvSpPr>
          <p:spPr bwMode="auto">
            <a:xfrm flipH="1">
              <a:off x="-3938588" y="6108700"/>
              <a:ext cx="3175" cy="460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Line 253"/>
            <p:cNvSpPr>
              <a:spLocks noChangeShapeType="1"/>
            </p:cNvSpPr>
            <p:nvPr/>
          </p:nvSpPr>
          <p:spPr bwMode="auto">
            <a:xfrm flipH="1">
              <a:off x="-3943350" y="61547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6" name="Line 254"/>
            <p:cNvSpPr>
              <a:spLocks noChangeShapeType="1"/>
            </p:cNvSpPr>
            <p:nvPr/>
          </p:nvSpPr>
          <p:spPr bwMode="auto">
            <a:xfrm flipH="1">
              <a:off x="-3949700" y="6197600"/>
              <a:ext cx="6350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7" name="Line 255"/>
            <p:cNvSpPr>
              <a:spLocks noChangeShapeType="1"/>
            </p:cNvSpPr>
            <p:nvPr/>
          </p:nvSpPr>
          <p:spPr bwMode="auto">
            <a:xfrm flipH="1">
              <a:off x="-3956050" y="6234113"/>
              <a:ext cx="6350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8" name="Line 256"/>
            <p:cNvSpPr>
              <a:spLocks noChangeShapeType="1"/>
            </p:cNvSpPr>
            <p:nvPr/>
          </p:nvSpPr>
          <p:spPr bwMode="auto">
            <a:xfrm flipH="1">
              <a:off x="-3943350" y="6008688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9" name="Line 257"/>
            <p:cNvSpPr>
              <a:spLocks noChangeShapeType="1"/>
            </p:cNvSpPr>
            <p:nvPr/>
          </p:nvSpPr>
          <p:spPr bwMode="auto">
            <a:xfrm flipH="1">
              <a:off x="-3944938" y="6035675"/>
              <a:ext cx="1588" cy="381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0" name="Line 258"/>
            <p:cNvSpPr>
              <a:spLocks noChangeShapeType="1"/>
            </p:cNvSpPr>
            <p:nvPr/>
          </p:nvSpPr>
          <p:spPr bwMode="auto">
            <a:xfrm flipH="1">
              <a:off x="-3949700" y="6073775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1" name="Line 259"/>
            <p:cNvSpPr>
              <a:spLocks noChangeShapeType="1"/>
            </p:cNvSpPr>
            <p:nvPr/>
          </p:nvSpPr>
          <p:spPr bwMode="auto">
            <a:xfrm flipH="1">
              <a:off x="-3952875" y="6116638"/>
              <a:ext cx="3175" cy="4445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2" name="Line 260"/>
            <p:cNvSpPr>
              <a:spLocks noChangeShapeType="1"/>
            </p:cNvSpPr>
            <p:nvPr/>
          </p:nvSpPr>
          <p:spPr bwMode="auto">
            <a:xfrm flipH="1">
              <a:off x="-3959225" y="6161088"/>
              <a:ext cx="6350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3" name="Line 261"/>
            <p:cNvSpPr>
              <a:spLocks noChangeShapeType="1"/>
            </p:cNvSpPr>
            <p:nvPr/>
          </p:nvSpPr>
          <p:spPr bwMode="auto">
            <a:xfrm flipH="1">
              <a:off x="-3963988" y="6203950"/>
              <a:ext cx="4763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4" name="Line 262"/>
            <p:cNvSpPr>
              <a:spLocks noChangeShapeType="1"/>
            </p:cNvSpPr>
            <p:nvPr/>
          </p:nvSpPr>
          <p:spPr bwMode="auto">
            <a:xfrm flipH="1">
              <a:off x="-3970338" y="6240463"/>
              <a:ext cx="6350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5" name="Line 263"/>
            <p:cNvSpPr>
              <a:spLocks noChangeShapeType="1"/>
            </p:cNvSpPr>
            <p:nvPr/>
          </p:nvSpPr>
          <p:spPr bwMode="auto">
            <a:xfrm flipH="1" flipV="1">
              <a:off x="-4044950" y="6280150"/>
              <a:ext cx="3175" cy="238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6" name="Line 264"/>
            <p:cNvSpPr>
              <a:spLocks noChangeShapeType="1"/>
            </p:cNvSpPr>
            <p:nvPr/>
          </p:nvSpPr>
          <p:spPr bwMode="auto">
            <a:xfrm flipH="1" flipV="1">
              <a:off x="-4046538" y="6253163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7" name="Line 265"/>
            <p:cNvSpPr>
              <a:spLocks noChangeShapeType="1"/>
            </p:cNvSpPr>
            <p:nvPr/>
          </p:nvSpPr>
          <p:spPr bwMode="auto">
            <a:xfrm flipV="1">
              <a:off x="-4046538" y="6226175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8" name="Line 266"/>
            <p:cNvSpPr>
              <a:spLocks noChangeShapeType="1"/>
            </p:cNvSpPr>
            <p:nvPr/>
          </p:nvSpPr>
          <p:spPr bwMode="auto">
            <a:xfrm flipV="1">
              <a:off x="-4044950" y="6203950"/>
              <a:ext cx="6350" cy="222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9" name="Line 267"/>
            <p:cNvSpPr>
              <a:spLocks noChangeShapeType="1"/>
            </p:cNvSpPr>
            <p:nvPr/>
          </p:nvSpPr>
          <p:spPr bwMode="auto">
            <a:xfrm flipV="1">
              <a:off x="-4038600" y="6191250"/>
              <a:ext cx="1588" cy="127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0" name="Line 268"/>
            <p:cNvSpPr>
              <a:spLocks noChangeShapeType="1"/>
            </p:cNvSpPr>
            <p:nvPr/>
          </p:nvSpPr>
          <p:spPr bwMode="auto">
            <a:xfrm flipH="1" flipV="1">
              <a:off x="-4041775" y="6181725"/>
              <a:ext cx="4763" cy="95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1" name="Line 269"/>
            <p:cNvSpPr>
              <a:spLocks noChangeShapeType="1"/>
            </p:cNvSpPr>
            <p:nvPr/>
          </p:nvSpPr>
          <p:spPr bwMode="auto">
            <a:xfrm flipH="1" flipV="1">
              <a:off x="-4049713" y="6176963"/>
              <a:ext cx="7938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2" name="Line 270"/>
            <p:cNvSpPr>
              <a:spLocks noChangeShapeType="1"/>
            </p:cNvSpPr>
            <p:nvPr/>
          </p:nvSpPr>
          <p:spPr bwMode="auto">
            <a:xfrm flipH="1">
              <a:off x="-4057650" y="6176963"/>
              <a:ext cx="7938" cy="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3" name="Line 271"/>
            <p:cNvSpPr>
              <a:spLocks noChangeShapeType="1"/>
            </p:cNvSpPr>
            <p:nvPr/>
          </p:nvSpPr>
          <p:spPr bwMode="auto">
            <a:xfrm flipH="1">
              <a:off x="-4067175" y="6176963"/>
              <a:ext cx="9525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4" name="Line 272"/>
            <p:cNvSpPr>
              <a:spLocks noChangeShapeType="1"/>
            </p:cNvSpPr>
            <p:nvPr/>
          </p:nvSpPr>
          <p:spPr bwMode="auto">
            <a:xfrm flipH="1">
              <a:off x="-4075113" y="6181725"/>
              <a:ext cx="7938" cy="79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5" name="Freeform 273"/>
            <p:cNvSpPr>
              <a:spLocks/>
            </p:cNvSpPr>
            <p:nvPr/>
          </p:nvSpPr>
          <p:spPr bwMode="auto">
            <a:xfrm>
              <a:off x="-4095750" y="4867275"/>
              <a:ext cx="427038" cy="1214438"/>
            </a:xfrm>
            <a:custGeom>
              <a:avLst/>
              <a:gdLst>
                <a:gd name="T0" fmla="*/ 178 w 269"/>
                <a:gd name="T1" fmla="*/ 2 h 765"/>
                <a:gd name="T2" fmla="*/ 232 w 269"/>
                <a:gd name="T3" fmla="*/ 12 h 765"/>
                <a:gd name="T4" fmla="*/ 264 w 269"/>
                <a:gd name="T5" fmla="*/ 31 h 765"/>
                <a:gd name="T6" fmla="*/ 268 w 269"/>
                <a:gd name="T7" fmla="*/ 95 h 765"/>
                <a:gd name="T8" fmla="*/ 269 w 269"/>
                <a:gd name="T9" fmla="*/ 180 h 765"/>
                <a:gd name="T10" fmla="*/ 261 w 269"/>
                <a:gd name="T11" fmla="*/ 288 h 765"/>
                <a:gd name="T12" fmla="*/ 252 w 269"/>
                <a:gd name="T13" fmla="*/ 355 h 765"/>
                <a:gd name="T14" fmla="*/ 247 w 269"/>
                <a:gd name="T15" fmla="*/ 401 h 765"/>
                <a:gd name="T16" fmla="*/ 243 w 269"/>
                <a:gd name="T17" fmla="*/ 442 h 765"/>
                <a:gd name="T18" fmla="*/ 242 w 269"/>
                <a:gd name="T19" fmla="*/ 487 h 765"/>
                <a:gd name="T20" fmla="*/ 240 w 269"/>
                <a:gd name="T21" fmla="*/ 553 h 765"/>
                <a:gd name="T22" fmla="*/ 240 w 269"/>
                <a:gd name="T23" fmla="*/ 615 h 765"/>
                <a:gd name="T24" fmla="*/ 241 w 269"/>
                <a:gd name="T25" fmla="*/ 665 h 765"/>
                <a:gd name="T26" fmla="*/ 243 w 269"/>
                <a:gd name="T27" fmla="*/ 722 h 765"/>
                <a:gd name="T28" fmla="*/ 223 w 269"/>
                <a:gd name="T29" fmla="*/ 763 h 765"/>
                <a:gd name="T30" fmla="*/ 186 w 269"/>
                <a:gd name="T31" fmla="*/ 765 h 765"/>
                <a:gd name="T32" fmla="*/ 164 w 269"/>
                <a:gd name="T33" fmla="*/ 761 h 765"/>
                <a:gd name="T34" fmla="*/ 160 w 269"/>
                <a:gd name="T35" fmla="*/ 745 h 765"/>
                <a:gd name="T36" fmla="*/ 155 w 269"/>
                <a:gd name="T37" fmla="*/ 705 h 765"/>
                <a:gd name="T38" fmla="*/ 146 w 269"/>
                <a:gd name="T39" fmla="*/ 621 h 765"/>
                <a:gd name="T40" fmla="*/ 142 w 269"/>
                <a:gd name="T41" fmla="*/ 519 h 765"/>
                <a:gd name="T42" fmla="*/ 149 w 269"/>
                <a:gd name="T43" fmla="*/ 429 h 765"/>
                <a:gd name="T44" fmla="*/ 147 w 269"/>
                <a:gd name="T45" fmla="*/ 360 h 765"/>
                <a:gd name="T46" fmla="*/ 142 w 269"/>
                <a:gd name="T47" fmla="*/ 285 h 765"/>
                <a:gd name="T48" fmla="*/ 137 w 269"/>
                <a:gd name="T49" fmla="*/ 194 h 765"/>
                <a:gd name="T50" fmla="*/ 132 w 269"/>
                <a:gd name="T51" fmla="*/ 301 h 765"/>
                <a:gd name="T52" fmla="*/ 127 w 269"/>
                <a:gd name="T53" fmla="*/ 380 h 765"/>
                <a:gd name="T54" fmla="*/ 124 w 269"/>
                <a:gd name="T55" fmla="*/ 438 h 765"/>
                <a:gd name="T56" fmla="*/ 128 w 269"/>
                <a:gd name="T57" fmla="*/ 494 h 765"/>
                <a:gd name="T58" fmla="*/ 128 w 269"/>
                <a:gd name="T59" fmla="*/ 571 h 765"/>
                <a:gd name="T60" fmla="*/ 123 w 269"/>
                <a:gd name="T61" fmla="*/ 646 h 765"/>
                <a:gd name="T62" fmla="*/ 118 w 269"/>
                <a:gd name="T63" fmla="*/ 701 h 765"/>
                <a:gd name="T64" fmla="*/ 115 w 269"/>
                <a:gd name="T65" fmla="*/ 729 h 765"/>
                <a:gd name="T66" fmla="*/ 113 w 269"/>
                <a:gd name="T67" fmla="*/ 747 h 765"/>
                <a:gd name="T68" fmla="*/ 93 w 269"/>
                <a:gd name="T69" fmla="*/ 760 h 765"/>
                <a:gd name="T70" fmla="*/ 61 w 269"/>
                <a:gd name="T71" fmla="*/ 759 h 765"/>
                <a:gd name="T72" fmla="*/ 43 w 269"/>
                <a:gd name="T73" fmla="*/ 739 h 765"/>
                <a:gd name="T74" fmla="*/ 42 w 269"/>
                <a:gd name="T75" fmla="*/ 693 h 765"/>
                <a:gd name="T76" fmla="*/ 38 w 269"/>
                <a:gd name="T77" fmla="*/ 633 h 765"/>
                <a:gd name="T78" fmla="*/ 36 w 269"/>
                <a:gd name="T79" fmla="*/ 575 h 765"/>
                <a:gd name="T80" fmla="*/ 33 w 269"/>
                <a:gd name="T81" fmla="*/ 533 h 765"/>
                <a:gd name="T82" fmla="*/ 31 w 269"/>
                <a:gd name="T83" fmla="*/ 489 h 765"/>
                <a:gd name="T84" fmla="*/ 23 w 269"/>
                <a:gd name="T85" fmla="*/ 426 h 765"/>
                <a:gd name="T86" fmla="*/ 13 w 269"/>
                <a:gd name="T87" fmla="*/ 360 h 765"/>
                <a:gd name="T88" fmla="*/ 5 w 269"/>
                <a:gd name="T89" fmla="*/ 279 h 765"/>
                <a:gd name="T90" fmla="*/ 0 w 269"/>
                <a:gd name="T91" fmla="*/ 160 h 765"/>
                <a:gd name="T92" fmla="*/ 0 w 269"/>
                <a:gd name="T93" fmla="*/ 67 h 765"/>
                <a:gd name="T94" fmla="*/ 14 w 269"/>
                <a:gd name="T95" fmla="*/ 21 h 765"/>
                <a:gd name="T96" fmla="*/ 59 w 269"/>
                <a:gd name="T97" fmla="*/ 7 h 765"/>
                <a:gd name="T98" fmla="*/ 118 w 269"/>
                <a:gd name="T99" fmla="*/ 0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9" h="765">
                  <a:moveTo>
                    <a:pt x="149" y="0"/>
                  </a:moveTo>
                  <a:lnTo>
                    <a:pt x="178" y="2"/>
                  </a:lnTo>
                  <a:lnTo>
                    <a:pt x="206" y="7"/>
                  </a:lnTo>
                  <a:lnTo>
                    <a:pt x="232" y="12"/>
                  </a:lnTo>
                  <a:lnTo>
                    <a:pt x="251" y="21"/>
                  </a:lnTo>
                  <a:lnTo>
                    <a:pt x="264" y="31"/>
                  </a:lnTo>
                  <a:lnTo>
                    <a:pt x="265" y="61"/>
                  </a:lnTo>
                  <a:lnTo>
                    <a:pt x="268" y="95"/>
                  </a:lnTo>
                  <a:lnTo>
                    <a:pt x="269" y="135"/>
                  </a:lnTo>
                  <a:lnTo>
                    <a:pt x="269" y="180"/>
                  </a:lnTo>
                  <a:lnTo>
                    <a:pt x="268" y="231"/>
                  </a:lnTo>
                  <a:lnTo>
                    <a:pt x="261" y="288"/>
                  </a:lnTo>
                  <a:lnTo>
                    <a:pt x="256" y="324"/>
                  </a:lnTo>
                  <a:lnTo>
                    <a:pt x="252" y="355"/>
                  </a:lnTo>
                  <a:lnTo>
                    <a:pt x="250" y="379"/>
                  </a:lnTo>
                  <a:lnTo>
                    <a:pt x="247" y="401"/>
                  </a:lnTo>
                  <a:lnTo>
                    <a:pt x="245" y="421"/>
                  </a:lnTo>
                  <a:lnTo>
                    <a:pt x="243" y="442"/>
                  </a:lnTo>
                  <a:lnTo>
                    <a:pt x="242" y="462"/>
                  </a:lnTo>
                  <a:lnTo>
                    <a:pt x="242" y="487"/>
                  </a:lnTo>
                  <a:lnTo>
                    <a:pt x="241" y="514"/>
                  </a:lnTo>
                  <a:lnTo>
                    <a:pt x="240" y="553"/>
                  </a:lnTo>
                  <a:lnTo>
                    <a:pt x="240" y="586"/>
                  </a:lnTo>
                  <a:lnTo>
                    <a:pt x="240" y="615"/>
                  </a:lnTo>
                  <a:lnTo>
                    <a:pt x="241" y="641"/>
                  </a:lnTo>
                  <a:lnTo>
                    <a:pt x="241" y="665"/>
                  </a:lnTo>
                  <a:lnTo>
                    <a:pt x="242" y="692"/>
                  </a:lnTo>
                  <a:lnTo>
                    <a:pt x="243" y="722"/>
                  </a:lnTo>
                  <a:lnTo>
                    <a:pt x="243" y="756"/>
                  </a:lnTo>
                  <a:lnTo>
                    <a:pt x="223" y="763"/>
                  </a:lnTo>
                  <a:lnTo>
                    <a:pt x="204" y="765"/>
                  </a:lnTo>
                  <a:lnTo>
                    <a:pt x="186" y="765"/>
                  </a:lnTo>
                  <a:lnTo>
                    <a:pt x="165" y="763"/>
                  </a:lnTo>
                  <a:lnTo>
                    <a:pt x="164" y="761"/>
                  </a:lnTo>
                  <a:lnTo>
                    <a:pt x="163" y="755"/>
                  </a:lnTo>
                  <a:lnTo>
                    <a:pt x="160" y="745"/>
                  </a:lnTo>
                  <a:lnTo>
                    <a:pt x="158" y="728"/>
                  </a:lnTo>
                  <a:lnTo>
                    <a:pt x="155" y="705"/>
                  </a:lnTo>
                  <a:lnTo>
                    <a:pt x="151" y="673"/>
                  </a:lnTo>
                  <a:lnTo>
                    <a:pt x="146" y="621"/>
                  </a:lnTo>
                  <a:lnTo>
                    <a:pt x="142" y="570"/>
                  </a:lnTo>
                  <a:lnTo>
                    <a:pt x="142" y="519"/>
                  </a:lnTo>
                  <a:lnTo>
                    <a:pt x="146" y="466"/>
                  </a:lnTo>
                  <a:lnTo>
                    <a:pt x="149" y="429"/>
                  </a:lnTo>
                  <a:lnTo>
                    <a:pt x="149" y="394"/>
                  </a:lnTo>
                  <a:lnTo>
                    <a:pt x="147" y="360"/>
                  </a:lnTo>
                  <a:lnTo>
                    <a:pt x="146" y="325"/>
                  </a:lnTo>
                  <a:lnTo>
                    <a:pt x="142" y="285"/>
                  </a:lnTo>
                  <a:lnTo>
                    <a:pt x="140" y="243"/>
                  </a:lnTo>
                  <a:lnTo>
                    <a:pt x="137" y="194"/>
                  </a:lnTo>
                  <a:lnTo>
                    <a:pt x="136" y="251"/>
                  </a:lnTo>
                  <a:lnTo>
                    <a:pt x="132" y="301"/>
                  </a:lnTo>
                  <a:lnTo>
                    <a:pt x="129" y="343"/>
                  </a:lnTo>
                  <a:lnTo>
                    <a:pt x="127" y="380"/>
                  </a:lnTo>
                  <a:lnTo>
                    <a:pt x="124" y="411"/>
                  </a:lnTo>
                  <a:lnTo>
                    <a:pt x="124" y="438"/>
                  </a:lnTo>
                  <a:lnTo>
                    <a:pt x="125" y="460"/>
                  </a:lnTo>
                  <a:lnTo>
                    <a:pt x="128" y="494"/>
                  </a:lnTo>
                  <a:lnTo>
                    <a:pt x="128" y="533"/>
                  </a:lnTo>
                  <a:lnTo>
                    <a:pt x="128" y="571"/>
                  </a:lnTo>
                  <a:lnTo>
                    <a:pt x="125" y="610"/>
                  </a:lnTo>
                  <a:lnTo>
                    <a:pt x="123" y="646"/>
                  </a:lnTo>
                  <a:lnTo>
                    <a:pt x="120" y="677"/>
                  </a:lnTo>
                  <a:lnTo>
                    <a:pt x="118" y="701"/>
                  </a:lnTo>
                  <a:lnTo>
                    <a:pt x="116" y="718"/>
                  </a:lnTo>
                  <a:lnTo>
                    <a:pt x="115" y="729"/>
                  </a:lnTo>
                  <a:lnTo>
                    <a:pt x="114" y="738"/>
                  </a:lnTo>
                  <a:lnTo>
                    <a:pt x="113" y="747"/>
                  </a:lnTo>
                  <a:lnTo>
                    <a:pt x="111" y="756"/>
                  </a:lnTo>
                  <a:lnTo>
                    <a:pt x="93" y="760"/>
                  </a:lnTo>
                  <a:lnTo>
                    <a:pt x="78" y="760"/>
                  </a:lnTo>
                  <a:lnTo>
                    <a:pt x="61" y="759"/>
                  </a:lnTo>
                  <a:lnTo>
                    <a:pt x="43" y="754"/>
                  </a:lnTo>
                  <a:lnTo>
                    <a:pt x="43" y="739"/>
                  </a:lnTo>
                  <a:lnTo>
                    <a:pt x="43" y="719"/>
                  </a:lnTo>
                  <a:lnTo>
                    <a:pt x="42" y="693"/>
                  </a:lnTo>
                  <a:lnTo>
                    <a:pt x="41" y="664"/>
                  </a:lnTo>
                  <a:lnTo>
                    <a:pt x="38" y="633"/>
                  </a:lnTo>
                  <a:lnTo>
                    <a:pt x="37" y="603"/>
                  </a:lnTo>
                  <a:lnTo>
                    <a:pt x="36" y="575"/>
                  </a:lnTo>
                  <a:lnTo>
                    <a:pt x="34" y="552"/>
                  </a:lnTo>
                  <a:lnTo>
                    <a:pt x="33" y="533"/>
                  </a:lnTo>
                  <a:lnTo>
                    <a:pt x="33" y="523"/>
                  </a:lnTo>
                  <a:lnTo>
                    <a:pt x="31" y="489"/>
                  </a:lnTo>
                  <a:lnTo>
                    <a:pt x="28" y="457"/>
                  </a:lnTo>
                  <a:lnTo>
                    <a:pt x="23" y="426"/>
                  </a:lnTo>
                  <a:lnTo>
                    <a:pt x="18" y="394"/>
                  </a:lnTo>
                  <a:lnTo>
                    <a:pt x="13" y="360"/>
                  </a:lnTo>
                  <a:lnTo>
                    <a:pt x="9" y="322"/>
                  </a:lnTo>
                  <a:lnTo>
                    <a:pt x="5" y="279"/>
                  </a:lnTo>
                  <a:lnTo>
                    <a:pt x="1" y="216"/>
                  </a:lnTo>
                  <a:lnTo>
                    <a:pt x="0" y="160"/>
                  </a:lnTo>
                  <a:lnTo>
                    <a:pt x="0" y="110"/>
                  </a:lnTo>
                  <a:lnTo>
                    <a:pt x="0" y="67"/>
                  </a:lnTo>
                  <a:lnTo>
                    <a:pt x="1" y="31"/>
                  </a:lnTo>
                  <a:lnTo>
                    <a:pt x="14" y="21"/>
                  </a:lnTo>
                  <a:lnTo>
                    <a:pt x="34" y="12"/>
                  </a:lnTo>
                  <a:lnTo>
                    <a:pt x="59" y="7"/>
                  </a:lnTo>
                  <a:lnTo>
                    <a:pt x="87" y="2"/>
                  </a:lnTo>
                  <a:lnTo>
                    <a:pt x="118" y="0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6" name="Freeform 274"/>
            <p:cNvSpPr>
              <a:spLocks/>
            </p:cNvSpPr>
            <p:nvPr/>
          </p:nvSpPr>
          <p:spPr bwMode="auto">
            <a:xfrm>
              <a:off x="-3883025" y="5176838"/>
              <a:ext cx="76200" cy="895350"/>
            </a:xfrm>
            <a:custGeom>
              <a:avLst/>
              <a:gdLst>
                <a:gd name="T0" fmla="*/ 8 w 48"/>
                <a:gd name="T1" fmla="*/ 0 h 564"/>
                <a:gd name="T2" fmla="*/ 12 w 48"/>
                <a:gd name="T3" fmla="*/ 13 h 564"/>
                <a:gd name="T4" fmla="*/ 15 w 48"/>
                <a:gd name="T5" fmla="*/ 29 h 564"/>
                <a:gd name="T6" fmla="*/ 21 w 48"/>
                <a:gd name="T7" fmla="*/ 61 h 564"/>
                <a:gd name="T8" fmla="*/ 26 w 48"/>
                <a:gd name="T9" fmla="*/ 95 h 564"/>
                <a:gd name="T10" fmla="*/ 30 w 48"/>
                <a:gd name="T11" fmla="*/ 131 h 564"/>
                <a:gd name="T12" fmla="*/ 34 w 48"/>
                <a:gd name="T13" fmla="*/ 169 h 564"/>
                <a:gd name="T14" fmla="*/ 35 w 48"/>
                <a:gd name="T15" fmla="*/ 203 h 564"/>
                <a:gd name="T16" fmla="*/ 35 w 48"/>
                <a:gd name="T17" fmla="*/ 235 h 564"/>
                <a:gd name="T18" fmla="*/ 34 w 48"/>
                <a:gd name="T19" fmla="*/ 249 h 564"/>
                <a:gd name="T20" fmla="*/ 34 w 48"/>
                <a:gd name="T21" fmla="*/ 263 h 564"/>
                <a:gd name="T22" fmla="*/ 33 w 48"/>
                <a:gd name="T23" fmla="*/ 276 h 564"/>
                <a:gd name="T24" fmla="*/ 33 w 48"/>
                <a:gd name="T25" fmla="*/ 331 h 564"/>
                <a:gd name="T26" fmla="*/ 34 w 48"/>
                <a:gd name="T27" fmla="*/ 353 h 564"/>
                <a:gd name="T28" fmla="*/ 38 w 48"/>
                <a:gd name="T29" fmla="*/ 423 h 564"/>
                <a:gd name="T30" fmla="*/ 41 w 48"/>
                <a:gd name="T31" fmla="*/ 469 h 564"/>
                <a:gd name="T32" fmla="*/ 44 w 48"/>
                <a:gd name="T33" fmla="*/ 510 h 564"/>
                <a:gd name="T34" fmla="*/ 45 w 48"/>
                <a:gd name="T35" fmla="*/ 527 h 564"/>
                <a:gd name="T36" fmla="*/ 47 w 48"/>
                <a:gd name="T37" fmla="*/ 542 h 564"/>
                <a:gd name="T38" fmla="*/ 47 w 48"/>
                <a:gd name="T39" fmla="*/ 555 h 564"/>
                <a:gd name="T40" fmla="*/ 48 w 48"/>
                <a:gd name="T41" fmla="*/ 564 h 564"/>
                <a:gd name="T42" fmla="*/ 39 w 48"/>
                <a:gd name="T43" fmla="*/ 564 h 564"/>
                <a:gd name="T44" fmla="*/ 38 w 48"/>
                <a:gd name="T45" fmla="*/ 555 h 564"/>
                <a:gd name="T46" fmla="*/ 38 w 48"/>
                <a:gd name="T47" fmla="*/ 542 h 564"/>
                <a:gd name="T48" fmla="*/ 36 w 48"/>
                <a:gd name="T49" fmla="*/ 527 h 564"/>
                <a:gd name="T50" fmla="*/ 35 w 48"/>
                <a:gd name="T51" fmla="*/ 510 h 564"/>
                <a:gd name="T52" fmla="*/ 33 w 48"/>
                <a:gd name="T53" fmla="*/ 469 h 564"/>
                <a:gd name="T54" fmla="*/ 29 w 48"/>
                <a:gd name="T55" fmla="*/ 423 h 564"/>
                <a:gd name="T56" fmla="*/ 25 w 48"/>
                <a:gd name="T57" fmla="*/ 353 h 564"/>
                <a:gd name="T58" fmla="*/ 24 w 48"/>
                <a:gd name="T59" fmla="*/ 331 h 564"/>
                <a:gd name="T60" fmla="*/ 24 w 48"/>
                <a:gd name="T61" fmla="*/ 276 h 564"/>
                <a:gd name="T62" fmla="*/ 25 w 48"/>
                <a:gd name="T63" fmla="*/ 262 h 564"/>
                <a:gd name="T64" fmla="*/ 25 w 48"/>
                <a:gd name="T65" fmla="*/ 249 h 564"/>
                <a:gd name="T66" fmla="*/ 26 w 48"/>
                <a:gd name="T67" fmla="*/ 235 h 564"/>
                <a:gd name="T68" fmla="*/ 26 w 48"/>
                <a:gd name="T69" fmla="*/ 203 h 564"/>
                <a:gd name="T70" fmla="*/ 25 w 48"/>
                <a:gd name="T71" fmla="*/ 169 h 564"/>
                <a:gd name="T72" fmla="*/ 21 w 48"/>
                <a:gd name="T73" fmla="*/ 131 h 564"/>
                <a:gd name="T74" fmla="*/ 17 w 48"/>
                <a:gd name="T75" fmla="*/ 95 h 564"/>
                <a:gd name="T76" fmla="*/ 12 w 48"/>
                <a:gd name="T77" fmla="*/ 61 h 564"/>
                <a:gd name="T78" fmla="*/ 6 w 48"/>
                <a:gd name="T79" fmla="*/ 29 h 564"/>
                <a:gd name="T80" fmla="*/ 3 w 48"/>
                <a:gd name="T81" fmla="*/ 13 h 564"/>
                <a:gd name="T82" fmla="*/ 0 w 48"/>
                <a:gd name="T83" fmla="*/ 2 h 564"/>
                <a:gd name="T84" fmla="*/ 8 w 48"/>
                <a:gd name="T85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564">
                  <a:moveTo>
                    <a:pt x="8" y="0"/>
                  </a:moveTo>
                  <a:lnTo>
                    <a:pt x="12" y="13"/>
                  </a:lnTo>
                  <a:lnTo>
                    <a:pt x="15" y="29"/>
                  </a:lnTo>
                  <a:lnTo>
                    <a:pt x="21" y="61"/>
                  </a:lnTo>
                  <a:lnTo>
                    <a:pt x="26" y="95"/>
                  </a:lnTo>
                  <a:lnTo>
                    <a:pt x="30" y="131"/>
                  </a:lnTo>
                  <a:lnTo>
                    <a:pt x="34" y="169"/>
                  </a:lnTo>
                  <a:lnTo>
                    <a:pt x="35" y="203"/>
                  </a:lnTo>
                  <a:lnTo>
                    <a:pt x="35" y="235"/>
                  </a:lnTo>
                  <a:lnTo>
                    <a:pt x="34" y="249"/>
                  </a:lnTo>
                  <a:lnTo>
                    <a:pt x="34" y="263"/>
                  </a:lnTo>
                  <a:lnTo>
                    <a:pt x="33" y="276"/>
                  </a:lnTo>
                  <a:lnTo>
                    <a:pt x="33" y="331"/>
                  </a:lnTo>
                  <a:lnTo>
                    <a:pt x="34" y="353"/>
                  </a:lnTo>
                  <a:lnTo>
                    <a:pt x="38" y="423"/>
                  </a:lnTo>
                  <a:lnTo>
                    <a:pt x="41" y="469"/>
                  </a:lnTo>
                  <a:lnTo>
                    <a:pt x="44" y="510"/>
                  </a:lnTo>
                  <a:lnTo>
                    <a:pt x="45" y="527"/>
                  </a:lnTo>
                  <a:lnTo>
                    <a:pt x="47" y="542"/>
                  </a:lnTo>
                  <a:lnTo>
                    <a:pt x="47" y="555"/>
                  </a:lnTo>
                  <a:lnTo>
                    <a:pt x="48" y="564"/>
                  </a:lnTo>
                  <a:lnTo>
                    <a:pt x="39" y="564"/>
                  </a:lnTo>
                  <a:lnTo>
                    <a:pt x="38" y="555"/>
                  </a:lnTo>
                  <a:lnTo>
                    <a:pt x="38" y="542"/>
                  </a:lnTo>
                  <a:lnTo>
                    <a:pt x="36" y="527"/>
                  </a:lnTo>
                  <a:lnTo>
                    <a:pt x="35" y="510"/>
                  </a:lnTo>
                  <a:lnTo>
                    <a:pt x="33" y="469"/>
                  </a:lnTo>
                  <a:lnTo>
                    <a:pt x="29" y="423"/>
                  </a:lnTo>
                  <a:lnTo>
                    <a:pt x="25" y="353"/>
                  </a:lnTo>
                  <a:lnTo>
                    <a:pt x="24" y="331"/>
                  </a:lnTo>
                  <a:lnTo>
                    <a:pt x="24" y="276"/>
                  </a:lnTo>
                  <a:lnTo>
                    <a:pt x="25" y="262"/>
                  </a:lnTo>
                  <a:lnTo>
                    <a:pt x="25" y="249"/>
                  </a:lnTo>
                  <a:lnTo>
                    <a:pt x="26" y="235"/>
                  </a:lnTo>
                  <a:lnTo>
                    <a:pt x="26" y="203"/>
                  </a:lnTo>
                  <a:lnTo>
                    <a:pt x="25" y="169"/>
                  </a:lnTo>
                  <a:lnTo>
                    <a:pt x="21" y="131"/>
                  </a:lnTo>
                  <a:lnTo>
                    <a:pt x="17" y="95"/>
                  </a:lnTo>
                  <a:lnTo>
                    <a:pt x="12" y="61"/>
                  </a:lnTo>
                  <a:lnTo>
                    <a:pt x="6" y="29"/>
                  </a:lnTo>
                  <a:lnTo>
                    <a:pt x="3" y="13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7" name="Freeform 275"/>
            <p:cNvSpPr>
              <a:spLocks/>
            </p:cNvSpPr>
            <p:nvPr/>
          </p:nvSpPr>
          <p:spPr bwMode="auto">
            <a:xfrm>
              <a:off x="-4200525" y="4252913"/>
              <a:ext cx="166688" cy="490538"/>
            </a:xfrm>
            <a:custGeom>
              <a:avLst/>
              <a:gdLst>
                <a:gd name="T0" fmla="*/ 82 w 105"/>
                <a:gd name="T1" fmla="*/ 0 h 309"/>
                <a:gd name="T2" fmla="*/ 90 w 105"/>
                <a:gd name="T3" fmla="*/ 3 h 309"/>
                <a:gd name="T4" fmla="*/ 98 w 105"/>
                <a:gd name="T5" fmla="*/ 10 h 309"/>
                <a:gd name="T6" fmla="*/ 102 w 105"/>
                <a:gd name="T7" fmla="*/ 23 h 309"/>
                <a:gd name="T8" fmla="*/ 105 w 105"/>
                <a:gd name="T9" fmla="*/ 40 h 309"/>
                <a:gd name="T10" fmla="*/ 105 w 105"/>
                <a:gd name="T11" fmla="*/ 62 h 309"/>
                <a:gd name="T12" fmla="*/ 103 w 105"/>
                <a:gd name="T13" fmla="*/ 88 h 309"/>
                <a:gd name="T14" fmla="*/ 97 w 105"/>
                <a:gd name="T15" fmla="*/ 121 h 309"/>
                <a:gd name="T16" fmla="*/ 88 w 105"/>
                <a:gd name="T17" fmla="*/ 158 h 309"/>
                <a:gd name="T18" fmla="*/ 80 w 105"/>
                <a:gd name="T19" fmla="*/ 185 h 309"/>
                <a:gd name="T20" fmla="*/ 71 w 105"/>
                <a:gd name="T21" fmla="*/ 213 h 309"/>
                <a:gd name="T22" fmla="*/ 63 w 105"/>
                <a:gd name="T23" fmla="*/ 239 h 309"/>
                <a:gd name="T24" fmla="*/ 55 w 105"/>
                <a:gd name="T25" fmla="*/ 263 h 309"/>
                <a:gd name="T26" fmla="*/ 46 w 105"/>
                <a:gd name="T27" fmla="*/ 284 h 309"/>
                <a:gd name="T28" fmla="*/ 37 w 105"/>
                <a:gd name="T29" fmla="*/ 299 h 309"/>
                <a:gd name="T30" fmla="*/ 29 w 105"/>
                <a:gd name="T31" fmla="*/ 308 h 309"/>
                <a:gd name="T32" fmla="*/ 18 w 105"/>
                <a:gd name="T33" fmla="*/ 309 h 309"/>
                <a:gd name="T34" fmla="*/ 9 w 105"/>
                <a:gd name="T35" fmla="*/ 304 h 309"/>
                <a:gd name="T36" fmla="*/ 4 w 105"/>
                <a:gd name="T37" fmla="*/ 292 h 309"/>
                <a:gd name="T38" fmla="*/ 0 w 105"/>
                <a:gd name="T39" fmla="*/ 276 h 309"/>
                <a:gd name="T40" fmla="*/ 0 w 105"/>
                <a:gd name="T41" fmla="*/ 254 h 309"/>
                <a:gd name="T42" fmla="*/ 2 w 105"/>
                <a:gd name="T43" fmla="*/ 228 h 309"/>
                <a:gd name="T44" fmla="*/ 4 w 105"/>
                <a:gd name="T45" fmla="*/ 200 h 309"/>
                <a:gd name="T46" fmla="*/ 8 w 105"/>
                <a:gd name="T47" fmla="*/ 168 h 309"/>
                <a:gd name="T48" fmla="*/ 13 w 105"/>
                <a:gd name="T49" fmla="*/ 135 h 309"/>
                <a:gd name="T50" fmla="*/ 18 w 105"/>
                <a:gd name="T51" fmla="*/ 104 h 309"/>
                <a:gd name="T52" fmla="*/ 26 w 105"/>
                <a:gd name="T53" fmla="*/ 76 h 309"/>
                <a:gd name="T54" fmla="*/ 34 w 105"/>
                <a:gd name="T55" fmla="*/ 53 h 309"/>
                <a:gd name="T56" fmla="*/ 44 w 105"/>
                <a:gd name="T57" fmla="*/ 33 h 309"/>
                <a:gd name="T58" fmla="*/ 54 w 105"/>
                <a:gd name="T59" fmla="*/ 18 h 309"/>
                <a:gd name="T60" fmla="*/ 63 w 105"/>
                <a:gd name="T61" fmla="*/ 8 h 309"/>
                <a:gd name="T62" fmla="*/ 73 w 105"/>
                <a:gd name="T63" fmla="*/ 1 h 309"/>
                <a:gd name="T64" fmla="*/ 82 w 105"/>
                <a:gd name="T65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309">
                  <a:moveTo>
                    <a:pt x="82" y="0"/>
                  </a:moveTo>
                  <a:lnTo>
                    <a:pt x="90" y="3"/>
                  </a:lnTo>
                  <a:lnTo>
                    <a:pt x="98" y="10"/>
                  </a:lnTo>
                  <a:lnTo>
                    <a:pt x="102" y="23"/>
                  </a:lnTo>
                  <a:lnTo>
                    <a:pt x="105" y="40"/>
                  </a:lnTo>
                  <a:lnTo>
                    <a:pt x="105" y="62"/>
                  </a:lnTo>
                  <a:lnTo>
                    <a:pt x="103" y="88"/>
                  </a:lnTo>
                  <a:lnTo>
                    <a:pt x="97" y="121"/>
                  </a:lnTo>
                  <a:lnTo>
                    <a:pt x="88" y="158"/>
                  </a:lnTo>
                  <a:lnTo>
                    <a:pt x="80" y="185"/>
                  </a:lnTo>
                  <a:lnTo>
                    <a:pt x="71" y="213"/>
                  </a:lnTo>
                  <a:lnTo>
                    <a:pt x="63" y="239"/>
                  </a:lnTo>
                  <a:lnTo>
                    <a:pt x="55" y="263"/>
                  </a:lnTo>
                  <a:lnTo>
                    <a:pt x="46" y="284"/>
                  </a:lnTo>
                  <a:lnTo>
                    <a:pt x="37" y="299"/>
                  </a:lnTo>
                  <a:lnTo>
                    <a:pt x="29" y="308"/>
                  </a:lnTo>
                  <a:lnTo>
                    <a:pt x="18" y="309"/>
                  </a:lnTo>
                  <a:lnTo>
                    <a:pt x="9" y="304"/>
                  </a:lnTo>
                  <a:lnTo>
                    <a:pt x="4" y="292"/>
                  </a:lnTo>
                  <a:lnTo>
                    <a:pt x="0" y="276"/>
                  </a:lnTo>
                  <a:lnTo>
                    <a:pt x="0" y="254"/>
                  </a:lnTo>
                  <a:lnTo>
                    <a:pt x="2" y="228"/>
                  </a:lnTo>
                  <a:lnTo>
                    <a:pt x="4" y="200"/>
                  </a:lnTo>
                  <a:lnTo>
                    <a:pt x="8" y="168"/>
                  </a:lnTo>
                  <a:lnTo>
                    <a:pt x="13" y="135"/>
                  </a:lnTo>
                  <a:lnTo>
                    <a:pt x="18" y="104"/>
                  </a:lnTo>
                  <a:lnTo>
                    <a:pt x="26" y="76"/>
                  </a:lnTo>
                  <a:lnTo>
                    <a:pt x="34" y="53"/>
                  </a:lnTo>
                  <a:lnTo>
                    <a:pt x="44" y="33"/>
                  </a:lnTo>
                  <a:lnTo>
                    <a:pt x="54" y="18"/>
                  </a:lnTo>
                  <a:lnTo>
                    <a:pt x="63" y="8"/>
                  </a:lnTo>
                  <a:lnTo>
                    <a:pt x="73" y="1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8" name="Freeform 276"/>
            <p:cNvSpPr>
              <a:spLocks/>
            </p:cNvSpPr>
            <p:nvPr/>
          </p:nvSpPr>
          <p:spPr bwMode="auto">
            <a:xfrm>
              <a:off x="-4222750" y="4635500"/>
              <a:ext cx="100013" cy="466725"/>
            </a:xfrm>
            <a:custGeom>
              <a:avLst/>
              <a:gdLst>
                <a:gd name="T0" fmla="*/ 45 w 63"/>
                <a:gd name="T1" fmla="*/ 0 h 294"/>
                <a:gd name="T2" fmla="*/ 51 w 63"/>
                <a:gd name="T3" fmla="*/ 3 h 294"/>
                <a:gd name="T4" fmla="*/ 57 w 63"/>
                <a:gd name="T5" fmla="*/ 10 h 294"/>
                <a:gd name="T6" fmla="*/ 60 w 63"/>
                <a:gd name="T7" fmla="*/ 25 h 294"/>
                <a:gd name="T8" fmla="*/ 62 w 63"/>
                <a:gd name="T9" fmla="*/ 44 h 294"/>
                <a:gd name="T10" fmla="*/ 63 w 63"/>
                <a:gd name="T11" fmla="*/ 68 h 294"/>
                <a:gd name="T12" fmla="*/ 60 w 63"/>
                <a:gd name="T13" fmla="*/ 99 h 294"/>
                <a:gd name="T14" fmla="*/ 55 w 63"/>
                <a:gd name="T15" fmla="*/ 137 h 294"/>
                <a:gd name="T16" fmla="*/ 53 w 63"/>
                <a:gd name="T17" fmla="*/ 158 h 294"/>
                <a:gd name="T18" fmla="*/ 49 w 63"/>
                <a:gd name="T19" fmla="*/ 182 h 294"/>
                <a:gd name="T20" fmla="*/ 45 w 63"/>
                <a:gd name="T21" fmla="*/ 208 h 294"/>
                <a:gd name="T22" fmla="*/ 41 w 63"/>
                <a:gd name="T23" fmla="*/ 234 h 294"/>
                <a:gd name="T24" fmla="*/ 36 w 63"/>
                <a:gd name="T25" fmla="*/ 257 h 294"/>
                <a:gd name="T26" fmla="*/ 31 w 63"/>
                <a:gd name="T27" fmla="*/ 276 h 294"/>
                <a:gd name="T28" fmla="*/ 25 w 63"/>
                <a:gd name="T29" fmla="*/ 289 h 294"/>
                <a:gd name="T30" fmla="*/ 19 w 63"/>
                <a:gd name="T31" fmla="*/ 294 h 294"/>
                <a:gd name="T32" fmla="*/ 13 w 63"/>
                <a:gd name="T33" fmla="*/ 291 h 294"/>
                <a:gd name="T34" fmla="*/ 9 w 63"/>
                <a:gd name="T35" fmla="*/ 282 h 294"/>
                <a:gd name="T36" fmla="*/ 5 w 63"/>
                <a:gd name="T37" fmla="*/ 268 h 294"/>
                <a:gd name="T38" fmla="*/ 3 w 63"/>
                <a:gd name="T39" fmla="*/ 249 h 294"/>
                <a:gd name="T40" fmla="*/ 1 w 63"/>
                <a:gd name="T41" fmla="*/ 227 h 294"/>
                <a:gd name="T42" fmla="*/ 1 w 63"/>
                <a:gd name="T43" fmla="*/ 204 h 294"/>
                <a:gd name="T44" fmla="*/ 0 w 63"/>
                <a:gd name="T45" fmla="*/ 180 h 294"/>
                <a:gd name="T46" fmla="*/ 0 w 63"/>
                <a:gd name="T47" fmla="*/ 155 h 294"/>
                <a:gd name="T48" fmla="*/ 1 w 63"/>
                <a:gd name="T49" fmla="*/ 134 h 294"/>
                <a:gd name="T50" fmla="*/ 3 w 63"/>
                <a:gd name="T51" fmla="*/ 104 h 294"/>
                <a:gd name="T52" fmla="*/ 7 w 63"/>
                <a:gd name="T53" fmla="*/ 78 h 294"/>
                <a:gd name="T54" fmla="*/ 12 w 63"/>
                <a:gd name="T55" fmla="*/ 55 h 294"/>
                <a:gd name="T56" fmla="*/ 17 w 63"/>
                <a:gd name="T57" fmla="*/ 36 h 294"/>
                <a:gd name="T58" fmla="*/ 23 w 63"/>
                <a:gd name="T59" fmla="*/ 21 h 294"/>
                <a:gd name="T60" fmla="*/ 31 w 63"/>
                <a:gd name="T61" fmla="*/ 9 h 294"/>
                <a:gd name="T62" fmla="*/ 37 w 63"/>
                <a:gd name="T63" fmla="*/ 3 h 294"/>
                <a:gd name="T64" fmla="*/ 45 w 63"/>
                <a:gd name="T65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94">
                  <a:moveTo>
                    <a:pt x="45" y="0"/>
                  </a:moveTo>
                  <a:lnTo>
                    <a:pt x="51" y="3"/>
                  </a:lnTo>
                  <a:lnTo>
                    <a:pt x="57" y="10"/>
                  </a:lnTo>
                  <a:lnTo>
                    <a:pt x="60" y="25"/>
                  </a:lnTo>
                  <a:lnTo>
                    <a:pt x="62" y="44"/>
                  </a:lnTo>
                  <a:lnTo>
                    <a:pt x="63" y="68"/>
                  </a:lnTo>
                  <a:lnTo>
                    <a:pt x="60" y="99"/>
                  </a:lnTo>
                  <a:lnTo>
                    <a:pt x="55" y="137"/>
                  </a:lnTo>
                  <a:lnTo>
                    <a:pt x="53" y="158"/>
                  </a:lnTo>
                  <a:lnTo>
                    <a:pt x="49" y="182"/>
                  </a:lnTo>
                  <a:lnTo>
                    <a:pt x="45" y="208"/>
                  </a:lnTo>
                  <a:lnTo>
                    <a:pt x="41" y="234"/>
                  </a:lnTo>
                  <a:lnTo>
                    <a:pt x="36" y="257"/>
                  </a:lnTo>
                  <a:lnTo>
                    <a:pt x="31" y="276"/>
                  </a:lnTo>
                  <a:lnTo>
                    <a:pt x="25" y="289"/>
                  </a:lnTo>
                  <a:lnTo>
                    <a:pt x="19" y="294"/>
                  </a:lnTo>
                  <a:lnTo>
                    <a:pt x="13" y="291"/>
                  </a:lnTo>
                  <a:lnTo>
                    <a:pt x="9" y="282"/>
                  </a:lnTo>
                  <a:lnTo>
                    <a:pt x="5" y="268"/>
                  </a:lnTo>
                  <a:lnTo>
                    <a:pt x="3" y="249"/>
                  </a:lnTo>
                  <a:lnTo>
                    <a:pt x="1" y="227"/>
                  </a:lnTo>
                  <a:lnTo>
                    <a:pt x="1" y="204"/>
                  </a:lnTo>
                  <a:lnTo>
                    <a:pt x="0" y="180"/>
                  </a:lnTo>
                  <a:lnTo>
                    <a:pt x="0" y="155"/>
                  </a:lnTo>
                  <a:lnTo>
                    <a:pt x="1" y="134"/>
                  </a:lnTo>
                  <a:lnTo>
                    <a:pt x="3" y="104"/>
                  </a:lnTo>
                  <a:lnTo>
                    <a:pt x="7" y="78"/>
                  </a:lnTo>
                  <a:lnTo>
                    <a:pt x="12" y="55"/>
                  </a:lnTo>
                  <a:lnTo>
                    <a:pt x="17" y="36"/>
                  </a:lnTo>
                  <a:lnTo>
                    <a:pt x="23" y="21"/>
                  </a:lnTo>
                  <a:lnTo>
                    <a:pt x="31" y="9"/>
                  </a:lnTo>
                  <a:lnTo>
                    <a:pt x="37" y="3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9" name="Freeform 277"/>
            <p:cNvSpPr>
              <a:spLocks/>
            </p:cNvSpPr>
            <p:nvPr/>
          </p:nvSpPr>
          <p:spPr bwMode="auto">
            <a:xfrm>
              <a:off x="-3732213" y="4248150"/>
              <a:ext cx="257175" cy="465138"/>
            </a:xfrm>
            <a:custGeom>
              <a:avLst/>
              <a:gdLst>
                <a:gd name="T0" fmla="*/ 18 w 162"/>
                <a:gd name="T1" fmla="*/ 0 h 293"/>
                <a:gd name="T2" fmla="*/ 30 w 162"/>
                <a:gd name="T3" fmla="*/ 2 h 293"/>
                <a:gd name="T4" fmla="*/ 43 w 162"/>
                <a:gd name="T5" fmla="*/ 7 h 293"/>
                <a:gd name="T6" fmla="*/ 57 w 162"/>
                <a:gd name="T7" fmla="*/ 18 h 293"/>
                <a:gd name="T8" fmla="*/ 72 w 162"/>
                <a:gd name="T9" fmla="*/ 35 h 293"/>
                <a:gd name="T10" fmla="*/ 89 w 162"/>
                <a:gd name="T11" fmla="*/ 57 h 293"/>
                <a:gd name="T12" fmla="*/ 104 w 162"/>
                <a:gd name="T13" fmla="*/ 84 h 293"/>
                <a:gd name="T14" fmla="*/ 120 w 162"/>
                <a:gd name="T15" fmla="*/ 117 h 293"/>
                <a:gd name="T16" fmla="*/ 131 w 162"/>
                <a:gd name="T17" fmla="*/ 145 h 293"/>
                <a:gd name="T18" fmla="*/ 140 w 162"/>
                <a:gd name="T19" fmla="*/ 172 h 293"/>
                <a:gd name="T20" fmla="*/ 149 w 162"/>
                <a:gd name="T21" fmla="*/ 198 h 293"/>
                <a:gd name="T22" fmla="*/ 156 w 162"/>
                <a:gd name="T23" fmla="*/ 221 h 293"/>
                <a:gd name="T24" fmla="*/ 159 w 162"/>
                <a:gd name="T25" fmla="*/ 243 h 293"/>
                <a:gd name="T26" fmla="*/ 162 w 162"/>
                <a:gd name="T27" fmla="*/ 261 h 293"/>
                <a:gd name="T28" fmla="*/ 161 w 162"/>
                <a:gd name="T29" fmla="*/ 276 h 293"/>
                <a:gd name="T30" fmla="*/ 157 w 162"/>
                <a:gd name="T31" fmla="*/ 287 h 293"/>
                <a:gd name="T32" fmla="*/ 150 w 162"/>
                <a:gd name="T33" fmla="*/ 293 h 293"/>
                <a:gd name="T34" fmla="*/ 140 w 162"/>
                <a:gd name="T35" fmla="*/ 293 h 293"/>
                <a:gd name="T36" fmla="*/ 130 w 162"/>
                <a:gd name="T37" fmla="*/ 287 h 293"/>
                <a:gd name="T38" fmla="*/ 118 w 162"/>
                <a:gd name="T39" fmla="*/ 275 h 293"/>
                <a:gd name="T40" fmla="*/ 106 w 162"/>
                <a:gd name="T41" fmla="*/ 257 h 293"/>
                <a:gd name="T42" fmla="*/ 93 w 162"/>
                <a:gd name="T43" fmla="*/ 236 h 293"/>
                <a:gd name="T44" fmla="*/ 79 w 162"/>
                <a:gd name="T45" fmla="*/ 213 h 293"/>
                <a:gd name="T46" fmla="*/ 65 w 162"/>
                <a:gd name="T47" fmla="*/ 189 h 293"/>
                <a:gd name="T48" fmla="*/ 50 w 162"/>
                <a:gd name="T49" fmla="*/ 165 h 293"/>
                <a:gd name="T50" fmla="*/ 30 w 162"/>
                <a:gd name="T51" fmla="*/ 129 h 293"/>
                <a:gd name="T52" fmla="*/ 16 w 162"/>
                <a:gd name="T53" fmla="*/ 97 h 293"/>
                <a:gd name="T54" fmla="*/ 6 w 162"/>
                <a:gd name="T55" fmla="*/ 70 h 293"/>
                <a:gd name="T56" fmla="*/ 0 w 162"/>
                <a:gd name="T57" fmla="*/ 47 h 293"/>
                <a:gd name="T58" fmla="*/ 0 w 162"/>
                <a:gd name="T59" fmla="*/ 27 h 293"/>
                <a:gd name="T60" fmla="*/ 3 w 162"/>
                <a:gd name="T61" fmla="*/ 15 h 293"/>
                <a:gd name="T62" fmla="*/ 9 w 162"/>
                <a:gd name="T63" fmla="*/ 6 h 293"/>
                <a:gd name="T64" fmla="*/ 18 w 162"/>
                <a:gd name="T65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293">
                  <a:moveTo>
                    <a:pt x="18" y="0"/>
                  </a:moveTo>
                  <a:lnTo>
                    <a:pt x="30" y="2"/>
                  </a:lnTo>
                  <a:lnTo>
                    <a:pt x="43" y="7"/>
                  </a:lnTo>
                  <a:lnTo>
                    <a:pt x="57" y="18"/>
                  </a:lnTo>
                  <a:lnTo>
                    <a:pt x="72" y="35"/>
                  </a:lnTo>
                  <a:lnTo>
                    <a:pt x="89" y="57"/>
                  </a:lnTo>
                  <a:lnTo>
                    <a:pt x="104" y="84"/>
                  </a:lnTo>
                  <a:lnTo>
                    <a:pt x="120" y="117"/>
                  </a:lnTo>
                  <a:lnTo>
                    <a:pt x="131" y="145"/>
                  </a:lnTo>
                  <a:lnTo>
                    <a:pt x="140" y="172"/>
                  </a:lnTo>
                  <a:lnTo>
                    <a:pt x="149" y="198"/>
                  </a:lnTo>
                  <a:lnTo>
                    <a:pt x="156" y="221"/>
                  </a:lnTo>
                  <a:lnTo>
                    <a:pt x="159" y="243"/>
                  </a:lnTo>
                  <a:lnTo>
                    <a:pt x="162" y="261"/>
                  </a:lnTo>
                  <a:lnTo>
                    <a:pt x="161" y="276"/>
                  </a:lnTo>
                  <a:lnTo>
                    <a:pt x="157" y="287"/>
                  </a:lnTo>
                  <a:lnTo>
                    <a:pt x="150" y="293"/>
                  </a:lnTo>
                  <a:lnTo>
                    <a:pt x="140" y="293"/>
                  </a:lnTo>
                  <a:lnTo>
                    <a:pt x="130" y="287"/>
                  </a:lnTo>
                  <a:lnTo>
                    <a:pt x="118" y="275"/>
                  </a:lnTo>
                  <a:lnTo>
                    <a:pt x="106" y="257"/>
                  </a:lnTo>
                  <a:lnTo>
                    <a:pt x="93" y="236"/>
                  </a:lnTo>
                  <a:lnTo>
                    <a:pt x="79" y="213"/>
                  </a:lnTo>
                  <a:lnTo>
                    <a:pt x="65" y="189"/>
                  </a:lnTo>
                  <a:lnTo>
                    <a:pt x="50" y="165"/>
                  </a:lnTo>
                  <a:lnTo>
                    <a:pt x="30" y="129"/>
                  </a:lnTo>
                  <a:lnTo>
                    <a:pt x="16" y="97"/>
                  </a:lnTo>
                  <a:lnTo>
                    <a:pt x="6" y="70"/>
                  </a:lnTo>
                  <a:lnTo>
                    <a:pt x="0" y="47"/>
                  </a:lnTo>
                  <a:lnTo>
                    <a:pt x="0" y="27"/>
                  </a:lnTo>
                  <a:lnTo>
                    <a:pt x="3" y="15"/>
                  </a:lnTo>
                  <a:lnTo>
                    <a:pt x="9" y="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0" name="Freeform 278"/>
            <p:cNvSpPr>
              <a:spLocks/>
            </p:cNvSpPr>
            <p:nvPr/>
          </p:nvSpPr>
          <p:spPr bwMode="auto">
            <a:xfrm>
              <a:off x="-3938588" y="4032250"/>
              <a:ext cx="111125" cy="276225"/>
            </a:xfrm>
            <a:custGeom>
              <a:avLst/>
              <a:gdLst>
                <a:gd name="T0" fmla="*/ 0 w 70"/>
                <a:gd name="T1" fmla="*/ 0 h 174"/>
                <a:gd name="T2" fmla="*/ 70 w 70"/>
                <a:gd name="T3" fmla="*/ 0 h 174"/>
                <a:gd name="T4" fmla="*/ 70 w 70"/>
                <a:gd name="T5" fmla="*/ 138 h 174"/>
                <a:gd name="T6" fmla="*/ 68 w 70"/>
                <a:gd name="T7" fmla="*/ 152 h 174"/>
                <a:gd name="T8" fmla="*/ 60 w 70"/>
                <a:gd name="T9" fmla="*/ 162 h 174"/>
                <a:gd name="T10" fmla="*/ 48 w 70"/>
                <a:gd name="T11" fmla="*/ 170 h 174"/>
                <a:gd name="T12" fmla="*/ 35 w 70"/>
                <a:gd name="T13" fmla="*/ 174 h 174"/>
                <a:gd name="T14" fmla="*/ 35 w 70"/>
                <a:gd name="T15" fmla="*/ 174 h 174"/>
                <a:gd name="T16" fmla="*/ 21 w 70"/>
                <a:gd name="T17" fmla="*/ 170 h 174"/>
                <a:gd name="T18" fmla="*/ 10 w 70"/>
                <a:gd name="T19" fmla="*/ 162 h 174"/>
                <a:gd name="T20" fmla="*/ 2 w 70"/>
                <a:gd name="T21" fmla="*/ 152 h 174"/>
                <a:gd name="T22" fmla="*/ 0 w 70"/>
                <a:gd name="T23" fmla="*/ 138 h 174"/>
                <a:gd name="T24" fmla="*/ 0 w 70"/>
                <a:gd name="T2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174">
                  <a:moveTo>
                    <a:pt x="0" y="0"/>
                  </a:moveTo>
                  <a:lnTo>
                    <a:pt x="70" y="0"/>
                  </a:lnTo>
                  <a:lnTo>
                    <a:pt x="70" y="138"/>
                  </a:lnTo>
                  <a:lnTo>
                    <a:pt x="68" y="152"/>
                  </a:lnTo>
                  <a:lnTo>
                    <a:pt x="60" y="162"/>
                  </a:lnTo>
                  <a:lnTo>
                    <a:pt x="48" y="170"/>
                  </a:lnTo>
                  <a:lnTo>
                    <a:pt x="35" y="174"/>
                  </a:lnTo>
                  <a:lnTo>
                    <a:pt x="35" y="174"/>
                  </a:lnTo>
                  <a:lnTo>
                    <a:pt x="21" y="170"/>
                  </a:lnTo>
                  <a:lnTo>
                    <a:pt x="10" y="162"/>
                  </a:lnTo>
                  <a:lnTo>
                    <a:pt x="2" y="152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1" name="Freeform 279"/>
            <p:cNvSpPr>
              <a:spLocks/>
            </p:cNvSpPr>
            <p:nvPr/>
          </p:nvSpPr>
          <p:spPr bwMode="auto">
            <a:xfrm>
              <a:off x="-4056063" y="3679825"/>
              <a:ext cx="344488" cy="466725"/>
            </a:xfrm>
            <a:custGeom>
              <a:avLst/>
              <a:gdLst>
                <a:gd name="T0" fmla="*/ 109 w 217"/>
                <a:gd name="T1" fmla="*/ 0 h 294"/>
                <a:gd name="T2" fmla="*/ 135 w 217"/>
                <a:gd name="T3" fmla="*/ 3 h 294"/>
                <a:gd name="T4" fmla="*/ 157 w 217"/>
                <a:gd name="T5" fmla="*/ 11 h 294"/>
                <a:gd name="T6" fmla="*/ 175 w 217"/>
                <a:gd name="T7" fmla="*/ 22 h 294"/>
                <a:gd name="T8" fmla="*/ 189 w 217"/>
                <a:gd name="T9" fmla="*/ 38 h 294"/>
                <a:gd name="T10" fmla="*/ 201 w 217"/>
                <a:gd name="T11" fmla="*/ 56 h 294"/>
                <a:gd name="T12" fmla="*/ 208 w 217"/>
                <a:gd name="T13" fmla="*/ 76 h 294"/>
                <a:gd name="T14" fmla="*/ 213 w 217"/>
                <a:gd name="T15" fmla="*/ 99 h 294"/>
                <a:gd name="T16" fmla="*/ 217 w 217"/>
                <a:gd name="T17" fmla="*/ 122 h 294"/>
                <a:gd name="T18" fmla="*/ 217 w 217"/>
                <a:gd name="T19" fmla="*/ 147 h 294"/>
                <a:gd name="T20" fmla="*/ 216 w 217"/>
                <a:gd name="T21" fmla="*/ 171 h 294"/>
                <a:gd name="T22" fmla="*/ 212 w 217"/>
                <a:gd name="T23" fmla="*/ 194 h 294"/>
                <a:gd name="T24" fmla="*/ 207 w 217"/>
                <a:gd name="T25" fmla="*/ 216 h 294"/>
                <a:gd name="T26" fmla="*/ 198 w 217"/>
                <a:gd name="T27" fmla="*/ 237 h 294"/>
                <a:gd name="T28" fmla="*/ 184 w 217"/>
                <a:gd name="T29" fmla="*/ 256 h 294"/>
                <a:gd name="T30" fmla="*/ 167 w 217"/>
                <a:gd name="T31" fmla="*/ 271 h 294"/>
                <a:gd name="T32" fmla="*/ 147 w 217"/>
                <a:gd name="T33" fmla="*/ 284 h 294"/>
                <a:gd name="T34" fmla="*/ 127 w 217"/>
                <a:gd name="T35" fmla="*/ 292 h 294"/>
                <a:gd name="T36" fmla="*/ 109 w 217"/>
                <a:gd name="T37" fmla="*/ 294 h 294"/>
                <a:gd name="T38" fmla="*/ 91 w 217"/>
                <a:gd name="T39" fmla="*/ 292 h 294"/>
                <a:gd name="T40" fmla="*/ 72 w 217"/>
                <a:gd name="T41" fmla="*/ 284 h 294"/>
                <a:gd name="T42" fmla="*/ 53 w 217"/>
                <a:gd name="T43" fmla="*/ 272 h 294"/>
                <a:gd name="T44" fmla="*/ 35 w 217"/>
                <a:gd name="T45" fmla="*/ 256 h 294"/>
                <a:gd name="T46" fmla="*/ 20 w 217"/>
                <a:gd name="T47" fmla="*/ 237 h 294"/>
                <a:gd name="T48" fmla="*/ 11 w 217"/>
                <a:gd name="T49" fmla="*/ 215 h 294"/>
                <a:gd name="T50" fmla="*/ 6 w 217"/>
                <a:gd name="T51" fmla="*/ 193 h 294"/>
                <a:gd name="T52" fmla="*/ 2 w 217"/>
                <a:gd name="T53" fmla="*/ 170 h 294"/>
                <a:gd name="T54" fmla="*/ 0 w 217"/>
                <a:gd name="T55" fmla="*/ 147 h 294"/>
                <a:gd name="T56" fmla="*/ 2 w 217"/>
                <a:gd name="T57" fmla="*/ 122 h 294"/>
                <a:gd name="T58" fmla="*/ 6 w 217"/>
                <a:gd name="T59" fmla="*/ 99 h 294"/>
                <a:gd name="T60" fmla="*/ 11 w 217"/>
                <a:gd name="T61" fmla="*/ 76 h 294"/>
                <a:gd name="T62" fmla="*/ 20 w 217"/>
                <a:gd name="T63" fmla="*/ 56 h 294"/>
                <a:gd name="T64" fmla="*/ 31 w 217"/>
                <a:gd name="T65" fmla="*/ 38 h 294"/>
                <a:gd name="T66" fmla="*/ 45 w 217"/>
                <a:gd name="T67" fmla="*/ 22 h 294"/>
                <a:gd name="T68" fmla="*/ 63 w 217"/>
                <a:gd name="T69" fmla="*/ 11 h 294"/>
                <a:gd name="T70" fmla="*/ 85 w 217"/>
                <a:gd name="T71" fmla="*/ 3 h 294"/>
                <a:gd name="T72" fmla="*/ 109 w 217"/>
                <a:gd name="T7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94">
                  <a:moveTo>
                    <a:pt x="109" y="0"/>
                  </a:moveTo>
                  <a:lnTo>
                    <a:pt x="135" y="3"/>
                  </a:lnTo>
                  <a:lnTo>
                    <a:pt x="157" y="11"/>
                  </a:lnTo>
                  <a:lnTo>
                    <a:pt x="175" y="22"/>
                  </a:lnTo>
                  <a:lnTo>
                    <a:pt x="189" y="38"/>
                  </a:lnTo>
                  <a:lnTo>
                    <a:pt x="201" y="56"/>
                  </a:lnTo>
                  <a:lnTo>
                    <a:pt x="208" y="76"/>
                  </a:lnTo>
                  <a:lnTo>
                    <a:pt x="213" y="99"/>
                  </a:lnTo>
                  <a:lnTo>
                    <a:pt x="217" y="122"/>
                  </a:lnTo>
                  <a:lnTo>
                    <a:pt x="217" y="147"/>
                  </a:lnTo>
                  <a:lnTo>
                    <a:pt x="216" y="171"/>
                  </a:lnTo>
                  <a:lnTo>
                    <a:pt x="212" y="194"/>
                  </a:lnTo>
                  <a:lnTo>
                    <a:pt x="207" y="216"/>
                  </a:lnTo>
                  <a:lnTo>
                    <a:pt x="198" y="237"/>
                  </a:lnTo>
                  <a:lnTo>
                    <a:pt x="184" y="256"/>
                  </a:lnTo>
                  <a:lnTo>
                    <a:pt x="167" y="271"/>
                  </a:lnTo>
                  <a:lnTo>
                    <a:pt x="147" y="284"/>
                  </a:lnTo>
                  <a:lnTo>
                    <a:pt x="127" y="292"/>
                  </a:lnTo>
                  <a:lnTo>
                    <a:pt x="109" y="294"/>
                  </a:lnTo>
                  <a:lnTo>
                    <a:pt x="91" y="292"/>
                  </a:lnTo>
                  <a:lnTo>
                    <a:pt x="72" y="284"/>
                  </a:lnTo>
                  <a:lnTo>
                    <a:pt x="53" y="272"/>
                  </a:lnTo>
                  <a:lnTo>
                    <a:pt x="35" y="256"/>
                  </a:lnTo>
                  <a:lnTo>
                    <a:pt x="20" y="237"/>
                  </a:lnTo>
                  <a:lnTo>
                    <a:pt x="11" y="215"/>
                  </a:lnTo>
                  <a:lnTo>
                    <a:pt x="6" y="193"/>
                  </a:lnTo>
                  <a:lnTo>
                    <a:pt x="2" y="170"/>
                  </a:lnTo>
                  <a:lnTo>
                    <a:pt x="0" y="147"/>
                  </a:lnTo>
                  <a:lnTo>
                    <a:pt x="2" y="122"/>
                  </a:lnTo>
                  <a:lnTo>
                    <a:pt x="6" y="99"/>
                  </a:lnTo>
                  <a:lnTo>
                    <a:pt x="11" y="76"/>
                  </a:lnTo>
                  <a:lnTo>
                    <a:pt x="20" y="56"/>
                  </a:lnTo>
                  <a:lnTo>
                    <a:pt x="31" y="38"/>
                  </a:lnTo>
                  <a:lnTo>
                    <a:pt x="45" y="22"/>
                  </a:lnTo>
                  <a:lnTo>
                    <a:pt x="63" y="11"/>
                  </a:lnTo>
                  <a:lnTo>
                    <a:pt x="85" y="3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2" name="Freeform 280"/>
            <p:cNvSpPr>
              <a:spLocks/>
            </p:cNvSpPr>
            <p:nvPr/>
          </p:nvSpPr>
          <p:spPr bwMode="auto">
            <a:xfrm>
              <a:off x="-3963988" y="3894138"/>
              <a:ext cx="25400" cy="63500"/>
            </a:xfrm>
            <a:custGeom>
              <a:avLst/>
              <a:gdLst>
                <a:gd name="T0" fmla="*/ 8 w 16"/>
                <a:gd name="T1" fmla="*/ 0 h 40"/>
                <a:gd name="T2" fmla="*/ 10 w 16"/>
                <a:gd name="T3" fmla="*/ 0 h 40"/>
                <a:gd name="T4" fmla="*/ 12 w 16"/>
                <a:gd name="T5" fmla="*/ 4 h 40"/>
                <a:gd name="T6" fmla="*/ 14 w 16"/>
                <a:gd name="T7" fmla="*/ 8 h 40"/>
                <a:gd name="T8" fmla="*/ 16 w 16"/>
                <a:gd name="T9" fmla="*/ 13 h 40"/>
                <a:gd name="T10" fmla="*/ 16 w 16"/>
                <a:gd name="T11" fmla="*/ 19 h 40"/>
                <a:gd name="T12" fmla="*/ 16 w 16"/>
                <a:gd name="T13" fmla="*/ 26 h 40"/>
                <a:gd name="T14" fmla="*/ 14 w 16"/>
                <a:gd name="T15" fmla="*/ 31 h 40"/>
                <a:gd name="T16" fmla="*/ 12 w 16"/>
                <a:gd name="T17" fmla="*/ 36 h 40"/>
                <a:gd name="T18" fmla="*/ 10 w 16"/>
                <a:gd name="T19" fmla="*/ 39 h 40"/>
                <a:gd name="T20" fmla="*/ 8 w 16"/>
                <a:gd name="T21" fmla="*/ 40 h 40"/>
                <a:gd name="T22" fmla="*/ 5 w 16"/>
                <a:gd name="T23" fmla="*/ 39 h 40"/>
                <a:gd name="T24" fmla="*/ 3 w 16"/>
                <a:gd name="T25" fmla="*/ 36 h 40"/>
                <a:gd name="T26" fmla="*/ 1 w 16"/>
                <a:gd name="T27" fmla="*/ 31 h 40"/>
                <a:gd name="T28" fmla="*/ 0 w 16"/>
                <a:gd name="T29" fmla="*/ 26 h 40"/>
                <a:gd name="T30" fmla="*/ 0 w 16"/>
                <a:gd name="T31" fmla="*/ 19 h 40"/>
                <a:gd name="T32" fmla="*/ 0 w 16"/>
                <a:gd name="T33" fmla="*/ 13 h 40"/>
                <a:gd name="T34" fmla="*/ 1 w 16"/>
                <a:gd name="T35" fmla="*/ 8 h 40"/>
                <a:gd name="T36" fmla="*/ 3 w 16"/>
                <a:gd name="T37" fmla="*/ 4 h 40"/>
                <a:gd name="T38" fmla="*/ 5 w 16"/>
                <a:gd name="T39" fmla="*/ 0 h 40"/>
                <a:gd name="T40" fmla="*/ 8 w 16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40">
                  <a:moveTo>
                    <a:pt x="8" y="0"/>
                  </a:moveTo>
                  <a:lnTo>
                    <a:pt x="10" y="0"/>
                  </a:lnTo>
                  <a:lnTo>
                    <a:pt x="12" y="4"/>
                  </a:lnTo>
                  <a:lnTo>
                    <a:pt x="14" y="8"/>
                  </a:lnTo>
                  <a:lnTo>
                    <a:pt x="16" y="13"/>
                  </a:lnTo>
                  <a:lnTo>
                    <a:pt x="16" y="19"/>
                  </a:lnTo>
                  <a:lnTo>
                    <a:pt x="16" y="26"/>
                  </a:lnTo>
                  <a:lnTo>
                    <a:pt x="14" y="31"/>
                  </a:lnTo>
                  <a:lnTo>
                    <a:pt x="12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3" name="Freeform 281"/>
            <p:cNvSpPr>
              <a:spLocks/>
            </p:cNvSpPr>
            <p:nvPr/>
          </p:nvSpPr>
          <p:spPr bwMode="auto">
            <a:xfrm>
              <a:off x="-3833813" y="3894138"/>
              <a:ext cx="26988" cy="63500"/>
            </a:xfrm>
            <a:custGeom>
              <a:avLst/>
              <a:gdLst>
                <a:gd name="T0" fmla="*/ 8 w 17"/>
                <a:gd name="T1" fmla="*/ 0 h 40"/>
                <a:gd name="T2" fmla="*/ 10 w 17"/>
                <a:gd name="T3" fmla="*/ 0 h 40"/>
                <a:gd name="T4" fmla="*/ 13 w 17"/>
                <a:gd name="T5" fmla="*/ 4 h 40"/>
                <a:gd name="T6" fmla="*/ 14 w 17"/>
                <a:gd name="T7" fmla="*/ 8 h 40"/>
                <a:gd name="T8" fmla="*/ 16 w 17"/>
                <a:gd name="T9" fmla="*/ 13 h 40"/>
                <a:gd name="T10" fmla="*/ 17 w 17"/>
                <a:gd name="T11" fmla="*/ 19 h 40"/>
                <a:gd name="T12" fmla="*/ 16 w 17"/>
                <a:gd name="T13" fmla="*/ 26 h 40"/>
                <a:gd name="T14" fmla="*/ 14 w 17"/>
                <a:gd name="T15" fmla="*/ 31 h 40"/>
                <a:gd name="T16" fmla="*/ 13 w 17"/>
                <a:gd name="T17" fmla="*/ 36 h 40"/>
                <a:gd name="T18" fmla="*/ 10 w 17"/>
                <a:gd name="T19" fmla="*/ 39 h 40"/>
                <a:gd name="T20" fmla="*/ 8 w 17"/>
                <a:gd name="T21" fmla="*/ 40 h 40"/>
                <a:gd name="T22" fmla="*/ 5 w 17"/>
                <a:gd name="T23" fmla="*/ 39 h 40"/>
                <a:gd name="T24" fmla="*/ 4 w 17"/>
                <a:gd name="T25" fmla="*/ 36 h 40"/>
                <a:gd name="T26" fmla="*/ 2 w 17"/>
                <a:gd name="T27" fmla="*/ 31 h 40"/>
                <a:gd name="T28" fmla="*/ 2 w 17"/>
                <a:gd name="T29" fmla="*/ 26 h 40"/>
                <a:gd name="T30" fmla="*/ 0 w 17"/>
                <a:gd name="T31" fmla="*/ 19 h 40"/>
                <a:gd name="T32" fmla="*/ 2 w 17"/>
                <a:gd name="T33" fmla="*/ 13 h 40"/>
                <a:gd name="T34" fmla="*/ 2 w 17"/>
                <a:gd name="T35" fmla="*/ 8 h 40"/>
                <a:gd name="T36" fmla="*/ 4 w 17"/>
                <a:gd name="T37" fmla="*/ 4 h 40"/>
                <a:gd name="T38" fmla="*/ 5 w 17"/>
                <a:gd name="T39" fmla="*/ 0 h 40"/>
                <a:gd name="T40" fmla="*/ 8 w 17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0">
                  <a:moveTo>
                    <a:pt x="8" y="0"/>
                  </a:moveTo>
                  <a:lnTo>
                    <a:pt x="10" y="0"/>
                  </a:lnTo>
                  <a:lnTo>
                    <a:pt x="13" y="4"/>
                  </a:lnTo>
                  <a:lnTo>
                    <a:pt x="14" y="8"/>
                  </a:lnTo>
                  <a:lnTo>
                    <a:pt x="16" y="13"/>
                  </a:lnTo>
                  <a:lnTo>
                    <a:pt x="17" y="19"/>
                  </a:lnTo>
                  <a:lnTo>
                    <a:pt x="16" y="26"/>
                  </a:lnTo>
                  <a:lnTo>
                    <a:pt x="14" y="31"/>
                  </a:lnTo>
                  <a:lnTo>
                    <a:pt x="13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4" y="36"/>
                  </a:lnTo>
                  <a:lnTo>
                    <a:pt x="2" y="31"/>
                  </a:lnTo>
                  <a:lnTo>
                    <a:pt x="2" y="26"/>
                  </a:lnTo>
                  <a:lnTo>
                    <a:pt x="0" y="19"/>
                  </a:lnTo>
                  <a:lnTo>
                    <a:pt x="2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4" name="Freeform 282"/>
            <p:cNvSpPr>
              <a:spLocks/>
            </p:cNvSpPr>
            <p:nvPr/>
          </p:nvSpPr>
          <p:spPr bwMode="auto">
            <a:xfrm>
              <a:off x="-3944938" y="4014788"/>
              <a:ext cx="146050" cy="41275"/>
            </a:xfrm>
            <a:custGeom>
              <a:avLst/>
              <a:gdLst>
                <a:gd name="T0" fmla="*/ 92 w 92"/>
                <a:gd name="T1" fmla="*/ 0 h 26"/>
                <a:gd name="T2" fmla="*/ 79 w 92"/>
                <a:gd name="T3" fmla="*/ 10 h 26"/>
                <a:gd name="T4" fmla="*/ 65 w 92"/>
                <a:gd name="T5" fmla="*/ 17 h 26"/>
                <a:gd name="T6" fmla="*/ 47 w 92"/>
                <a:gd name="T7" fmla="*/ 22 h 26"/>
                <a:gd name="T8" fmla="*/ 30 w 92"/>
                <a:gd name="T9" fmla="*/ 26 h 26"/>
                <a:gd name="T10" fmla="*/ 14 w 92"/>
                <a:gd name="T11" fmla="*/ 26 h 26"/>
                <a:gd name="T12" fmla="*/ 0 w 92"/>
                <a:gd name="T13" fmla="*/ 23 h 26"/>
                <a:gd name="T14" fmla="*/ 23 w 92"/>
                <a:gd name="T15" fmla="*/ 20 h 26"/>
                <a:gd name="T16" fmla="*/ 47 w 92"/>
                <a:gd name="T17" fmla="*/ 15 h 26"/>
                <a:gd name="T18" fmla="*/ 72 w 92"/>
                <a:gd name="T19" fmla="*/ 9 h 26"/>
                <a:gd name="T20" fmla="*/ 92 w 92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6">
                  <a:moveTo>
                    <a:pt x="92" y="0"/>
                  </a:moveTo>
                  <a:lnTo>
                    <a:pt x="79" y="10"/>
                  </a:lnTo>
                  <a:lnTo>
                    <a:pt x="65" y="17"/>
                  </a:lnTo>
                  <a:lnTo>
                    <a:pt x="47" y="22"/>
                  </a:lnTo>
                  <a:lnTo>
                    <a:pt x="30" y="26"/>
                  </a:lnTo>
                  <a:lnTo>
                    <a:pt x="14" y="26"/>
                  </a:lnTo>
                  <a:lnTo>
                    <a:pt x="0" y="23"/>
                  </a:lnTo>
                  <a:lnTo>
                    <a:pt x="23" y="20"/>
                  </a:lnTo>
                  <a:lnTo>
                    <a:pt x="47" y="15"/>
                  </a:lnTo>
                  <a:lnTo>
                    <a:pt x="72" y="9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5" name="Freeform 283"/>
            <p:cNvSpPr>
              <a:spLocks/>
            </p:cNvSpPr>
            <p:nvPr/>
          </p:nvSpPr>
          <p:spPr bwMode="auto">
            <a:xfrm>
              <a:off x="-3898900" y="3975100"/>
              <a:ext cx="44450" cy="38100"/>
            </a:xfrm>
            <a:custGeom>
              <a:avLst/>
              <a:gdLst>
                <a:gd name="T0" fmla="*/ 28 w 28"/>
                <a:gd name="T1" fmla="*/ 0 h 24"/>
                <a:gd name="T2" fmla="*/ 28 w 28"/>
                <a:gd name="T3" fmla="*/ 13 h 24"/>
                <a:gd name="T4" fmla="*/ 23 w 28"/>
                <a:gd name="T5" fmla="*/ 21 h 24"/>
                <a:gd name="T6" fmla="*/ 14 w 28"/>
                <a:gd name="T7" fmla="*/ 24 h 24"/>
                <a:gd name="T8" fmla="*/ 0 w 28"/>
                <a:gd name="T9" fmla="*/ 20 h 24"/>
                <a:gd name="T10" fmla="*/ 10 w 28"/>
                <a:gd name="T11" fmla="*/ 20 h 24"/>
                <a:gd name="T12" fmla="*/ 19 w 28"/>
                <a:gd name="T13" fmla="*/ 17 h 24"/>
                <a:gd name="T14" fmla="*/ 25 w 28"/>
                <a:gd name="T15" fmla="*/ 13 h 24"/>
                <a:gd name="T16" fmla="*/ 27 w 28"/>
                <a:gd name="T17" fmla="*/ 7 h 24"/>
                <a:gd name="T18" fmla="*/ 28 w 28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4">
                  <a:moveTo>
                    <a:pt x="28" y="0"/>
                  </a:moveTo>
                  <a:lnTo>
                    <a:pt x="28" y="13"/>
                  </a:lnTo>
                  <a:lnTo>
                    <a:pt x="23" y="21"/>
                  </a:lnTo>
                  <a:lnTo>
                    <a:pt x="14" y="24"/>
                  </a:lnTo>
                  <a:lnTo>
                    <a:pt x="0" y="20"/>
                  </a:lnTo>
                  <a:lnTo>
                    <a:pt x="10" y="20"/>
                  </a:lnTo>
                  <a:lnTo>
                    <a:pt x="19" y="17"/>
                  </a:lnTo>
                  <a:lnTo>
                    <a:pt x="25" y="13"/>
                  </a:lnTo>
                  <a:lnTo>
                    <a:pt x="27" y="7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6" name="Freeform 284"/>
            <p:cNvSpPr>
              <a:spLocks/>
            </p:cNvSpPr>
            <p:nvPr/>
          </p:nvSpPr>
          <p:spPr bwMode="auto">
            <a:xfrm>
              <a:off x="-3851275" y="3863975"/>
              <a:ext cx="73025" cy="17463"/>
            </a:xfrm>
            <a:custGeom>
              <a:avLst/>
              <a:gdLst>
                <a:gd name="T0" fmla="*/ 25 w 46"/>
                <a:gd name="T1" fmla="*/ 0 h 11"/>
                <a:gd name="T2" fmla="*/ 41 w 46"/>
                <a:gd name="T3" fmla="*/ 2 h 11"/>
                <a:gd name="T4" fmla="*/ 45 w 46"/>
                <a:gd name="T5" fmla="*/ 5 h 11"/>
                <a:gd name="T6" fmla="*/ 46 w 46"/>
                <a:gd name="T7" fmla="*/ 6 h 11"/>
                <a:gd name="T8" fmla="*/ 46 w 46"/>
                <a:gd name="T9" fmla="*/ 8 h 11"/>
                <a:gd name="T10" fmla="*/ 46 w 46"/>
                <a:gd name="T11" fmla="*/ 8 h 11"/>
                <a:gd name="T12" fmla="*/ 43 w 46"/>
                <a:gd name="T13" fmla="*/ 8 h 11"/>
                <a:gd name="T14" fmla="*/ 39 w 46"/>
                <a:gd name="T15" fmla="*/ 8 h 11"/>
                <a:gd name="T16" fmla="*/ 28 w 46"/>
                <a:gd name="T17" fmla="*/ 5 h 11"/>
                <a:gd name="T18" fmla="*/ 16 w 46"/>
                <a:gd name="T19" fmla="*/ 6 h 11"/>
                <a:gd name="T20" fmla="*/ 5 w 46"/>
                <a:gd name="T21" fmla="*/ 10 h 11"/>
                <a:gd name="T22" fmla="*/ 2 w 46"/>
                <a:gd name="T23" fmla="*/ 11 h 11"/>
                <a:gd name="T24" fmla="*/ 1 w 46"/>
                <a:gd name="T25" fmla="*/ 10 h 11"/>
                <a:gd name="T26" fmla="*/ 0 w 46"/>
                <a:gd name="T27" fmla="*/ 9 h 11"/>
                <a:gd name="T28" fmla="*/ 0 w 46"/>
                <a:gd name="T29" fmla="*/ 8 h 11"/>
                <a:gd name="T30" fmla="*/ 1 w 46"/>
                <a:gd name="T31" fmla="*/ 5 h 11"/>
                <a:gd name="T32" fmla="*/ 4 w 46"/>
                <a:gd name="T33" fmla="*/ 4 h 11"/>
                <a:gd name="T34" fmla="*/ 13 w 46"/>
                <a:gd name="T35" fmla="*/ 1 h 11"/>
                <a:gd name="T36" fmla="*/ 25 w 46"/>
                <a:gd name="T3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1">
                  <a:moveTo>
                    <a:pt x="25" y="0"/>
                  </a:moveTo>
                  <a:lnTo>
                    <a:pt x="41" y="2"/>
                  </a:lnTo>
                  <a:lnTo>
                    <a:pt x="45" y="5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3" y="8"/>
                  </a:lnTo>
                  <a:lnTo>
                    <a:pt x="39" y="8"/>
                  </a:lnTo>
                  <a:lnTo>
                    <a:pt x="28" y="5"/>
                  </a:lnTo>
                  <a:lnTo>
                    <a:pt x="16" y="6"/>
                  </a:lnTo>
                  <a:lnTo>
                    <a:pt x="5" y="10"/>
                  </a:lnTo>
                  <a:lnTo>
                    <a:pt x="2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5"/>
                  </a:lnTo>
                  <a:lnTo>
                    <a:pt x="4" y="4"/>
                  </a:lnTo>
                  <a:lnTo>
                    <a:pt x="13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7" name="Freeform 285"/>
            <p:cNvSpPr>
              <a:spLocks/>
            </p:cNvSpPr>
            <p:nvPr/>
          </p:nvSpPr>
          <p:spPr bwMode="auto">
            <a:xfrm>
              <a:off x="-3900488" y="4056063"/>
              <a:ext cx="71438" cy="22225"/>
            </a:xfrm>
            <a:custGeom>
              <a:avLst/>
              <a:gdLst>
                <a:gd name="T0" fmla="*/ 45 w 45"/>
                <a:gd name="T1" fmla="*/ 0 h 14"/>
                <a:gd name="T2" fmla="*/ 37 w 45"/>
                <a:gd name="T3" fmla="*/ 8 h 14"/>
                <a:gd name="T4" fmla="*/ 24 w 45"/>
                <a:gd name="T5" fmla="*/ 14 h 14"/>
                <a:gd name="T6" fmla="*/ 11 w 45"/>
                <a:gd name="T7" fmla="*/ 14 h 14"/>
                <a:gd name="T8" fmla="*/ 0 w 45"/>
                <a:gd name="T9" fmla="*/ 10 h 14"/>
                <a:gd name="T10" fmla="*/ 15 w 45"/>
                <a:gd name="T11" fmla="*/ 8 h 14"/>
                <a:gd name="T12" fmla="*/ 31 w 45"/>
                <a:gd name="T13" fmla="*/ 5 h 14"/>
                <a:gd name="T14" fmla="*/ 45 w 45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4">
                  <a:moveTo>
                    <a:pt x="45" y="0"/>
                  </a:moveTo>
                  <a:lnTo>
                    <a:pt x="37" y="8"/>
                  </a:lnTo>
                  <a:lnTo>
                    <a:pt x="24" y="14"/>
                  </a:lnTo>
                  <a:lnTo>
                    <a:pt x="11" y="14"/>
                  </a:lnTo>
                  <a:lnTo>
                    <a:pt x="0" y="10"/>
                  </a:lnTo>
                  <a:lnTo>
                    <a:pt x="15" y="8"/>
                  </a:lnTo>
                  <a:lnTo>
                    <a:pt x="31" y="5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8" name="Freeform 286"/>
            <p:cNvSpPr>
              <a:spLocks/>
            </p:cNvSpPr>
            <p:nvPr/>
          </p:nvSpPr>
          <p:spPr bwMode="auto">
            <a:xfrm>
              <a:off x="-3995738" y="3843338"/>
              <a:ext cx="73025" cy="19050"/>
            </a:xfrm>
            <a:custGeom>
              <a:avLst/>
              <a:gdLst>
                <a:gd name="T0" fmla="*/ 20 w 46"/>
                <a:gd name="T1" fmla="*/ 0 h 12"/>
                <a:gd name="T2" fmla="*/ 33 w 46"/>
                <a:gd name="T3" fmla="*/ 1 h 12"/>
                <a:gd name="T4" fmla="*/ 43 w 46"/>
                <a:gd name="T5" fmla="*/ 4 h 12"/>
                <a:gd name="T6" fmla="*/ 46 w 46"/>
                <a:gd name="T7" fmla="*/ 5 h 12"/>
                <a:gd name="T8" fmla="*/ 46 w 46"/>
                <a:gd name="T9" fmla="*/ 8 h 12"/>
                <a:gd name="T10" fmla="*/ 46 w 46"/>
                <a:gd name="T11" fmla="*/ 9 h 12"/>
                <a:gd name="T12" fmla="*/ 44 w 46"/>
                <a:gd name="T13" fmla="*/ 10 h 12"/>
                <a:gd name="T14" fmla="*/ 43 w 46"/>
                <a:gd name="T15" fmla="*/ 12 h 12"/>
                <a:gd name="T16" fmla="*/ 41 w 46"/>
                <a:gd name="T17" fmla="*/ 10 h 12"/>
                <a:gd name="T18" fmla="*/ 29 w 46"/>
                <a:gd name="T19" fmla="*/ 6 h 12"/>
                <a:gd name="T20" fmla="*/ 19 w 46"/>
                <a:gd name="T21" fmla="*/ 5 h 12"/>
                <a:gd name="T22" fmla="*/ 7 w 46"/>
                <a:gd name="T23" fmla="*/ 8 h 12"/>
                <a:gd name="T24" fmla="*/ 3 w 46"/>
                <a:gd name="T25" fmla="*/ 8 h 12"/>
                <a:gd name="T26" fmla="*/ 1 w 46"/>
                <a:gd name="T27" fmla="*/ 8 h 12"/>
                <a:gd name="T28" fmla="*/ 0 w 46"/>
                <a:gd name="T29" fmla="*/ 8 h 12"/>
                <a:gd name="T30" fmla="*/ 0 w 46"/>
                <a:gd name="T31" fmla="*/ 6 h 12"/>
                <a:gd name="T32" fmla="*/ 2 w 46"/>
                <a:gd name="T33" fmla="*/ 5 h 12"/>
                <a:gd name="T34" fmla="*/ 5 w 46"/>
                <a:gd name="T35" fmla="*/ 3 h 12"/>
                <a:gd name="T36" fmla="*/ 20 w 46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2">
                  <a:moveTo>
                    <a:pt x="20" y="0"/>
                  </a:moveTo>
                  <a:lnTo>
                    <a:pt x="33" y="1"/>
                  </a:lnTo>
                  <a:lnTo>
                    <a:pt x="43" y="4"/>
                  </a:lnTo>
                  <a:lnTo>
                    <a:pt x="46" y="5"/>
                  </a:lnTo>
                  <a:lnTo>
                    <a:pt x="46" y="8"/>
                  </a:lnTo>
                  <a:lnTo>
                    <a:pt x="46" y="9"/>
                  </a:lnTo>
                  <a:lnTo>
                    <a:pt x="44" y="10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29" y="6"/>
                  </a:lnTo>
                  <a:lnTo>
                    <a:pt x="19" y="5"/>
                  </a:lnTo>
                  <a:lnTo>
                    <a:pt x="7" y="8"/>
                  </a:lnTo>
                  <a:lnTo>
                    <a:pt x="3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5"/>
                  </a:lnTo>
                  <a:lnTo>
                    <a:pt x="5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9" name="Freeform 287"/>
            <p:cNvSpPr>
              <a:spLocks/>
            </p:cNvSpPr>
            <p:nvPr/>
          </p:nvSpPr>
          <p:spPr bwMode="auto">
            <a:xfrm>
              <a:off x="-4078288" y="3905250"/>
              <a:ext cx="42863" cy="82550"/>
            </a:xfrm>
            <a:custGeom>
              <a:avLst/>
              <a:gdLst>
                <a:gd name="T0" fmla="*/ 8 w 27"/>
                <a:gd name="T1" fmla="*/ 0 h 52"/>
                <a:gd name="T2" fmla="*/ 16 w 27"/>
                <a:gd name="T3" fmla="*/ 2 h 52"/>
                <a:gd name="T4" fmla="*/ 22 w 27"/>
                <a:gd name="T5" fmla="*/ 11 h 52"/>
                <a:gd name="T6" fmla="*/ 26 w 27"/>
                <a:gd name="T7" fmla="*/ 24 h 52"/>
                <a:gd name="T8" fmla="*/ 27 w 27"/>
                <a:gd name="T9" fmla="*/ 37 h 52"/>
                <a:gd name="T10" fmla="*/ 25 w 27"/>
                <a:gd name="T11" fmla="*/ 47 h 52"/>
                <a:gd name="T12" fmla="*/ 20 w 27"/>
                <a:gd name="T13" fmla="*/ 52 h 52"/>
                <a:gd name="T14" fmla="*/ 12 w 27"/>
                <a:gd name="T15" fmla="*/ 51 h 52"/>
                <a:gd name="T16" fmla="*/ 5 w 27"/>
                <a:gd name="T17" fmla="*/ 42 h 52"/>
                <a:gd name="T18" fmla="*/ 0 w 27"/>
                <a:gd name="T19" fmla="*/ 29 h 52"/>
                <a:gd name="T20" fmla="*/ 0 w 27"/>
                <a:gd name="T21" fmla="*/ 15 h 52"/>
                <a:gd name="T22" fmla="*/ 3 w 27"/>
                <a:gd name="T23" fmla="*/ 5 h 52"/>
                <a:gd name="T24" fmla="*/ 8 w 27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2">
                  <a:moveTo>
                    <a:pt x="8" y="0"/>
                  </a:moveTo>
                  <a:lnTo>
                    <a:pt x="16" y="2"/>
                  </a:lnTo>
                  <a:lnTo>
                    <a:pt x="22" y="11"/>
                  </a:lnTo>
                  <a:lnTo>
                    <a:pt x="26" y="24"/>
                  </a:lnTo>
                  <a:lnTo>
                    <a:pt x="27" y="37"/>
                  </a:lnTo>
                  <a:lnTo>
                    <a:pt x="25" y="47"/>
                  </a:lnTo>
                  <a:lnTo>
                    <a:pt x="20" y="52"/>
                  </a:lnTo>
                  <a:lnTo>
                    <a:pt x="12" y="51"/>
                  </a:lnTo>
                  <a:lnTo>
                    <a:pt x="5" y="42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3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0" name="Freeform 288"/>
            <p:cNvSpPr>
              <a:spLocks/>
            </p:cNvSpPr>
            <p:nvPr/>
          </p:nvSpPr>
          <p:spPr bwMode="auto">
            <a:xfrm>
              <a:off x="-3732213" y="3905250"/>
              <a:ext cx="46038" cy="82550"/>
            </a:xfrm>
            <a:custGeom>
              <a:avLst/>
              <a:gdLst>
                <a:gd name="T0" fmla="*/ 20 w 29"/>
                <a:gd name="T1" fmla="*/ 0 h 52"/>
                <a:gd name="T2" fmla="*/ 25 w 29"/>
                <a:gd name="T3" fmla="*/ 5 h 52"/>
                <a:gd name="T4" fmla="*/ 29 w 29"/>
                <a:gd name="T5" fmla="*/ 15 h 52"/>
                <a:gd name="T6" fmla="*/ 27 w 29"/>
                <a:gd name="T7" fmla="*/ 29 h 52"/>
                <a:gd name="T8" fmla="*/ 22 w 29"/>
                <a:gd name="T9" fmla="*/ 42 h 52"/>
                <a:gd name="T10" fmla="*/ 16 w 29"/>
                <a:gd name="T11" fmla="*/ 51 h 52"/>
                <a:gd name="T12" fmla="*/ 9 w 29"/>
                <a:gd name="T13" fmla="*/ 52 h 52"/>
                <a:gd name="T14" fmla="*/ 3 w 29"/>
                <a:gd name="T15" fmla="*/ 47 h 52"/>
                <a:gd name="T16" fmla="*/ 0 w 29"/>
                <a:gd name="T17" fmla="*/ 37 h 52"/>
                <a:gd name="T18" fmla="*/ 2 w 29"/>
                <a:gd name="T19" fmla="*/ 24 h 52"/>
                <a:gd name="T20" fmla="*/ 6 w 29"/>
                <a:gd name="T21" fmla="*/ 11 h 52"/>
                <a:gd name="T22" fmla="*/ 12 w 29"/>
                <a:gd name="T23" fmla="*/ 2 h 52"/>
                <a:gd name="T24" fmla="*/ 20 w 29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52">
                  <a:moveTo>
                    <a:pt x="20" y="0"/>
                  </a:moveTo>
                  <a:lnTo>
                    <a:pt x="25" y="5"/>
                  </a:lnTo>
                  <a:lnTo>
                    <a:pt x="29" y="15"/>
                  </a:lnTo>
                  <a:lnTo>
                    <a:pt x="27" y="29"/>
                  </a:lnTo>
                  <a:lnTo>
                    <a:pt x="22" y="42"/>
                  </a:lnTo>
                  <a:lnTo>
                    <a:pt x="16" y="51"/>
                  </a:lnTo>
                  <a:lnTo>
                    <a:pt x="9" y="52"/>
                  </a:lnTo>
                  <a:lnTo>
                    <a:pt x="3" y="47"/>
                  </a:lnTo>
                  <a:lnTo>
                    <a:pt x="0" y="37"/>
                  </a:lnTo>
                  <a:lnTo>
                    <a:pt x="2" y="24"/>
                  </a:lnTo>
                  <a:lnTo>
                    <a:pt x="6" y="11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1" name="Freeform 289"/>
            <p:cNvSpPr>
              <a:spLocks/>
            </p:cNvSpPr>
            <p:nvPr/>
          </p:nvSpPr>
          <p:spPr bwMode="auto">
            <a:xfrm>
              <a:off x="-4059238" y="3676650"/>
              <a:ext cx="352425" cy="268288"/>
            </a:xfrm>
            <a:custGeom>
              <a:avLst/>
              <a:gdLst>
                <a:gd name="T0" fmla="*/ 135 w 222"/>
                <a:gd name="T1" fmla="*/ 2 h 169"/>
                <a:gd name="T2" fmla="*/ 173 w 222"/>
                <a:gd name="T3" fmla="*/ 22 h 169"/>
                <a:gd name="T4" fmla="*/ 200 w 222"/>
                <a:gd name="T5" fmla="*/ 51 h 169"/>
                <a:gd name="T6" fmla="*/ 217 w 222"/>
                <a:gd name="T7" fmla="*/ 91 h 169"/>
                <a:gd name="T8" fmla="*/ 222 w 222"/>
                <a:gd name="T9" fmla="*/ 129 h 169"/>
                <a:gd name="T10" fmla="*/ 222 w 222"/>
                <a:gd name="T11" fmla="*/ 153 h 169"/>
                <a:gd name="T12" fmla="*/ 220 w 222"/>
                <a:gd name="T13" fmla="*/ 159 h 169"/>
                <a:gd name="T14" fmla="*/ 218 w 222"/>
                <a:gd name="T15" fmla="*/ 164 h 169"/>
                <a:gd name="T16" fmla="*/ 215 w 222"/>
                <a:gd name="T17" fmla="*/ 169 h 169"/>
                <a:gd name="T18" fmla="*/ 214 w 222"/>
                <a:gd name="T19" fmla="*/ 169 h 169"/>
                <a:gd name="T20" fmla="*/ 213 w 222"/>
                <a:gd name="T21" fmla="*/ 164 h 169"/>
                <a:gd name="T22" fmla="*/ 210 w 222"/>
                <a:gd name="T23" fmla="*/ 141 h 169"/>
                <a:gd name="T24" fmla="*/ 195 w 222"/>
                <a:gd name="T25" fmla="*/ 96 h 169"/>
                <a:gd name="T26" fmla="*/ 170 w 222"/>
                <a:gd name="T27" fmla="*/ 64 h 169"/>
                <a:gd name="T28" fmla="*/ 147 w 222"/>
                <a:gd name="T29" fmla="*/ 56 h 169"/>
                <a:gd name="T30" fmla="*/ 123 w 222"/>
                <a:gd name="T31" fmla="*/ 59 h 169"/>
                <a:gd name="T32" fmla="*/ 91 w 222"/>
                <a:gd name="T33" fmla="*/ 59 h 169"/>
                <a:gd name="T34" fmla="*/ 63 w 222"/>
                <a:gd name="T35" fmla="*/ 56 h 169"/>
                <a:gd name="T36" fmla="*/ 40 w 222"/>
                <a:gd name="T37" fmla="*/ 68 h 169"/>
                <a:gd name="T38" fmla="*/ 19 w 222"/>
                <a:gd name="T39" fmla="*/ 104 h 169"/>
                <a:gd name="T40" fmla="*/ 10 w 222"/>
                <a:gd name="T41" fmla="*/ 144 h 169"/>
                <a:gd name="T42" fmla="*/ 10 w 222"/>
                <a:gd name="T43" fmla="*/ 164 h 169"/>
                <a:gd name="T44" fmla="*/ 9 w 222"/>
                <a:gd name="T45" fmla="*/ 169 h 169"/>
                <a:gd name="T46" fmla="*/ 6 w 222"/>
                <a:gd name="T47" fmla="*/ 169 h 169"/>
                <a:gd name="T48" fmla="*/ 4 w 222"/>
                <a:gd name="T49" fmla="*/ 164 h 169"/>
                <a:gd name="T50" fmla="*/ 1 w 222"/>
                <a:gd name="T51" fmla="*/ 159 h 169"/>
                <a:gd name="T52" fmla="*/ 1 w 222"/>
                <a:gd name="T53" fmla="*/ 153 h 169"/>
                <a:gd name="T54" fmla="*/ 0 w 222"/>
                <a:gd name="T55" fmla="*/ 131 h 169"/>
                <a:gd name="T56" fmla="*/ 5 w 222"/>
                <a:gd name="T57" fmla="*/ 92 h 169"/>
                <a:gd name="T58" fmla="*/ 20 w 222"/>
                <a:gd name="T59" fmla="*/ 54 h 169"/>
                <a:gd name="T60" fmla="*/ 40 w 222"/>
                <a:gd name="T61" fmla="*/ 28 h 169"/>
                <a:gd name="T62" fmla="*/ 69 w 222"/>
                <a:gd name="T63" fmla="*/ 8 h 169"/>
                <a:gd name="T64" fmla="*/ 111 w 222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2" h="169">
                  <a:moveTo>
                    <a:pt x="111" y="0"/>
                  </a:moveTo>
                  <a:lnTo>
                    <a:pt x="135" y="2"/>
                  </a:lnTo>
                  <a:lnTo>
                    <a:pt x="155" y="10"/>
                  </a:lnTo>
                  <a:lnTo>
                    <a:pt x="173" y="22"/>
                  </a:lnTo>
                  <a:lnTo>
                    <a:pt x="188" y="36"/>
                  </a:lnTo>
                  <a:lnTo>
                    <a:pt x="200" y="51"/>
                  </a:lnTo>
                  <a:lnTo>
                    <a:pt x="208" y="67"/>
                  </a:lnTo>
                  <a:lnTo>
                    <a:pt x="217" y="91"/>
                  </a:lnTo>
                  <a:lnTo>
                    <a:pt x="220" y="113"/>
                  </a:lnTo>
                  <a:lnTo>
                    <a:pt x="222" y="129"/>
                  </a:lnTo>
                  <a:lnTo>
                    <a:pt x="222" y="144"/>
                  </a:lnTo>
                  <a:lnTo>
                    <a:pt x="222" y="153"/>
                  </a:lnTo>
                  <a:lnTo>
                    <a:pt x="220" y="155"/>
                  </a:lnTo>
                  <a:lnTo>
                    <a:pt x="220" y="159"/>
                  </a:lnTo>
                  <a:lnTo>
                    <a:pt x="219" y="162"/>
                  </a:lnTo>
                  <a:lnTo>
                    <a:pt x="218" y="164"/>
                  </a:lnTo>
                  <a:lnTo>
                    <a:pt x="217" y="167"/>
                  </a:lnTo>
                  <a:lnTo>
                    <a:pt x="215" y="169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3" y="168"/>
                  </a:lnTo>
                  <a:lnTo>
                    <a:pt x="213" y="164"/>
                  </a:lnTo>
                  <a:lnTo>
                    <a:pt x="213" y="159"/>
                  </a:lnTo>
                  <a:lnTo>
                    <a:pt x="210" y="141"/>
                  </a:lnTo>
                  <a:lnTo>
                    <a:pt x="205" y="119"/>
                  </a:lnTo>
                  <a:lnTo>
                    <a:pt x="195" y="96"/>
                  </a:lnTo>
                  <a:lnTo>
                    <a:pt x="182" y="76"/>
                  </a:lnTo>
                  <a:lnTo>
                    <a:pt x="170" y="64"/>
                  </a:lnTo>
                  <a:lnTo>
                    <a:pt x="159" y="59"/>
                  </a:lnTo>
                  <a:lnTo>
                    <a:pt x="147" y="56"/>
                  </a:lnTo>
                  <a:lnTo>
                    <a:pt x="136" y="58"/>
                  </a:lnTo>
                  <a:lnTo>
                    <a:pt x="123" y="59"/>
                  </a:lnTo>
                  <a:lnTo>
                    <a:pt x="108" y="60"/>
                  </a:lnTo>
                  <a:lnTo>
                    <a:pt x="91" y="59"/>
                  </a:lnTo>
                  <a:lnTo>
                    <a:pt x="77" y="58"/>
                  </a:lnTo>
                  <a:lnTo>
                    <a:pt x="63" y="56"/>
                  </a:lnTo>
                  <a:lnTo>
                    <a:pt x="51" y="59"/>
                  </a:lnTo>
                  <a:lnTo>
                    <a:pt x="40" y="68"/>
                  </a:lnTo>
                  <a:lnTo>
                    <a:pt x="28" y="85"/>
                  </a:lnTo>
                  <a:lnTo>
                    <a:pt x="19" y="104"/>
                  </a:lnTo>
                  <a:lnTo>
                    <a:pt x="14" y="124"/>
                  </a:lnTo>
                  <a:lnTo>
                    <a:pt x="10" y="144"/>
                  </a:lnTo>
                  <a:lnTo>
                    <a:pt x="10" y="159"/>
                  </a:lnTo>
                  <a:lnTo>
                    <a:pt x="10" y="164"/>
                  </a:lnTo>
                  <a:lnTo>
                    <a:pt x="9" y="168"/>
                  </a:lnTo>
                  <a:lnTo>
                    <a:pt x="9" y="169"/>
                  </a:lnTo>
                  <a:lnTo>
                    <a:pt x="8" y="169"/>
                  </a:lnTo>
                  <a:lnTo>
                    <a:pt x="6" y="169"/>
                  </a:lnTo>
                  <a:lnTo>
                    <a:pt x="5" y="167"/>
                  </a:lnTo>
                  <a:lnTo>
                    <a:pt x="4" y="164"/>
                  </a:lnTo>
                  <a:lnTo>
                    <a:pt x="2" y="162"/>
                  </a:lnTo>
                  <a:lnTo>
                    <a:pt x="1" y="159"/>
                  </a:lnTo>
                  <a:lnTo>
                    <a:pt x="1" y="155"/>
                  </a:lnTo>
                  <a:lnTo>
                    <a:pt x="1" y="153"/>
                  </a:lnTo>
                  <a:lnTo>
                    <a:pt x="0" y="144"/>
                  </a:lnTo>
                  <a:lnTo>
                    <a:pt x="0" y="131"/>
                  </a:lnTo>
                  <a:lnTo>
                    <a:pt x="1" y="113"/>
                  </a:lnTo>
                  <a:lnTo>
                    <a:pt x="5" y="92"/>
                  </a:lnTo>
                  <a:lnTo>
                    <a:pt x="14" y="68"/>
                  </a:lnTo>
                  <a:lnTo>
                    <a:pt x="20" y="54"/>
                  </a:lnTo>
                  <a:lnTo>
                    <a:pt x="29" y="40"/>
                  </a:lnTo>
                  <a:lnTo>
                    <a:pt x="40" y="28"/>
                  </a:lnTo>
                  <a:lnTo>
                    <a:pt x="52" y="17"/>
                  </a:lnTo>
                  <a:lnTo>
                    <a:pt x="69" y="8"/>
                  </a:lnTo>
                  <a:lnTo>
                    <a:pt x="88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2" name="Freeform 290"/>
            <p:cNvSpPr>
              <a:spLocks/>
            </p:cNvSpPr>
            <p:nvPr/>
          </p:nvSpPr>
          <p:spPr bwMode="auto">
            <a:xfrm>
              <a:off x="-4221163" y="4908550"/>
              <a:ext cx="98425" cy="336550"/>
            </a:xfrm>
            <a:custGeom>
              <a:avLst/>
              <a:gdLst>
                <a:gd name="T0" fmla="*/ 29 w 62"/>
                <a:gd name="T1" fmla="*/ 0 h 212"/>
                <a:gd name="T2" fmla="*/ 36 w 62"/>
                <a:gd name="T3" fmla="*/ 1 h 212"/>
                <a:gd name="T4" fmla="*/ 43 w 62"/>
                <a:gd name="T5" fmla="*/ 5 h 212"/>
                <a:gd name="T6" fmla="*/ 44 w 62"/>
                <a:gd name="T7" fmla="*/ 14 h 212"/>
                <a:gd name="T8" fmla="*/ 43 w 62"/>
                <a:gd name="T9" fmla="*/ 31 h 212"/>
                <a:gd name="T10" fmla="*/ 40 w 62"/>
                <a:gd name="T11" fmla="*/ 48 h 212"/>
                <a:gd name="T12" fmla="*/ 38 w 62"/>
                <a:gd name="T13" fmla="*/ 66 h 212"/>
                <a:gd name="T14" fmla="*/ 39 w 62"/>
                <a:gd name="T15" fmla="*/ 84 h 212"/>
                <a:gd name="T16" fmla="*/ 45 w 62"/>
                <a:gd name="T17" fmla="*/ 98 h 212"/>
                <a:gd name="T18" fmla="*/ 50 w 62"/>
                <a:gd name="T19" fmla="*/ 109 h 212"/>
                <a:gd name="T20" fmla="*/ 52 w 62"/>
                <a:gd name="T21" fmla="*/ 121 h 212"/>
                <a:gd name="T22" fmla="*/ 53 w 62"/>
                <a:gd name="T23" fmla="*/ 134 h 212"/>
                <a:gd name="T24" fmla="*/ 54 w 62"/>
                <a:gd name="T25" fmla="*/ 145 h 212"/>
                <a:gd name="T26" fmla="*/ 56 w 62"/>
                <a:gd name="T27" fmla="*/ 153 h 212"/>
                <a:gd name="T28" fmla="*/ 58 w 62"/>
                <a:gd name="T29" fmla="*/ 162 h 212"/>
                <a:gd name="T30" fmla="*/ 61 w 62"/>
                <a:gd name="T31" fmla="*/ 171 h 212"/>
                <a:gd name="T32" fmla="*/ 62 w 62"/>
                <a:gd name="T33" fmla="*/ 178 h 212"/>
                <a:gd name="T34" fmla="*/ 61 w 62"/>
                <a:gd name="T35" fmla="*/ 182 h 212"/>
                <a:gd name="T36" fmla="*/ 56 w 62"/>
                <a:gd name="T37" fmla="*/ 181 h 212"/>
                <a:gd name="T38" fmla="*/ 50 w 62"/>
                <a:gd name="T39" fmla="*/ 175 h 212"/>
                <a:gd name="T40" fmla="*/ 44 w 62"/>
                <a:gd name="T41" fmla="*/ 166 h 212"/>
                <a:gd name="T42" fmla="*/ 39 w 62"/>
                <a:gd name="T43" fmla="*/ 158 h 212"/>
                <a:gd name="T44" fmla="*/ 34 w 62"/>
                <a:gd name="T45" fmla="*/ 152 h 212"/>
                <a:gd name="T46" fmla="*/ 27 w 62"/>
                <a:gd name="T47" fmla="*/ 152 h 212"/>
                <a:gd name="T48" fmla="*/ 26 w 62"/>
                <a:gd name="T49" fmla="*/ 155 h 212"/>
                <a:gd name="T50" fmla="*/ 27 w 62"/>
                <a:gd name="T51" fmla="*/ 164 h 212"/>
                <a:gd name="T52" fmla="*/ 31 w 62"/>
                <a:gd name="T53" fmla="*/ 176 h 212"/>
                <a:gd name="T54" fmla="*/ 38 w 62"/>
                <a:gd name="T55" fmla="*/ 186 h 212"/>
                <a:gd name="T56" fmla="*/ 42 w 62"/>
                <a:gd name="T57" fmla="*/ 191 h 212"/>
                <a:gd name="T58" fmla="*/ 47 w 62"/>
                <a:gd name="T59" fmla="*/ 194 h 212"/>
                <a:gd name="T60" fmla="*/ 50 w 62"/>
                <a:gd name="T61" fmla="*/ 196 h 212"/>
                <a:gd name="T62" fmla="*/ 54 w 62"/>
                <a:gd name="T63" fmla="*/ 199 h 212"/>
                <a:gd name="T64" fmla="*/ 58 w 62"/>
                <a:gd name="T65" fmla="*/ 202 h 212"/>
                <a:gd name="T66" fmla="*/ 61 w 62"/>
                <a:gd name="T67" fmla="*/ 204 h 212"/>
                <a:gd name="T68" fmla="*/ 62 w 62"/>
                <a:gd name="T69" fmla="*/ 207 h 212"/>
                <a:gd name="T70" fmla="*/ 62 w 62"/>
                <a:gd name="T71" fmla="*/ 209 h 212"/>
                <a:gd name="T72" fmla="*/ 61 w 62"/>
                <a:gd name="T73" fmla="*/ 211 h 212"/>
                <a:gd name="T74" fmla="*/ 58 w 62"/>
                <a:gd name="T75" fmla="*/ 212 h 212"/>
                <a:gd name="T76" fmla="*/ 54 w 62"/>
                <a:gd name="T77" fmla="*/ 212 h 212"/>
                <a:gd name="T78" fmla="*/ 48 w 62"/>
                <a:gd name="T79" fmla="*/ 211 h 212"/>
                <a:gd name="T80" fmla="*/ 40 w 62"/>
                <a:gd name="T81" fmla="*/ 207 h 212"/>
                <a:gd name="T82" fmla="*/ 31 w 62"/>
                <a:gd name="T83" fmla="*/ 202 h 212"/>
                <a:gd name="T84" fmla="*/ 22 w 62"/>
                <a:gd name="T85" fmla="*/ 195 h 212"/>
                <a:gd name="T86" fmla="*/ 15 w 62"/>
                <a:gd name="T87" fmla="*/ 186 h 212"/>
                <a:gd name="T88" fmla="*/ 9 w 62"/>
                <a:gd name="T89" fmla="*/ 173 h 212"/>
                <a:gd name="T90" fmla="*/ 6 w 62"/>
                <a:gd name="T91" fmla="*/ 160 h 212"/>
                <a:gd name="T92" fmla="*/ 2 w 62"/>
                <a:gd name="T93" fmla="*/ 148 h 212"/>
                <a:gd name="T94" fmla="*/ 0 w 62"/>
                <a:gd name="T95" fmla="*/ 131 h 212"/>
                <a:gd name="T96" fmla="*/ 2 w 62"/>
                <a:gd name="T97" fmla="*/ 112 h 212"/>
                <a:gd name="T98" fmla="*/ 3 w 62"/>
                <a:gd name="T99" fmla="*/ 91 h 212"/>
                <a:gd name="T100" fmla="*/ 4 w 62"/>
                <a:gd name="T101" fmla="*/ 69 h 212"/>
                <a:gd name="T102" fmla="*/ 4 w 62"/>
                <a:gd name="T103" fmla="*/ 50 h 212"/>
                <a:gd name="T104" fmla="*/ 4 w 62"/>
                <a:gd name="T105" fmla="*/ 33 h 212"/>
                <a:gd name="T106" fmla="*/ 6 w 62"/>
                <a:gd name="T107" fmla="*/ 21 h 212"/>
                <a:gd name="T108" fmla="*/ 11 w 62"/>
                <a:gd name="T109" fmla="*/ 10 h 212"/>
                <a:gd name="T110" fmla="*/ 20 w 62"/>
                <a:gd name="T111" fmla="*/ 4 h 212"/>
                <a:gd name="T112" fmla="*/ 29 w 62"/>
                <a:gd name="T113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212">
                  <a:moveTo>
                    <a:pt x="29" y="0"/>
                  </a:moveTo>
                  <a:lnTo>
                    <a:pt x="36" y="1"/>
                  </a:lnTo>
                  <a:lnTo>
                    <a:pt x="43" y="5"/>
                  </a:lnTo>
                  <a:lnTo>
                    <a:pt x="44" y="14"/>
                  </a:lnTo>
                  <a:lnTo>
                    <a:pt x="43" y="31"/>
                  </a:lnTo>
                  <a:lnTo>
                    <a:pt x="40" y="48"/>
                  </a:lnTo>
                  <a:lnTo>
                    <a:pt x="38" y="66"/>
                  </a:lnTo>
                  <a:lnTo>
                    <a:pt x="39" y="84"/>
                  </a:lnTo>
                  <a:lnTo>
                    <a:pt x="45" y="98"/>
                  </a:lnTo>
                  <a:lnTo>
                    <a:pt x="50" y="109"/>
                  </a:lnTo>
                  <a:lnTo>
                    <a:pt x="52" y="121"/>
                  </a:lnTo>
                  <a:lnTo>
                    <a:pt x="53" y="134"/>
                  </a:lnTo>
                  <a:lnTo>
                    <a:pt x="54" y="145"/>
                  </a:lnTo>
                  <a:lnTo>
                    <a:pt x="56" y="153"/>
                  </a:lnTo>
                  <a:lnTo>
                    <a:pt x="58" y="162"/>
                  </a:lnTo>
                  <a:lnTo>
                    <a:pt x="61" y="171"/>
                  </a:lnTo>
                  <a:lnTo>
                    <a:pt x="62" y="178"/>
                  </a:lnTo>
                  <a:lnTo>
                    <a:pt x="61" y="182"/>
                  </a:lnTo>
                  <a:lnTo>
                    <a:pt x="56" y="181"/>
                  </a:lnTo>
                  <a:lnTo>
                    <a:pt x="50" y="175"/>
                  </a:lnTo>
                  <a:lnTo>
                    <a:pt x="44" y="166"/>
                  </a:lnTo>
                  <a:lnTo>
                    <a:pt x="39" y="158"/>
                  </a:lnTo>
                  <a:lnTo>
                    <a:pt x="34" y="152"/>
                  </a:lnTo>
                  <a:lnTo>
                    <a:pt x="27" y="152"/>
                  </a:lnTo>
                  <a:lnTo>
                    <a:pt x="26" y="155"/>
                  </a:lnTo>
                  <a:lnTo>
                    <a:pt x="27" y="164"/>
                  </a:lnTo>
                  <a:lnTo>
                    <a:pt x="31" y="176"/>
                  </a:lnTo>
                  <a:lnTo>
                    <a:pt x="38" y="186"/>
                  </a:lnTo>
                  <a:lnTo>
                    <a:pt x="42" y="191"/>
                  </a:lnTo>
                  <a:lnTo>
                    <a:pt x="47" y="194"/>
                  </a:lnTo>
                  <a:lnTo>
                    <a:pt x="50" y="196"/>
                  </a:lnTo>
                  <a:lnTo>
                    <a:pt x="54" y="199"/>
                  </a:lnTo>
                  <a:lnTo>
                    <a:pt x="58" y="202"/>
                  </a:lnTo>
                  <a:lnTo>
                    <a:pt x="61" y="204"/>
                  </a:lnTo>
                  <a:lnTo>
                    <a:pt x="62" y="207"/>
                  </a:lnTo>
                  <a:lnTo>
                    <a:pt x="62" y="209"/>
                  </a:lnTo>
                  <a:lnTo>
                    <a:pt x="61" y="211"/>
                  </a:lnTo>
                  <a:lnTo>
                    <a:pt x="58" y="212"/>
                  </a:lnTo>
                  <a:lnTo>
                    <a:pt x="54" y="212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1" y="202"/>
                  </a:lnTo>
                  <a:lnTo>
                    <a:pt x="22" y="195"/>
                  </a:lnTo>
                  <a:lnTo>
                    <a:pt x="15" y="186"/>
                  </a:lnTo>
                  <a:lnTo>
                    <a:pt x="9" y="173"/>
                  </a:lnTo>
                  <a:lnTo>
                    <a:pt x="6" y="160"/>
                  </a:lnTo>
                  <a:lnTo>
                    <a:pt x="2" y="148"/>
                  </a:lnTo>
                  <a:lnTo>
                    <a:pt x="0" y="131"/>
                  </a:lnTo>
                  <a:lnTo>
                    <a:pt x="2" y="112"/>
                  </a:lnTo>
                  <a:lnTo>
                    <a:pt x="3" y="91"/>
                  </a:lnTo>
                  <a:lnTo>
                    <a:pt x="4" y="69"/>
                  </a:lnTo>
                  <a:lnTo>
                    <a:pt x="4" y="50"/>
                  </a:lnTo>
                  <a:lnTo>
                    <a:pt x="4" y="33"/>
                  </a:lnTo>
                  <a:lnTo>
                    <a:pt x="6" y="21"/>
                  </a:lnTo>
                  <a:lnTo>
                    <a:pt x="11" y="10"/>
                  </a:lnTo>
                  <a:lnTo>
                    <a:pt x="20" y="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3" name="Freeform 291"/>
            <p:cNvSpPr>
              <a:spLocks/>
            </p:cNvSpPr>
            <p:nvPr/>
          </p:nvSpPr>
          <p:spPr bwMode="auto">
            <a:xfrm>
              <a:off x="-4151312" y="4229099"/>
              <a:ext cx="539750" cy="773114"/>
            </a:xfrm>
            <a:custGeom>
              <a:avLst/>
              <a:gdLst>
                <a:gd name="T0" fmla="*/ 86 w 340"/>
                <a:gd name="T1" fmla="*/ 0 h 487"/>
                <a:gd name="T2" fmla="*/ 89 w 340"/>
                <a:gd name="T3" fmla="*/ 18 h 487"/>
                <a:gd name="T4" fmla="*/ 95 w 340"/>
                <a:gd name="T5" fmla="*/ 33 h 487"/>
                <a:gd name="T6" fmla="*/ 105 w 340"/>
                <a:gd name="T7" fmla="*/ 44 h 487"/>
                <a:gd name="T8" fmla="*/ 119 w 340"/>
                <a:gd name="T9" fmla="*/ 55 h 487"/>
                <a:gd name="T10" fmla="*/ 135 w 340"/>
                <a:gd name="T11" fmla="*/ 62 h 487"/>
                <a:gd name="T12" fmla="*/ 153 w 340"/>
                <a:gd name="T13" fmla="*/ 68 h 487"/>
                <a:gd name="T14" fmla="*/ 171 w 340"/>
                <a:gd name="T15" fmla="*/ 70 h 487"/>
                <a:gd name="T16" fmla="*/ 190 w 340"/>
                <a:gd name="T17" fmla="*/ 69 h 487"/>
                <a:gd name="T18" fmla="*/ 207 w 340"/>
                <a:gd name="T19" fmla="*/ 66 h 487"/>
                <a:gd name="T20" fmla="*/ 223 w 340"/>
                <a:gd name="T21" fmla="*/ 60 h 487"/>
                <a:gd name="T22" fmla="*/ 236 w 340"/>
                <a:gd name="T23" fmla="*/ 50 h 487"/>
                <a:gd name="T24" fmla="*/ 248 w 340"/>
                <a:gd name="T25" fmla="*/ 37 h 487"/>
                <a:gd name="T26" fmla="*/ 254 w 340"/>
                <a:gd name="T27" fmla="*/ 20 h 487"/>
                <a:gd name="T28" fmla="*/ 255 w 340"/>
                <a:gd name="T29" fmla="*/ 1 h 487"/>
                <a:gd name="T30" fmla="*/ 278 w 340"/>
                <a:gd name="T31" fmla="*/ 7 h 487"/>
                <a:gd name="T32" fmla="*/ 299 w 340"/>
                <a:gd name="T33" fmla="*/ 16 h 487"/>
                <a:gd name="T34" fmla="*/ 316 w 340"/>
                <a:gd name="T35" fmla="*/ 25 h 487"/>
                <a:gd name="T36" fmla="*/ 329 w 340"/>
                <a:gd name="T37" fmla="*/ 37 h 487"/>
                <a:gd name="T38" fmla="*/ 338 w 340"/>
                <a:gd name="T39" fmla="*/ 50 h 487"/>
                <a:gd name="T40" fmla="*/ 340 w 340"/>
                <a:gd name="T41" fmla="*/ 64 h 487"/>
                <a:gd name="T42" fmla="*/ 338 w 340"/>
                <a:gd name="T43" fmla="*/ 79 h 487"/>
                <a:gd name="T44" fmla="*/ 329 w 340"/>
                <a:gd name="T45" fmla="*/ 110 h 487"/>
                <a:gd name="T46" fmla="*/ 320 w 340"/>
                <a:gd name="T47" fmla="*/ 146 h 487"/>
                <a:gd name="T48" fmla="*/ 311 w 340"/>
                <a:gd name="T49" fmla="*/ 187 h 487"/>
                <a:gd name="T50" fmla="*/ 304 w 340"/>
                <a:gd name="T51" fmla="*/ 232 h 487"/>
                <a:gd name="T52" fmla="*/ 299 w 340"/>
                <a:gd name="T53" fmla="*/ 279 h 487"/>
                <a:gd name="T54" fmla="*/ 295 w 340"/>
                <a:gd name="T55" fmla="*/ 328 h 487"/>
                <a:gd name="T56" fmla="*/ 296 w 340"/>
                <a:gd name="T57" fmla="*/ 377 h 487"/>
                <a:gd name="T58" fmla="*/ 302 w 340"/>
                <a:gd name="T59" fmla="*/ 426 h 487"/>
                <a:gd name="T60" fmla="*/ 311 w 340"/>
                <a:gd name="T61" fmla="*/ 472 h 487"/>
                <a:gd name="T62" fmla="*/ 266 w 340"/>
                <a:gd name="T63" fmla="*/ 481 h 487"/>
                <a:gd name="T64" fmla="*/ 218 w 340"/>
                <a:gd name="T65" fmla="*/ 486 h 487"/>
                <a:gd name="T66" fmla="*/ 171 w 340"/>
                <a:gd name="T67" fmla="*/ 487 h 487"/>
                <a:gd name="T68" fmla="*/ 119 w 340"/>
                <a:gd name="T69" fmla="*/ 486 h 487"/>
                <a:gd name="T70" fmla="*/ 72 w 340"/>
                <a:gd name="T71" fmla="*/ 479 h 487"/>
                <a:gd name="T72" fmla="*/ 24 w 340"/>
                <a:gd name="T73" fmla="*/ 470 h 487"/>
                <a:gd name="T74" fmla="*/ 33 w 340"/>
                <a:gd name="T75" fmla="*/ 428 h 487"/>
                <a:gd name="T76" fmla="*/ 39 w 340"/>
                <a:gd name="T77" fmla="*/ 382 h 487"/>
                <a:gd name="T78" fmla="*/ 40 w 340"/>
                <a:gd name="T79" fmla="*/ 333 h 487"/>
                <a:gd name="T80" fmla="*/ 39 w 340"/>
                <a:gd name="T81" fmla="*/ 284 h 487"/>
                <a:gd name="T82" fmla="*/ 33 w 340"/>
                <a:gd name="T83" fmla="*/ 237 h 487"/>
                <a:gd name="T84" fmla="*/ 28 w 340"/>
                <a:gd name="T85" fmla="*/ 192 h 487"/>
                <a:gd name="T86" fmla="*/ 21 w 340"/>
                <a:gd name="T87" fmla="*/ 151 h 487"/>
                <a:gd name="T88" fmla="*/ 12 w 340"/>
                <a:gd name="T89" fmla="*/ 114 h 487"/>
                <a:gd name="T90" fmla="*/ 3 w 340"/>
                <a:gd name="T91" fmla="*/ 84 h 487"/>
                <a:gd name="T92" fmla="*/ 0 w 340"/>
                <a:gd name="T93" fmla="*/ 66 h 487"/>
                <a:gd name="T94" fmla="*/ 3 w 340"/>
                <a:gd name="T95" fmla="*/ 51 h 487"/>
                <a:gd name="T96" fmla="*/ 12 w 340"/>
                <a:gd name="T97" fmla="*/ 37 h 487"/>
                <a:gd name="T98" fmla="*/ 24 w 340"/>
                <a:gd name="T99" fmla="*/ 24 h 487"/>
                <a:gd name="T100" fmla="*/ 42 w 340"/>
                <a:gd name="T101" fmla="*/ 14 h 487"/>
                <a:gd name="T102" fmla="*/ 63 w 340"/>
                <a:gd name="T103" fmla="*/ 6 h 487"/>
                <a:gd name="T104" fmla="*/ 86 w 340"/>
                <a:gd name="T105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0" h="487">
                  <a:moveTo>
                    <a:pt x="86" y="0"/>
                  </a:moveTo>
                  <a:lnTo>
                    <a:pt x="89" y="18"/>
                  </a:lnTo>
                  <a:lnTo>
                    <a:pt x="95" y="33"/>
                  </a:lnTo>
                  <a:lnTo>
                    <a:pt x="105" y="44"/>
                  </a:lnTo>
                  <a:lnTo>
                    <a:pt x="119" y="55"/>
                  </a:lnTo>
                  <a:lnTo>
                    <a:pt x="135" y="62"/>
                  </a:lnTo>
                  <a:lnTo>
                    <a:pt x="153" y="68"/>
                  </a:lnTo>
                  <a:lnTo>
                    <a:pt x="171" y="70"/>
                  </a:lnTo>
                  <a:lnTo>
                    <a:pt x="190" y="69"/>
                  </a:lnTo>
                  <a:lnTo>
                    <a:pt x="207" y="66"/>
                  </a:lnTo>
                  <a:lnTo>
                    <a:pt x="223" y="60"/>
                  </a:lnTo>
                  <a:lnTo>
                    <a:pt x="236" y="50"/>
                  </a:lnTo>
                  <a:lnTo>
                    <a:pt x="248" y="37"/>
                  </a:lnTo>
                  <a:lnTo>
                    <a:pt x="254" y="20"/>
                  </a:lnTo>
                  <a:lnTo>
                    <a:pt x="255" y="1"/>
                  </a:lnTo>
                  <a:lnTo>
                    <a:pt x="278" y="7"/>
                  </a:lnTo>
                  <a:lnTo>
                    <a:pt x="299" y="16"/>
                  </a:lnTo>
                  <a:lnTo>
                    <a:pt x="316" y="25"/>
                  </a:lnTo>
                  <a:lnTo>
                    <a:pt x="329" y="37"/>
                  </a:lnTo>
                  <a:lnTo>
                    <a:pt x="338" y="50"/>
                  </a:lnTo>
                  <a:lnTo>
                    <a:pt x="340" y="64"/>
                  </a:lnTo>
                  <a:lnTo>
                    <a:pt x="338" y="79"/>
                  </a:lnTo>
                  <a:lnTo>
                    <a:pt x="329" y="110"/>
                  </a:lnTo>
                  <a:lnTo>
                    <a:pt x="320" y="146"/>
                  </a:lnTo>
                  <a:lnTo>
                    <a:pt x="311" y="187"/>
                  </a:lnTo>
                  <a:lnTo>
                    <a:pt x="304" y="232"/>
                  </a:lnTo>
                  <a:lnTo>
                    <a:pt x="299" y="279"/>
                  </a:lnTo>
                  <a:lnTo>
                    <a:pt x="295" y="328"/>
                  </a:lnTo>
                  <a:lnTo>
                    <a:pt x="296" y="377"/>
                  </a:lnTo>
                  <a:lnTo>
                    <a:pt x="302" y="426"/>
                  </a:lnTo>
                  <a:lnTo>
                    <a:pt x="311" y="472"/>
                  </a:lnTo>
                  <a:lnTo>
                    <a:pt x="266" y="481"/>
                  </a:lnTo>
                  <a:lnTo>
                    <a:pt x="218" y="486"/>
                  </a:lnTo>
                  <a:lnTo>
                    <a:pt x="171" y="487"/>
                  </a:lnTo>
                  <a:lnTo>
                    <a:pt x="119" y="486"/>
                  </a:lnTo>
                  <a:lnTo>
                    <a:pt x="72" y="479"/>
                  </a:lnTo>
                  <a:lnTo>
                    <a:pt x="24" y="470"/>
                  </a:lnTo>
                  <a:lnTo>
                    <a:pt x="33" y="428"/>
                  </a:lnTo>
                  <a:lnTo>
                    <a:pt x="39" y="382"/>
                  </a:lnTo>
                  <a:lnTo>
                    <a:pt x="40" y="333"/>
                  </a:lnTo>
                  <a:lnTo>
                    <a:pt x="39" y="284"/>
                  </a:lnTo>
                  <a:lnTo>
                    <a:pt x="33" y="237"/>
                  </a:lnTo>
                  <a:lnTo>
                    <a:pt x="28" y="192"/>
                  </a:lnTo>
                  <a:lnTo>
                    <a:pt x="21" y="151"/>
                  </a:lnTo>
                  <a:lnTo>
                    <a:pt x="12" y="114"/>
                  </a:lnTo>
                  <a:lnTo>
                    <a:pt x="3" y="84"/>
                  </a:lnTo>
                  <a:lnTo>
                    <a:pt x="0" y="66"/>
                  </a:lnTo>
                  <a:lnTo>
                    <a:pt x="3" y="51"/>
                  </a:lnTo>
                  <a:lnTo>
                    <a:pt x="12" y="37"/>
                  </a:lnTo>
                  <a:lnTo>
                    <a:pt x="24" y="24"/>
                  </a:lnTo>
                  <a:lnTo>
                    <a:pt x="42" y="14"/>
                  </a:lnTo>
                  <a:lnTo>
                    <a:pt x="63" y="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4" name="Freeform 292"/>
            <p:cNvSpPr>
              <a:spLocks/>
            </p:cNvSpPr>
            <p:nvPr/>
          </p:nvSpPr>
          <p:spPr bwMode="auto">
            <a:xfrm>
              <a:off x="-3584575" y="4613275"/>
              <a:ext cx="111125" cy="393700"/>
            </a:xfrm>
            <a:custGeom>
              <a:avLst/>
              <a:gdLst>
                <a:gd name="T0" fmla="*/ 43 w 70"/>
                <a:gd name="T1" fmla="*/ 0 h 248"/>
                <a:gd name="T2" fmla="*/ 54 w 70"/>
                <a:gd name="T3" fmla="*/ 4 h 248"/>
                <a:gd name="T4" fmla="*/ 61 w 70"/>
                <a:gd name="T5" fmla="*/ 12 h 248"/>
                <a:gd name="T6" fmla="*/ 66 w 70"/>
                <a:gd name="T7" fmla="*/ 23 h 248"/>
                <a:gd name="T8" fmla="*/ 69 w 70"/>
                <a:gd name="T9" fmla="*/ 39 h 248"/>
                <a:gd name="T10" fmla="*/ 70 w 70"/>
                <a:gd name="T11" fmla="*/ 55 h 248"/>
                <a:gd name="T12" fmla="*/ 69 w 70"/>
                <a:gd name="T13" fmla="*/ 72 h 248"/>
                <a:gd name="T14" fmla="*/ 68 w 70"/>
                <a:gd name="T15" fmla="*/ 90 h 248"/>
                <a:gd name="T16" fmla="*/ 64 w 70"/>
                <a:gd name="T17" fmla="*/ 107 h 248"/>
                <a:gd name="T18" fmla="*/ 61 w 70"/>
                <a:gd name="T19" fmla="*/ 123 h 248"/>
                <a:gd name="T20" fmla="*/ 57 w 70"/>
                <a:gd name="T21" fmla="*/ 142 h 248"/>
                <a:gd name="T22" fmla="*/ 54 w 70"/>
                <a:gd name="T23" fmla="*/ 164 h 248"/>
                <a:gd name="T24" fmla="*/ 50 w 70"/>
                <a:gd name="T25" fmla="*/ 185 h 248"/>
                <a:gd name="T26" fmla="*/ 45 w 70"/>
                <a:gd name="T27" fmla="*/ 205 h 248"/>
                <a:gd name="T28" fmla="*/ 40 w 70"/>
                <a:gd name="T29" fmla="*/ 223 h 248"/>
                <a:gd name="T30" fmla="*/ 33 w 70"/>
                <a:gd name="T31" fmla="*/ 237 h 248"/>
                <a:gd name="T32" fmla="*/ 27 w 70"/>
                <a:gd name="T33" fmla="*/ 245 h 248"/>
                <a:gd name="T34" fmla="*/ 18 w 70"/>
                <a:gd name="T35" fmla="*/ 248 h 248"/>
                <a:gd name="T36" fmla="*/ 13 w 70"/>
                <a:gd name="T37" fmla="*/ 244 h 248"/>
                <a:gd name="T38" fmla="*/ 9 w 70"/>
                <a:gd name="T39" fmla="*/ 232 h 248"/>
                <a:gd name="T40" fmla="*/ 6 w 70"/>
                <a:gd name="T41" fmla="*/ 217 h 248"/>
                <a:gd name="T42" fmla="*/ 4 w 70"/>
                <a:gd name="T43" fmla="*/ 198 h 248"/>
                <a:gd name="T44" fmla="*/ 2 w 70"/>
                <a:gd name="T45" fmla="*/ 176 h 248"/>
                <a:gd name="T46" fmla="*/ 2 w 70"/>
                <a:gd name="T47" fmla="*/ 154 h 248"/>
                <a:gd name="T48" fmla="*/ 1 w 70"/>
                <a:gd name="T49" fmla="*/ 133 h 248"/>
                <a:gd name="T50" fmla="*/ 1 w 70"/>
                <a:gd name="T51" fmla="*/ 114 h 248"/>
                <a:gd name="T52" fmla="*/ 0 w 70"/>
                <a:gd name="T53" fmla="*/ 99 h 248"/>
                <a:gd name="T54" fmla="*/ 0 w 70"/>
                <a:gd name="T55" fmla="*/ 82 h 248"/>
                <a:gd name="T56" fmla="*/ 1 w 70"/>
                <a:gd name="T57" fmla="*/ 65 h 248"/>
                <a:gd name="T58" fmla="*/ 4 w 70"/>
                <a:gd name="T59" fmla="*/ 49 h 248"/>
                <a:gd name="T60" fmla="*/ 7 w 70"/>
                <a:gd name="T61" fmla="*/ 32 h 248"/>
                <a:gd name="T62" fmla="*/ 14 w 70"/>
                <a:gd name="T63" fmla="*/ 19 h 248"/>
                <a:gd name="T64" fmla="*/ 22 w 70"/>
                <a:gd name="T65" fmla="*/ 8 h 248"/>
                <a:gd name="T66" fmla="*/ 32 w 70"/>
                <a:gd name="T67" fmla="*/ 1 h 248"/>
                <a:gd name="T68" fmla="*/ 43 w 70"/>
                <a:gd name="T6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248">
                  <a:moveTo>
                    <a:pt x="43" y="0"/>
                  </a:moveTo>
                  <a:lnTo>
                    <a:pt x="54" y="4"/>
                  </a:lnTo>
                  <a:lnTo>
                    <a:pt x="61" y="12"/>
                  </a:lnTo>
                  <a:lnTo>
                    <a:pt x="66" y="23"/>
                  </a:lnTo>
                  <a:lnTo>
                    <a:pt x="69" y="39"/>
                  </a:lnTo>
                  <a:lnTo>
                    <a:pt x="70" y="55"/>
                  </a:lnTo>
                  <a:lnTo>
                    <a:pt x="69" y="72"/>
                  </a:lnTo>
                  <a:lnTo>
                    <a:pt x="68" y="90"/>
                  </a:lnTo>
                  <a:lnTo>
                    <a:pt x="64" y="107"/>
                  </a:lnTo>
                  <a:lnTo>
                    <a:pt x="61" y="123"/>
                  </a:lnTo>
                  <a:lnTo>
                    <a:pt x="57" y="142"/>
                  </a:lnTo>
                  <a:lnTo>
                    <a:pt x="54" y="164"/>
                  </a:lnTo>
                  <a:lnTo>
                    <a:pt x="50" y="185"/>
                  </a:lnTo>
                  <a:lnTo>
                    <a:pt x="45" y="205"/>
                  </a:lnTo>
                  <a:lnTo>
                    <a:pt x="40" y="223"/>
                  </a:lnTo>
                  <a:lnTo>
                    <a:pt x="33" y="237"/>
                  </a:lnTo>
                  <a:lnTo>
                    <a:pt x="27" y="245"/>
                  </a:lnTo>
                  <a:lnTo>
                    <a:pt x="18" y="248"/>
                  </a:lnTo>
                  <a:lnTo>
                    <a:pt x="13" y="244"/>
                  </a:lnTo>
                  <a:lnTo>
                    <a:pt x="9" y="232"/>
                  </a:lnTo>
                  <a:lnTo>
                    <a:pt x="6" y="217"/>
                  </a:lnTo>
                  <a:lnTo>
                    <a:pt x="4" y="198"/>
                  </a:lnTo>
                  <a:lnTo>
                    <a:pt x="2" y="176"/>
                  </a:lnTo>
                  <a:lnTo>
                    <a:pt x="2" y="154"/>
                  </a:lnTo>
                  <a:lnTo>
                    <a:pt x="1" y="133"/>
                  </a:lnTo>
                  <a:lnTo>
                    <a:pt x="1" y="114"/>
                  </a:lnTo>
                  <a:lnTo>
                    <a:pt x="0" y="99"/>
                  </a:lnTo>
                  <a:lnTo>
                    <a:pt x="0" y="82"/>
                  </a:lnTo>
                  <a:lnTo>
                    <a:pt x="1" y="65"/>
                  </a:lnTo>
                  <a:lnTo>
                    <a:pt x="4" y="49"/>
                  </a:lnTo>
                  <a:lnTo>
                    <a:pt x="7" y="32"/>
                  </a:lnTo>
                  <a:lnTo>
                    <a:pt x="14" y="19"/>
                  </a:lnTo>
                  <a:lnTo>
                    <a:pt x="22" y="8"/>
                  </a:lnTo>
                  <a:lnTo>
                    <a:pt x="32" y="1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5" name="Freeform 293"/>
            <p:cNvSpPr>
              <a:spLocks/>
            </p:cNvSpPr>
            <p:nvPr/>
          </p:nvSpPr>
          <p:spPr bwMode="auto">
            <a:xfrm>
              <a:off x="-3717925" y="4291013"/>
              <a:ext cx="247650" cy="363538"/>
            </a:xfrm>
            <a:custGeom>
              <a:avLst/>
              <a:gdLst>
                <a:gd name="T0" fmla="*/ 70 w 156"/>
                <a:gd name="T1" fmla="*/ 0 h 229"/>
                <a:gd name="T2" fmla="*/ 84 w 156"/>
                <a:gd name="T3" fmla="*/ 20 h 229"/>
                <a:gd name="T4" fmla="*/ 97 w 156"/>
                <a:gd name="T5" fmla="*/ 44 h 229"/>
                <a:gd name="T6" fmla="*/ 109 w 156"/>
                <a:gd name="T7" fmla="*/ 71 h 229"/>
                <a:gd name="T8" fmla="*/ 121 w 156"/>
                <a:gd name="T9" fmla="*/ 102 h 229"/>
                <a:gd name="T10" fmla="*/ 131 w 156"/>
                <a:gd name="T11" fmla="*/ 132 h 229"/>
                <a:gd name="T12" fmla="*/ 140 w 156"/>
                <a:gd name="T13" fmla="*/ 162 h 229"/>
                <a:gd name="T14" fmla="*/ 147 w 156"/>
                <a:gd name="T15" fmla="*/ 189 h 229"/>
                <a:gd name="T16" fmla="*/ 152 w 156"/>
                <a:gd name="T17" fmla="*/ 211 h 229"/>
                <a:gd name="T18" fmla="*/ 156 w 156"/>
                <a:gd name="T19" fmla="*/ 227 h 229"/>
                <a:gd name="T20" fmla="*/ 80 w 156"/>
                <a:gd name="T21" fmla="*/ 229 h 229"/>
                <a:gd name="T22" fmla="*/ 80 w 156"/>
                <a:gd name="T23" fmla="*/ 229 h 229"/>
                <a:gd name="T24" fmla="*/ 75 w 156"/>
                <a:gd name="T25" fmla="*/ 215 h 229"/>
                <a:gd name="T26" fmla="*/ 65 w 156"/>
                <a:gd name="T27" fmla="*/ 195 h 229"/>
                <a:gd name="T28" fmla="*/ 52 w 156"/>
                <a:gd name="T29" fmla="*/ 174 h 229"/>
                <a:gd name="T30" fmla="*/ 38 w 156"/>
                <a:gd name="T31" fmla="*/ 149 h 229"/>
                <a:gd name="T32" fmla="*/ 23 w 156"/>
                <a:gd name="T33" fmla="*/ 122 h 229"/>
                <a:gd name="T34" fmla="*/ 9 w 156"/>
                <a:gd name="T35" fmla="*/ 95 h 229"/>
                <a:gd name="T36" fmla="*/ 3 w 156"/>
                <a:gd name="T37" fmla="*/ 73 h 229"/>
                <a:gd name="T38" fmla="*/ 0 w 156"/>
                <a:gd name="T39" fmla="*/ 53 h 229"/>
                <a:gd name="T40" fmla="*/ 4 w 156"/>
                <a:gd name="T41" fmla="*/ 36 h 229"/>
                <a:gd name="T42" fmla="*/ 13 w 156"/>
                <a:gd name="T43" fmla="*/ 23 h 229"/>
                <a:gd name="T44" fmla="*/ 25 w 156"/>
                <a:gd name="T45" fmla="*/ 12 h 229"/>
                <a:gd name="T46" fmla="*/ 38 w 156"/>
                <a:gd name="T47" fmla="*/ 4 h 229"/>
                <a:gd name="T48" fmla="*/ 53 w 156"/>
                <a:gd name="T49" fmla="*/ 0 h 229"/>
                <a:gd name="T50" fmla="*/ 70 w 156"/>
                <a:gd name="T51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6" h="229">
                  <a:moveTo>
                    <a:pt x="70" y="0"/>
                  </a:moveTo>
                  <a:lnTo>
                    <a:pt x="84" y="20"/>
                  </a:lnTo>
                  <a:lnTo>
                    <a:pt x="97" y="44"/>
                  </a:lnTo>
                  <a:lnTo>
                    <a:pt x="109" y="71"/>
                  </a:lnTo>
                  <a:lnTo>
                    <a:pt x="121" y="102"/>
                  </a:lnTo>
                  <a:lnTo>
                    <a:pt x="131" y="132"/>
                  </a:lnTo>
                  <a:lnTo>
                    <a:pt x="140" y="162"/>
                  </a:lnTo>
                  <a:lnTo>
                    <a:pt x="147" y="189"/>
                  </a:lnTo>
                  <a:lnTo>
                    <a:pt x="152" y="211"/>
                  </a:lnTo>
                  <a:lnTo>
                    <a:pt x="156" y="227"/>
                  </a:lnTo>
                  <a:lnTo>
                    <a:pt x="80" y="229"/>
                  </a:lnTo>
                  <a:lnTo>
                    <a:pt x="80" y="229"/>
                  </a:lnTo>
                  <a:lnTo>
                    <a:pt x="75" y="215"/>
                  </a:lnTo>
                  <a:lnTo>
                    <a:pt x="65" y="195"/>
                  </a:lnTo>
                  <a:lnTo>
                    <a:pt x="52" y="174"/>
                  </a:lnTo>
                  <a:lnTo>
                    <a:pt x="38" y="149"/>
                  </a:lnTo>
                  <a:lnTo>
                    <a:pt x="23" y="122"/>
                  </a:lnTo>
                  <a:lnTo>
                    <a:pt x="9" y="95"/>
                  </a:lnTo>
                  <a:lnTo>
                    <a:pt x="3" y="73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3" y="23"/>
                  </a:lnTo>
                  <a:lnTo>
                    <a:pt x="25" y="12"/>
                  </a:lnTo>
                  <a:lnTo>
                    <a:pt x="38" y="4"/>
                  </a:lnTo>
                  <a:lnTo>
                    <a:pt x="53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6" name="Freeform 294"/>
            <p:cNvSpPr>
              <a:spLocks/>
            </p:cNvSpPr>
            <p:nvPr/>
          </p:nvSpPr>
          <p:spPr bwMode="auto">
            <a:xfrm>
              <a:off x="-3678238" y="4291013"/>
              <a:ext cx="207963" cy="360363"/>
            </a:xfrm>
            <a:custGeom>
              <a:avLst/>
              <a:gdLst>
                <a:gd name="T0" fmla="*/ 32 w 131"/>
                <a:gd name="T1" fmla="*/ 0 h 227"/>
                <a:gd name="T2" fmla="*/ 118 w 131"/>
                <a:gd name="T3" fmla="*/ 175 h 227"/>
                <a:gd name="T4" fmla="*/ 123 w 131"/>
                <a:gd name="T5" fmla="*/ 195 h 227"/>
                <a:gd name="T6" fmla="*/ 128 w 131"/>
                <a:gd name="T7" fmla="*/ 213 h 227"/>
                <a:gd name="T8" fmla="*/ 131 w 131"/>
                <a:gd name="T9" fmla="*/ 227 h 227"/>
                <a:gd name="T10" fmla="*/ 106 w 131"/>
                <a:gd name="T11" fmla="*/ 227 h 227"/>
                <a:gd name="T12" fmla="*/ 0 w 131"/>
                <a:gd name="T13" fmla="*/ 12 h 227"/>
                <a:gd name="T14" fmla="*/ 15 w 131"/>
                <a:gd name="T15" fmla="*/ 4 h 227"/>
                <a:gd name="T16" fmla="*/ 32 w 131"/>
                <a:gd name="T17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227">
                  <a:moveTo>
                    <a:pt x="32" y="0"/>
                  </a:moveTo>
                  <a:lnTo>
                    <a:pt x="118" y="175"/>
                  </a:lnTo>
                  <a:lnTo>
                    <a:pt x="123" y="195"/>
                  </a:lnTo>
                  <a:lnTo>
                    <a:pt x="128" y="213"/>
                  </a:lnTo>
                  <a:lnTo>
                    <a:pt x="131" y="227"/>
                  </a:lnTo>
                  <a:lnTo>
                    <a:pt x="106" y="227"/>
                  </a:lnTo>
                  <a:lnTo>
                    <a:pt x="0" y="12"/>
                  </a:lnTo>
                  <a:lnTo>
                    <a:pt x="15" y="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7" name="Freeform 295"/>
            <p:cNvSpPr>
              <a:spLocks noEditPoints="1"/>
            </p:cNvSpPr>
            <p:nvPr/>
          </p:nvSpPr>
          <p:spPr bwMode="auto">
            <a:xfrm>
              <a:off x="-3714750" y="4398963"/>
              <a:ext cx="125413" cy="255588"/>
            </a:xfrm>
            <a:custGeom>
              <a:avLst/>
              <a:gdLst>
                <a:gd name="T0" fmla="*/ 75 w 79"/>
                <a:gd name="T1" fmla="*/ 154 h 161"/>
                <a:gd name="T2" fmla="*/ 79 w 79"/>
                <a:gd name="T3" fmla="*/ 161 h 161"/>
                <a:gd name="T4" fmla="*/ 78 w 79"/>
                <a:gd name="T5" fmla="*/ 161 h 161"/>
                <a:gd name="T6" fmla="*/ 78 w 79"/>
                <a:gd name="T7" fmla="*/ 161 h 161"/>
                <a:gd name="T8" fmla="*/ 75 w 79"/>
                <a:gd name="T9" fmla="*/ 154 h 161"/>
                <a:gd name="T10" fmla="*/ 0 w 79"/>
                <a:gd name="T11" fmla="*/ 0 h 161"/>
                <a:gd name="T12" fmla="*/ 60 w 79"/>
                <a:gd name="T13" fmla="*/ 124 h 161"/>
                <a:gd name="T14" fmla="*/ 43 w 79"/>
                <a:gd name="T15" fmla="*/ 94 h 161"/>
                <a:gd name="T16" fmla="*/ 25 w 79"/>
                <a:gd name="T17" fmla="*/ 62 h 161"/>
                <a:gd name="T18" fmla="*/ 7 w 79"/>
                <a:gd name="T19" fmla="*/ 27 h 161"/>
                <a:gd name="T20" fmla="*/ 2 w 79"/>
                <a:gd name="T21" fmla="*/ 13 h 161"/>
                <a:gd name="T22" fmla="*/ 0 w 79"/>
                <a:gd name="T2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161">
                  <a:moveTo>
                    <a:pt x="75" y="154"/>
                  </a:moveTo>
                  <a:lnTo>
                    <a:pt x="79" y="161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5" y="154"/>
                  </a:lnTo>
                  <a:close/>
                  <a:moveTo>
                    <a:pt x="0" y="0"/>
                  </a:moveTo>
                  <a:lnTo>
                    <a:pt x="60" y="124"/>
                  </a:lnTo>
                  <a:lnTo>
                    <a:pt x="43" y="94"/>
                  </a:lnTo>
                  <a:lnTo>
                    <a:pt x="25" y="62"/>
                  </a:lnTo>
                  <a:lnTo>
                    <a:pt x="7" y="27"/>
                  </a:lnTo>
                  <a:lnTo>
                    <a:pt x="2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8" name="Freeform 296"/>
            <p:cNvSpPr>
              <a:spLocks/>
            </p:cNvSpPr>
            <p:nvPr/>
          </p:nvSpPr>
          <p:spPr bwMode="auto">
            <a:xfrm>
              <a:off x="-3700463" y="4291013"/>
              <a:ext cx="80963" cy="41275"/>
            </a:xfrm>
            <a:custGeom>
              <a:avLst/>
              <a:gdLst>
                <a:gd name="T0" fmla="*/ 51 w 51"/>
                <a:gd name="T1" fmla="*/ 0 h 26"/>
                <a:gd name="T2" fmla="*/ 0 w 51"/>
                <a:gd name="T3" fmla="*/ 26 h 26"/>
                <a:gd name="T4" fmla="*/ 10 w 51"/>
                <a:gd name="T5" fmla="*/ 14 h 26"/>
                <a:gd name="T6" fmla="*/ 23 w 51"/>
                <a:gd name="T7" fmla="*/ 7 h 26"/>
                <a:gd name="T8" fmla="*/ 37 w 51"/>
                <a:gd name="T9" fmla="*/ 2 h 26"/>
                <a:gd name="T10" fmla="*/ 51 w 51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6">
                  <a:moveTo>
                    <a:pt x="51" y="0"/>
                  </a:moveTo>
                  <a:lnTo>
                    <a:pt x="0" y="26"/>
                  </a:lnTo>
                  <a:lnTo>
                    <a:pt x="10" y="14"/>
                  </a:lnTo>
                  <a:lnTo>
                    <a:pt x="23" y="7"/>
                  </a:lnTo>
                  <a:lnTo>
                    <a:pt x="37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9" name="Freeform 297"/>
            <p:cNvSpPr>
              <a:spLocks/>
            </p:cNvSpPr>
            <p:nvPr/>
          </p:nvSpPr>
          <p:spPr bwMode="auto">
            <a:xfrm>
              <a:off x="-3711575" y="4348163"/>
              <a:ext cx="163513" cy="119063"/>
            </a:xfrm>
            <a:custGeom>
              <a:avLst/>
              <a:gdLst>
                <a:gd name="T0" fmla="*/ 89 w 103"/>
                <a:gd name="T1" fmla="*/ 0 h 75"/>
                <a:gd name="T2" fmla="*/ 103 w 103"/>
                <a:gd name="T3" fmla="*/ 31 h 75"/>
                <a:gd name="T4" fmla="*/ 14 w 103"/>
                <a:gd name="T5" fmla="*/ 75 h 75"/>
                <a:gd name="T6" fmla="*/ 5 w 103"/>
                <a:gd name="T7" fmla="*/ 59 h 75"/>
                <a:gd name="T8" fmla="*/ 3 w 103"/>
                <a:gd name="T9" fmla="*/ 52 h 75"/>
                <a:gd name="T10" fmla="*/ 0 w 103"/>
                <a:gd name="T11" fmla="*/ 44 h 75"/>
                <a:gd name="T12" fmla="*/ 89 w 103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5">
                  <a:moveTo>
                    <a:pt x="89" y="0"/>
                  </a:moveTo>
                  <a:lnTo>
                    <a:pt x="103" y="31"/>
                  </a:lnTo>
                  <a:lnTo>
                    <a:pt x="14" y="75"/>
                  </a:lnTo>
                  <a:lnTo>
                    <a:pt x="5" y="59"/>
                  </a:lnTo>
                  <a:lnTo>
                    <a:pt x="3" y="52"/>
                  </a:lnTo>
                  <a:lnTo>
                    <a:pt x="0" y="44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0" name="Freeform 298"/>
            <p:cNvSpPr>
              <a:spLocks/>
            </p:cNvSpPr>
            <p:nvPr/>
          </p:nvSpPr>
          <p:spPr bwMode="auto">
            <a:xfrm>
              <a:off x="-3654425" y="4464050"/>
              <a:ext cx="149225" cy="114300"/>
            </a:xfrm>
            <a:custGeom>
              <a:avLst/>
              <a:gdLst>
                <a:gd name="T0" fmla="*/ 84 w 94"/>
                <a:gd name="T1" fmla="*/ 0 h 72"/>
                <a:gd name="T2" fmla="*/ 94 w 94"/>
                <a:gd name="T3" fmla="*/ 34 h 72"/>
                <a:gd name="T4" fmla="*/ 17 w 94"/>
                <a:gd name="T5" fmla="*/ 72 h 72"/>
                <a:gd name="T6" fmla="*/ 0 w 94"/>
                <a:gd name="T7" fmla="*/ 43 h 72"/>
                <a:gd name="T8" fmla="*/ 84 w 94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72">
                  <a:moveTo>
                    <a:pt x="84" y="0"/>
                  </a:moveTo>
                  <a:lnTo>
                    <a:pt x="94" y="34"/>
                  </a:lnTo>
                  <a:lnTo>
                    <a:pt x="17" y="72"/>
                  </a:lnTo>
                  <a:lnTo>
                    <a:pt x="0" y="43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1" name="Freeform 299"/>
            <p:cNvSpPr>
              <a:spLocks/>
            </p:cNvSpPr>
            <p:nvPr/>
          </p:nvSpPr>
          <p:spPr bwMode="auto">
            <a:xfrm>
              <a:off x="-3595688" y="4589463"/>
              <a:ext cx="122238" cy="65088"/>
            </a:xfrm>
            <a:custGeom>
              <a:avLst/>
              <a:gdLst>
                <a:gd name="T0" fmla="*/ 70 w 77"/>
                <a:gd name="T1" fmla="*/ 0 h 41"/>
                <a:gd name="T2" fmla="*/ 73 w 77"/>
                <a:gd name="T3" fmla="*/ 19 h 41"/>
                <a:gd name="T4" fmla="*/ 77 w 77"/>
                <a:gd name="T5" fmla="*/ 34 h 41"/>
                <a:gd name="T6" fmla="*/ 66 w 77"/>
                <a:gd name="T7" fmla="*/ 39 h 41"/>
                <a:gd name="T8" fmla="*/ 3 w 77"/>
                <a:gd name="T9" fmla="*/ 41 h 41"/>
                <a:gd name="T10" fmla="*/ 3 w 77"/>
                <a:gd name="T11" fmla="*/ 41 h 41"/>
                <a:gd name="T12" fmla="*/ 2 w 77"/>
                <a:gd name="T13" fmla="*/ 38 h 41"/>
                <a:gd name="T14" fmla="*/ 0 w 77"/>
                <a:gd name="T15" fmla="*/ 33 h 41"/>
                <a:gd name="T16" fmla="*/ 70 w 77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1">
                  <a:moveTo>
                    <a:pt x="70" y="0"/>
                  </a:moveTo>
                  <a:lnTo>
                    <a:pt x="73" y="19"/>
                  </a:lnTo>
                  <a:lnTo>
                    <a:pt x="77" y="34"/>
                  </a:lnTo>
                  <a:lnTo>
                    <a:pt x="66" y="39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38"/>
                  </a:lnTo>
                  <a:lnTo>
                    <a:pt x="0" y="33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2" name="Freeform 300"/>
            <p:cNvSpPr>
              <a:spLocks/>
            </p:cNvSpPr>
            <p:nvPr/>
          </p:nvSpPr>
          <p:spPr bwMode="auto">
            <a:xfrm>
              <a:off x="-3678238" y="4291013"/>
              <a:ext cx="52388" cy="26988"/>
            </a:xfrm>
            <a:custGeom>
              <a:avLst/>
              <a:gdLst>
                <a:gd name="T0" fmla="*/ 32 w 33"/>
                <a:gd name="T1" fmla="*/ 0 h 17"/>
                <a:gd name="T2" fmla="*/ 33 w 33"/>
                <a:gd name="T3" fmla="*/ 2 h 17"/>
                <a:gd name="T4" fmla="*/ 2 w 33"/>
                <a:gd name="T5" fmla="*/ 17 h 17"/>
                <a:gd name="T6" fmla="*/ 0 w 33"/>
                <a:gd name="T7" fmla="*/ 12 h 17"/>
                <a:gd name="T8" fmla="*/ 15 w 33"/>
                <a:gd name="T9" fmla="*/ 4 h 17"/>
                <a:gd name="T10" fmla="*/ 32 w 3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32" y="0"/>
                  </a:moveTo>
                  <a:lnTo>
                    <a:pt x="33" y="2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15" y="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3" name="Freeform 301"/>
            <p:cNvSpPr>
              <a:spLocks/>
            </p:cNvSpPr>
            <p:nvPr/>
          </p:nvSpPr>
          <p:spPr bwMode="auto">
            <a:xfrm>
              <a:off x="-3641725" y="4359275"/>
              <a:ext cx="73025" cy="73025"/>
            </a:xfrm>
            <a:custGeom>
              <a:avLst/>
              <a:gdLst>
                <a:gd name="T0" fmla="*/ 31 w 46"/>
                <a:gd name="T1" fmla="*/ 0 h 46"/>
                <a:gd name="T2" fmla="*/ 46 w 46"/>
                <a:gd name="T3" fmla="*/ 30 h 46"/>
                <a:gd name="T4" fmla="*/ 15 w 46"/>
                <a:gd name="T5" fmla="*/ 46 h 46"/>
                <a:gd name="T6" fmla="*/ 0 w 46"/>
                <a:gd name="T7" fmla="*/ 15 h 46"/>
                <a:gd name="T8" fmla="*/ 31 w 46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31" y="0"/>
                  </a:moveTo>
                  <a:lnTo>
                    <a:pt x="46" y="30"/>
                  </a:lnTo>
                  <a:lnTo>
                    <a:pt x="15" y="46"/>
                  </a:lnTo>
                  <a:lnTo>
                    <a:pt x="0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4" name="Freeform 302"/>
            <p:cNvSpPr>
              <a:spLocks/>
            </p:cNvSpPr>
            <p:nvPr/>
          </p:nvSpPr>
          <p:spPr bwMode="auto">
            <a:xfrm>
              <a:off x="-3711575" y="4416425"/>
              <a:ext cx="28575" cy="50800"/>
            </a:xfrm>
            <a:custGeom>
              <a:avLst/>
              <a:gdLst>
                <a:gd name="T0" fmla="*/ 3 w 18"/>
                <a:gd name="T1" fmla="*/ 0 h 32"/>
                <a:gd name="T2" fmla="*/ 18 w 18"/>
                <a:gd name="T3" fmla="*/ 30 h 32"/>
                <a:gd name="T4" fmla="*/ 14 w 18"/>
                <a:gd name="T5" fmla="*/ 32 h 32"/>
                <a:gd name="T6" fmla="*/ 5 w 18"/>
                <a:gd name="T7" fmla="*/ 16 h 32"/>
                <a:gd name="T8" fmla="*/ 3 w 18"/>
                <a:gd name="T9" fmla="*/ 9 h 32"/>
                <a:gd name="T10" fmla="*/ 0 w 18"/>
                <a:gd name="T11" fmla="*/ 1 h 32"/>
                <a:gd name="T12" fmla="*/ 3 w 18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32">
                  <a:moveTo>
                    <a:pt x="3" y="0"/>
                  </a:moveTo>
                  <a:lnTo>
                    <a:pt x="18" y="30"/>
                  </a:lnTo>
                  <a:lnTo>
                    <a:pt x="14" y="32"/>
                  </a:lnTo>
                  <a:lnTo>
                    <a:pt x="5" y="16"/>
                  </a:lnTo>
                  <a:lnTo>
                    <a:pt x="3" y="9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5" name="Freeform 303"/>
            <p:cNvSpPr>
              <a:spLocks/>
            </p:cNvSpPr>
            <p:nvPr/>
          </p:nvSpPr>
          <p:spPr bwMode="auto">
            <a:xfrm>
              <a:off x="-3587750" y="4473575"/>
              <a:ext cx="74613" cy="73025"/>
            </a:xfrm>
            <a:custGeom>
              <a:avLst/>
              <a:gdLst>
                <a:gd name="T0" fmla="*/ 31 w 47"/>
                <a:gd name="T1" fmla="*/ 0 h 46"/>
                <a:gd name="T2" fmla="*/ 47 w 47"/>
                <a:gd name="T3" fmla="*/ 30 h 46"/>
                <a:gd name="T4" fmla="*/ 16 w 47"/>
                <a:gd name="T5" fmla="*/ 46 h 46"/>
                <a:gd name="T6" fmla="*/ 0 w 47"/>
                <a:gd name="T7" fmla="*/ 15 h 46"/>
                <a:gd name="T8" fmla="*/ 31 w 4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6">
                  <a:moveTo>
                    <a:pt x="31" y="0"/>
                  </a:moveTo>
                  <a:lnTo>
                    <a:pt x="47" y="30"/>
                  </a:lnTo>
                  <a:lnTo>
                    <a:pt x="16" y="46"/>
                  </a:lnTo>
                  <a:lnTo>
                    <a:pt x="0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6" name="Freeform 304"/>
            <p:cNvSpPr>
              <a:spLocks/>
            </p:cNvSpPr>
            <p:nvPr/>
          </p:nvSpPr>
          <p:spPr bwMode="auto">
            <a:xfrm>
              <a:off x="-3654425" y="4529138"/>
              <a:ext cx="26988" cy="49213"/>
            </a:xfrm>
            <a:custGeom>
              <a:avLst/>
              <a:gdLst>
                <a:gd name="T0" fmla="*/ 1 w 17"/>
                <a:gd name="T1" fmla="*/ 0 h 31"/>
                <a:gd name="T2" fmla="*/ 17 w 17"/>
                <a:gd name="T3" fmla="*/ 31 h 31"/>
                <a:gd name="T4" fmla="*/ 17 w 17"/>
                <a:gd name="T5" fmla="*/ 31 h 31"/>
                <a:gd name="T6" fmla="*/ 0 w 17"/>
                <a:gd name="T7" fmla="*/ 2 h 31"/>
                <a:gd name="T8" fmla="*/ 1 w 1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1">
                  <a:moveTo>
                    <a:pt x="1" y="0"/>
                  </a:moveTo>
                  <a:lnTo>
                    <a:pt x="17" y="31"/>
                  </a:lnTo>
                  <a:lnTo>
                    <a:pt x="17" y="3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7" name="Freeform 305"/>
            <p:cNvSpPr>
              <a:spLocks/>
            </p:cNvSpPr>
            <p:nvPr/>
          </p:nvSpPr>
          <p:spPr bwMode="auto">
            <a:xfrm>
              <a:off x="-3530600" y="4589463"/>
              <a:ext cx="57150" cy="61913"/>
            </a:xfrm>
            <a:custGeom>
              <a:avLst/>
              <a:gdLst>
                <a:gd name="T0" fmla="*/ 29 w 36"/>
                <a:gd name="T1" fmla="*/ 0 h 39"/>
                <a:gd name="T2" fmla="*/ 32 w 36"/>
                <a:gd name="T3" fmla="*/ 19 h 39"/>
                <a:gd name="T4" fmla="*/ 36 w 36"/>
                <a:gd name="T5" fmla="*/ 34 h 39"/>
                <a:gd name="T6" fmla="*/ 25 w 36"/>
                <a:gd name="T7" fmla="*/ 39 h 39"/>
                <a:gd name="T8" fmla="*/ 13 w 36"/>
                <a:gd name="T9" fmla="*/ 39 h 39"/>
                <a:gd name="T10" fmla="*/ 0 w 36"/>
                <a:gd name="T11" fmla="*/ 14 h 39"/>
                <a:gd name="T12" fmla="*/ 29 w 36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9">
                  <a:moveTo>
                    <a:pt x="29" y="0"/>
                  </a:moveTo>
                  <a:lnTo>
                    <a:pt x="32" y="19"/>
                  </a:lnTo>
                  <a:lnTo>
                    <a:pt x="36" y="34"/>
                  </a:lnTo>
                  <a:lnTo>
                    <a:pt x="25" y="39"/>
                  </a:lnTo>
                  <a:lnTo>
                    <a:pt x="13" y="39"/>
                  </a:lnTo>
                  <a:lnTo>
                    <a:pt x="0" y="1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8" name="Freeform 306"/>
            <p:cNvSpPr>
              <a:spLocks/>
            </p:cNvSpPr>
            <p:nvPr/>
          </p:nvSpPr>
          <p:spPr bwMode="auto">
            <a:xfrm>
              <a:off x="-3595688" y="4643438"/>
              <a:ext cx="6350" cy="11113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3 w 4"/>
                <a:gd name="T5" fmla="*/ 7 h 7"/>
                <a:gd name="T6" fmla="*/ 3 w 4"/>
                <a:gd name="T7" fmla="*/ 7 h 7"/>
                <a:gd name="T8" fmla="*/ 0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9" name="Freeform 307"/>
            <p:cNvSpPr>
              <a:spLocks/>
            </p:cNvSpPr>
            <p:nvPr/>
          </p:nvSpPr>
          <p:spPr bwMode="auto">
            <a:xfrm>
              <a:off x="-3798888" y="4216400"/>
              <a:ext cx="209550" cy="912813"/>
            </a:xfrm>
            <a:custGeom>
              <a:avLst/>
              <a:gdLst>
                <a:gd name="T0" fmla="*/ 0 w 132"/>
                <a:gd name="T1" fmla="*/ 0 h 575"/>
                <a:gd name="T2" fmla="*/ 30 w 132"/>
                <a:gd name="T3" fmla="*/ 2 h 575"/>
                <a:gd name="T4" fmla="*/ 58 w 132"/>
                <a:gd name="T5" fmla="*/ 9 h 575"/>
                <a:gd name="T6" fmla="*/ 83 w 132"/>
                <a:gd name="T7" fmla="*/ 19 h 575"/>
                <a:gd name="T8" fmla="*/ 105 w 132"/>
                <a:gd name="T9" fmla="*/ 32 h 575"/>
                <a:gd name="T10" fmla="*/ 122 w 132"/>
                <a:gd name="T11" fmla="*/ 47 h 575"/>
                <a:gd name="T12" fmla="*/ 132 w 132"/>
                <a:gd name="T13" fmla="*/ 64 h 575"/>
                <a:gd name="T14" fmla="*/ 127 w 132"/>
                <a:gd name="T15" fmla="*/ 70 h 575"/>
                <a:gd name="T16" fmla="*/ 121 w 132"/>
                <a:gd name="T17" fmla="*/ 82 h 575"/>
                <a:gd name="T18" fmla="*/ 113 w 132"/>
                <a:gd name="T19" fmla="*/ 99 h 575"/>
                <a:gd name="T20" fmla="*/ 105 w 132"/>
                <a:gd name="T21" fmla="*/ 118 h 575"/>
                <a:gd name="T22" fmla="*/ 99 w 132"/>
                <a:gd name="T23" fmla="*/ 140 h 575"/>
                <a:gd name="T24" fmla="*/ 95 w 132"/>
                <a:gd name="T25" fmla="*/ 162 h 575"/>
                <a:gd name="T26" fmla="*/ 92 w 132"/>
                <a:gd name="T27" fmla="*/ 185 h 575"/>
                <a:gd name="T28" fmla="*/ 94 w 132"/>
                <a:gd name="T29" fmla="*/ 205 h 575"/>
                <a:gd name="T30" fmla="*/ 96 w 132"/>
                <a:gd name="T31" fmla="*/ 232 h 575"/>
                <a:gd name="T32" fmla="*/ 98 w 132"/>
                <a:gd name="T33" fmla="*/ 264 h 575"/>
                <a:gd name="T34" fmla="*/ 99 w 132"/>
                <a:gd name="T35" fmla="*/ 300 h 575"/>
                <a:gd name="T36" fmla="*/ 100 w 132"/>
                <a:gd name="T37" fmla="*/ 339 h 575"/>
                <a:gd name="T38" fmla="*/ 101 w 132"/>
                <a:gd name="T39" fmla="*/ 377 h 575"/>
                <a:gd name="T40" fmla="*/ 104 w 132"/>
                <a:gd name="T41" fmla="*/ 414 h 575"/>
                <a:gd name="T42" fmla="*/ 110 w 132"/>
                <a:gd name="T43" fmla="*/ 448 h 575"/>
                <a:gd name="T44" fmla="*/ 113 w 132"/>
                <a:gd name="T45" fmla="*/ 473 h 575"/>
                <a:gd name="T46" fmla="*/ 112 w 132"/>
                <a:gd name="T47" fmla="*/ 496 h 575"/>
                <a:gd name="T48" fmla="*/ 107 w 132"/>
                <a:gd name="T49" fmla="*/ 517 h 575"/>
                <a:gd name="T50" fmla="*/ 98 w 132"/>
                <a:gd name="T51" fmla="*/ 534 h 575"/>
                <a:gd name="T52" fmla="*/ 86 w 132"/>
                <a:gd name="T53" fmla="*/ 549 h 575"/>
                <a:gd name="T54" fmla="*/ 72 w 132"/>
                <a:gd name="T55" fmla="*/ 561 h 575"/>
                <a:gd name="T56" fmla="*/ 56 w 132"/>
                <a:gd name="T57" fmla="*/ 568 h 575"/>
                <a:gd name="T58" fmla="*/ 41 w 132"/>
                <a:gd name="T59" fmla="*/ 575 h 575"/>
                <a:gd name="T60" fmla="*/ 41 w 132"/>
                <a:gd name="T61" fmla="*/ 571 h 575"/>
                <a:gd name="T62" fmla="*/ 41 w 132"/>
                <a:gd name="T63" fmla="*/ 561 h 575"/>
                <a:gd name="T64" fmla="*/ 41 w 132"/>
                <a:gd name="T65" fmla="*/ 544 h 575"/>
                <a:gd name="T66" fmla="*/ 41 w 132"/>
                <a:gd name="T67" fmla="*/ 525 h 575"/>
                <a:gd name="T68" fmla="*/ 40 w 132"/>
                <a:gd name="T69" fmla="*/ 500 h 575"/>
                <a:gd name="T70" fmla="*/ 39 w 132"/>
                <a:gd name="T71" fmla="*/ 475 h 575"/>
                <a:gd name="T72" fmla="*/ 36 w 132"/>
                <a:gd name="T73" fmla="*/ 448 h 575"/>
                <a:gd name="T74" fmla="*/ 32 w 132"/>
                <a:gd name="T75" fmla="*/ 416 h 575"/>
                <a:gd name="T76" fmla="*/ 30 w 132"/>
                <a:gd name="T77" fmla="*/ 377 h 575"/>
                <a:gd name="T78" fmla="*/ 27 w 132"/>
                <a:gd name="T79" fmla="*/ 333 h 575"/>
                <a:gd name="T80" fmla="*/ 24 w 132"/>
                <a:gd name="T81" fmla="*/ 289 h 575"/>
                <a:gd name="T82" fmla="*/ 22 w 132"/>
                <a:gd name="T83" fmla="*/ 240 h 575"/>
                <a:gd name="T84" fmla="*/ 19 w 132"/>
                <a:gd name="T85" fmla="*/ 192 h 575"/>
                <a:gd name="T86" fmla="*/ 17 w 132"/>
                <a:gd name="T87" fmla="*/ 146 h 575"/>
                <a:gd name="T88" fmla="*/ 13 w 132"/>
                <a:gd name="T89" fmla="*/ 103 h 575"/>
                <a:gd name="T90" fmla="*/ 9 w 132"/>
                <a:gd name="T91" fmla="*/ 61 h 575"/>
                <a:gd name="T92" fmla="*/ 5 w 132"/>
                <a:gd name="T93" fmla="*/ 28 h 575"/>
                <a:gd name="T94" fmla="*/ 0 w 132"/>
                <a:gd name="T95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" h="575">
                  <a:moveTo>
                    <a:pt x="0" y="0"/>
                  </a:moveTo>
                  <a:lnTo>
                    <a:pt x="30" y="2"/>
                  </a:lnTo>
                  <a:lnTo>
                    <a:pt x="58" y="9"/>
                  </a:lnTo>
                  <a:lnTo>
                    <a:pt x="83" y="19"/>
                  </a:lnTo>
                  <a:lnTo>
                    <a:pt x="105" y="32"/>
                  </a:lnTo>
                  <a:lnTo>
                    <a:pt x="122" y="47"/>
                  </a:lnTo>
                  <a:lnTo>
                    <a:pt x="132" y="64"/>
                  </a:lnTo>
                  <a:lnTo>
                    <a:pt x="127" y="70"/>
                  </a:lnTo>
                  <a:lnTo>
                    <a:pt x="121" y="82"/>
                  </a:lnTo>
                  <a:lnTo>
                    <a:pt x="113" y="99"/>
                  </a:lnTo>
                  <a:lnTo>
                    <a:pt x="105" y="118"/>
                  </a:lnTo>
                  <a:lnTo>
                    <a:pt x="99" y="140"/>
                  </a:lnTo>
                  <a:lnTo>
                    <a:pt x="95" y="162"/>
                  </a:lnTo>
                  <a:lnTo>
                    <a:pt x="92" y="185"/>
                  </a:lnTo>
                  <a:lnTo>
                    <a:pt x="94" y="205"/>
                  </a:lnTo>
                  <a:lnTo>
                    <a:pt x="96" y="232"/>
                  </a:lnTo>
                  <a:lnTo>
                    <a:pt x="98" y="264"/>
                  </a:lnTo>
                  <a:lnTo>
                    <a:pt x="99" y="300"/>
                  </a:lnTo>
                  <a:lnTo>
                    <a:pt x="100" y="339"/>
                  </a:lnTo>
                  <a:lnTo>
                    <a:pt x="101" y="377"/>
                  </a:lnTo>
                  <a:lnTo>
                    <a:pt x="104" y="414"/>
                  </a:lnTo>
                  <a:lnTo>
                    <a:pt x="110" y="448"/>
                  </a:lnTo>
                  <a:lnTo>
                    <a:pt x="113" y="473"/>
                  </a:lnTo>
                  <a:lnTo>
                    <a:pt x="112" y="496"/>
                  </a:lnTo>
                  <a:lnTo>
                    <a:pt x="107" y="517"/>
                  </a:lnTo>
                  <a:lnTo>
                    <a:pt x="98" y="534"/>
                  </a:lnTo>
                  <a:lnTo>
                    <a:pt x="86" y="549"/>
                  </a:lnTo>
                  <a:lnTo>
                    <a:pt x="72" y="561"/>
                  </a:lnTo>
                  <a:lnTo>
                    <a:pt x="56" y="568"/>
                  </a:lnTo>
                  <a:lnTo>
                    <a:pt x="41" y="575"/>
                  </a:lnTo>
                  <a:lnTo>
                    <a:pt x="41" y="571"/>
                  </a:lnTo>
                  <a:lnTo>
                    <a:pt x="41" y="561"/>
                  </a:lnTo>
                  <a:lnTo>
                    <a:pt x="41" y="544"/>
                  </a:lnTo>
                  <a:lnTo>
                    <a:pt x="41" y="525"/>
                  </a:lnTo>
                  <a:lnTo>
                    <a:pt x="40" y="500"/>
                  </a:lnTo>
                  <a:lnTo>
                    <a:pt x="39" y="475"/>
                  </a:lnTo>
                  <a:lnTo>
                    <a:pt x="36" y="448"/>
                  </a:lnTo>
                  <a:lnTo>
                    <a:pt x="32" y="416"/>
                  </a:lnTo>
                  <a:lnTo>
                    <a:pt x="30" y="377"/>
                  </a:lnTo>
                  <a:lnTo>
                    <a:pt x="27" y="333"/>
                  </a:lnTo>
                  <a:lnTo>
                    <a:pt x="24" y="289"/>
                  </a:lnTo>
                  <a:lnTo>
                    <a:pt x="22" y="240"/>
                  </a:lnTo>
                  <a:lnTo>
                    <a:pt x="19" y="192"/>
                  </a:lnTo>
                  <a:lnTo>
                    <a:pt x="17" y="146"/>
                  </a:lnTo>
                  <a:lnTo>
                    <a:pt x="13" y="103"/>
                  </a:lnTo>
                  <a:lnTo>
                    <a:pt x="9" y="61"/>
                  </a:lnTo>
                  <a:lnTo>
                    <a:pt x="5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0" name="Freeform 308"/>
            <p:cNvSpPr>
              <a:spLocks/>
            </p:cNvSpPr>
            <p:nvPr/>
          </p:nvSpPr>
          <p:spPr bwMode="auto">
            <a:xfrm>
              <a:off x="-3590925" y="4651375"/>
              <a:ext cx="122238" cy="263525"/>
            </a:xfrm>
            <a:custGeom>
              <a:avLst/>
              <a:gdLst>
                <a:gd name="T0" fmla="*/ 76 w 77"/>
                <a:gd name="T1" fmla="*/ 0 h 166"/>
                <a:gd name="T2" fmla="*/ 76 w 77"/>
                <a:gd name="T3" fmla="*/ 3 h 166"/>
                <a:gd name="T4" fmla="*/ 76 w 77"/>
                <a:gd name="T5" fmla="*/ 6 h 166"/>
                <a:gd name="T6" fmla="*/ 77 w 77"/>
                <a:gd name="T7" fmla="*/ 18 h 166"/>
                <a:gd name="T8" fmla="*/ 77 w 77"/>
                <a:gd name="T9" fmla="*/ 38 h 166"/>
                <a:gd name="T10" fmla="*/ 76 w 77"/>
                <a:gd name="T11" fmla="*/ 59 h 166"/>
                <a:gd name="T12" fmla="*/ 73 w 77"/>
                <a:gd name="T13" fmla="*/ 84 h 166"/>
                <a:gd name="T14" fmla="*/ 70 w 77"/>
                <a:gd name="T15" fmla="*/ 108 h 166"/>
                <a:gd name="T16" fmla="*/ 68 w 77"/>
                <a:gd name="T17" fmla="*/ 131 h 166"/>
                <a:gd name="T18" fmla="*/ 67 w 77"/>
                <a:gd name="T19" fmla="*/ 151 h 166"/>
                <a:gd name="T20" fmla="*/ 64 w 77"/>
                <a:gd name="T21" fmla="*/ 166 h 166"/>
                <a:gd name="T22" fmla="*/ 47 w 77"/>
                <a:gd name="T23" fmla="*/ 165 h 166"/>
                <a:gd name="T24" fmla="*/ 31 w 77"/>
                <a:gd name="T25" fmla="*/ 160 h 166"/>
                <a:gd name="T26" fmla="*/ 15 w 77"/>
                <a:gd name="T27" fmla="*/ 156 h 166"/>
                <a:gd name="T28" fmla="*/ 0 w 77"/>
                <a:gd name="T29" fmla="*/ 154 h 166"/>
                <a:gd name="T30" fmla="*/ 0 w 77"/>
                <a:gd name="T31" fmla="*/ 135 h 166"/>
                <a:gd name="T32" fmla="*/ 0 w 77"/>
                <a:gd name="T33" fmla="*/ 112 h 166"/>
                <a:gd name="T34" fmla="*/ 0 w 77"/>
                <a:gd name="T35" fmla="*/ 88 h 166"/>
                <a:gd name="T36" fmla="*/ 0 w 77"/>
                <a:gd name="T37" fmla="*/ 63 h 166"/>
                <a:gd name="T38" fmla="*/ 0 w 77"/>
                <a:gd name="T39" fmla="*/ 40 h 166"/>
                <a:gd name="T40" fmla="*/ 0 w 77"/>
                <a:gd name="T41" fmla="*/ 22 h 166"/>
                <a:gd name="T42" fmla="*/ 1 w 77"/>
                <a:gd name="T43" fmla="*/ 11 h 166"/>
                <a:gd name="T44" fmla="*/ 1 w 77"/>
                <a:gd name="T45" fmla="*/ 7 h 166"/>
                <a:gd name="T46" fmla="*/ 0 w 77"/>
                <a:gd name="T47" fmla="*/ 2 h 166"/>
                <a:gd name="T48" fmla="*/ 0 w 77"/>
                <a:gd name="T49" fmla="*/ 2 h 166"/>
                <a:gd name="T50" fmla="*/ 76 w 77"/>
                <a:gd name="T5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7" h="166">
                  <a:moveTo>
                    <a:pt x="76" y="0"/>
                  </a:moveTo>
                  <a:lnTo>
                    <a:pt x="76" y="3"/>
                  </a:lnTo>
                  <a:lnTo>
                    <a:pt x="76" y="6"/>
                  </a:lnTo>
                  <a:lnTo>
                    <a:pt x="77" y="18"/>
                  </a:lnTo>
                  <a:lnTo>
                    <a:pt x="77" y="38"/>
                  </a:lnTo>
                  <a:lnTo>
                    <a:pt x="76" y="59"/>
                  </a:lnTo>
                  <a:lnTo>
                    <a:pt x="73" y="84"/>
                  </a:lnTo>
                  <a:lnTo>
                    <a:pt x="70" y="108"/>
                  </a:lnTo>
                  <a:lnTo>
                    <a:pt x="68" y="131"/>
                  </a:lnTo>
                  <a:lnTo>
                    <a:pt x="67" y="151"/>
                  </a:lnTo>
                  <a:lnTo>
                    <a:pt x="64" y="166"/>
                  </a:lnTo>
                  <a:lnTo>
                    <a:pt x="47" y="165"/>
                  </a:lnTo>
                  <a:lnTo>
                    <a:pt x="31" y="160"/>
                  </a:lnTo>
                  <a:lnTo>
                    <a:pt x="15" y="156"/>
                  </a:lnTo>
                  <a:lnTo>
                    <a:pt x="0" y="154"/>
                  </a:lnTo>
                  <a:lnTo>
                    <a:pt x="0" y="135"/>
                  </a:lnTo>
                  <a:lnTo>
                    <a:pt x="0" y="112"/>
                  </a:lnTo>
                  <a:lnTo>
                    <a:pt x="0" y="88"/>
                  </a:lnTo>
                  <a:lnTo>
                    <a:pt x="0" y="63"/>
                  </a:lnTo>
                  <a:lnTo>
                    <a:pt x="0" y="40"/>
                  </a:lnTo>
                  <a:lnTo>
                    <a:pt x="0" y="22"/>
                  </a:lnTo>
                  <a:lnTo>
                    <a:pt x="1" y="11"/>
                  </a:lnTo>
                  <a:lnTo>
                    <a:pt x="1" y="7"/>
                  </a:lnTo>
                  <a:lnTo>
                    <a:pt x="0" y="2"/>
                  </a:lnTo>
                  <a:lnTo>
                    <a:pt x="0" y="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1" name="Freeform 309"/>
            <p:cNvSpPr>
              <a:spLocks/>
            </p:cNvSpPr>
            <p:nvPr/>
          </p:nvSpPr>
          <p:spPr bwMode="auto">
            <a:xfrm>
              <a:off x="-3567113" y="4651375"/>
              <a:ext cx="93663" cy="261938"/>
            </a:xfrm>
            <a:custGeom>
              <a:avLst/>
              <a:gdLst>
                <a:gd name="T0" fmla="*/ 59 w 59"/>
                <a:gd name="T1" fmla="*/ 0 h 165"/>
                <a:gd name="T2" fmla="*/ 34 w 59"/>
                <a:gd name="T3" fmla="*/ 165 h 165"/>
                <a:gd name="T4" fmla="*/ 17 w 59"/>
                <a:gd name="T5" fmla="*/ 161 h 165"/>
                <a:gd name="T6" fmla="*/ 0 w 59"/>
                <a:gd name="T7" fmla="*/ 156 h 165"/>
                <a:gd name="T8" fmla="*/ 25 w 59"/>
                <a:gd name="T9" fmla="*/ 2 h 165"/>
                <a:gd name="T10" fmla="*/ 59 w 59"/>
                <a:gd name="T11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165">
                  <a:moveTo>
                    <a:pt x="59" y="0"/>
                  </a:moveTo>
                  <a:lnTo>
                    <a:pt x="34" y="165"/>
                  </a:lnTo>
                  <a:lnTo>
                    <a:pt x="17" y="161"/>
                  </a:lnTo>
                  <a:lnTo>
                    <a:pt x="0" y="156"/>
                  </a:lnTo>
                  <a:lnTo>
                    <a:pt x="25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2" name="Freeform 310"/>
            <p:cNvSpPr>
              <a:spLocks/>
            </p:cNvSpPr>
            <p:nvPr/>
          </p:nvSpPr>
          <p:spPr bwMode="auto">
            <a:xfrm>
              <a:off x="-3590925" y="4651375"/>
              <a:ext cx="122238" cy="39688"/>
            </a:xfrm>
            <a:custGeom>
              <a:avLst/>
              <a:gdLst>
                <a:gd name="T0" fmla="*/ 76 w 77"/>
                <a:gd name="T1" fmla="*/ 0 h 25"/>
                <a:gd name="T2" fmla="*/ 76 w 77"/>
                <a:gd name="T3" fmla="*/ 3 h 25"/>
                <a:gd name="T4" fmla="*/ 76 w 77"/>
                <a:gd name="T5" fmla="*/ 6 h 25"/>
                <a:gd name="T6" fmla="*/ 77 w 77"/>
                <a:gd name="T7" fmla="*/ 11 h 25"/>
                <a:gd name="T8" fmla="*/ 77 w 77"/>
                <a:gd name="T9" fmla="*/ 17 h 25"/>
                <a:gd name="T10" fmla="*/ 77 w 77"/>
                <a:gd name="T11" fmla="*/ 25 h 25"/>
                <a:gd name="T12" fmla="*/ 0 w 77"/>
                <a:gd name="T13" fmla="*/ 13 h 25"/>
                <a:gd name="T14" fmla="*/ 1 w 77"/>
                <a:gd name="T15" fmla="*/ 11 h 25"/>
                <a:gd name="T16" fmla="*/ 1 w 77"/>
                <a:gd name="T17" fmla="*/ 7 h 25"/>
                <a:gd name="T18" fmla="*/ 0 w 77"/>
                <a:gd name="T19" fmla="*/ 2 h 25"/>
                <a:gd name="T20" fmla="*/ 0 w 77"/>
                <a:gd name="T21" fmla="*/ 2 h 25"/>
                <a:gd name="T22" fmla="*/ 76 w 77"/>
                <a:gd name="T2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" h="25">
                  <a:moveTo>
                    <a:pt x="76" y="0"/>
                  </a:moveTo>
                  <a:lnTo>
                    <a:pt x="76" y="3"/>
                  </a:lnTo>
                  <a:lnTo>
                    <a:pt x="76" y="6"/>
                  </a:lnTo>
                  <a:lnTo>
                    <a:pt x="77" y="11"/>
                  </a:lnTo>
                  <a:lnTo>
                    <a:pt x="77" y="17"/>
                  </a:lnTo>
                  <a:lnTo>
                    <a:pt x="77" y="25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" y="7"/>
                  </a:lnTo>
                  <a:lnTo>
                    <a:pt x="0" y="2"/>
                  </a:lnTo>
                  <a:lnTo>
                    <a:pt x="0" y="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3" name="Freeform 311"/>
            <p:cNvSpPr>
              <a:spLocks/>
            </p:cNvSpPr>
            <p:nvPr/>
          </p:nvSpPr>
          <p:spPr bwMode="auto">
            <a:xfrm>
              <a:off x="-3590925" y="4743450"/>
              <a:ext cx="117475" cy="73025"/>
            </a:xfrm>
            <a:custGeom>
              <a:avLst/>
              <a:gdLst>
                <a:gd name="T0" fmla="*/ 0 w 74"/>
                <a:gd name="T1" fmla="*/ 0 h 46"/>
                <a:gd name="T2" fmla="*/ 74 w 74"/>
                <a:gd name="T3" fmla="*/ 12 h 46"/>
                <a:gd name="T4" fmla="*/ 70 w 74"/>
                <a:gd name="T5" fmla="*/ 46 h 46"/>
                <a:gd name="T6" fmla="*/ 0 w 74"/>
                <a:gd name="T7" fmla="*/ 35 h 46"/>
                <a:gd name="T8" fmla="*/ 0 w 74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6">
                  <a:moveTo>
                    <a:pt x="0" y="0"/>
                  </a:moveTo>
                  <a:lnTo>
                    <a:pt x="74" y="12"/>
                  </a:lnTo>
                  <a:lnTo>
                    <a:pt x="70" y="46"/>
                  </a:ln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4" name="Freeform 312"/>
            <p:cNvSpPr>
              <a:spLocks/>
            </p:cNvSpPr>
            <p:nvPr/>
          </p:nvSpPr>
          <p:spPr bwMode="auto">
            <a:xfrm>
              <a:off x="-3590925" y="4872038"/>
              <a:ext cx="106363" cy="42863"/>
            </a:xfrm>
            <a:custGeom>
              <a:avLst/>
              <a:gdLst>
                <a:gd name="T0" fmla="*/ 0 w 67"/>
                <a:gd name="T1" fmla="*/ 0 h 27"/>
                <a:gd name="T2" fmla="*/ 67 w 67"/>
                <a:gd name="T3" fmla="*/ 10 h 27"/>
                <a:gd name="T4" fmla="*/ 65 w 67"/>
                <a:gd name="T5" fmla="*/ 19 h 27"/>
                <a:gd name="T6" fmla="*/ 64 w 67"/>
                <a:gd name="T7" fmla="*/ 27 h 27"/>
                <a:gd name="T8" fmla="*/ 47 w 67"/>
                <a:gd name="T9" fmla="*/ 26 h 27"/>
                <a:gd name="T10" fmla="*/ 31 w 67"/>
                <a:gd name="T11" fmla="*/ 21 h 27"/>
                <a:gd name="T12" fmla="*/ 15 w 67"/>
                <a:gd name="T13" fmla="*/ 17 h 27"/>
                <a:gd name="T14" fmla="*/ 0 w 67"/>
                <a:gd name="T15" fmla="*/ 15 h 27"/>
                <a:gd name="T16" fmla="*/ 0 w 67"/>
                <a:gd name="T17" fmla="*/ 8 h 27"/>
                <a:gd name="T18" fmla="*/ 0 w 67"/>
                <a:gd name="T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27">
                  <a:moveTo>
                    <a:pt x="0" y="0"/>
                  </a:moveTo>
                  <a:lnTo>
                    <a:pt x="67" y="10"/>
                  </a:lnTo>
                  <a:lnTo>
                    <a:pt x="65" y="19"/>
                  </a:lnTo>
                  <a:lnTo>
                    <a:pt x="64" y="27"/>
                  </a:lnTo>
                  <a:lnTo>
                    <a:pt x="47" y="26"/>
                  </a:lnTo>
                  <a:lnTo>
                    <a:pt x="31" y="21"/>
                  </a:lnTo>
                  <a:lnTo>
                    <a:pt x="15" y="17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5" name="Freeform 313"/>
            <p:cNvSpPr>
              <a:spLocks/>
            </p:cNvSpPr>
            <p:nvPr/>
          </p:nvSpPr>
          <p:spPr bwMode="auto">
            <a:xfrm>
              <a:off x="-3532188" y="4651375"/>
              <a:ext cx="58738" cy="38100"/>
            </a:xfrm>
            <a:custGeom>
              <a:avLst/>
              <a:gdLst>
                <a:gd name="T0" fmla="*/ 37 w 37"/>
                <a:gd name="T1" fmla="*/ 0 h 24"/>
                <a:gd name="T2" fmla="*/ 33 w 37"/>
                <a:gd name="T3" fmla="*/ 24 h 24"/>
                <a:gd name="T4" fmla="*/ 0 w 37"/>
                <a:gd name="T5" fmla="*/ 18 h 24"/>
                <a:gd name="T6" fmla="*/ 3 w 37"/>
                <a:gd name="T7" fmla="*/ 2 h 24"/>
                <a:gd name="T8" fmla="*/ 37 w 37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7" y="0"/>
                  </a:moveTo>
                  <a:lnTo>
                    <a:pt x="33" y="24"/>
                  </a:lnTo>
                  <a:lnTo>
                    <a:pt x="0" y="18"/>
                  </a:lnTo>
                  <a:lnTo>
                    <a:pt x="3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6" name="Freeform 314"/>
            <p:cNvSpPr>
              <a:spLocks/>
            </p:cNvSpPr>
            <p:nvPr/>
          </p:nvSpPr>
          <p:spPr bwMode="auto">
            <a:xfrm>
              <a:off x="-3552825" y="4751388"/>
              <a:ext cx="63500" cy="63500"/>
            </a:xfrm>
            <a:custGeom>
              <a:avLst/>
              <a:gdLst>
                <a:gd name="T0" fmla="*/ 7 w 40"/>
                <a:gd name="T1" fmla="*/ 0 h 40"/>
                <a:gd name="T2" fmla="*/ 40 w 40"/>
                <a:gd name="T3" fmla="*/ 5 h 40"/>
                <a:gd name="T4" fmla="*/ 35 w 40"/>
                <a:gd name="T5" fmla="*/ 40 h 40"/>
                <a:gd name="T6" fmla="*/ 0 w 40"/>
                <a:gd name="T7" fmla="*/ 34 h 40"/>
                <a:gd name="T8" fmla="*/ 7 w 40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7" y="0"/>
                  </a:moveTo>
                  <a:lnTo>
                    <a:pt x="40" y="5"/>
                  </a:lnTo>
                  <a:lnTo>
                    <a:pt x="35" y="40"/>
                  </a:lnTo>
                  <a:lnTo>
                    <a:pt x="0" y="3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7" name="Freeform 315"/>
            <p:cNvSpPr>
              <a:spLocks/>
            </p:cNvSpPr>
            <p:nvPr/>
          </p:nvSpPr>
          <p:spPr bwMode="auto">
            <a:xfrm>
              <a:off x="-3567113" y="4878388"/>
              <a:ext cx="57150" cy="34925"/>
            </a:xfrm>
            <a:custGeom>
              <a:avLst/>
              <a:gdLst>
                <a:gd name="T0" fmla="*/ 3 w 36"/>
                <a:gd name="T1" fmla="*/ 0 h 22"/>
                <a:gd name="T2" fmla="*/ 36 w 36"/>
                <a:gd name="T3" fmla="*/ 5 h 22"/>
                <a:gd name="T4" fmla="*/ 34 w 36"/>
                <a:gd name="T5" fmla="*/ 22 h 22"/>
                <a:gd name="T6" fmla="*/ 17 w 36"/>
                <a:gd name="T7" fmla="*/ 18 h 22"/>
                <a:gd name="T8" fmla="*/ 0 w 36"/>
                <a:gd name="T9" fmla="*/ 13 h 22"/>
                <a:gd name="T10" fmla="*/ 3 w 36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2">
                  <a:moveTo>
                    <a:pt x="3" y="0"/>
                  </a:moveTo>
                  <a:lnTo>
                    <a:pt x="36" y="5"/>
                  </a:lnTo>
                  <a:lnTo>
                    <a:pt x="34" y="22"/>
                  </a:lnTo>
                  <a:lnTo>
                    <a:pt x="17" y="18"/>
                  </a:lnTo>
                  <a:lnTo>
                    <a:pt x="0" y="1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8" name="Freeform 316"/>
            <p:cNvSpPr>
              <a:spLocks/>
            </p:cNvSpPr>
            <p:nvPr/>
          </p:nvSpPr>
          <p:spPr bwMode="auto">
            <a:xfrm>
              <a:off x="-3621088" y="4275138"/>
              <a:ext cx="31750" cy="95250"/>
            </a:xfrm>
            <a:custGeom>
              <a:avLst/>
              <a:gdLst>
                <a:gd name="T0" fmla="*/ 0 w 20"/>
                <a:gd name="T1" fmla="*/ 0 h 60"/>
                <a:gd name="T2" fmla="*/ 11 w 20"/>
                <a:gd name="T3" fmla="*/ 13 h 60"/>
                <a:gd name="T4" fmla="*/ 20 w 20"/>
                <a:gd name="T5" fmla="*/ 27 h 60"/>
                <a:gd name="T6" fmla="*/ 15 w 20"/>
                <a:gd name="T7" fmla="*/ 33 h 60"/>
                <a:gd name="T8" fmla="*/ 9 w 20"/>
                <a:gd name="T9" fmla="*/ 45 h 60"/>
                <a:gd name="T10" fmla="*/ 2 w 20"/>
                <a:gd name="T11" fmla="*/ 60 h 60"/>
                <a:gd name="T12" fmla="*/ 0 w 20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0">
                  <a:moveTo>
                    <a:pt x="0" y="0"/>
                  </a:moveTo>
                  <a:lnTo>
                    <a:pt x="11" y="13"/>
                  </a:lnTo>
                  <a:lnTo>
                    <a:pt x="20" y="27"/>
                  </a:lnTo>
                  <a:lnTo>
                    <a:pt x="15" y="33"/>
                  </a:lnTo>
                  <a:lnTo>
                    <a:pt x="9" y="45"/>
                  </a:lnTo>
                  <a:lnTo>
                    <a:pt x="2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9" name="Freeform 317"/>
            <p:cNvSpPr>
              <a:spLocks/>
            </p:cNvSpPr>
            <p:nvPr/>
          </p:nvSpPr>
          <p:spPr bwMode="auto">
            <a:xfrm>
              <a:off x="-3751263" y="4219575"/>
              <a:ext cx="93663" cy="901700"/>
            </a:xfrm>
            <a:custGeom>
              <a:avLst/>
              <a:gdLst>
                <a:gd name="T0" fmla="*/ 0 w 59"/>
                <a:gd name="T1" fmla="*/ 0 h 568"/>
                <a:gd name="T2" fmla="*/ 34 w 59"/>
                <a:gd name="T3" fmla="*/ 9 h 568"/>
                <a:gd name="T4" fmla="*/ 59 w 59"/>
                <a:gd name="T5" fmla="*/ 543 h 568"/>
                <a:gd name="T6" fmla="*/ 43 w 59"/>
                <a:gd name="T7" fmla="*/ 557 h 568"/>
                <a:gd name="T8" fmla="*/ 25 w 59"/>
                <a:gd name="T9" fmla="*/ 568 h 568"/>
                <a:gd name="T10" fmla="*/ 0 w 59"/>
                <a:gd name="T11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568">
                  <a:moveTo>
                    <a:pt x="0" y="0"/>
                  </a:moveTo>
                  <a:lnTo>
                    <a:pt x="34" y="9"/>
                  </a:lnTo>
                  <a:lnTo>
                    <a:pt x="59" y="543"/>
                  </a:lnTo>
                  <a:lnTo>
                    <a:pt x="43" y="557"/>
                  </a:lnTo>
                  <a:lnTo>
                    <a:pt x="25" y="5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0" name="Freeform 318"/>
            <p:cNvSpPr>
              <a:spLocks/>
            </p:cNvSpPr>
            <p:nvPr/>
          </p:nvSpPr>
          <p:spPr bwMode="auto">
            <a:xfrm>
              <a:off x="-3790950" y="4254500"/>
              <a:ext cx="195263" cy="61913"/>
            </a:xfrm>
            <a:custGeom>
              <a:avLst/>
              <a:gdLst>
                <a:gd name="T0" fmla="*/ 89 w 123"/>
                <a:gd name="T1" fmla="*/ 0 h 39"/>
                <a:gd name="T2" fmla="*/ 109 w 123"/>
                <a:gd name="T3" fmla="*/ 16 h 39"/>
                <a:gd name="T4" fmla="*/ 123 w 123"/>
                <a:gd name="T5" fmla="*/ 34 h 39"/>
                <a:gd name="T6" fmla="*/ 4 w 123"/>
                <a:gd name="T7" fmla="*/ 39 h 39"/>
                <a:gd name="T8" fmla="*/ 0 w 123"/>
                <a:gd name="T9" fmla="*/ 4 h 39"/>
                <a:gd name="T10" fmla="*/ 89 w 123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39">
                  <a:moveTo>
                    <a:pt x="89" y="0"/>
                  </a:moveTo>
                  <a:lnTo>
                    <a:pt x="109" y="16"/>
                  </a:lnTo>
                  <a:lnTo>
                    <a:pt x="123" y="34"/>
                  </a:lnTo>
                  <a:lnTo>
                    <a:pt x="4" y="39"/>
                  </a:lnTo>
                  <a:lnTo>
                    <a:pt x="0" y="4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1" name="Freeform 319"/>
            <p:cNvSpPr>
              <a:spLocks/>
            </p:cNvSpPr>
            <p:nvPr/>
          </p:nvSpPr>
          <p:spPr bwMode="auto">
            <a:xfrm>
              <a:off x="-3778250" y="4381500"/>
              <a:ext cx="157163" cy="60325"/>
            </a:xfrm>
            <a:custGeom>
              <a:avLst/>
              <a:gdLst>
                <a:gd name="T0" fmla="*/ 99 w 99"/>
                <a:gd name="T1" fmla="*/ 0 h 38"/>
                <a:gd name="T2" fmla="*/ 86 w 99"/>
                <a:gd name="T3" fmla="*/ 34 h 38"/>
                <a:gd name="T4" fmla="*/ 2 w 99"/>
                <a:gd name="T5" fmla="*/ 38 h 38"/>
                <a:gd name="T6" fmla="*/ 0 w 99"/>
                <a:gd name="T7" fmla="*/ 4 h 38"/>
                <a:gd name="T8" fmla="*/ 99 w 9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38">
                  <a:moveTo>
                    <a:pt x="99" y="0"/>
                  </a:moveTo>
                  <a:lnTo>
                    <a:pt x="86" y="34"/>
                  </a:lnTo>
                  <a:lnTo>
                    <a:pt x="2" y="38"/>
                  </a:lnTo>
                  <a:lnTo>
                    <a:pt x="0" y="4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2" name="Freeform 320"/>
            <p:cNvSpPr>
              <a:spLocks/>
            </p:cNvSpPr>
            <p:nvPr/>
          </p:nvSpPr>
          <p:spPr bwMode="auto">
            <a:xfrm>
              <a:off x="-3768725" y="4510088"/>
              <a:ext cx="120650" cy="58738"/>
            </a:xfrm>
            <a:custGeom>
              <a:avLst/>
              <a:gdLst>
                <a:gd name="T0" fmla="*/ 73 w 76"/>
                <a:gd name="T1" fmla="*/ 0 h 37"/>
                <a:gd name="T2" fmla="*/ 75 w 76"/>
                <a:gd name="T3" fmla="*/ 20 h 37"/>
                <a:gd name="T4" fmla="*/ 76 w 76"/>
                <a:gd name="T5" fmla="*/ 27 h 37"/>
                <a:gd name="T6" fmla="*/ 76 w 76"/>
                <a:gd name="T7" fmla="*/ 34 h 37"/>
                <a:gd name="T8" fmla="*/ 2 w 76"/>
                <a:gd name="T9" fmla="*/ 37 h 37"/>
                <a:gd name="T10" fmla="*/ 0 w 76"/>
                <a:gd name="T11" fmla="*/ 3 h 37"/>
                <a:gd name="T12" fmla="*/ 73 w 7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37">
                  <a:moveTo>
                    <a:pt x="73" y="0"/>
                  </a:moveTo>
                  <a:lnTo>
                    <a:pt x="75" y="20"/>
                  </a:lnTo>
                  <a:lnTo>
                    <a:pt x="76" y="27"/>
                  </a:lnTo>
                  <a:lnTo>
                    <a:pt x="76" y="34"/>
                  </a:lnTo>
                  <a:lnTo>
                    <a:pt x="2" y="37"/>
                  </a:lnTo>
                  <a:lnTo>
                    <a:pt x="0" y="3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3" name="Freeform 321"/>
            <p:cNvSpPr>
              <a:spLocks/>
            </p:cNvSpPr>
            <p:nvPr/>
          </p:nvSpPr>
          <p:spPr bwMode="auto">
            <a:xfrm>
              <a:off x="-3762375" y="4635500"/>
              <a:ext cx="120650" cy="58738"/>
            </a:xfrm>
            <a:custGeom>
              <a:avLst/>
              <a:gdLst>
                <a:gd name="T0" fmla="*/ 75 w 76"/>
                <a:gd name="T1" fmla="*/ 0 h 37"/>
                <a:gd name="T2" fmla="*/ 76 w 76"/>
                <a:gd name="T3" fmla="*/ 35 h 37"/>
                <a:gd name="T4" fmla="*/ 3 w 76"/>
                <a:gd name="T5" fmla="*/ 37 h 37"/>
                <a:gd name="T6" fmla="*/ 0 w 76"/>
                <a:gd name="T7" fmla="*/ 4 h 37"/>
                <a:gd name="T8" fmla="*/ 75 w 76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7">
                  <a:moveTo>
                    <a:pt x="75" y="0"/>
                  </a:moveTo>
                  <a:lnTo>
                    <a:pt x="76" y="35"/>
                  </a:lnTo>
                  <a:lnTo>
                    <a:pt x="3" y="37"/>
                  </a:lnTo>
                  <a:lnTo>
                    <a:pt x="0" y="4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4" name="Freeform 322"/>
            <p:cNvSpPr>
              <a:spLocks/>
            </p:cNvSpPr>
            <p:nvPr/>
          </p:nvSpPr>
          <p:spPr bwMode="auto">
            <a:xfrm>
              <a:off x="-3754438" y="4762500"/>
              <a:ext cx="115888" cy="60325"/>
            </a:xfrm>
            <a:custGeom>
              <a:avLst/>
              <a:gdLst>
                <a:gd name="T0" fmla="*/ 72 w 73"/>
                <a:gd name="T1" fmla="*/ 0 h 38"/>
                <a:gd name="T2" fmla="*/ 73 w 73"/>
                <a:gd name="T3" fmla="*/ 34 h 38"/>
                <a:gd name="T4" fmla="*/ 2 w 73"/>
                <a:gd name="T5" fmla="*/ 38 h 38"/>
                <a:gd name="T6" fmla="*/ 0 w 73"/>
                <a:gd name="T7" fmla="*/ 4 h 38"/>
                <a:gd name="T8" fmla="*/ 72 w 7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38">
                  <a:moveTo>
                    <a:pt x="72" y="0"/>
                  </a:moveTo>
                  <a:lnTo>
                    <a:pt x="73" y="34"/>
                  </a:lnTo>
                  <a:lnTo>
                    <a:pt x="2" y="38"/>
                  </a:lnTo>
                  <a:lnTo>
                    <a:pt x="0" y="4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5" name="Freeform 323"/>
            <p:cNvSpPr>
              <a:spLocks/>
            </p:cNvSpPr>
            <p:nvPr/>
          </p:nvSpPr>
          <p:spPr bwMode="auto">
            <a:xfrm>
              <a:off x="-3746500" y="4887913"/>
              <a:ext cx="125413" cy="61913"/>
            </a:xfrm>
            <a:custGeom>
              <a:avLst/>
              <a:gdLst>
                <a:gd name="T0" fmla="*/ 72 w 79"/>
                <a:gd name="T1" fmla="*/ 0 h 39"/>
                <a:gd name="T2" fmla="*/ 77 w 79"/>
                <a:gd name="T3" fmla="*/ 25 h 39"/>
                <a:gd name="T4" fmla="*/ 79 w 79"/>
                <a:gd name="T5" fmla="*/ 35 h 39"/>
                <a:gd name="T6" fmla="*/ 4 w 79"/>
                <a:gd name="T7" fmla="*/ 39 h 39"/>
                <a:gd name="T8" fmla="*/ 3 w 79"/>
                <a:gd name="T9" fmla="*/ 25 h 39"/>
                <a:gd name="T10" fmla="*/ 2 w 79"/>
                <a:gd name="T11" fmla="*/ 14 h 39"/>
                <a:gd name="T12" fmla="*/ 0 w 79"/>
                <a:gd name="T13" fmla="*/ 4 h 39"/>
                <a:gd name="T14" fmla="*/ 72 w 79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">
                  <a:moveTo>
                    <a:pt x="72" y="0"/>
                  </a:moveTo>
                  <a:lnTo>
                    <a:pt x="77" y="25"/>
                  </a:lnTo>
                  <a:lnTo>
                    <a:pt x="79" y="35"/>
                  </a:lnTo>
                  <a:lnTo>
                    <a:pt x="4" y="39"/>
                  </a:lnTo>
                  <a:lnTo>
                    <a:pt x="3" y="25"/>
                  </a:lnTo>
                  <a:lnTo>
                    <a:pt x="2" y="14"/>
                  </a:lnTo>
                  <a:lnTo>
                    <a:pt x="0" y="4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6" name="Freeform 324"/>
            <p:cNvSpPr>
              <a:spLocks/>
            </p:cNvSpPr>
            <p:nvPr/>
          </p:nvSpPr>
          <p:spPr bwMode="auto">
            <a:xfrm>
              <a:off x="-3735388" y="5016500"/>
              <a:ext cx="111125" cy="58738"/>
            </a:xfrm>
            <a:custGeom>
              <a:avLst/>
              <a:gdLst>
                <a:gd name="T0" fmla="*/ 70 w 70"/>
                <a:gd name="T1" fmla="*/ 0 h 37"/>
                <a:gd name="T2" fmla="*/ 64 w 70"/>
                <a:gd name="T3" fmla="*/ 18 h 37"/>
                <a:gd name="T4" fmla="*/ 54 w 70"/>
                <a:gd name="T5" fmla="*/ 35 h 37"/>
                <a:gd name="T6" fmla="*/ 1 w 70"/>
                <a:gd name="T7" fmla="*/ 37 h 37"/>
                <a:gd name="T8" fmla="*/ 1 w 70"/>
                <a:gd name="T9" fmla="*/ 21 h 37"/>
                <a:gd name="T10" fmla="*/ 0 w 70"/>
                <a:gd name="T11" fmla="*/ 3 h 37"/>
                <a:gd name="T12" fmla="*/ 70 w 7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7">
                  <a:moveTo>
                    <a:pt x="70" y="0"/>
                  </a:moveTo>
                  <a:lnTo>
                    <a:pt x="64" y="18"/>
                  </a:lnTo>
                  <a:lnTo>
                    <a:pt x="54" y="35"/>
                  </a:lnTo>
                  <a:lnTo>
                    <a:pt x="1" y="37"/>
                  </a:lnTo>
                  <a:lnTo>
                    <a:pt x="1" y="21"/>
                  </a:lnTo>
                  <a:lnTo>
                    <a:pt x="0" y="3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7" name="Freeform 325"/>
            <p:cNvSpPr>
              <a:spLocks/>
            </p:cNvSpPr>
            <p:nvPr/>
          </p:nvSpPr>
          <p:spPr bwMode="auto">
            <a:xfrm>
              <a:off x="-3621088" y="4275138"/>
              <a:ext cx="25400" cy="33338"/>
            </a:xfrm>
            <a:custGeom>
              <a:avLst/>
              <a:gdLst>
                <a:gd name="T0" fmla="*/ 0 w 16"/>
                <a:gd name="T1" fmla="*/ 0 h 21"/>
                <a:gd name="T2" fmla="*/ 6 w 16"/>
                <a:gd name="T3" fmla="*/ 6 h 21"/>
                <a:gd name="T4" fmla="*/ 11 w 16"/>
                <a:gd name="T5" fmla="*/ 13 h 21"/>
                <a:gd name="T6" fmla="*/ 16 w 16"/>
                <a:gd name="T7" fmla="*/ 21 h 21"/>
                <a:gd name="T8" fmla="*/ 0 w 16"/>
                <a:gd name="T9" fmla="*/ 21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lnTo>
                    <a:pt x="6" y="6"/>
                  </a:lnTo>
                  <a:lnTo>
                    <a:pt x="11" y="13"/>
                  </a:lnTo>
                  <a:lnTo>
                    <a:pt x="16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8" name="Freeform 326"/>
            <p:cNvSpPr>
              <a:spLocks/>
            </p:cNvSpPr>
            <p:nvPr/>
          </p:nvSpPr>
          <p:spPr bwMode="auto">
            <a:xfrm>
              <a:off x="-3749675" y="4257675"/>
              <a:ext cx="57150" cy="55563"/>
            </a:xfrm>
            <a:custGeom>
              <a:avLst/>
              <a:gdLst>
                <a:gd name="T0" fmla="*/ 34 w 36"/>
                <a:gd name="T1" fmla="*/ 0 h 35"/>
                <a:gd name="T2" fmla="*/ 36 w 36"/>
                <a:gd name="T3" fmla="*/ 34 h 35"/>
                <a:gd name="T4" fmla="*/ 1 w 36"/>
                <a:gd name="T5" fmla="*/ 35 h 35"/>
                <a:gd name="T6" fmla="*/ 0 w 36"/>
                <a:gd name="T7" fmla="*/ 1 h 35"/>
                <a:gd name="T8" fmla="*/ 34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4" y="0"/>
                  </a:moveTo>
                  <a:lnTo>
                    <a:pt x="36" y="34"/>
                  </a:lnTo>
                  <a:lnTo>
                    <a:pt x="1" y="35"/>
                  </a:lnTo>
                  <a:lnTo>
                    <a:pt x="0" y="1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9" name="Freeform 327"/>
            <p:cNvSpPr>
              <a:spLocks/>
            </p:cNvSpPr>
            <p:nvPr/>
          </p:nvSpPr>
          <p:spPr bwMode="auto">
            <a:xfrm>
              <a:off x="-3743325" y="4383088"/>
              <a:ext cx="57150" cy="57150"/>
            </a:xfrm>
            <a:custGeom>
              <a:avLst/>
              <a:gdLst>
                <a:gd name="T0" fmla="*/ 33 w 36"/>
                <a:gd name="T1" fmla="*/ 0 h 36"/>
                <a:gd name="T2" fmla="*/ 36 w 36"/>
                <a:gd name="T3" fmla="*/ 35 h 36"/>
                <a:gd name="T4" fmla="*/ 1 w 36"/>
                <a:gd name="T5" fmla="*/ 36 h 36"/>
                <a:gd name="T6" fmla="*/ 0 w 36"/>
                <a:gd name="T7" fmla="*/ 3 h 36"/>
                <a:gd name="T8" fmla="*/ 33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3" y="0"/>
                  </a:moveTo>
                  <a:lnTo>
                    <a:pt x="36" y="35"/>
                  </a:lnTo>
                  <a:lnTo>
                    <a:pt x="1" y="36"/>
                  </a:lnTo>
                  <a:lnTo>
                    <a:pt x="0" y="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0" name="Freeform 328"/>
            <p:cNvSpPr>
              <a:spLocks/>
            </p:cNvSpPr>
            <p:nvPr/>
          </p:nvSpPr>
          <p:spPr bwMode="auto">
            <a:xfrm>
              <a:off x="-3736975" y="4511675"/>
              <a:ext cx="55563" cy="57150"/>
            </a:xfrm>
            <a:custGeom>
              <a:avLst/>
              <a:gdLst>
                <a:gd name="T0" fmla="*/ 33 w 35"/>
                <a:gd name="T1" fmla="*/ 0 h 36"/>
                <a:gd name="T2" fmla="*/ 35 w 35"/>
                <a:gd name="T3" fmla="*/ 33 h 36"/>
                <a:gd name="T4" fmla="*/ 1 w 35"/>
                <a:gd name="T5" fmla="*/ 36 h 36"/>
                <a:gd name="T6" fmla="*/ 0 w 35"/>
                <a:gd name="T7" fmla="*/ 1 h 36"/>
                <a:gd name="T8" fmla="*/ 33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3" y="0"/>
                  </a:moveTo>
                  <a:lnTo>
                    <a:pt x="35" y="33"/>
                  </a:lnTo>
                  <a:lnTo>
                    <a:pt x="1" y="36"/>
                  </a:lnTo>
                  <a:lnTo>
                    <a:pt x="0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1" name="Freeform 329"/>
            <p:cNvSpPr>
              <a:spLocks/>
            </p:cNvSpPr>
            <p:nvPr/>
          </p:nvSpPr>
          <p:spPr bwMode="auto">
            <a:xfrm>
              <a:off x="-3732213" y="4637088"/>
              <a:ext cx="55563" cy="57150"/>
            </a:xfrm>
            <a:custGeom>
              <a:avLst/>
              <a:gdLst>
                <a:gd name="T0" fmla="*/ 34 w 35"/>
                <a:gd name="T1" fmla="*/ 0 h 36"/>
                <a:gd name="T2" fmla="*/ 35 w 35"/>
                <a:gd name="T3" fmla="*/ 35 h 36"/>
                <a:gd name="T4" fmla="*/ 2 w 35"/>
                <a:gd name="T5" fmla="*/ 36 h 36"/>
                <a:gd name="T6" fmla="*/ 0 w 35"/>
                <a:gd name="T7" fmla="*/ 2 h 36"/>
                <a:gd name="T8" fmla="*/ 34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4" y="0"/>
                  </a:moveTo>
                  <a:lnTo>
                    <a:pt x="35" y="35"/>
                  </a:lnTo>
                  <a:lnTo>
                    <a:pt x="2" y="36"/>
                  </a:lnTo>
                  <a:lnTo>
                    <a:pt x="0" y="2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2" name="Freeform 330"/>
            <p:cNvSpPr>
              <a:spLocks/>
            </p:cNvSpPr>
            <p:nvPr/>
          </p:nvSpPr>
          <p:spPr bwMode="auto">
            <a:xfrm>
              <a:off x="-3727450" y="4764088"/>
              <a:ext cx="57150" cy="57150"/>
            </a:xfrm>
            <a:custGeom>
              <a:avLst/>
              <a:gdLst>
                <a:gd name="T0" fmla="*/ 35 w 36"/>
                <a:gd name="T1" fmla="*/ 0 h 36"/>
                <a:gd name="T2" fmla="*/ 36 w 36"/>
                <a:gd name="T3" fmla="*/ 35 h 36"/>
                <a:gd name="T4" fmla="*/ 3 w 36"/>
                <a:gd name="T5" fmla="*/ 36 h 36"/>
                <a:gd name="T6" fmla="*/ 0 w 36"/>
                <a:gd name="T7" fmla="*/ 1 h 36"/>
                <a:gd name="T8" fmla="*/ 35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5" y="0"/>
                  </a:moveTo>
                  <a:lnTo>
                    <a:pt x="36" y="35"/>
                  </a:lnTo>
                  <a:lnTo>
                    <a:pt x="3" y="36"/>
                  </a:lnTo>
                  <a:lnTo>
                    <a:pt x="0" y="1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3" name="Freeform 331"/>
            <p:cNvSpPr>
              <a:spLocks/>
            </p:cNvSpPr>
            <p:nvPr/>
          </p:nvSpPr>
          <p:spPr bwMode="auto">
            <a:xfrm>
              <a:off x="-3721100" y="4891088"/>
              <a:ext cx="57150" cy="55563"/>
            </a:xfrm>
            <a:custGeom>
              <a:avLst/>
              <a:gdLst>
                <a:gd name="T0" fmla="*/ 34 w 36"/>
                <a:gd name="T1" fmla="*/ 0 h 35"/>
                <a:gd name="T2" fmla="*/ 36 w 36"/>
                <a:gd name="T3" fmla="*/ 34 h 35"/>
                <a:gd name="T4" fmla="*/ 2 w 36"/>
                <a:gd name="T5" fmla="*/ 35 h 35"/>
                <a:gd name="T6" fmla="*/ 0 w 36"/>
                <a:gd name="T7" fmla="*/ 1 h 35"/>
                <a:gd name="T8" fmla="*/ 34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4" y="0"/>
                  </a:moveTo>
                  <a:lnTo>
                    <a:pt x="36" y="34"/>
                  </a:lnTo>
                  <a:lnTo>
                    <a:pt x="2" y="35"/>
                  </a:lnTo>
                  <a:lnTo>
                    <a:pt x="0" y="1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4" name="Freeform 332"/>
            <p:cNvSpPr>
              <a:spLocks/>
            </p:cNvSpPr>
            <p:nvPr/>
          </p:nvSpPr>
          <p:spPr bwMode="auto">
            <a:xfrm>
              <a:off x="-3714750" y="5016500"/>
              <a:ext cx="57150" cy="57150"/>
            </a:xfrm>
            <a:custGeom>
              <a:avLst/>
              <a:gdLst>
                <a:gd name="T0" fmla="*/ 34 w 36"/>
                <a:gd name="T1" fmla="*/ 0 h 36"/>
                <a:gd name="T2" fmla="*/ 36 w 36"/>
                <a:gd name="T3" fmla="*/ 35 h 36"/>
                <a:gd name="T4" fmla="*/ 1 w 36"/>
                <a:gd name="T5" fmla="*/ 36 h 36"/>
                <a:gd name="T6" fmla="*/ 0 w 36"/>
                <a:gd name="T7" fmla="*/ 3 h 36"/>
                <a:gd name="T8" fmla="*/ 34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4" y="0"/>
                  </a:moveTo>
                  <a:lnTo>
                    <a:pt x="36" y="35"/>
                  </a:lnTo>
                  <a:lnTo>
                    <a:pt x="1" y="36"/>
                  </a:lnTo>
                  <a:lnTo>
                    <a:pt x="0" y="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5" name="Freeform 333"/>
            <p:cNvSpPr>
              <a:spLocks/>
            </p:cNvSpPr>
            <p:nvPr/>
          </p:nvSpPr>
          <p:spPr bwMode="auto">
            <a:xfrm>
              <a:off x="-3771900" y="4205288"/>
              <a:ext cx="215900" cy="831850"/>
            </a:xfrm>
            <a:custGeom>
              <a:avLst/>
              <a:gdLst>
                <a:gd name="T0" fmla="*/ 2 w 136"/>
                <a:gd name="T1" fmla="*/ 0 h 524"/>
                <a:gd name="T2" fmla="*/ 39 w 136"/>
                <a:gd name="T3" fmla="*/ 8 h 524"/>
                <a:gd name="T4" fmla="*/ 37 w 136"/>
                <a:gd name="T5" fmla="*/ 27 h 524"/>
                <a:gd name="T6" fmla="*/ 37 w 136"/>
                <a:gd name="T7" fmla="*/ 52 h 524"/>
                <a:gd name="T8" fmla="*/ 38 w 136"/>
                <a:gd name="T9" fmla="*/ 81 h 524"/>
                <a:gd name="T10" fmla="*/ 42 w 136"/>
                <a:gd name="T11" fmla="*/ 116 h 524"/>
                <a:gd name="T12" fmla="*/ 46 w 136"/>
                <a:gd name="T13" fmla="*/ 153 h 524"/>
                <a:gd name="T14" fmla="*/ 52 w 136"/>
                <a:gd name="T15" fmla="*/ 193 h 524"/>
                <a:gd name="T16" fmla="*/ 60 w 136"/>
                <a:gd name="T17" fmla="*/ 234 h 524"/>
                <a:gd name="T18" fmla="*/ 72 w 136"/>
                <a:gd name="T19" fmla="*/ 292 h 524"/>
                <a:gd name="T20" fmla="*/ 86 w 136"/>
                <a:gd name="T21" fmla="*/ 349 h 524"/>
                <a:gd name="T22" fmla="*/ 101 w 136"/>
                <a:gd name="T23" fmla="*/ 407 h 524"/>
                <a:gd name="T24" fmla="*/ 118 w 136"/>
                <a:gd name="T25" fmla="*/ 460 h 524"/>
                <a:gd name="T26" fmla="*/ 136 w 136"/>
                <a:gd name="T27" fmla="*/ 510 h 524"/>
                <a:gd name="T28" fmla="*/ 101 w 136"/>
                <a:gd name="T29" fmla="*/ 524 h 524"/>
                <a:gd name="T30" fmla="*/ 82 w 136"/>
                <a:gd name="T31" fmla="*/ 473 h 524"/>
                <a:gd name="T32" fmla="*/ 65 w 136"/>
                <a:gd name="T33" fmla="*/ 417 h 524"/>
                <a:gd name="T34" fmla="*/ 50 w 136"/>
                <a:gd name="T35" fmla="*/ 360 h 524"/>
                <a:gd name="T36" fmla="*/ 36 w 136"/>
                <a:gd name="T37" fmla="*/ 301 h 524"/>
                <a:gd name="T38" fmla="*/ 23 w 136"/>
                <a:gd name="T39" fmla="*/ 242 h 524"/>
                <a:gd name="T40" fmla="*/ 15 w 136"/>
                <a:gd name="T41" fmla="*/ 198 h 524"/>
                <a:gd name="T42" fmla="*/ 9 w 136"/>
                <a:gd name="T43" fmla="*/ 156 h 524"/>
                <a:gd name="T44" fmla="*/ 4 w 136"/>
                <a:gd name="T45" fmla="*/ 116 h 524"/>
                <a:gd name="T46" fmla="*/ 1 w 136"/>
                <a:gd name="T47" fmla="*/ 81 h 524"/>
                <a:gd name="T48" fmla="*/ 0 w 136"/>
                <a:gd name="T49" fmla="*/ 49 h 524"/>
                <a:gd name="T50" fmla="*/ 0 w 136"/>
                <a:gd name="T51" fmla="*/ 22 h 524"/>
                <a:gd name="T52" fmla="*/ 2 w 136"/>
                <a:gd name="T53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524">
                  <a:moveTo>
                    <a:pt x="2" y="0"/>
                  </a:moveTo>
                  <a:lnTo>
                    <a:pt x="39" y="8"/>
                  </a:lnTo>
                  <a:lnTo>
                    <a:pt x="37" y="27"/>
                  </a:lnTo>
                  <a:lnTo>
                    <a:pt x="37" y="52"/>
                  </a:lnTo>
                  <a:lnTo>
                    <a:pt x="38" y="81"/>
                  </a:lnTo>
                  <a:lnTo>
                    <a:pt x="42" y="116"/>
                  </a:lnTo>
                  <a:lnTo>
                    <a:pt x="46" y="153"/>
                  </a:lnTo>
                  <a:lnTo>
                    <a:pt x="52" y="193"/>
                  </a:lnTo>
                  <a:lnTo>
                    <a:pt x="60" y="234"/>
                  </a:lnTo>
                  <a:lnTo>
                    <a:pt x="72" y="292"/>
                  </a:lnTo>
                  <a:lnTo>
                    <a:pt x="86" y="349"/>
                  </a:lnTo>
                  <a:lnTo>
                    <a:pt x="101" y="407"/>
                  </a:lnTo>
                  <a:lnTo>
                    <a:pt x="118" y="460"/>
                  </a:lnTo>
                  <a:lnTo>
                    <a:pt x="136" y="510"/>
                  </a:lnTo>
                  <a:lnTo>
                    <a:pt x="101" y="524"/>
                  </a:lnTo>
                  <a:lnTo>
                    <a:pt x="82" y="473"/>
                  </a:lnTo>
                  <a:lnTo>
                    <a:pt x="65" y="417"/>
                  </a:lnTo>
                  <a:lnTo>
                    <a:pt x="50" y="360"/>
                  </a:lnTo>
                  <a:lnTo>
                    <a:pt x="36" y="301"/>
                  </a:lnTo>
                  <a:lnTo>
                    <a:pt x="23" y="242"/>
                  </a:lnTo>
                  <a:lnTo>
                    <a:pt x="15" y="198"/>
                  </a:lnTo>
                  <a:lnTo>
                    <a:pt x="9" y="156"/>
                  </a:lnTo>
                  <a:lnTo>
                    <a:pt x="4" y="116"/>
                  </a:lnTo>
                  <a:lnTo>
                    <a:pt x="1" y="81"/>
                  </a:lnTo>
                  <a:lnTo>
                    <a:pt x="0" y="49"/>
                  </a:lnTo>
                  <a:lnTo>
                    <a:pt x="0" y="2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6" name="Freeform 334"/>
            <p:cNvSpPr>
              <a:spLocks/>
            </p:cNvSpPr>
            <p:nvPr/>
          </p:nvSpPr>
          <p:spPr bwMode="auto">
            <a:xfrm>
              <a:off x="-3633788" y="4930775"/>
              <a:ext cx="131763" cy="171450"/>
            </a:xfrm>
            <a:custGeom>
              <a:avLst/>
              <a:gdLst>
                <a:gd name="T0" fmla="*/ 65 w 83"/>
                <a:gd name="T1" fmla="*/ 4 h 108"/>
                <a:gd name="T2" fmla="*/ 76 w 83"/>
                <a:gd name="T3" fmla="*/ 28 h 108"/>
                <a:gd name="T4" fmla="*/ 82 w 83"/>
                <a:gd name="T5" fmla="*/ 62 h 108"/>
                <a:gd name="T6" fmla="*/ 83 w 83"/>
                <a:gd name="T7" fmla="*/ 87 h 108"/>
                <a:gd name="T8" fmla="*/ 81 w 83"/>
                <a:gd name="T9" fmla="*/ 95 h 108"/>
                <a:gd name="T10" fmla="*/ 77 w 83"/>
                <a:gd name="T11" fmla="*/ 98 h 108"/>
                <a:gd name="T12" fmla="*/ 72 w 83"/>
                <a:gd name="T13" fmla="*/ 94 h 108"/>
                <a:gd name="T14" fmla="*/ 69 w 83"/>
                <a:gd name="T15" fmla="*/ 93 h 108"/>
                <a:gd name="T16" fmla="*/ 68 w 83"/>
                <a:gd name="T17" fmla="*/ 95 h 108"/>
                <a:gd name="T18" fmla="*/ 67 w 83"/>
                <a:gd name="T19" fmla="*/ 99 h 108"/>
                <a:gd name="T20" fmla="*/ 63 w 83"/>
                <a:gd name="T21" fmla="*/ 103 h 108"/>
                <a:gd name="T22" fmla="*/ 58 w 83"/>
                <a:gd name="T23" fmla="*/ 102 h 108"/>
                <a:gd name="T24" fmla="*/ 53 w 83"/>
                <a:gd name="T25" fmla="*/ 99 h 108"/>
                <a:gd name="T26" fmla="*/ 50 w 83"/>
                <a:gd name="T27" fmla="*/ 100 h 108"/>
                <a:gd name="T28" fmla="*/ 47 w 83"/>
                <a:gd name="T29" fmla="*/ 104 h 108"/>
                <a:gd name="T30" fmla="*/ 42 w 83"/>
                <a:gd name="T31" fmla="*/ 107 h 108"/>
                <a:gd name="T32" fmla="*/ 36 w 83"/>
                <a:gd name="T33" fmla="*/ 104 h 108"/>
                <a:gd name="T34" fmla="*/ 32 w 83"/>
                <a:gd name="T35" fmla="*/ 104 h 108"/>
                <a:gd name="T36" fmla="*/ 29 w 83"/>
                <a:gd name="T37" fmla="*/ 107 h 108"/>
                <a:gd name="T38" fmla="*/ 24 w 83"/>
                <a:gd name="T39" fmla="*/ 107 h 108"/>
                <a:gd name="T40" fmla="*/ 22 w 83"/>
                <a:gd name="T41" fmla="*/ 103 h 108"/>
                <a:gd name="T42" fmla="*/ 19 w 83"/>
                <a:gd name="T43" fmla="*/ 81 h 108"/>
                <a:gd name="T44" fmla="*/ 18 w 83"/>
                <a:gd name="T45" fmla="*/ 71 h 108"/>
                <a:gd name="T46" fmla="*/ 15 w 83"/>
                <a:gd name="T47" fmla="*/ 72 h 108"/>
                <a:gd name="T48" fmla="*/ 13 w 83"/>
                <a:gd name="T49" fmla="*/ 75 h 108"/>
                <a:gd name="T50" fmla="*/ 9 w 83"/>
                <a:gd name="T51" fmla="*/ 80 h 108"/>
                <a:gd name="T52" fmla="*/ 6 w 83"/>
                <a:gd name="T53" fmla="*/ 84 h 108"/>
                <a:gd name="T54" fmla="*/ 3 w 83"/>
                <a:gd name="T55" fmla="*/ 86 h 108"/>
                <a:gd name="T56" fmla="*/ 0 w 83"/>
                <a:gd name="T57" fmla="*/ 87 h 108"/>
                <a:gd name="T58" fmla="*/ 0 w 83"/>
                <a:gd name="T59" fmla="*/ 85 h 108"/>
                <a:gd name="T60" fmla="*/ 1 w 83"/>
                <a:gd name="T61" fmla="*/ 78 h 108"/>
                <a:gd name="T62" fmla="*/ 5 w 83"/>
                <a:gd name="T63" fmla="*/ 68 h 108"/>
                <a:gd name="T64" fmla="*/ 15 w 83"/>
                <a:gd name="T65" fmla="*/ 43 h 108"/>
                <a:gd name="T66" fmla="*/ 37 w 83"/>
                <a:gd name="T67" fmla="*/ 10 h 108"/>
                <a:gd name="T68" fmla="*/ 60 w 83"/>
                <a:gd name="T6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3" h="108">
                  <a:moveTo>
                    <a:pt x="60" y="0"/>
                  </a:moveTo>
                  <a:lnTo>
                    <a:pt x="65" y="4"/>
                  </a:lnTo>
                  <a:lnTo>
                    <a:pt x="71" y="14"/>
                  </a:lnTo>
                  <a:lnTo>
                    <a:pt x="76" y="28"/>
                  </a:lnTo>
                  <a:lnTo>
                    <a:pt x="80" y="45"/>
                  </a:lnTo>
                  <a:lnTo>
                    <a:pt x="82" y="62"/>
                  </a:lnTo>
                  <a:lnTo>
                    <a:pt x="83" y="76"/>
                  </a:lnTo>
                  <a:lnTo>
                    <a:pt x="83" y="87"/>
                  </a:lnTo>
                  <a:lnTo>
                    <a:pt x="82" y="94"/>
                  </a:lnTo>
                  <a:lnTo>
                    <a:pt x="81" y="95"/>
                  </a:lnTo>
                  <a:lnTo>
                    <a:pt x="80" y="96"/>
                  </a:lnTo>
                  <a:lnTo>
                    <a:pt x="77" y="98"/>
                  </a:lnTo>
                  <a:lnTo>
                    <a:pt x="74" y="96"/>
                  </a:lnTo>
                  <a:lnTo>
                    <a:pt x="72" y="94"/>
                  </a:lnTo>
                  <a:lnTo>
                    <a:pt x="71" y="93"/>
                  </a:lnTo>
                  <a:lnTo>
                    <a:pt x="69" y="93"/>
                  </a:lnTo>
                  <a:lnTo>
                    <a:pt x="68" y="94"/>
                  </a:lnTo>
                  <a:lnTo>
                    <a:pt x="68" y="95"/>
                  </a:lnTo>
                  <a:lnTo>
                    <a:pt x="67" y="98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3" y="103"/>
                  </a:lnTo>
                  <a:lnTo>
                    <a:pt x="60" y="103"/>
                  </a:lnTo>
                  <a:lnTo>
                    <a:pt x="58" y="102"/>
                  </a:lnTo>
                  <a:lnTo>
                    <a:pt x="55" y="100"/>
                  </a:lnTo>
                  <a:lnTo>
                    <a:pt x="53" y="99"/>
                  </a:lnTo>
                  <a:lnTo>
                    <a:pt x="51" y="99"/>
                  </a:lnTo>
                  <a:lnTo>
                    <a:pt x="50" y="100"/>
                  </a:lnTo>
                  <a:lnTo>
                    <a:pt x="49" y="102"/>
                  </a:lnTo>
                  <a:lnTo>
                    <a:pt x="47" y="104"/>
                  </a:lnTo>
                  <a:lnTo>
                    <a:pt x="45" y="105"/>
                  </a:lnTo>
                  <a:lnTo>
                    <a:pt x="42" y="107"/>
                  </a:lnTo>
                  <a:lnTo>
                    <a:pt x="38" y="105"/>
                  </a:lnTo>
                  <a:lnTo>
                    <a:pt x="36" y="104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7" y="108"/>
                  </a:lnTo>
                  <a:lnTo>
                    <a:pt x="24" y="107"/>
                  </a:lnTo>
                  <a:lnTo>
                    <a:pt x="23" y="105"/>
                  </a:lnTo>
                  <a:lnTo>
                    <a:pt x="22" y="103"/>
                  </a:lnTo>
                  <a:lnTo>
                    <a:pt x="20" y="99"/>
                  </a:lnTo>
                  <a:lnTo>
                    <a:pt x="19" y="8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7" y="71"/>
                  </a:lnTo>
                  <a:lnTo>
                    <a:pt x="15" y="72"/>
                  </a:lnTo>
                  <a:lnTo>
                    <a:pt x="14" y="73"/>
                  </a:lnTo>
                  <a:lnTo>
                    <a:pt x="13" y="75"/>
                  </a:lnTo>
                  <a:lnTo>
                    <a:pt x="12" y="77"/>
                  </a:lnTo>
                  <a:lnTo>
                    <a:pt x="9" y="80"/>
                  </a:lnTo>
                  <a:lnTo>
                    <a:pt x="8" y="81"/>
                  </a:lnTo>
                  <a:lnTo>
                    <a:pt x="6" y="84"/>
                  </a:lnTo>
                  <a:lnTo>
                    <a:pt x="4" y="85"/>
                  </a:lnTo>
                  <a:lnTo>
                    <a:pt x="3" y="86"/>
                  </a:lnTo>
                  <a:lnTo>
                    <a:pt x="1" y="86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2"/>
                  </a:lnTo>
                  <a:lnTo>
                    <a:pt x="1" y="78"/>
                  </a:lnTo>
                  <a:lnTo>
                    <a:pt x="3" y="75"/>
                  </a:lnTo>
                  <a:lnTo>
                    <a:pt x="5" y="68"/>
                  </a:lnTo>
                  <a:lnTo>
                    <a:pt x="8" y="62"/>
                  </a:lnTo>
                  <a:lnTo>
                    <a:pt x="15" y="43"/>
                  </a:lnTo>
                  <a:lnTo>
                    <a:pt x="26" y="25"/>
                  </a:lnTo>
                  <a:lnTo>
                    <a:pt x="37" y="10"/>
                  </a:lnTo>
                  <a:lnTo>
                    <a:pt x="49" y="1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7" name="Freeform 335"/>
            <p:cNvSpPr>
              <a:spLocks/>
            </p:cNvSpPr>
            <p:nvPr/>
          </p:nvSpPr>
          <p:spPr bwMode="auto">
            <a:xfrm>
              <a:off x="-4027488" y="3663950"/>
              <a:ext cx="198438" cy="101600"/>
            </a:xfrm>
            <a:custGeom>
              <a:avLst/>
              <a:gdLst>
                <a:gd name="T0" fmla="*/ 2 w 125"/>
                <a:gd name="T1" fmla="*/ 0 h 64"/>
                <a:gd name="T2" fmla="*/ 17 w 125"/>
                <a:gd name="T3" fmla="*/ 18 h 64"/>
                <a:gd name="T4" fmla="*/ 34 w 125"/>
                <a:gd name="T5" fmla="*/ 31 h 64"/>
                <a:gd name="T6" fmla="*/ 50 w 125"/>
                <a:gd name="T7" fmla="*/ 39 h 64"/>
                <a:gd name="T8" fmla="*/ 68 w 125"/>
                <a:gd name="T9" fmla="*/ 43 h 64"/>
                <a:gd name="T10" fmla="*/ 88 w 125"/>
                <a:gd name="T11" fmla="*/ 44 h 64"/>
                <a:gd name="T12" fmla="*/ 106 w 125"/>
                <a:gd name="T13" fmla="*/ 43 h 64"/>
                <a:gd name="T14" fmla="*/ 125 w 125"/>
                <a:gd name="T15" fmla="*/ 40 h 64"/>
                <a:gd name="T16" fmla="*/ 108 w 125"/>
                <a:gd name="T17" fmla="*/ 51 h 64"/>
                <a:gd name="T18" fmla="*/ 90 w 125"/>
                <a:gd name="T19" fmla="*/ 59 h 64"/>
                <a:gd name="T20" fmla="*/ 72 w 125"/>
                <a:gd name="T21" fmla="*/ 63 h 64"/>
                <a:gd name="T22" fmla="*/ 56 w 125"/>
                <a:gd name="T23" fmla="*/ 64 h 64"/>
                <a:gd name="T24" fmla="*/ 39 w 125"/>
                <a:gd name="T25" fmla="*/ 62 h 64"/>
                <a:gd name="T26" fmla="*/ 25 w 125"/>
                <a:gd name="T27" fmla="*/ 55 h 64"/>
                <a:gd name="T28" fmla="*/ 12 w 125"/>
                <a:gd name="T29" fmla="*/ 46 h 64"/>
                <a:gd name="T30" fmla="*/ 4 w 125"/>
                <a:gd name="T31" fmla="*/ 34 h 64"/>
                <a:gd name="T32" fmla="*/ 0 w 125"/>
                <a:gd name="T33" fmla="*/ 18 h 64"/>
                <a:gd name="T34" fmla="*/ 2 w 125"/>
                <a:gd name="T3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64">
                  <a:moveTo>
                    <a:pt x="2" y="0"/>
                  </a:moveTo>
                  <a:lnTo>
                    <a:pt x="17" y="18"/>
                  </a:lnTo>
                  <a:lnTo>
                    <a:pt x="34" y="31"/>
                  </a:lnTo>
                  <a:lnTo>
                    <a:pt x="50" y="39"/>
                  </a:lnTo>
                  <a:lnTo>
                    <a:pt x="68" y="43"/>
                  </a:lnTo>
                  <a:lnTo>
                    <a:pt x="88" y="44"/>
                  </a:lnTo>
                  <a:lnTo>
                    <a:pt x="106" y="43"/>
                  </a:lnTo>
                  <a:lnTo>
                    <a:pt x="125" y="40"/>
                  </a:lnTo>
                  <a:lnTo>
                    <a:pt x="108" y="51"/>
                  </a:lnTo>
                  <a:lnTo>
                    <a:pt x="90" y="59"/>
                  </a:lnTo>
                  <a:lnTo>
                    <a:pt x="72" y="63"/>
                  </a:lnTo>
                  <a:lnTo>
                    <a:pt x="56" y="64"/>
                  </a:lnTo>
                  <a:lnTo>
                    <a:pt x="39" y="62"/>
                  </a:lnTo>
                  <a:lnTo>
                    <a:pt x="25" y="55"/>
                  </a:lnTo>
                  <a:lnTo>
                    <a:pt x="12" y="46"/>
                  </a:lnTo>
                  <a:lnTo>
                    <a:pt x="4" y="34"/>
                  </a:lnTo>
                  <a:lnTo>
                    <a:pt x="0" y="1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8" name="Freeform 336"/>
            <p:cNvSpPr>
              <a:spLocks/>
            </p:cNvSpPr>
            <p:nvPr/>
          </p:nvSpPr>
          <p:spPr bwMode="auto">
            <a:xfrm>
              <a:off x="-3970338" y="3627438"/>
              <a:ext cx="141288" cy="115888"/>
            </a:xfrm>
            <a:custGeom>
              <a:avLst/>
              <a:gdLst>
                <a:gd name="T0" fmla="*/ 9 w 89"/>
                <a:gd name="T1" fmla="*/ 0 h 73"/>
                <a:gd name="T2" fmla="*/ 16 w 89"/>
                <a:gd name="T3" fmla="*/ 19 h 73"/>
                <a:gd name="T4" fmla="*/ 25 w 89"/>
                <a:gd name="T5" fmla="*/ 35 h 73"/>
                <a:gd name="T6" fmla="*/ 35 w 89"/>
                <a:gd name="T7" fmla="*/ 45 h 73"/>
                <a:gd name="T8" fmla="*/ 46 w 89"/>
                <a:gd name="T9" fmla="*/ 53 h 73"/>
                <a:gd name="T10" fmla="*/ 59 w 89"/>
                <a:gd name="T11" fmla="*/ 58 h 73"/>
                <a:gd name="T12" fmla="*/ 73 w 89"/>
                <a:gd name="T13" fmla="*/ 62 h 73"/>
                <a:gd name="T14" fmla="*/ 89 w 89"/>
                <a:gd name="T15" fmla="*/ 64 h 73"/>
                <a:gd name="T16" fmla="*/ 71 w 89"/>
                <a:gd name="T17" fmla="*/ 71 h 73"/>
                <a:gd name="T18" fmla="*/ 54 w 89"/>
                <a:gd name="T19" fmla="*/ 73 h 73"/>
                <a:gd name="T20" fmla="*/ 37 w 89"/>
                <a:gd name="T21" fmla="*/ 72 h 73"/>
                <a:gd name="T22" fmla="*/ 23 w 89"/>
                <a:gd name="T23" fmla="*/ 68 h 73"/>
                <a:gd name="T24" fmla="*/ 12 w 89"/>
                <a:gd name="T25" fmla="*/ 62 h 73"/>
                <a:gd name="T26" fmla="*/ 4 w 89"/>
                <a:gd name="T27" fmla="*/ 51 h 73"/>
                <a:gd name="T28" fmla="*/ 0 w 89"/>
                <a:gd name="T29" fmla="*/ 37 h 73"/>
                <a:gd name="T30" fmla="*/ 2 w 89"/>
                <a:gd name="T31" fmla="*/ 21 h 73"/>
                <a:gd name="T32" fmla="*/ 9 w 89"/>
                <a:gd name="T3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3">
                  <a:moveTo>
                    <a:pt x="9" y="0"/>
                  </a:moveTo>
                  <a:lnTo>
                    <a:pt x="16" y="19"/>
                  </a:lnTo>
                  <a:lnTo>
                    <a:pt x="25" y="35"/>
                  </a:lnTo>
                  <a:lnTo>
                    <a:pt x="35" y="45"/>
                  </a:lnTo>
                  <a:lnTo>
                    <a:pt x="46" y="53"/>
                  </a:lnTo>
                  <a:lnTo>
                    <a:pt x="59" y="58"/>
                  </a:lnTo>
                  <a:lnTo>
                    <a:pt x="73" y="62"/>
                  </a:lnTo>
                  <a:lnTo>
                    <a:pt x="89" y="64"/>
                  </a:lnTo>
                  <a:lnTo>
                    <a:pt x="71" y="71"/>
                  </a:lnTo>
                  <a:lnTo>
                    <a:pt x="54" y="73"/>
                  </a:lnTo>
                  <a:lnTo>
                    <a:pt x="37" y="72"/>
                  </a:lnTo>
                  <a:lnTo>
                    <a:pt x="23" y="68"/>
                  </a:lnTo>
                  <a:lnTo>
                    <a:pt x="12" y="62"/>
                  </a:lnTo>
                  <a:lnTo>
                    <a:pt x="4" y="51"/>
                  </a:lnTo>
                  <a:lnTo>
                    <a:pt x="0" y="37"/>
                  </a:lnTo>
                  <a:lnTo>
                    <a:pt x="2" y="2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9" name="Freeform 337"/>
            <p:cNvSpPr>
              <a:spLocks/>
            </p:cNvSpPr>
            <p:nvPr/>
          </p:nvSpPr>
          <p:spPr bwMode="auto">
            <a:xfrm>
              <a:off x="-4224338" y="4267200"/>
              <a:ext cx="219075" cy="460375"/>
            </a:xfrm>
            <a:custGeom>
              <a:avLst/>
              <a:gdLst>
                <a:gd name="T0" fmla="*/ 68 w 138"/>
                <a:gd name="T1" fmla="*/ 0 h 290"/>
                <a:gd name="T2" fmla="*/ 85 w 138"/>
                <a:gd name="T3" fmla="*/ 0 h 290"/>
                <a:gd name="T4" fmla="*/ 100 w 138"/>
                <a:gd name="T5" fmla="*/ 5 h 290"/>
                <a:gd name="T6" fmla="*/ 114 w 138"/>
                <a:gd name="T7" fmla="*/ 13 h 290"/>
                <a:gd name="T8" fmla="*/ 126 w 138"/>
                <a:gd name="T9" fmla="*/ 24 h 290"/>
                <a:gd name="T10" fmla="*/ 135 w 138"/>
                <a:gd name="T11" fmla="*/ 38 h 290"/>
                <a:gd name="T12" fmla="*/ 138 w 138"/>
                <a:gd name="T13" fmla="*/ 56 h 290"/>
                <a:gd name="T14" fmla="*/ 137 w 138"/>
                <a:gd name="T15" fmla="*/ 76 h 290"/>
                <a:gd name="T16" fmla="*/ 129 w 138"/>
                <a:gd name="T17" fmla="*/ 99 h 290"/>
                <a:gd name="T18" fmla="*/ 119 w 138"/>
                <a:gd name="T19" fmla="*/ 123 h 290"/>
                <a:gd name="T20" fmla="*/ 109 w 138"/>
                <a:gd name="T21" fmla="*/ 151 h 290"/>
                <a:gd name="T22" fmla="*/ 100 w 138"/>
                <a:gd name="T23" fmla="*/ 182 h 290"/>
                <a:gd name="T24" fmla="*/ 92 w 138"/>
                <a:gd name="T25" fmla="*/ 213 h 290"/>
                <a:gd name="T26" fmla="*/ 85 w 138"/>
                <a:gd name="T27" fmla="*/ 242 h 290"/>
                <a:gd name="T28" fmla="*/ 79 w 138"/>
                <a:gd name="T29" fmla="*/ 268 h 290"/>
                <a:gd name="T30" fmla="*/ 74 w 138"/>
                <a:gd name="T31" fmla="*/ 290 h 290"/>
                <a:gd name="T32" fmla="*/ 0 w 138"/>
                <a:gd name="T33" fmla="*/ 278 h 290"/>
                <a:gd name="T34" fmla="*/ 2 w 138"/>
                <a:gd name="T35" fmla="*/ 263 h 290"/>
                <a:gd name="T36" fmla="*/ 4 w 138"/>
                <a:gd name="T37" fmla="*/ 242 h 290"/>
                <a:gd name="T38" fmla="*/ 8 w 138"/>
                <a:gd name="T39" fmla="*/ 215 h 290"/>
                <a:gd name="T40" fmla="*/ 11 w 138"/>
                <a:gd name="T41" fmla="*/ 186 h 290"/>
                <a:gd name="T42" fmla="*/ 17 w 138"/>
                <a:gd name="T43" fmla="*/ 154 h 290"/>
                <a:gd name="T44" fmla="*/ 22 w 138"/>
                <a:gd name="T45" fmla="*/ 122 h 290"/>
                <a:gd name="T46" fmla="*/ 29 w 138"/>
                <a:gd name="T47" fmla="*/ 90 h 290"/>
                <a:gd name="T48" fmla="*/ 37 w 138"/>
                <a:gd name="T49" fmla="*/ 60 h 290"/>
                <a:gd name="T50" fmla="*/ 46 w 138"/>
                <a:gd name="T51" fmla="*/ 35 h 290"/>
                <a:gd name="T52" fmla="*/ 56 w 138"/>
                <a:gd name="T53" fmla="*/ 14 h 290"/>
                <a:gd name="T54" fmla="*/ 68 w 138"/>
                <a:gd name="T55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8" h="290">
                  <a:moveTo>
                    <a:pt x="68" y="0"/>
                  </a:moveTo>
                  <a:lnTo>
                    <a:pt x="85" y="0"/>
                  </a:lnTo>
                  <a:lnTo>
                    <a:pt x="100" y="5"/>
                  </a:lnTo>
                  <a:lnTo>
                    <a:pt x="114" y="13"/>
                  </a:lnTo>
                  <a:lnTo>
                    <a:pt x="126" y="24"/>
                  </a:lnTo>
                  <a:lnTo>
                    <a:pt x="135" y="38"/>
                  </a:lnTo>
                  <a:lnTo>
                    <a:pt x="138" y="56"/>
                  </a:lnTo>
                  <a:lnTo>
                    <a:pt x="137" y="76"/>
                  </a:lnTo>
                  <a:lnTo>
                    <a:pt x="129" y="99"/>
                  </a:lnTo>
                  <a:lnTo>
                    <a:pt x="119" y="123"/>
                  </a:lnTo>
                  <a:lnTo>
                    <a:pt x="109" y="151"/>
                  </a:lnTo>
                  <a:lnTo>
                    <a:pt x="100" y="182"/>
                  </a:lnTo>
                  <a:lnTo>
                    <a:pt x="92" y="213"/>
                  </a:lnTo>
                  <a:lnTo>
                    <a:pt x="85" y="242"/>
                  </a:lnTo>
                  <a:lnTo>
                    <a:pt x="79" y="268"/>
                  </a:lnTo>
                  <a:lnTo>
                    <a:pt x="74" y="290"/>
                  </a:lnTo>
                  <a:lnTo>
                    <a:pt x="0" y="278"/>
                  </a:lnTo>
                  <a:lnTo>
                    <a:pt x="2" y="263"/>
                  </a:lnTo>
                  <a:lnTo>
                    <a:pt x="4" y="242"/>
                  </a:lnTo>
                  <a:lnTo>
                    <a:pt x="8" y="215"/>
                  </a:lnTo>
                  <a:lnTo>
                    <a:pt x="11" y="186"/>
                  </a:lnTo>
                  <a:lnTo>
                    <a:pt x="17" y="154"/>
                  </a:lnTo>
                  <a:lnTo>
                    <a:pt x="22" y="122"/>
                  </a:lnTo>
                  <a:lnTo>
                    <a:pt x="29" y="90"/>
                  </a:lnTo>
                  <a:lnTo>
                    <a:pt x="37" y="60"/>
                  </a:lnTo>
                  <a:lnTo>
                    <a:pt x="46" y="35"/>
                  </a:lnTo>
                  <a:lnTo>
                    <a:pt x="56" y="1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0" name="Freeform 338"/>
            <p:cNvSpPr>
              <a:spLocks/>
            </p:cNvSpPr>
            <p:nvPr/>
          </p:nvSpPr>
          <p:spPr bwMode="auto">
            <a:xfrm>
              <a:off x="-4037013" y="4313238"/>
              <a:ext cx="31750" cy="153988"/>
            </a:xfrm>
            <a:custGeom>
              <a:avLst/>
              <a:gdLst>
                <a:gd name="T0" fmla="*/ 11 w 20"/>
                <a:gd name="T1" fmla="*/ 0 h 97"/>
                <a:gd name="T2" fmla="*/ 18 w 20"/>
                <a:gd name="T3" fmla="*/ 15 h 97"/>
                <a:gd name="T4" fmla="*/ 20 w 20"/>
                <a:gd name="T5" fmla="*/ 30 h 97"/>
                <a:gd name="T6" fmla="*/ 19 w 20"/>
                <a:gd name="T7" fmla="*/ 49 h 97"/>
                <a:gd name="T8" fmla="*/ 11 w 20"/>
                <a:gd name="T9" fmla="*/ 70 h 97"/>
                <a:gd name="T10" fmla="*/ 0 w 20"/>
                <a:gd name="T11" fmla="*/ 97 h 97"/>
                <a:gd name="T12" fmla="*/ 11 w 20"/>
                <a:gd name="T1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97">
                  <a:moveTo>
                    <a:pt x="11" y="0"/>
                  </a:moveTo>
                  <a:lnTo>
                    <a:pt x="18" y="15"/>
                  </a:lnTo>
                  <a:lnTo>
                    <a:pt x="20" y="30"/>
                  </a:lnTo>
                  <a:lnTo>
                    <a:pt x="19" y="49"/>
                  </a:lnTo>
                  <a:lnTo>
                    <a:pt x="11" y="70"/>
                  </a:lnTo>
                  <a:lnTo>
                    <a:pt x="0" y="9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1" name="Freeform 339"/>
            <p:cNvSpPr>
              <a:spLocks/>
            </p:cNvSpPr>
            <p:nvPr/>
          </p:nvSpPr>
          <p:spPr bwMode="auto">
            <a:xfrm>
              <a:off x="-4189413" y="4267200"/>
              <a:ext cx="101600" cy="454025"/>
            </a:xfrm>
            <a:custGeom>
              <a:avLst/>
              <a:gdLst>
                <a:gd name="T0" fmla="*/ 55 w 64"/>
                <a:gd name="T1" fmla="*/ 0 h 286"/>
                <a:gd name="T2" fmla="*/ 64 w 64"/>
                <a:gd name="T3" fmla="*/ 1 h 286"/>
                <a:gd name="T4" fmla="*/ 33 w 64"/>
                <a:gd name="T5" fmla="*/ 286 h 286"/>
                <a:gd name="T6" fmla="*/ 0 w 64"/>
                <a:gd name="T7" fmla="*/ 281 h 286"/>
                <a:gd name="T8" fmla="*/ 27 w 64"/>
                <a:gd name="T9" fmla="*/ 28 h 286"/>
                <a:gd name="T10" fmla="*/ 36 w 64"/>
                <a:gd name="T11" fmla="*/ 11 h 286"/>
                <a:gd name="T12" fmla="*/ 46 w 64"/>
                <a:gd name="T13" fmla="*/ 0 h 286"/>
                <a:gd name="T14" fmla="*/ 55 w 64"/>
                <a:gd name="T15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86">
                  <a:moveTo>
                    <a:pt x="55" y="0"/>
                  </a:moveTo>
                  <a:lnTo>
                    <a:pt x="64" y="1"/>
                  </a:lnTo>
                  <a:lnTo>
                    <a:pt x="33" y="286"/>
                  </a:lnTo>
                  <a:lnTo>
                    <a:pt x="0" y="281"/>
                  </a:lnTo>
                  <a:lnTo>
                    <a:pt x="27" y="28"/>
                  </a:lnTo>
                  <a:lnTo>
                    <a:pt x="36" y="11"/>
                  </a:lnTo>
                  <a:lnTo>
                    <a:pt x="46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2" name="Freeform 340"/>
            <p:cNvSpPr>
              <a:spLocks/>
            </p:cNvSpPr>
            <p:nvPr/>
          </p:nvSpPr>
          <p:spPr bwMode="auto">
            <a:xfrm>
              <a:off x="-4157663" y="4283075"/>
              <a:ext cx="152400" cy="69850"/>
            </a:xfrm>
            <a:custGeom>
              <a:avLst/>
              <a:gdLst>
                <a:gd name="T0" fmla="*/ 17 w 96"/>
                <a:gd name="T1" fmla="*/ 0 h 44"/>
                <a:gd name="T2" fmla="*/ 77 w 96"/>
                <a:gd name="T3" fmla="*/ 7 h 44"/>
                <a:gd name="T4" fmla="*/ 86 w 96"/>
                <a:gd name="T5" fmla="*/ 17 h 44"/>
                <a:gd name="T6" fmla="*/ 93 w 96"/>
                <a:gd name="T7" fmla="*/ 30 h 44"/>
                <a:gd name="T8" fmla="*/ 96 w 96"/>
                <a:gd name="T9" fmla="*/ 44 h 44"/>
                <a:gd name="T10" fmla="*/ 0 w 96"/>
                <a:gd name="T11" fmla="*/ 34 h 44"/>
                <a:gd name="T12" fmla="*/ 8 w 96"/>
                <a:gd name="T13" fmla="*/ 14 h 44"/>
                <a:gd name="T14" fmla="*/ 17 w 96"/>
                <a:gd name="T1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44">
                  <a:moveTo>
                    <a:pt x="17" y="0"/>
                  </a:moveTo>
                  <a:lnTo>
                    <a:pt x="77" y="7"/>
                  </a:lnTo>
                  <a:lnTo>
                    <a:pt x="86" y="17"/>
                  </a:lnTo>
                  <a:lnTo>
                    <a:pt x="93" y="30"/>
                  </a:lnTo>
                  <a:lnTo>
                    <a:pt x="96" y="44"/>
                  </a:lnTo>
                  <a:lnTo>
                    <a:pt x="0" y="34"/>
                  </a:lnTo>
                  <a:lnTo>
                    <a:pt x="8" y="1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3" name="Freeform 341"/>
            <p:cNvSpPr>
              <a:spLocks/>
            </p:cNvSpPr>
            <p:nvPr/>
          </p:nvSpPr>
          <p:spPr bwMode="auto">
            <a:xfrm>
              <a:off x="-4189413" y="4405313"/>
              <a:ext cx="169863" cy="69850"/>
            </a:xfrm>
            <a:custGeom>
              <a:avLst/>
              <a:gdLst>
                <a:gd name="T0" fmla="*/ 7 w 107"/>
                <a:gd name="T1" fmla="*/ 0 h 44"/>
                <a:gd name="T2" fmla="*/ 107 w 107"/>
                <a:gd name="T3" fmla="*/ 12 h 44"/>
                <a:gd name="T4" fmla="*/ 95 w 107"/>
                <a:gd name="T5" fmla="*/ 44 h 44"/>
                <a:gd name="T6" fmla="*/ 0 w 107"/>
                <a:gd name="T7" fmla="*/ 35 h 44"/>
                <a:gd name="T8" fmla="*/ 7 w 107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44">
                  <a:moveTo>
                    <a:pt x="7" y="0"/>
                  </a:moveTo>
                  <a:lnTo>
                    <a:pt x="107" y="12"/>
                  </a:lnTo>
                  <a:lnTo>
                    <a:pt x="95" y="44"/>
                  </a:lnTo>
                  <a:lnTo>
                    <a:pt x="0" y="3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4" name="Freeform 342"/>
            <p:cNvSpPr>
              <a:spLocks/>
            </p:cNvSpPr>
            <p:nvPr/>
          </p:nvSpPr>
          <p:spPr bwMode="auto">
            <a:xfrm>
              <a:off x="-4210050" y="4532313"/>
              <a:ext cx="149225" cy="66675"/>
            </a:xfrm>
            <a:custGeom>
              <a:avLst/>
              <a:gdLst>
                <a:gd name="T0" fmla="*/ 5 w 94"/>
                <a:gd name="T1" fmla="*/ 0 h 42"/>
                <a:gd name="T2" fmla="*/ 94 w 94"/>
                <a:gd name="T3" fmla="*/ 9 h 42"/>
                <a:gd name="T4" fmla="*/ 85 w 94"/>
                <a:gd name="T5" fmla="*/ 42 h 42"/>
                <a:gd name="T6" fmla="*/ 0 w 94"/>
                <a:gd name="T7" fmla="*/ 33 h 42"/>
                <a:gd name="T8" fmla="*/ 5 w 9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2">
                  <a:moveTo>
                    <a:pt x="5" y="0"/>
                  </a:moveTo>
                  <a:lnTo>
                    <a:pt x="94" y="9"/>
                  </a:lnTo>
                  <a:lnTo>
                    <a:pt x="85" y="42"/>
                  </a:lnTo>
                  <a:lnTo>
                    <a:pt x="0" y="3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5" name="Freeform 343"/>
            <p:cNvSpPr>
              <a:spLocks/>
            </p:cNvSpPr>
            <p:nvPr/>
          </p:nvSpPr>
          <p:spPr bwMode="auto">
            <a:xfrm>
              <a:off x="-4224338" y="4656138"/>
              <a:ext cx="130175" cy="66675"/>
            </a:xfrm>
            <a:custGeom>
              <a:avLst/>
              <a:gdLst>
                <a:gd name="T0" fmla="*/ 4 w 82"/>
                <a:gd name="T1" fmla="*/ 0 h 42"/>
                <a:gd name="T2" fmla="*/ 82 w 82"/>
                <a:gd name="T3" fmla="*/ 9 h 42"/>
                <a:gd name="T4" fmla="*/ 78 w 82"/>
                <a:gd name="T5" fmla="*/ 27 h 42"/>
                <a:gd name="T6" fmla="*/ 76 w 82"/>
                <a:gd name="T7" fmla="*/ 42 h 42"/>
                <a:gd name="T8" fmla="*/ 35 w 82"/>
                <a:gd name="T9" fmla="*/ 38 h 42"/>
                <a:gd name="T10" fmla="*/ 0 w 82"/>
                <a:gd name="T11" fmla="*/ 33 h 42"/>
                <a:gd name="T12" fmla="*/ 1 w 82"/>
                <a:gd name="T13" fmla="*/ 19 h 42"/>
                <a:gd name="T14" fmla="*/ 4 w 8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42">
                  <a:moveTo>
                    <a:pt x="4" y="0"/>
                  </a:moveTo>
                  <a:lnTo>
                    <a:pt x="82" y="9"/>
                  </a:lnTo>
                  <a:lnTo>
                    <a:pt x="78" y="27"/>
                  </a:lnTo>
                  <a:lnTo>
                    <a:pt x="76" y="42"/>
                  </a:lnTo>
                  <a:lnTo>
                    <a:pt x="35" y="38"/>
                  </a:lnTo>
                  <a:lnTo>
                    <a:pt x="0" y="33"/>
                  </a:lnTo>
                  <a:lnTo>
                    <a:pt x="1" y="1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6" name="Freeform 344"/>
            <p:cNvSpPr>
              <a:spLocks/>
            </p:cNvSpPr>
            <p:nvPr/>
          </p:nvSpPr>
          <p:spPr bwMode="auto">
            <a:xfrm>
              <a:off x="-4022725" y="4313238"/>
              <a:ext cx="17463" cy="39688"/>
            </a:xfrm>
            <a:custGeom>
              <a:avLst/>
              <a:gdLst>
                <a:gd name="T0" fmla="*/ 2 w 11"/>
                <a:gd name="T1" fmla="*/ 0 h 25"/>
                <a:gd name="T2" fmla="*/ 8 w 11"/>
                <a:gd name="T3" fmla="*/ 11 h 25"/>
                <a:gd name="T4" fmla="*/ 11 w 11"/>
                <a:gd name="T5" fmla="*/ 25 h 25"/>
                <a:gd name="T6" fmla="*/ 0 w 11"/>
                <a:gd name="T7" fmla="*/ 24 h 25"/>
                <a:gd name="T8" fmla="*/ 2 w 1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2" y="0"/>
                  </a:moveTo>
                  <a:lnTo>
                    <a:pt x="8" y="11"/>
                  </a:lnTo>
                  <a:lnTo>
                    <a:pt x="11" y="25"/>
                  </a:lnTo>
                  <a:lnTo>
                    <a:pt x="0" y="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7" name="Freeform 345"/>
            <p:cNvSpPr>
              <a:spLocks/>
            </p:cNvSpPr>
            <p:nvPr/>
          </p:nvSpPr>
          <p:spPr bwMode="auto">
            <a:xfrm>
              <a:off x="-4149725" y="4283075"/>
              <a:ext cx="60325" cy="58738"/>
            </a:xfrm>
            <a:custGeom>
              <a:avLst/>
              <a:gdLst>
                <a:gd name="T0" fmla="*/ 12 w 38"/>
                <a:gd name="T1" fmla="*/ 0 h 37"/>
                <a:gd name="T2" fmla="*/ 38 w 38"/>
                <a:gd name="T3" fmla="*/ 3 h 37"/>
                <a:gd name="T4" fmla="*/ 34 w 38"/>
                <a:gd name="T5" fmla="*/ 37 h 37"/>
                <a:gd name="T6" fmla="*/ 0 w 38"/>
                <a:gd name="T7" fmla="*/ 34 h 37"/>
                <a:gd name="T8" fmla="*/ 2 w 38"/>
                <a:gd name="T9" fmla="*/ 18 h 37"/>
                <a:gd name="T10" fmla="*/ 4 w 38"/>
                <a:gd name="T11" fmla="*/ 12 h 37"/>
                <a:gd name="T12" fmla="*/ 7 w 38"/>
                <a:gd name="T13" fmla="*/ 8 h 37"/>
                <a:gd name="T14" fmla="*/ 9 w 38"/>
                <a:gd name="T15" fmla="*/ 4 h 37"/>
                <a:gd name="T16" fmla="*/ 12 w 38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7">
                  <a:moveTo>
                    <a:pt x="12" y="0"/>
                  </a:moveTo>
                  <a:lnTo>
                    <a:pt x="38" y="3"/>
                  </a:lnTo>
                  <a:lnTo>
                    <a:pt x="34" y="37"/>
                  </a:lnTo>
                  <a:lnTo>
                    <a:pt x="0" y="34"/>
                  </a:lnTo>
                  <a:lnTo>
                    <a:pt x="2" y="18"/>
                  </a:lnTo>
                  <a:lnTo>
                    <a:pt x="4" y="12"/>
                  </a:lnTo>
                  <a:lnTo>
                    <a:pt x="7" y="8"/>
                  </a:lnTo>
                  <a:lnTo>
                    <a:pt x="9" y="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8" name="Freeform 346"/>
            <p:cNvSpPr>
              <a:spLocks/>
            </p:cNvSpPr>
            <p:nvPr/>
          </p:nvSpPr>
          <p:spPr bwMode="auto">
            <a:xfrm>
              <a:off x="-4037013" y="4421188"/>
              <a:ext cx="17463" cy="46038"/>
            </a:xfrm>
            <a:custGeom>
              <a:avLst/>
              <a:gdLst>
                <a:gd name="T0" fmla="*/ 4 w 11"/>
                <a:gd name="T1" fmla="*/ 0 h 29"/>
                <a:gd name="T2" fmla="*/ 11 w 11"/>
                <a:gd name="T3" fmla="*/ 2 h 29"/>
                <a:gd name="T4" fmla="*/ 0 w 11"/>
                <a:gd name="T5" fmla="*/ 29 h 29"/>
                <a:gd name="T6" fmla="*/ 4 w 11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9">
                  <a:moveTo>
                    <a:pt x="4" y="0"/>
                  </a:moveTo>
                  <a:lnTo>
                    <a:pt x="11" y="2"/>
                  </a:lnTo>
                  <a:lnTo>
                    <a:pt x="0" y="2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9" name="Freeform 347"/>
            <p:cNvSpPr>
              <a:spLocks/>
            </p:cNvSpPr>
            <p:nvPr/>
          </p:nvSpPr>
          <p:spPr bwMode="auto">
            <a:xfrm>
              <a:off x="-4164013" y="4406900"/>
              <a:ext cx="60325" cy="61913"/>
            </a:xfrm>
            <a:custGeom>
              <a:avLst/>
              <a:gdLst>
                <a:gd name="T0" fmla="*/ 4 w 38"/>
                <a:gd name="T1" fmla="*/ 0 h 39"/>
                <a:gd name="T2" fmla="*/ 38 w 38"/>
                <a:gd name="T3" fmla="*/ 4 h 39"/>
                <a:gd name="T4" fmla="*/ 35 w 38"/>
                <a:gd name="T5" fmla="*/ 39 h 39"/>
                <a:gd name="T6" fmla="*/ 0 w 38"/>
                <a:gd name="T7" fmla="*/ 35 h 39"/>
                <a:gd name="T8" fmla="*/ 4 w 38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4" y="0"/>
                  </a:moveTo>
                  <a:lnTo>
                    <a:pt x="38" y="4"/>
                  </a:lnTo>
                  <a:lnTo>
                    <a:pt x="35" y="39"/>
                  </a:lnTo>
                  <a:lnTo>
                    <a:pt x="0" y="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0" name="Freeform 348"/>
            <p:cNvSpPr>
              <a:spLocks/>
            </p:cNvSpPr>
            <p:nvPr/>
          </p:nvSpPr>
          <p:spPr bwMode="auto">
            <a:xfrm>
              <a:off x="-4178300" y="4533900"/>
              <a:ext cx="61913" cy="61913"/>
            </a:xfrm>
            <a:custGeom>
              <a:avLst/>
              <a:gdLst>
                <a:gd name="T0" fmla="*/ 4 w 39"/>
                <a:gd name="T1" fmla="*/ 0 h 39"/>
                <a:gd name="T2" fmla="*/ 39 w 39"/>
                <a:gd name="T3" fmla="*/ 4 h 39"/>
                <a:gd name="T4" fmla="*/ 35 w 39"/>
                <a:gd name="T5" fmla="*/ 39 h 39"/>
                <a:gd name="T6" fmla="*/ 0 w 39"/>
                <a:gd name="T7" fmla="*/ 35 h 39"/>
                <a:gd name="T8" fmla="*/ 4 w 39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4" y="0"/>
                  </a:moveTo>
                  <a:lnTo>
                    <a:pt x="39" y="4"/>
                  </a:lnTo>
                  <a:lnTo>
                    <a:pt x="35" y="39"/>
                  </a:lnTo>
                  <a:lnTo>
                    <a:pt x="0" y="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1" name="Freeform 349"/>
            <p:cNvSpPr>
              <a:spLocks/>
            </p:cNvSpPr>
            <p:nvPr/>
          </p:nvSpPr>
          <p:spPr bwMode="auto">
            <a:xfrm>
              <a:off x="-4189413" y="4660900"/>
              <a:ext cx="58738" cy="60325"/>
            </a:xfrm>
            <a:custGeom>
              <a:avLst/>
              <a:gdLst>
                <a:gd name="T0" fmla="*/ 2 w 37"/>
                <a:gd name="T1" fmla="*/ 0 h 38"/>
                <a:gd name="T2" fmla="*/ 37 w 37"/>
                <a:gd name="T3" fmla="*/ 3 h 38"/>
                <a:gd name="T4" fmla="*/ 33 w 37"/>
                <a:gd name="T5" fmla="*/ 38 h 38"/>
                <a:gd name="T6" fmla="*/ 13 w 37"/>
                <a:gd name="T7" fmla="*/ 35 h 38"/>
                <a:gd name="T8" fmla="*/ 0 w 37"/>
                <a:gd name="T9" fmla="*/ 33 h 38"/>
                <a:gd name="T10" fmla="*/ 2 w 37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38">
                  <a:moveTo>
                    <a:pt x="2" y="0"/>
                  </a:moveTo>
                  <a:lnTo>
                    <a:pt x="37" y="3"/>
                  </a:lnTo>
                  <a:lnTo>
                    <a:pt x="33" y="38"/>
                  </a:lnTo>
                  <a:lnTo>
                    <a:pt x="13" y="35"/>
                  </a:lnTo>
                  <a:lnTo>
                    <a:pt x="0" y="3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2" name="Freeform 350"/>
            <p:cNvSpPr>
              <a:spLocks/>
            </p:cNvSpPr>
            <p:nvPr/>
          </p:nvSpPr>
          <p:spPr bwMode="auto">
            <a:xfrm>
              <a:off x="-4229100" y="4708525"/>
              <a:ext cx="122238" cy="257175"/>
            </a:xfrm>
            <a:custGeom>
              <a:avLst/>
              <a:gdLst>
                <a:gd name="T0" fmla="*/ 3 w 77"/>
                <a:gd name="T1" fmla="*/ 0 h 162"/>
                <a:gd name="T2" fmla="*/ 77 w 77"/>
                <a:gd name="T3" fmla="*/ 12 h 162"/>
                <a:gd name="T4" fmla="*/ 76 w 77"/>
                <a:gd name="T5" fmla="*/ 18 h 162"/>
                <a:gd name="T6" fmla="*/ 76 w 77"/>
                <a:gd name="T7" fmla="*/ 25 h 162"/>
                <a:gd name="T8" fmla="*/ 75 w 77"/>
                <a:gd name="T9" fmla="*/ 27 h 162"/>
                <a:gd name="T10" fmla="*/ 75 w 77"/>
                <a:gd name="T11" fmla="*/ 39 h 162"/>
                <a:gd name="T12" fmla="*/ 72 w 77"/>
                <a:gd name="T13" fmla="*/ 56 h 162"/>
                <a:gd name="T14" fmla="*/ 70 w 77"/>
                <a:gd name="T15" fmla="*/ 76 h 162"/>
                <a:gd name="T16" fmla="*/ 66 w 77"/>
                <a:gd name="T17" fmla="*/ 99 h 162"/>
                <a:gd name="T18" fmla="*/ 63 w 77"/>
                <a:gd name="T19" fmla="*/ 122 h 162"/>
                <a:gd name="T20" fmla="*/ 62 w 77"/>
                <a:gd name="T21" fmla="*/ 144 h 162"/>
                <a:gd name="T22" fmla="*/ 61 w 77"/>
                <a:gd name="T23" fmla="*/ 162 h 162"/>
                <a:gd name="T24" fmla="*/ 31 w 77"/>
                <a:gd name="T25" fmla="*/ 157 h 162"/>
                <a:gd name="T26" fmla="*/ 0 w 77"/>
                <a:gd name="T27" fmla="*/ 152 h 162"/>
                <a:gd name="T28" fmla="*/ 0 w 77"/>
                <a:gd name="T29" fmla="*/ 133 h 162"/>
                <a:gd name="T30" fmla="*/ 0 w 77"/>
                <a:gd name="T31" fmla="*/ 107 h 162"/>
                <a:gd name="T32" fmla="*/ 0 w 77"/>
                <a:gd name="T33" fmla="*/ 79 h 162"/>
                <a:gd name="T34" fmla="*/ 0 w 77"/>
                <a:gd name="T35" fmla="*/ 49 h 162"/>
                <a:gd name="T36" fmla="*/ 2 w 77"/>
                <a:gd name="T37" fmla="*/ 23 h 162"/>
                <a:gd name="T38" fmla="*/ 3 w 77"/>
                <a:gd name="T39" fmla="*/ 3 h 162"/>
                <a:gd name="T40" fmla="*/ 3 w 77"/>
                <a:gd name="T4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" h="162">
                  <a:moveTo>
                    <a:pt x="3" y="0"/>
                  </a:moveTo>
                  <a:lnTo>
                    <a:pt x="77" y="12"/>
                  </a:lnTo>
                  <a:lnTo>
                    <a:pt x="76" y="18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39"/>
                  </a:lnTo>
                  <a:lnTo>
                    <a:pt x="72" y="56"/>
                  </a:lnTo>
                  <a:lnTo>
                    <a:pt x="70" y="76"/>
                  </a:lnTo>
                  <a:lnTo>
                    <a:pt x="66" y="99"/>
                  </a:lnTo>
                  <a:lnTo>
                    <a:pt x="63" y="122"/>
                  </a:lnTo>
                  <a:lnTo>
                    <a:pt x="62" y="144"/>
                  </a:lnTo>
                  <a:lnTo>
                    <a:pt x="61" y="162"/>
                  </a:lnTo>
                  <a:lnTo>
                    <a:pt x="31" y="157"/>
                  </a:lnTo>
                  <a:lnTo>
                    <a:pt x="0" y="152"/>
                  </a:lnTo>
                  <a:lnTo>
                    <a:pt x="0" y="133"/>
                  </a:lnTo>
                  <a:lnTo>
                    <a:pt x="0" y="107"/>
                  </a:lnTo>
                  <a:lnTo>
                    <a:pt x="0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3" name="Freeform 351"/>
            <p:cNvSpPr>
              <a:spLocks/>
            </p:cNvSpPr>
            <p:nvPr/>
          </p:nvSpPr>
          <p:spPr bwMode="auto">
            <a:xfrm>
              <a:off x="-4144963" y="4214813"/>
              <a:ext cx="185738" cy="914400"/>
            </a:xfrm>
            <a:custGeom>
              <a:avLst/>
              <a:gdLst>
                <a:gd name="T0" fmla="*/ 117 w 117"/>
                <a:gd name="T1" fmla="*/ 0 h 576"/>
                <a:gd name="T2" fmla="*/ 113 w 117"/>
                <a:gd name="T3" fmla="*/ 27 h 576"/>
                <a:gd name="T4" fmla="*/ 109 w 117"/>
                <a:gd name="T5" fmla="*/ 61 h 576"/>
                <a:gd name="T6" fmla="*/ 105 w 117"/>
                <a:gd name="T7" fmla="*/ 101 h 576"/>
                <a:gd name="T8" fmla="*/ 104 w 117"/>
                <a:gd name="T9" fmla="*/ 146 h 576"/>
                <a:gd name="T10" fmla="*/ 103 w 117"/>
                <a:gd name="T11" fmla="*/ 192 h 576"/>
                <a:gd name="T12" fmla="*/ 101 w 117"/>
                <a:gd name="T13" fmla="*/ 241 h 576"/>
                <a:gd name="T14" fmla="*/ 100 w 117"/>
                <a:gd name="T15" fmla="*/ 288 h 576"/>
                <a:gd name="T16" fmla="*/ 99 w 117"/>
                <a:gd name="T17" fmla="*/ 334 h 576"/>
                <a:gd name="T18" fmla="*/ 96 w 117"/>
                <a:gd name="T19" fmla="*/ 378 h 576"/>
                <a:gd name="T20" fmla="*/ 95 w 117"/>
                <a:gd name="T21" fmla="*/ 417 h 576"/>
                <a:gd name="T22" fmla="*/ 91 w 117"/>
                <a:gd name="T23" fmla="*/ 449 h 576"/>
                <a:gd name="T24" fmla="*/ 88 w 117"/>
                <a:gd name="T25" fmla="*/ 476 h 576"/>
                <a:gd name="T26" fmla="*/ 87 w 117"/>
                <a:gd name="T27" fmla="*/ 501 h 576"/>
                <a:gd name="T28" fmla="*/ 86 w 117"/>
                <a:gd name="T29" fmla="*/ 526 h 576"/>
                <a:gd name="T30" fmla="*/ 86 w 117"/>
                <a:gd name="T31" fmla="*/ 545 h 576"/>
                <a:gd name="T32" fmla="*/ 86 w 117"/>
                <a:gd name="T33" fmla="*/ 562 h 576"/>
                <a:gd name="T34" fmla="*/ 86 w 117"/>
                <a:gd name="T35" fmla="*/ 572 h 576"/>
                <a:gd name="T36" fmla="*/ 86 w 117"/>
                <a:gd name="T37" fmla="*/ 576 h 576"/>
                <a:gd name="T38" fmla="*/ 70 w 117"/>
                <a:gd name="T39" fmla="*/ 569 h 576"/>
                <a:gd name="T40" fmla="*/ 55 w 117"/>
                <a:gd name="T41" fmla="*/ 562 h 576"/>
                <a:gd name="T42" fmla="*/ 41 w 117"/>
                <a:gd name="T43" fmla="*/ 550 h 576"/>
                <a:gd name="T44" fmla="*/ 29 w 117"/>
                <a:gd name="T45" fmla="*/ 535 h 576"/>
                <a:gd name="T46" fmla="*/ 20 w 117"/>
                <a:gd name="T47" fmla="*/ 518 h 576"/>
                <a:gd name="T48" fmla="*/ 15 w 117"/>
                <a:gd name="T49" fmla="*/ 497 h 576"/>
                <a:gd name="T50" fmla="*/ 14 w 117"/>
                <a:gd name="T51" fmla="*/ 474 h 576"/>
                <a:gd name="T52" fmla="*/ 17 w 117"/>
                <a:gd name="T53" fmla="*/ 449 h 576"/>
                <a:gd name="T54" fmla="*/ 23 w 117"/>
                <a:gd name="T55" fmla="*/ 415 h 576"/>
                <a:gd name="T56" fmla="*/ 26 w 117"/>
                <a:gd name="T57" fmla="*/ 379 h 576"/>
                <a:gd name="T58" fmla="*/ 28 w 117"/>
                <a:gd name="T59" fmla="*/ 341 h 576"/>
                <a:gd name="T60" fmla="*/ 29 w 117"/>
                <a:gd name="T61" fmla="*/ 304 h 576"/>
                <a:gd name="T62" fmla="*/ 31 w 117"/>
                <a:gd name="T63" fmla="*/ 269 h 576"/>
                <a:gd name="T64" fmla="*/ 32 w 117"/>
                <a:gd name="T65" fmla="*/ 237 h 576"/>
                <a:gd name="T66" fmla="*/ 35 w 117"/>
                <a:gd name="T67" fmla="*/ 210 h 576"/>
                <a:gd name="T68" fmla="*/ 37 w 117"/>
                <a:gd name="T69" fmla="*/ 188 h 576"/>
                <a:gd name="T70" fmla="*/ 35 w 117"/>
                <a:gd name="T71" fmla="*/ 164 h 576"/>
                <a:gd name="T72" fmla="*/ 31 w 117"/>
                <a:gd name="T73" fmla="*/ 139 h 576"/>
                <a:gd name="T74" fmla="*/ 24 w 117"/>
                <a:gd name="T75" fmla="*/ 116 h 576"/>
                <a:gd name="T76" fmla="*/ 18 w 117"/>
                <a:gd name="T77" fmla="*/ 95 h 576"/>
                <a:gd name="T78" fmla="*/ 11 w 117"/>
                <a:gd name="T79" fmla="*/ 77 h 576"/>
                <a:gd name="T80" fmla="*/ 5 w 117"/>
                <a:gd name="T81" fmla="*/ 64 h 576"/>
                <a:gd name="T82" fmla="*/ 0 w 117"/>
                <a:gd name="T83" fmla="*/ 56 h 576"/>
                <a:gd name="T84" fmla="*/ 9 w 117"/>
                <a:gd name="T85" fmla="*/ 41 h 576"/>
                <a:gd name="T86" fmla="*/ 23 w 117"/>
                <a:gd name="T87" fmla="*/ 27 h 576"/>
                <a:gd name="T88" fmla="*/ 41 w 117"/>
                <a:gd name="T89" fmla="*/ 15 h 576"/>
                <a:gd name="T90" fmla="*/ 63 w 117"/>
                <a:gd name="T91" fmla="*/ 6 h 576"/>
                <a:gd name="T92" fmla="*/ 88 w 117"/>
                <a:gd name="T93" fmla="*/ 1 h 576"/>
                <a:gd name="T94" fmla="*/ 117 w 117"/>
                <a:gd name="T9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7" h="576">
                  <a:moveTo>
                    <a:pt x="117" y="0"/>
                  </a:moveTo>
                  <a:lnTo>
                    <a:pt x="113" y="27"/>
                  </a:lnTo>
                  <a:lnTo>
                    <a:pt x="109" y="61"/>
                  </a:lnTo>
                  <a:lnTo>
                    <a:pt x="105" y="101"/>
                  </a:lnTo>
                  <a:lnTo>
                    <a:pt x="104" y="146"/>
                  </a:lnTo>
                  <a:lnTo>
                    <a:pt x="103" y="192"/>
                  </a:lnTo>
                  <a:lnTo>
                    <a:pt x="101" y="241"/>
                  </a:lnTo>
                  <a:lnTo>
                    <a:pt x="100" y="288"/>
                  </a:lnTo>
                  <a:lnTo>
                    <a:pt x="99" y="334"/>
                  </a:lnTo>
                  <a:lnTo>
                    <a:pt x="96" y="378"/>
                  </a:lnTo>
                  <a:lnTo>
                    <a:pt x="95" y="417"/>
                  </a:lnTo>
                  <a:lnTo>
                    <a:pt x="91" y="449"/>
                  </a:lnTo>
                  <a:lnTo>
                    <a:pt x="88" y="476"/>
                  </a:lnTo>
                  <a:lnTo>
                    <a:pt x="87" y="501"/>
                  </a:lnTo>
                  <a:lnTo>
                    <a:pt x="86" y="526"/>
                  </a:lnTo>
                  <a:lnTo>
                    <a:pt x="86" y="545"/>
                  </a:lnTo>
                  <a:lnTo>
                    <a:pt x="86" y="562"/>
                  </a:lnTo>
                  <a:lnTo>
                    <a:pt x="86" y="572"/>
                  </a:lnTo>
                  <a:lnTo>
                    <a:pt x="86" y="576"/>
                  </a:lnTo>
                  <a:lnTo>
                    <a:pt x="70" y="569"/>
                  </a:lnTo>
                  <a:lnTo>
                    <a:pt x="55" y="562"/>
                  </a:lnTo>
                  <a:lnTo>
                    <a:pt x="41" y="550"/>
                  </a:lnTo>
                  <a:lnTo>
                    <a:pt x="29" y="535"/>
                  </a:lnTo>
                  <a:lnTo>
                    <a:pt x="20" y="518"/>
                  </a:lnTo>
                  <a:lnTo>
                    <a:pt x="15" y="497"/>
                  </a:lnTo>
                  <a:lnTo>
                    <a:pt x="14" y="474"/>
                  </a:lnTo>
                  <a:lnTo>
                    <a:pt x="17" y="449"/>
                  </a:lnTo>
                  <a:lnTo>
                    <a:pt x="23" y="415"/>
                  </a:lnTo>
                  <a:lnTo>
                    <a:pt x="26" y="379"/>
                  </a:lnTo>
                  <a:lnTo>
                    <a:pt x="28" y="341"/>
                  </a:lnTo>
                  <a:lnTo>
                    <a:pt x="29" y="304"/>
                  </a:lnTo>
                  <a:lnTo>
                    <a:pt x="31" y="269"/>
                  </a:lnTo>
                  <a:lnTo>
                    <a:pt x="32" y="237"/>
                  </a:lnTo>
                  <a:lnTo>
                    <a:pt x="35" y="210"/>
                  </a:lnTo>
                  <a:lnTo>
                    <a:pt x="37" y="188"/>
                  </a:lnTo>
                  <a:lnTo>
                    <a:pt x="35" y="164"/>
                  </a:lnTo>
                  <a:lnTo>
                    <a:pt x="31" y="139"/>
                  </a:lnTo>
                  <a:lnTo>
                    <a:pt x="24" y="116"/>
                  </a:lnTo>
                  <a:lnTo>
                    <a:pt x="18" y="95"/>
                  </a:lnTo>
                  <a:lnTo>
                    <a:pt x="11" y="77"/>
                  </a:lnTo>
                  <a:lnTo>
                    <a:pt x="5" y="64"/>
                  </a:lnTo>
                  <a:lnTo>
                    <a:pt x="0" y="56"/>
                  </a:lnTo>
                  <a:lnTo>
                    <a:pt x="9" y="41"/>
                  </a:lnTo>
                  <a:lnTo>
                    <a:pt x="23" y="27"/>
                  </a:lnTo>
                  <a:lnTo>
                    <a:pt x="41" y="15"/>
                  </a:lnTo>
                  <a:lnTo>
                    <a:pt x="63" y="6"/>
                  </a:lnTo>
                  <a:lnTo>
                    <a:pt x="88" y="1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4" name="Freeform 352"/>
            <p:cNvSpPr>
              <a:spLocks/>
            </p:cNvSpPr>
            <p:nvPr/>
          </p:nvSpPr>
          <p:spPr bwMode="auto">
            <a:xfrm>
              <a:off x="-4144963" y="4275138"/>
              <a:ext cx="15875" cy="55563"/>
            </a:xfrm>
            <a:custGeom>
              <a:avLst/>
              <a:gdLst>
                <a:gd name="T0" fmla="*/ 10 w 10"/>
                <a:gd name="T1" fmla="*/ 0 h 35"/>
                <a:gd name="T2" fmla="*/ 9 w 10"/>
                <a:gd name="T3" fmla="*/ 35 h 35"/>
                <a:gd name="T4" fmla="*/ 6 w 10"/>
                <a:gd name="T5" fmla="*/ 28 h 35"/>
                <a:gd name="T6" fmla="*/ 4 w 10"/>
                <a:gd name="T7" fmla="*/ 24 h 35"/>
                <a:gd name="T8" fmla="*/ 2 w 10"/>
                <a:gd name="T9" fmla="*/ 21 h 35"/>
                <a:gd name="T10" fmla="*/ 0 w 10"/>
                <a:gd name="T11" fmla="*/ 18 h 35"/>
                <a:gd name="T12" fmla="*/ 4 w 10"/>
                <a:gd name="T13" fmla="*/ 12 h 35"/>
                <a:gd name="T14" fmla="*/ 6 w 10"/>
                <a:gd name="T15" fmla="*/ 5 h 35"/>
                <a:gd name="T16" fmla="*/ 10 w 10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5">
                  <a:moveTo>
                    <a:pt x="10" y="0"/>
                  </a:moveTo>
                  <a:lnTo>
                    <a:pt x="9" y="35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8"/>
                  </a:lnTo>
                  <a:lnTo>
                    <a:pt x="4" y="12"/>
                  </a:lnTo>
                  <a:lnTo>
                    <a:pt x="6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5" name="Freeform 353"/>
            <p:cNvSpPr>
              <a:spLocks/>
            </p:cNvSpPr>
            <p:nvPr/>
          </p:nvSpPr>
          <p:spPr bwMode="auto">
            <a:xfrm>
              <a:off x="-4092575" y="4216400"/>
              <a:ext cx="93663" cy="900113"/>
            </a:xfrm>
            <a:custGeom>
              <a:avLst/>
              <a:gdLst>
                <a:gd name="T0" fmla="*/ 59 w 59"/>
                <a:gd name="T1" fmla="*/ 0 h 567"/>
                <a:gd name="T2" fmla="*/ 34 w 59"/>
                <a:gd name="T3" fmla="*/ 567 h 567"/>
                <a:gd name="T4" fmla="*/ 16 w 59"/>
                <a:gd name="T5" fmla="*/ 555 h 567"/>
                <a:gd name="T6" fmla="*/ 0 w 59"/>
                <a:gd name="T7" fmla="*/ 539 h 567"/>
                <a:gd name="T8" fmla="*/ 25 w 59"/>
                <a:gd name="T9" fmla="*/ 6 h 567"/>
                <a:gd name="T10" fmla="*/ 41 w 59"/>
                <a:gd name="T11" fmla="*/ 2 h 567"/>
                <a:gd name="T12" fmla="*/ 59 w 59"/>
                <a:gd name="T13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67">
                  <a:moveTo>
                    <a:pt x="59" y="0"/>
                  </a:moveTo>
                  <a:lnTo>
                    <a:pt x="34" y="567"/>
                  </a:lnTo>
                  <a:lnTo>
                    <a:pt x="16" y="555"/>
                  </a:lnTo>
                  <a:lnTo>
                    <a:pt x="0" y="539"/>
                  </a:lnTo>
                  <a:lnTo>
                    <a:pt x="25" y="6"/>
                  </a:lnTo>
                  <a:lnTo>
                    <a:pt x="41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6" name="Freeform 354"/>
            <p:cNvSpPr>
              <a:spLocks/>
            </p:cNvSpPr>
            <p:nvPr/>
          </p:nvSpPr>
          <p:spPr bwMode="auto">
            <a:xfrm>
              <a:off x="-4144963" y="4260850"/>
              <a:ext cx="177800" cy="61913"/>
            </a:xfrm>
            <a:custGeom>
              <a:avLst/>
              <a:gdLst>
                <a:gd name="T0" fmla="*/ 19 w 112"/>
                <a:gd name="T1" fmla="*/ 0 h 39"/>
                <a:gd name="T2" fmla="*/ 112 w 112"/>
                <a:gd name="T3" fmla="*/ 4 h 39"/>
                <a:gd name="T4" fmla="*/ 108 w 112"/>
                <a:gd name="T5" fmla="*/ 39 h 39"/>
                <a:gd name="T6" fmla="*/ 4 w 112"/>
                <a:gd name="T7" fmla="*/ 33 h 39"/>
                <a:gd name="T8" fmla="*/ 2 w 112"/>
                <a:gd name="T9" fmla="*/ 31 h 39"/>
                <a:gd name="T10" fmla="*/ 1 w 112"/>
                <a:gd name="T11" fmla="*/ 28 h 39"/>
                <a:gd name="T12" fmla="*/ 0 w 112"/>
                <a:gd name="T13" fmla="*/ 27 h 39"/>
                <a:gd name="T14" fmla="*/ 8 w 112"/>
                <a:gd name="T15" fmla="*/ 13 h 39"/>
                <a:gd name="T16" fmla="*/ 19 w 112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39">
                  <a:moveTo>
                    <a:pt x="19" y="0"/>
                  </a:moveTo>
                  <a:lnTo>
                    <a:pt x="112" y="4"/>
                  </a:lnTo>
                  <a:lnTo>
                    <a:pt x="108" y="39"/>
                  </a:lnTo>
                  <a:lnTo>
                    <a:pt x="4" y="33"/>
                  </a:lnTo>
                  <a:lnTo>
                    <a:pt x="2" y="31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8" y="13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7" name="Freeform 355"/>
            <p:cNvSpPr>
              <a:spLocks/>
            </p:cNvSpPr>
            <p:nvPr/>
          </p:nvSpPr>
          <p:spPr bwMode="auto">
            <a:xfrm>
              <a:off x="-4110038" y="4387850"/>
              <a:ext cx="131763" cy="60325"/>
            </a:xfrm>
            <a:custGeom>
              <a:avLst/>
              <a:gdLst>
                <a:gd name="T0" fmla="*/ 0 w 83"/>
                <a:gd name="T1" fmla="*/ 0 h 38"/>
                <a:gd name="T2" fmla="*/ 83 w 83"/>
                <a:gd name="T3" fmla="*/ 3 h 38"/>
                <a:gd name="T4" fmla="*/ 82 w 83"/>
                <a:gd name="T5" fmla="*/ 38 h 38"/>
                <a:gd name="T6" fmla="*/ 9 w 83"/>
                <a:gd name="T7" fmla="*/ 34 h 38"/>
                <a:gd name="T8" fmla="*/ 0 w 8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38">
                  <a:moveTo>
                    <a:pt x="0" y="0"/>
                  </a:moveTo>
                  <a:lnTo>
                    <a:pt x="83" y="3"/>
                  </a:lnTo>
                  <a:lnTo>
                    <a:pt x="82" y="38"/>
                  </a:lnTo>
                  <a:lnTo>
                    <a:pt x="9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8" name="Freeform 356"/>
            <p:cNvSpPr>
              <a:spLocks/>
            </p:cNvSpPr>
            <p:nvPr/>
          </p:nvSpPr>
          <p:spPr bwMode="auto">
            <a:xfrm>
              <a:off x="-4092575" y="4514850"/>
              <a:ext cx="111125" cy="60325"/>
            </a:xfrm>
            <a:custGeom>
              <a:avLst/>
              <a:gdLst>
                <a:gd name="T0" fmla="*/ 4 w 70"/>
                <a:gd name="T1" fmla="*/ 0 h 38"/>
                <a:gd name="T2" fmla="*/ 70 w 70"/>
                <a:gd name="T3" fmla="*/ 3 h 38"/>
                <a:gd name="T4" fmla="*/ 68 w 70"/>
                <a:gd name="T5" fmla="*/ 38 h 38"/>
                <a:gd name="T6" fmla="*/ 0 w 70"/>
                <a:gd name="T7" fmla="*/ 35 h 38"/>
                <a:gd name="T8" fmla="*/ 2 w 70"/>
                <a:gd name="T9" fmla="*/ 21 h 38"/>
                <a:gd name="T10" fmla="*/ 4 w 70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8">
                  <a:moveTo>
                    <a:pt x="4" y="0"/>
                  </a:moveTo>
                  <a:lnTo>
                    <a:pt x="70" y="3"/>
                  </a:lnTo>
                  <a:lnTo>
                    <a:pt x="68" y="38"/>
                  </a:lnTo>
                  <a:lnTo>
                    <a:pt x="0" y="35"/>
                  </a:lnTo>
                  <a:lnTo>
                    <a:pt x="2" y="2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9" name="Freeform 357"/>
            <p:cNvSpPr>
              <a:spLocks/>
            </p:cNvSpPr>
            <p:nvPr/>
          </p:nvSpPr>
          <p:spPr bwMode="auto">
            <a:xfrm>
              <a:off x="-4098925" y="4641850"/>
              <a:ext cx="112713" cy="58738"/>
            </a:xfrm>
            <a:custGeom>
              <a:avLst/>
              <a:gdLst>
                <a:gd name="T0" fmla="*/ 2 w 71"/>
                <a:gd name="T1" fmla="*/ 0 h 37"/>
                <a:gd name="T2" fmla="*/ 71 w 71"/>
                <a:gd name="T3" fmla="*/ 3 h 37"/>
                <a:gd name="T4" fmla="*/ 70 w 71"/>
                <a:gd name="T5" fmla="*/ 37 h 37"/>
                <a:gd name="T6" fmla="*/ 0 w 71"/>
                <a:gd name="T7" fmla="*/ 35 h 37"/>
                <a:gd name="T8" fmla="*/ 2 w 7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7">
                  <a:moveTo>
                    <a:pt x="2" y="0"/>
                  </a:moveTo>
                  <a:lnTo>
                    <a:pt x="71" y="3"/>
                  </a:lnTo>
                  <a:lnTo>
                    <a:pt x="70" y="37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0" name="Freeform 358"/>
            <p:cNvSpPr>
              <a:spLocks/>
            </p:cNvSpPr>
            <p:nvPr/>
          </p:nvSpPr>
          <p:spPr bwMode="auto">
            <a:xfrm>
              <a:off x="-4103688" y="4768850"/>
              <a:ext cx="112713" cy="58738"/>
            </a:xfrm>
            <a:custGeom>
              <a:avLst/>
              <a:gdLst>
                <a:gd name="T0" fmla="*/ 2 w 71"/>
                <a:gd name="T1" fmla="*/ 0 h 37"/>
                <a:gd name="T2" fmla="*/ 71 w 71"/>
                <a:gd name="T3" fmla="*/ 3 h 37"/>
                <a:gd name="T4" fmla="*/ 70 w 71"/>
                <a:gd name="T5" fmla="*/ 37 h 37"/>
                <a:gd name="T6" fmla="*/ 0 w 71"/>
                <a:gd name="T7" fmla="*/ 34 h 37"/>
                <a:gd name="T8" fmla="*/ 2 w 7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7">
                  <a:moveTo>
                    <a:pt x="2" y="0"/>
                  </a:moveTo>
                  <a:lnTo>
                    <a:pt x="71" y="3"/>
                  </a:lnTo>
                  <a:lnTo>
                    <a:pt x="70" y="37"/>
                  </a:lnTo>
                  <a:lnTo>
                    <a:pt x="0" y="3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1" name="Freeform 359"/>
            <p:cNvSpPr>
              <a:spLocks/>
            </p:cNvSpPr>
            <p:nvPr/>
          </p:nvSpPr>
          <p:spPr bwMode="auto">
            <a:xfrm>
              <a:off x="-4122738" y="4894263"/>
              <a:ext cx="127000" cy="61913"/>
            </a:xfrm>
            <a:custGeom>
              <a:avLst/>
              <a:gdLst>
                <a:gd name="T0" fmla="*/ 6 w 80"/>
                <a:gd name="T1" fmla="*/ 0 h 39"/>
                <a:gd name="T2" fmla="*/ 80 w 80"/>
                <a:gd name="T3" fmla="*/ 4 h 39"/>
                <a:gd name="T4" fmla="*/ 77 w 80"/>
                <a:gd name="T5" fmla="*/ 21 h 39"/>
                <a:gd name="T6" fmla="*/ 76 w 80"/>
                <a:gd name="T7" fmla="*/ 39 h 39"/>
                <a:gd name="T8" fmla="*/ 0 w 80"/>
                <a:gd name="T9" fmla="*/ 35 h 39"/>
                <a:gd name="T10" fmla="*/ 3 w 80"/>
                <a:gd name="T11" fmla="*/ 21 h 39"/>
                <a:gd name="T12" fmla="*/ 5 w 80"/>
                <a:gd name="T13" fmla="*/ 10 h 39"/>
                <a:gd name="T14" fmla="*/ 6 w 80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39">
                  <a:moveTo>
                    <a:pt x="6" y="0"/>
                  </a:moveTo>
                  <a:lnTo>
                    <a:pt x="80" y="4"/>
                  </a:lnTo>
                  <a:lnTo>
                    <a:pt x="77" y="21"/>
                  </a:lnTo>
                  <a:lnTo>
                    <a:pt x="76" y="39"/>
                  </a:lnTo>
                  <a:lnTo>
                    <a:pt x="0" y="35"/>
                  </a:lnTo>
                  <a:lnTo>
                    <a:pt x="3" y="21"/>
                  </a:lnTo>
                  <a:lnTo>
                    <a:pt x="5" y="1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2" name="Freeform 360"/>
            <p:cNvSpPr>
              <a:spLocks/>
            </p:cNvSpPr>
            <p:nvPr/>
          </p:nvSpPr>
          <p:spPr bwMode="auto">
            <a:xfrm>
              <a:off x="-4116388" y="5021263"/>
              <a:ext cx="109538" cy="60325"/>
            </a:xfrm>
            <a:custGeom>
              <a:avLst/>
              <a:gdLst>
                <a:gd name="T0" fmla="*/ 0 w 69"/>
                <a:gd name="T1" fmla="*/ 0 h 38"/>
                <a:gd name="T2" fmla="*/ 69 w 69"/>
                <a:gd name="T3" fmla="*/ 4 h 38"/>
                <a:gd name="T4" fmla="*/ 68 w 69"/>
                <a:gd name="T5" fmla="*/ 21 h 38"/>
                <a:gd name="T6" fmla="*/ 68 w 69"/>
                <a:gd name="T7" fmla="*/ 38 h 38"/>
                <a:gd name="T8" fmla="*/ 18 w 69"/>
                <a:gd name="T9" fmla="*/ 36 h 38"/>
                <a:gd name="T10" fmla="*/ 8 w 69"/>
                <a:gd name="T11" fmla="*/ 19 h 38"/>
                <a:gd name="T12" fmla="*/ 0 w 69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38">
                  <a:moveTo>
                    <a:pt x="0" y="0"/>
                  </a:moveTo>
                  <a:lnTo>
                    <a:pt x="69" y="4"/>
                  </a:lnTo>
                  <a:lnTo>
                    <a:pt x="68" y="21"/>
                  </a:lnTo>
                  <a:lnTo>
                    <a:pt x="68" y="38"/>
                  </a:lnTo>
                  <a:lnTo>
                    <a:pt x="18" y="36"/>
                  </a:lnTo>
                  <a:lnTo>
                    <a:pt x="8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3" name="Freeform 361"/>
            <p:cNvSpPr>
              <a:spLocks/>
            </p:cNvSpPr>
            <p:nvPr/>
          </p:nvSpPr>
          <p:spPr bwMode="auto">
            <a:xfrm>
              <a:off x="-4144963" y="4275138"/>
              <a:ext cx="15875" cy="38100"/>
            </a:xfrm>
            <a:custGeom>
              <a:avLst/>
              <a:gdLst>
                <a:gd name="T0" fmla="*/ 10 w 10"/>
                <a:gd name="T1" fmla="*/ 0 h 24"/>
                <a:gd name="T2" fmla="*/ 9 w 10"/>
                <a:gd name="T3" fmla="*/ 24 h 24"/>
                <a:gd name="T4" fmla="*/ 4 w 10"/>
                <a:gd name="T5" fmla="*/ 24 h 24"/>
                <a:gd name="T6" fmla="*/ 2 w 10"/>
                <a:gd name="T7" fmla="*/ 22 h 24"/>
                <a:gd name="T8" fmla="*/ 1 w 10"/>
                <a:gd name="T9" fmla="*/ 19 h 24"/>
                <a:gd name="T10" fmla="*/ 0 w 10"/>
                <a:gd name="T11" fmla="*/ 18 h 24"/>
                <a:gd name="T12" fmla="*/ 2 w 10"/>
                <a:gd name="T13" fmla="*/ 12 h 24"/>
                <a:gd name="T14" fmla="*/ 6 w 10"/>
                <a:gd name="T15" fmla="*/ 5 h 24"/>
                <a:gd name="T16" fmla="*/ 10 w 1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4">
                  <a:moveTo>
                    <a:pt x="10" y="0"/>
                  </a:moveTo>
                  <a:lnTo>
                    <a:pt x="9" y="24"/>
                  </a:lnTo>
                  <a:lnTo>
                    <a:pt x="4" y="24"/>
                  </a:lnTo>
                  <a:lnTo>
                    <a:pt x="2" y="22"/>
                  </a:lnTo>
                  <a:lnTo>
                    <a:pt x="1" y="19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4" name="Freeform 362"/>
            <p:cNvSpPr>
              <a:spLocks/>
            </p:cNvSpPr>
            <p:nvPr/>
          </p:nvSpPr>
          <p:spPr bwMode="auto">
            <a:xfrm>
              <a:off x="-4057650" y="4262438"/>
              <a:ext cx="57150" cy="57150"/>
            </a:xfrm>
            <a:custGeom>
              <a:avLst/>
              <a:gdLst>
                <a:gd name="T0" fmla="*/ 1 w 36"/>
                <a:gd name="T1" fmla="*/ 0 h 36"/>
                <a:gd name="T2" fmla="*/ 36 w 36"/>
                <a:gd name="T3" fmla="*/ 2 h 36"/>
                <a:gd name="T4" fmla="*/ 35 w 36"/>
                <a:gd name="T5" fmla="*/ 36 h 36"/>
                <a:gd name="T6" fmla="*/ 0 w 36"/>
                <a:gd name="T7" fmla="*/ 35 h 36"/>
                <a:gd name="T8" fmla="*/ 1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" y="0"/>
                  </a:moveTo>
                  <a:lnTo>
                    <a:pt x="36" y="2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5" name="Freeform 363"/>
            <p:cNvSpPr>
              <a:spLocks/>
            </p:cNvSpPr>
            <p:nvPr/>
          </p:nvSpPr>
          <p:spPr bwMode="auto">
            <a:xfrm>
              <a:off x="-4064000" y="4389438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5 w 36"/>
                <a:gd name="T5" fmla="*/ 36 h 36"/>
                <a:gd name="T6" fmla="*/ 0 w 36"/>
                <a:gd name="T7" fmla="*/ 35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6" name="Freeform 364"/>
            <p:cNvSpPr>
              <a:spLocks/>
            </p:cNvSpPr>
            <p:nvPr/>
          </p:nvSpPr>
          <p:spPr bwMode="auto">
            <a:xfrm>
              <a:off x="-4070350" y="4514850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3 h 36"/>
                <a:gd name="T4" fmla="*/ 35 w 36"/>
                <a:gd name="T5" fmla="*/ 36 h 36"/>
                <a:gd name="T6" fmla="*/ 0 w 36"/>
                <a:gd name="T7" fmla="*/ 35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3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7" name="Freeform 365"/>
            <p:cNvSpPr>
              <a:spLocks/>
            </p:cNvSpPr>
            <p:nvPr/>
          </p:nvSpPr>
          <p:spPr bwMode="auto">
            <a:xfrm>
              <a:off x="-4075113" y="4641850"/>
              <a:ext cx="55563" cy="57150"/>
            </a:xfrm>
            <a:custGeom>
              <a:avLst/>
              <a:gdLst>
                <a:gd name="T0" fmla="*/ 1 w 35"/>
                <a:gd name="T1" fmla="*/ 0 h 36"/>
                <a:gd name="T2" fmla="*/ 35 w 35"/>
                <a:gd name="T3" fmla="*/ 3 h 36"/>
                <a:gd name="T4" fmla="*/ 34 w 35"/>
                <a:gd name="T5" fmla="*/ 36 h 36"/>
                <a:gd name="T6" fmla="*/ 0 w 35"/>
                <a:gd name="T7" fmla="*/ 35 h 36"/>
                <a:gd name="T8" fmla="*/ 1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1" y="0"/>
                  </a:moveTo>
                  <a:lnTo>
                    <a:pt x="35" y="3"/>
                  </a:lnTo>
                  <a:lnTo>
                    <a:pt x="34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8" name="Freeform 366"/>
            <p:cNvSpPr>
              <a:spLocks/>
            </p:cNvSpPr>
            <p:nvPr/>
          </p:nvSpPr>
          <p:spPr bwMode="auto">
            <a:xfrm>
              <a:off x="-4081463" y="4770438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4 w 36"/>
                <a:gd name="T5" fmla="*/ 36 h 36"/>
                <a:gd name="T6" fmla="*/ 0 w 36"/>
                <a:gd name="T7" fmla="*/ 33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4" y="36"/>
                  </a:lnTo>
                  <a:lnTo>
                    <a:pt x="0" y="3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9" name="Freeform 367"/>
            <p:cNvSpPr>
              <a:spLocks/>
            </p:cNvSpPr>
            <p:nvPr/>
          </p:nvSpPr>
          <p:spPr bwMode="auto">
            <a:xfrm>
              <a:off x="-4086225" y="4895850"/>
              <a:ext cx="55563" cy="57150"/>
            </a:xfrm>
            <a:custGeom>
              <a:avLst/>
              <a:gdLst>
                <a:gd name="T0" fmla="*/ 1 w 35"/>
                <a:gd name="T1" fmla="*/ 0 h 36"/>
                <a:gd name="T2" fmla="*/ 35 w 35"/>
                <a:gd name="T3" fmla="*/ 2 h 36"/>
                <a:gd name="T4" fmla="*/ 33 w 35"/>
                <a:gd name="T5" fmla="*/ 36 h 36"/>
                <a:gd name="T6" fmla="*/ 0 w 35"/>
                <a:gd name="T7" fmla="*/ 35 h 36"/>
                <a:gd name="T8" fmla="*/ 1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1" y="0"/>
                  </a:moveTo>
                  <a:lnTo>
                    <a:pt x="35" y="2"/>
                  </a:lnTo>
                  <a:lnTo>
                    <a:pt x="33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0" name="Freeform 368"/>
            <p:cNvSpPr>
              <a:spLocks/>
            </p:cNvSpPr>
            <p:nvPr/>
          </p:nvSpPr>
          <p:spPr bwMode="auto">
            <a:xfrm>
              <a:off x="-4092575" y="5022850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4 w 36"/>
                <a:gd name="T5" fmla="*/ 36 h 36"/>
                <a:gd name="T6" fmla="*/ 3 w 36"/>
                <a:gd name="T7" fmla="*/ 35 h 36"/>
                <a:gd name="T8" fmla="*/ 0 w 36"/>
                <a:gd name="T9" fmla="*/ 31 h 36"/>
                <a:gd name="T10" fmla="*/ 2 w 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4" y="36"/>
                  </a:lnTo>
                  <a:lnTo>
                    <a:pt x="3" y="35"/>
                  </a:lnTo>
                  <a:lnTo>
                    <a:pt x="0" y="3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1" name="Freeform 369"/>
            <p:cNvSpPr>
              <a:spLocks/>
            </p:cNvSpPr>
            <p:nvPr/>
          </p:nvSpPr>
          <p:spPr bwMode="auto">
            <a:xfrm>
              <a:off x="-3598863" y="4867275"/>
              <a:ext cx="128588" cy="84138"/>
            </a:xfrm>
            <a:custGeom>
              <a:avLst/>
              <a:gdLst>
                <a:gd name="T0" fmla="*/ 5 w 81"/>
                <a:gd name="T1" fmla="*/ 0 h 53"/>
                <a:gd name="T2" fmla="*/ 41 w 81"/>
                <a:gd name="T3" fmla="*/ 6 h 53"/>
                <a:gd name="T4" fmla="*/ 78 w 81"/>
                <a:gd name="T5" fmla="*/ 6 h 53"/>
                <a:gd name="T6" fmla="*/ 79 w 81"/>
                <a:gd name="T7" fmla="*/ 6 h 53"/>
                <a:gd name="T8" fmla="*/ 81 w 81"/>
                <a:gd name="T9" fmla="*/ 7 h 53"/>
                <a:gd name="T10" fmla="*/ 81 w 81"/>
                <a:gd name="T11" fmla="*/ 8 h 53"/>
                <a:gd name="T12" fmla="*/ 79 w 81"/>
                <a:gd name="T13" fmla="*/ 17 h 53"/>
                <a:gd name="T14" fmla="*/ 77 w 81"/>
                <a:gd name="T15" fmla="*/ 29 h 53"/>
                <a:gd name="T16" fmla="*/ 73 w 81"/>
                <a:gd name="T17" fmla="*/ 40 h 53"/>
                <a:gd name="T18" fmla="*/ 69 w 81"/>
                <a:gd name="T19" fmla="*/ 48 h 53"/>
                <a:gd name="T20" fmla="*/ 68 w 81"/>
                <a:gd name="T21" fmla="*/ 50 h 53"/>
                <a:gd name="T22" fmla="*/ 66 w 81"/>
                <a:gd name="T23" fmla="*/ 50 h 53"/>
                <a:gd name="T24" fmla="*/ 45 w 81"/>
                <a:gd name="T25" fmla="*/ 53 h 53"/>
                <a:gd name="T26" fmla="*/ 24 w 81"/>
                <a:gd name="T27" fmla="*/ 52 h 53"/>
                <a:gd name="T28" fmla="*/ 2 w 81"/>
                <a:gd name="T29" fmla="*/ 48 h 53"/>
                <a:gd name="T30" fmla="*/ 1 w 81"/>
                <a:gd name="T31" fmla="*/ 47 h 53"/>
                <a:gd name="T32" fmla="*/ 0 w 81"/>
                <a:gd name="T33" fmla="*/ 47 h 53"/>
                <a:gd name="T34" fmla="*/ 0 w 81"/>
                <a:gd name="T35" fmla="*/ 45 h 53"/>
                <a:gd name="T36" fmla="*/ 0 w 81"/>
                <a:gd name="T37" fmla="*/ 36 h 53"/>
                <a:gd name="T38" fmla="*/ 0 w 81"/>
                <a:gd name="T39" fmla="*/ 24 h 53"/>
                <a:gd name="T40" fmla="*/ 1 w 81"/>
                <a:gd name="T41" fmla="*/ 12 h 53"/>
                <a:gd name="T42" fmla="*/ 1 w 81"/>
                <a:gd name="T43" fmla="*/ 3 h 53"/>
                <a:gd name="T44" fmla="*/ 2 w 81"/>
                <a:gd name="T45" fmla="*/ 2 h 53"/>
                <a:gd name="T46" fmla="*/ 4 w 81"/>
                <a:gd name="T47" fmla="*/ 0 h 53"/>
                <a:gd name="T48" fmla="*/ 5 w 81"/>
                <a:gd name="T4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53">
                  <a:moveTo>
                    <a:pt x="5" y="0"/>
                  </a:moveTo>
                  <a:lnTo>
                    <a:pt x="41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79" y="17"/>
                  </a:lnTo>
                  <a:lnTo>
                    <a:pt x="77" y="29"/>
                  </a:lnTo>
                  <a:lnTo>
                    <a:pt x="73" y="40"/>
                  </a:lnTo>
                  <a:lnTo>
                    <a:pt x="69" y="48"/>
                  </a:lnTo>
                  <a:lnTo>
                    <a:pt x="68" y="50"/>
                  </a:lnTo>
                  <a:lnTo>
                    <a:pt x="66" y="50"/>
                  </a:lnTo>
                  <a:lnTo>
                    <a:pt x="45" y="53"/>
                  </a:lnTo>
                  <a:lnTo>
                    <a:pt x="24" y="52"/>
                  </a:lnTo>
                  <a:lnTo>
                    <a:pt x="2" y="48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1" y="12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2" name="Freeform 370"/>
            <p:cNvSpPr>
              <a:spLocks/>
            </p:cNvSpPr>
            <p:nvPr/>
          </p:nvSpPr>
          <p:spPr bwMode="auto">
            <a:xfrm>
              <a:off x="-4073525" y="4167188"/>
              <a:ext cx="134938" cy="242888"/>
            </a:xfrm>
            <a:custGeom>
              <a:avLst/>
              <a:gdLst>
                <a:gd name="T0" fmla="*/ 85 w 85"/>
                <a:gd name="T1" fmla="*/ 0 h 153"/>
                <a:gd name="T2" fmla="*/ 79 w 85"/>
                <a:gd name="T3" fmla="*/ 13 h 153"/>
                <a:gd name="T4" fmla="*/ 74 w 85"/>
                <a:gd name="T5" fmla="*/ 33 h 153"/>
                <a:gd name="T6" fmla="*/ 70 w 85"/>
                <a:gd name="T7" fmla="*/ 59 h 153"/>
                <a:gd name="T8" fmla="*/ 67 w 85"/>
                <a:gd name="T9" fmla="*/ 89 h 153"/>
                <a:gd name="T10" fmla="*/ 63 w 85"/>
                <a:gd name="T11" fmla="*/ 121 h 153"/>
                <a:gd name="T12" fmla="*/ 59 w 85"/>
                <a:gd name="T13" fmla="*/ 153 h 153"/>
                <a:gd name="T14" fmla="*/ 59 w 85"/>
                <a:gd name="T15" fmla="*/ 135 h 153"/>
                <a:gd name="T16" fmla="*/ 59 w 85"/>
                <a:gd name="T17" fmla="*/ 114 h 153"/>
                <a:gd name="T18" fmla="*/ 56 w 85"/>
                <a:gd name="T19" fmla="*/ 95 h 153"/>
                <a:gd name="T20" fmla="*/ 52 w 85"/>
                <a:gd name="T21" fmla="*/ 80 h 153"/>
                <a:gd name="T22" fmla="*/ 50 w 85"/>
                <a:gd name="T23" fmla="*/ 71 h 153"/>
                <a:gd name="T24" fmla="*/ 43 w 85"/>
                <a:gd name="T25" fmla="*/ 67 h 153"/>
                <a:gd name="T26" fmla="*/ 34 w 85"/>
                <a:gd name="T27" fmla="*/ 66 h 153"/>
                <a:gd name="T28" fmla="*/ 24 w 85"/>
                <a:gd name="T29" fmla="*/ 68 h 153"/>
                <a:gd name="T30" fmla="*/ 13 w 85"/>
                <a:gd name="T31" fmla="*/ 73 h 153"/>
                <a:gd name="T32" fmla="*/ 0 w 85"/>
                <a:gd name="T33" fmla="*/ 78 h 153"/>
                <a:gd name="T34" fmla="*/ 8 w 85"/>
                <a:gd name="T35" fmla="*/ 57 h 153"/>
                <a:gd name="T36" fmla="*/ 22 w 85"/>
                <a:gd name="T37" fmla="*/ 37 h 153"/>
                <a:gd name="T38" fmla="*/ 41 w 85"/>
                <a:gd name="T39" fmla="*/ 21 h 153"/>
                <a:gd name="T40" fmla="*/ 61 w 85"/>
                <a:gd name="T41" fmla="*/ 8 h 153"/>
                <a:gd name="T42" fmla="*/ 85 w 85"/>
                <a:gd name="T4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153">
                  <a:moveTo>
                    <a:pt x="85" y="0"/>
                  </a:moveTo>
                  <a:lnTo>
                    <a:pt x="79" y="13"/>
                  </a:lnTo>
                  <a:lnTo>
                    <a:pt x="74" y="33"/>
                  </a:lnTo>
                  <a:lnTo>
                    <a:pt x="70" y="59"/>
                  </a:lnTo>
                  <a:lnTo>
                    <a:pt x="67" y="89"/>
                  </a:lnTo>
                  <a:lnTo>
                    <a:pt x="63" y="121"/>
                  </a:lnTo>
                  <a:lnTo>
                    <a:pt x="59" y="153"/>
                  </a:lnTo>
                  <a:lnTo>
                    <a:pt x="59" y="135"/>
                  </a:lnTo>
                  <a:lnTo>
                    <a:pt x="59" y="114"/>
                  </a:lnTo>
                  <a:lnTo>
                    <a:pt x="56" y="95"/>
                  </a:lnTo>
                  <a:lnTo>
                    <a:pt x="52" y="80"/>
                  </a:lnTo>
                  <a:lnTo>
                    <a:pt x="50" y="71"/>
                  </a:lnTo>
                  <a:lnTo>
                    <a:pt x="43" y="67"/>
                  </a:lnTo>
                  <a:lnTo>
                    <a:pt x="34" y="66"/>
                  </a:lnTo>
                  <a:lnTo>
                    <a:pt x="24" y="68"/>
                  </a:lnTo>
                  <a:lnTo>
                    <a:pt x="13" y="73"/>
                  </a:lnTo>
                  <a:lnTo>
                    <a:pt x="0" y="78"/>
                  </a:lnTo>
                  <a:lnTo>
                    <a:pt x="8" y="57"/>
                  </a:lnTo>
                  <a:lnTo>
                    <a:pt x="22" y="37"/>
                  </a:lnTo>
                  <a:lnTo>
                    <a:pt x="41" y="21"/>
                  </a:lnTo>
                  <a:lnTo>
                    <a:pt x="61" y="8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3" name="Freeform 371"/>
            <p:cNvSpPr>
              <a:spLocks/>
            </p:cNvSpPr>
            <p:nvPr/>
          </p:nvSpPr>
          <p:spPr bwMode="auto">
            <a:xfrm>
              <a:off x="-3825875" y="4167188"/>
              <a:ext cx="141288" cy="242888"/>
            </a:xfrm>
            <a:custGeom>
              <a:avLst/>
              <a:gdLst>
                <a:gd name="T0" fmla="*/ 0 w 89"/>
                <a:gd name="T1" fmla="*/ 0 h 153"/>
                <a:gd name="T2" fmla="*/ 23 w 89"/>
                <a:gd name="T3" fmla="*/ 8 h 153"/>
                <a:gd name="T4" fmla="*/ 45 w 89"/>
                <a:gd name="T5" fmla="*/ 21 h 153"/>
                <a:gd name="T6" fmla="*/ 65 w 89"/>
                <a:gd name="T7" fmla="*/ 37 h 153"/>
                <a:gd name="T8" fmla="*/ 79 w 89"/>
                <a:gd name="T9" fmla="*/ 57 h 153"/>
                <a:gd name="T10" fmla="*/ 89 w 89"/>
                <a:gd name="T11" fmla="*/ 78 h 153"/>
                <a:gd name="T12" fmla="*/ 75 w 89"/>
                <a:gd name="T13" fmla="*/ 73 h 153"/>
                <a:gd name="T14" fmla="*/ 63 w 89"/>
                <a:gd name="T15" fmla="*/ 68 h 153"/>
                <a:gd name="T16" fmla="*/ 53 w 89"/>
                <a:gd name="T17" fmla="*/ 66 h 153"/>
                <a:gd name="T18" fmla="*/ 44 w 89"/>
                <a:gd name="T19" fmla="*/ 67 h 153"/>
                <a:gd name="T20" fmla="*/ 39 w 89"/>
                <a:gd name="T21" fmla="*/ 71 h 153"/>
                <a:gd name="T22" fmla="*/ 35 w 89"/>
                <a:gd name="T23" fmla="*/ 80 h 153"/>
                <a:gd name="T24" fmla="*/ 32 w 89"/>
                <a:gd name="T25" fmla="*/ 95 h 153"/>
                <a:gd name="T26" fmla="*/ 31 w 89"/>
                <a:gd name="T27" fmla="*/ 114 h 153"/>
                <a:gd name="T28" fmla="*/ 31 w 89"/>
                <a:gd name="T29" fmla="*/ 135 h 153"/>
                <a:gd name="T30" fmla="*/ 32 w 89"/>
                <a:gd name="T31" fmla="*/ 153 h 153"/>
                <a:gd name="T32" fmla="*/ 27 w 89"/>
                <a:gd name="T33" fmla="*/ 121 h 153"/>
                <a:gd name="T34" fmla="*/ 22 w 89"/>
                <a:gd name="T35" fmla="*/ 89 h 153"/>
                <a:gd name="T36" fmla="*/ 17 w 89"/>
                <a:gd name="T37" fmla="*/ 59 h 153"/>
                <a:gd name="T38" fmla="*/ 11 w 89"/>
                <a:gd name="T39" fmla="*/ 33 h 153"/>
                <a:gd name="T40" fmla="*/ 5 w 89"/>
                <a:gd name="T41" fmla="*/ 13 h 153"/>
                <a:gd name="T42" fmla="*/ 0 w 89"/>
                <a:gd name="T4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9" h="153">
                  <a:moveTo>
                    <a:pt x="0" y="0"/>
                  </a:moveTo>
                  <a:lnTo>
                    <a:pt x="23" y="8"/>
                  </a:lnTo>
                  <a:lnTo>
                    <a:pt x="45" y="21"/>
                  </a:lnTo>
                  <a:lnTo>
                    <a:pt x="65" y="37"/>
                  </a:lnTo>
                  <a:lnTo>
                    <a:pt x="79" y="57"/>
                  </a:lnTo>
                  <a:lnTo>
                    <a:pt x="89" y="78"/>
                  </a:lnTo>
                  <a:lnTo>
                    <a:pt x="75" y="73"/>
                  </a:lnTo>
                  <a:lnTo>
                    <a:pt x="63" y="68"/>
                  </a:lnTo>
                  <a:lnTo>
                    <a:pt x="53" y="66"/>
                  </a:lnTo>
                  <a:lnTo>
                    <a:pt x="44" y="67"/>
                  </a:lnTo>
                  <a:lnTo>
                    <a:pt x="39" y="71"/>
                  </a:lnTo>
                  <a:lnTo>
                    <a:pt x="35" y="80"/>
                  </a:lnTo>
                  <a:lnTo>
                    <a:pt x="32" y="95"/>
                  </a:lnTo>
                  <a:lnTo>
                    <a:pt x="31" y="114"/>
                  </a:lnTo>
                  <a:lnTo>
                    <a:pt x="31" y="135"/>
                  </a:lnTo>
                  <a:lnTo>
                    <a:pt x="32" y="153"/>
                  </a:lnTo>
                  <a:lnTo>
                    <a:pt x="27" y="121"/>
                  </a:lnTo>
                  <a:lnTo>
                    <a:pt x="22" y="89"/>
                  </a:lnTo>
                  <a:lnTo>
                    <a:pt x="17" y="59"/>
                  </a:lnTo>
                  <a:lnTo>
                    <a:pt x="11" y="33"/>
                  </a:lnTo>
                  <a:lnTo>
                    <a:pt x="5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4" name="Freeform 372"/>
            <p:cNvSpPr>
              <a:spLocks/>
            </p:cNvSpPr>
            <p:nvPr/>
          </p:nvSpPr>
          <p:spPr bwMode="auto">
            <a:xfrm>
              <a:off x="-4200525" y="4713288"/>
              <a:ext cx="68263" cy="250825"/>
            </a:xfrm>
            <a:custGeom>
              <a:avLst/>
              <a:gdLst>
                <a:gd name="T0" fmla="*/ 8 w 43"/>
                <a:gd name="T1" fmla="*/ 0 h 158"/>
                <a:gd name="T2" fmla="*/ 43 w 43"/>
                <a:gd name="T3" fmla="*/ 6 h 158"/>
                <a:gd name="T4" fmla="*/ 35 w 43"/>
                <a:gd name="T5" fmla="*/ 158 h 158"/>
                <a:gd name="T6" fmla="*/ 0 w 43"/>
                <a:gd name="T7" fmla="*/ 153 h 158"/>
                <a:gd name="T8" fmla="*/ 8 w 43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58">
                  <a:moveTo>
                    <a:pt x="8" y="0"/>
                  </a:moveTo>
                  <a:lnTo>
                    <a:pt x="43" y="6"/>
                  </a:lnTo>
                  <a:lnTo>
                    <a:pt x="35" y="158"/>
                  </a:lnTo>
                  <a:lnTo>
                    <a:pt x="0" y="15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5" name="Freeform 373"/>
            <p:cNvSpPr>
              <a:spLocks/>
            </p:cNvSpPr>
            <p:nvPr/>
          </p:nvSpPr>
          <p:spPr bwMode="auto">
            <a:xfrm>
              <a:off x="-4224338" y="4708525"/>
              <a:ext cx="57150" cy="7938"/>
            </a:xfrm>
            <a:custGeom>
              <a:avLst/>
              <a:gdLst>
                <a:gd name="T0" fmla="*/ 0 w 36"/>
                <a:gd name="T1" fmla="*/ 0 h 5"/>
                <a:gd name="T2" fmla="*/ 36 w 36"/>
                <a:gd name="T3" fmla="*/ 5 h 5"/>
                <a:gd name="T4" fmla="*/ 0 w 36"/>
                <a:gd name="T5" fmla="*/ 4 h 5"/>
                <a:gd name="T6" fmla="*/ 0 w 36"/>
                <a:gd name="T7" fmla="*/ 3 h 5"/>
                <a:gd name="T8" fmla="*/ 0 w 3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">
                  <a:moveTo>
                    <a:pt x="0" y="0"/>
                  </a:moveTo>
                  <a:lnTo>
                    <a:pt x="36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6" name="Freeform 374"/>
            <p:cNvSpPr>
              <a:spLocks/>
            </p:cNvSpPr>
            <p:nvPr/>
          </p:nvSpPr>
          <p:spPr bwMode="auto">
            <a:xfrm>
              <a:off x="-4229100" y="4786313"/>
              <a:ext cx="114300" cy="58738"/>
            </a:xfrm>
            <a:custGeom>
              <a:avLst/>
              <a:gdLst>
                <a:gd name="T0" fmla="*/ 0 w 72"/>
                <a:gd name="T1" fmla="*/ 0 h 37"/>
                <a:gd name="T2" fmla="*/ 72 w 72"/>
                <a:gd name="T3" fmla="*/ 4 h 37"/>
                <a:gd name="T4" fmla="*/ 70 w 72"/>
                <a:gd name="T5" fmla="*/ 19 h 37"/>
                <a:gd name="T6" fmla="*/ 68 w 72"/>
                <a:gd name="T7" fmla="*/ 37 h 37"/>
                <a:gd name="T8" fmla="*/ 0 w 72"/>
                <a:gd name="T9" fmla="*/ 35 h 37"/>
                <a:gd name="T10" fmla="*/ 0 w 72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37">
                  <a:moveTo>
                    <a:pt x="0" y="0"/>
                  </a:moveTo>
                  <a:lnTo>
                    <a:pt x="72" y="4"/>
                  </a:lnTo>
                  <a:lnTo>
                    <a:pt x="70" y="19"/>
                  </a:lnTo>
                  <a:lnTo>
                    <a:pt x="68" y="37"/>
                  </a:ln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7" name="Freeform 375"/>
            <p:cNvSpPr>
              <a:spLocks/>
            </p:cNvSpPr>
            <p:nvPr/>
          </p:nvSpPr>
          <p:spPr bwMode="auto">
            <a:xfrm>
              <a:off x="-4229100" y="4913313"/>
              <a:ext cx="98425" cy="52388"/>
            </a:xfrm>
            <a:custGeom>
              <a:avLst/>
              <a:gdLst>
                <a:gd name="T0" fmla="*/ 0 w 62"/>
                <a:gd name="T1" fmla="*/ 0 h 33"/>
                <a:gd name="T2" fmla="*/ 62 w 62"/>
                <a:gd name="T3" fmla="*/ 4 h 33"/>
                <a:gd name="T4" fmla="*/ 61 w 62"/>
                <a:gd name="T5" fmla="*/ 19 h 33"/>
                <a:gd name="T6" fmla="*/ 61 w 62"/>
                <a:gd name="T7" fmla="*/ 33 h 33"/>
                <a:gd name="T8" fmla="*/ 31 w 62"/>
                <a:gd name="T9" fmla="*/ 28 h 33"/>
                <a:gd name="T10" fmla="*/ 0 w 62"/>
                <a:gd name="T11" fmla="*/ 23 h 33"/>
                <a:gd name="T12" fmla="*/ 0 w 62"/>
                <a:gd name="T13" fmla="*/ 12 h 33"/>
                <a:gd name="T14" fmla="*/ 0 w 62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33">
                  <a:moveTo>
                    <a:pt x="0" y="0"/>
                  </a:moveTo>
                  <a:lnTo>
                    <a:pt x="62" y="4"/>
                  </a:lnTo>
                  <a:lnTo>
                    <a:pt x="61" y="19"/>
                  </a:lnTo>
                  <a:lnTo>
                    <a:pt x="61" y="33"/>
                  </a:lnTo>
                  <a:lnTo>
                    <a:pt x="31" y="28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8" name="Freeform 376"/>
            <p:cNvSpPr>
              <a:spLocks/>
            </p:cNvSpPr>
            <p:nvPr/>
          </p:nvSpPr>
          <p:spPr bwMode="auto">
            <a:xfrm>
              <a:off x="-4187825" y="4713288"/>
              <a:ext cx="20638" cy="3175"/>
            </a:xfrm>
            <a:custGeom>
              <a:avLst/>
              <a:gdLst>
                <a:gd name="T0" fmla="*/ 0 w 13"/>
                <a:gd name="T1" fmla="*/ 0 h 2"/>
                <a:gd name="T2" fmla="*/ 13 w 13"/>
                <a:gd name="T3" fmla="*/ 2 h 2"/>
                <a:gd name="T4" fmla="*/ 0 w 13"/>
                <a:gd name="T5" fmla="*/ 1 h 2"/>
                <a:gd name="T6" fmla="*/ 0 w 1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">
                  <a:moveTo>
                    <a:pt x="0" y="0"/>
                  </a:moveTo>
                  <a:lnTo>
                    <a:pt x="13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9" name="Freeform 377"/>
            <p:cNvSpPr>
              <a:spLocks/>
            </p:cNvSpPr>
            <p:nvPr/>
          </p:nvSpPr>
          <p:spPr bwMode="auto">
            <a:xfrm>
              <a:off x="-4194175" y="4787900"/>
              <a:ext cx="57150" cy="57150"/>
            </a:xfrm>
            <a:custGeom>
              <a:avLst/>
              <a:gdLst>
                <a:gd name="T0" fmla="*/ 1 w 36"/>
                <a:gd name="T1" fmla="*/ 0 h 36"/>
                <a:gd name="T2" fmla="*/ 36 w 36"/>
                <a:gd name="T3" fmla="*/ 2 h 36"/>
                <a:gd name="T4" fmla="*/ 35 w 36"/>
                <a:gd name="T5" fmla="*/ 36 h 36"/>
                <a:gd name="T6" fmla="*/ 0 w 36"/>
                <a:gd name="T7" fmla="*/ 35 h 36"/>
                <a:gd name="T8" fmla="*/ 1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" y="0"/>
                  </a:moveTo>
                  <a:lnTo>
                    <a:pt x="36" y="2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0" name="Freeform 378"/>
            <p:cNvSpPr>
              <a:spLocks/>
            </p:cNvSpPr>
            <p:nvPr/>
          </p:nvSpPr>
          <p:spPr bwMode="auto">
            <a:xfrm>
              <a:off x="-4200525" y="4914900"/>
              <a:ext cx="57150" cy="49213"/>
            </a:xfrm>
            <a:custGeom>
              <a:avLst/>
              <a:gdLst>
                <a:gd name="T0" fmla="*/ 2 w 36"/>
                <a:gd name="T1" fmla="*/ 0 h 31"/>
                <a:gd name="T2" fmla="*/ 36 w 36"/>
                <a:gd name="T3" fmla="*/ 1 h 31"/>
                <a:gd name="T4" fmla="*/ 35 w 36"/>
                <a:gd name="T5" fmla="*/ 31 h 31"/>
                <a:gd name="T6" fmla="*/ 0 w 36"/>
                <a:gd name="T7" fmla="*/ 26 h 31"/>
                <a:gd name="T8" fmla="*/ 2 w 36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1">
                  <a:moveTo>
                    <a:pt x="2" y="0"/>
                  </a:moveTo>
                  <a:lnTo>
                    <a:pt x="36" y="1"/>
                  </a:lnTo>
                  <a:lnTo>
                    <a:pt x="35" y="31"/>
                  </a:lnTo>
                  <a:lnTo>
                    <a:pt x="0" y="2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1" name="Line 379"/>
            <p:cNvSpPr>
              <a:spLocks noChangeShapeType="1"/>
            </p:cNvSpPr>
            <p:nvPr/>
          </p:nvSpPr>
          <p:spPr bwMode="auto">
            <a:xfrm flipV="1">
              <a:off x="-4029075" y="5553075"/>
              <a:ext cx="2222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2" name="Line 380"/>
            <p:cNvSpPr>
              <a:spLocks noChangeShapeType="1"/>
            </p:cNvSpPr>
            <p:nvPr/>
          </p:nvSpPr>
          <p:spPr bwMode="auto">
            <a:xfrm>
              <a:off x="-4006850" y="5553075"/>
              <a:ext cx="19050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3" name="Line 381"/>
            <p:cNvSpPr>
              <a:spLocks noChangeShapeType="1"/>
            </p:cNvSpPr>
            <p:nvPr/>
          </p:nvSpPr>
          <p:spPr bwMode="auto">
            <a:xfrm>
              <a:off x="-3987800" y="5553075"/>
              <a:ext cx="1587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4" name="Line 382"/>
            <p:cNvSpPr>
              <a:spLocks noChangeShapeType="1"/>
            </p:cNvSpPr>
            <p:nvPr/>
          </p:nvSpPr>
          <p:spPr bwMode="auto">
            <a:xfrm flipV="1">
              <a:off x="-4041775" y="5572125"/>
              <a:ext cx="25400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5" name="Line 383"/>
            <p:cNvSpPr>
              <a:spLocks noChangeShapeType="1"/>
            </p:cNvSpPr>
            <p:nvPr/>
          </p:nvSpPr>
          <p:spPr bwMode="auto">
            <a:xfrm>
              <a:off x="-4016375" y="5572125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6" name="Line 384"/>
            <p:cNvSpPr>
              <a:spLocks noChangeShapeType="1"/>
            </p:cNvSpPr>
            <p:nvPr/>
          </p:nvSpPr>
          <p:spPr bwMode="auto">
            <a:xfrm>
              <a:off x="-3998913" y="5572125"/>
              <a:ext cx="14288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7" name="Line 385"/>
            <p:cNvSpPr>
              <a:spLocks noChangeShapeType="1"/>
            </p:cNvSpPr>
            <p:nvPr/>
          </p:nvSpPr>
          <p:spPr bwMode="auto">
            <a:xfrm flipV="1">
              <a:off x="-4030663" y="5583238"/>
              <a:ext cx="22225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8" name="Line 386"/>
            <p:cNvSpPr>
              <a:spLocks noChangeShapeType="1"/>
            </p:cNvSpPr>
            <p:nvPr/>
          </p:nvSpPr>
          <p:spPr bwMode="auto">
            <a:xfrm>
              <a:off x="-4008438" y="5583238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9" name="Line 387"/>
            <p:cNvSpPr>
              <a:spLocks noChangeShapeType="1"/>
            </p:cNvSpPr>
            <p:nvPr/>
          </p:nvSpPr>
          <p:spPr bwMode="auto">
            <a:xfrm>
              <a:off x="-3990975" y="5583238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0" name="Line 388"/>
            <p:cNvSpPr>
              <a:spLocks noChangeShapeType="1"/>
            </p:cNvSpPr>
            <p:nvPr/>
          </p:nvSpPr>
          <p:spPr bwMode="auto">
            <a:xfrm flipV="1">
              <a:off x="-4033838" y="5599113"/>
              <a:ext cx="23813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1" name="Line 389"/>
            <p:cNvSpPr>
              <a:spLocks noChangeShapeType="1"/>
            </p:cNvSpPr>
            <p:nvPr/>
          </p:nvSpPr>
          <p:spPr bwMode="auto">
            <a:xfrm>
              <a:off x="-4010025" y="5599113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2" name="Line 390"/>
            <p:cNvSpPr>
              <a:spLocks noChangeShapeType="1"/>
            </p:cNvSpPr>
            <p:nvPr/>
          </p:nvSpPr>
          <p:spPr bwMode="auto">
            <a:xfrm>
              <a:off x="-3992563" y="5599113"/>
              <a:ext cx="1587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3" name="Line 391"/>
            <p:cNvSpPr>
              <a:spLocks noChangeShapeType="1"/>
            </p:cNvSpPr>
            <p:nvPr/>
          </p:nvSpPr>
          <p:spPr bwMode="auto">
            <a:xfrm flipV="1">
              <a:off x="-4022725" y="5619750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4" name="Line 392"/>
            <p:cNvSpPr>
              <a:spLocks noChangeShapeType="1"/>
            </p:cNvSpPr>
            <p:nvPr/>
          </p:nvSpPr>
          <p:spPr bwMode="auto">
            <a:xfrm>
              <a:off x="-4005263" y="561975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5" name="Line 393"/>
            <p:cNvSpPr>
              <a:spLocks noChangeShapeType="1"/>
            </p:cNvSpPr>
            <p:nvPr/>
          </p:nvSpPr>
          <p:spPr bwMode="auto">
            <a:xfrm>
              <a:off x="-3987800" y="5619750"/>
              <a:ext cx="1111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6" name="Line 394"/>
            <p:cNvSpPr>
              <a:spLocks noChangeShapeType="1"/>
            </p:cNvSpPr>
            <p:nvPr/>
          </p:nvSpPr>
          <p:spPr bwMode="auto">
            <a:xfrm flipH="1" flipV="1">
              <a:off x="-3748088" y="5562600"/>
              <a:ext cx="2222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7" name="Line 395"/>
            <p:cNvSpPr>
              <a:spLocks noChangeShapeType="1"/>
            </p:cNvSpPr>
            <p:nvPr/>
          </p:nvSpPr>
          <p:spPr bwMode="auto">
            <a:xfrm flipH="1">
              <a:off x="-3765550" y="556260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8" name="Line 396"/>
            <p:cNvSpPr>
              <a:spLocks noChangeShapeType="1"/>
            </p:cNvSpPr>
            <p:nvPr/>
          </p:nvSpPr>
          <p:spPr bwMode="auto">
            <a:xfrm flipH="1">
              <a:off x="-3779838" y="5562600"/>
              <a:ext cx="14288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9" name="Line 397"/>
            <p:cNvSpPr>
              <a:spLocks noChangeShapeType="1"/>
            </p:cNvSpPr>
            <p:nvPr/>
          </p:nvSpPr>
          <p:spPr bwMode="auto">
            <a:xfrm flipH="1" flipV="1">
              <a:off x="-3743325" y="5581650"/>
              <a:ext cx="23813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0" name="Line 398"/>
            <p:cNvSpPr>
              <a:spLocks noChangeShapeType="1"/>
            </p:cNvSpPr>
            <p:nvPr/>
          </p:nvSpPr>
          <p:spPr bwMode="auto">
            <a:xfrm flipH="1">
              <a:off x="-3760788" y="558165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1" name="Line 399"/>
            <p:cNvSpPr>
              <a:spLocks noChangeShapeType="1"/>
            </p:cNvSpPr>
            <p:nvPr/>
          </p:nvSpPr>
          <p:spPr bwMode="auto">
            <a:xfrm flipH="1">
              <a:off x="-3776663" y="5581650"/>
              <a:ext cx="1587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2" name="Line 400"/>
            <p:cNvSpPr>
              <a:spLocks noChangeShapeType="1"/>
            </p:cNvSpPr>
            <p:nvPr/>
          </p:nvSpPr>
          <p:spPr bwMode="auto">
            <a:xfrm flipH="1" flipV="1">
              <a:off x="-3746500" y="5591175"/>
              <a:ext cx="23813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3" name="Line 401"/>
            <p:cNvSpPr>
              <a:spLocks noChangeShapeType="1"/>
            </p:cNvSpPr>
            <p:nvPr/>
          </p:nvSpPr>
          <p:spPr bwMode="auto">
            <a:xfrm flipH="1">
              <a:off x="-3763963" y="5591175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4" name="Line 402"/>
            <p:cNvSpPr>
              <a:spLocks noChangeShapeType="1"/>
            </p:cNvSpPr>
            <p:nvPr/>
          </p:nvSpPr>
          <p:spPr bwMode="auto">
            <a:xfrm flipH="1">
              <a:off x="-3779838" y="5592763"/>
              <a:ext cx="15875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5" name="Line 403"/>
            <p:cNvSpPr>
              <a:spLocks noChangeShapeType="1"/>
            </p:cNvSpPr>
            <p:nvPr/>
          </p:nvSpPr>
          <p:spPr bwMode="auto">
            <a:xfrm flipH="1" flipV="1">
              <a:off x="-3749675" y="5608638"/>
              <a:ext cx="2857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6" name="Line 404"/>
            <p:cNvSpPr>
              <a:spLocks noChangeShapeType="1"/>
            </p:cNvSpPr>
            <p:nvPr/>
          </p:nvSpPr>
          <p:spPr bwMode="auto">
            <a:xfrm flipH="1">
              <a:off x="-3770313" y="5608638"/>
              <a:ext cx="20638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7" name="Line 405"/>
            <p:cNvSpPr>
              <a:spLocks noChangeShapeType="1"/>
            </p:cNvSpPr>
            <p:nvPr/>
          </p:nvSpPr>
          <p:spPr bwMode="auto">
            <a:xfrm flipH="1">
              <a:off x="-3789363" y="5608638"/>
              <a:ext cx="19050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Line 407"/>
            <p:cNvSpPr>
              <a:spLocks noChangeShapeType="1"/>
            </p:cNvSpPr>
            <p:nvPr/>
          </p:nvSpPr>
          <p:spPr bwMode="auto">
            <a:xfrm flipH="1" flipV="1">
              <a:off x="-3749675" y="5627688"/>
              <a:ext cx="17463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Line 408"/>
            <p:cNvSpPr>
              <a:spLocks noChangeShapeType="1"/>
            </p:cNvSpPr>
            <p:nvPr/>
          </p:nvSpPr>
          <p:spPr bwMode="auto">
            <a:xfrm flipH="1">
              <a:off x="-3763963" y="5627688"/>
              <a:ext cx="14288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Line 409"/>
            <p:cNvSpPr>
              <a:spLocks noChangeShapeType="1"/>
            </p:cNvSpPr>
            <p:nvPr/>
          </p:nvSpPr>
          <p:spPr bwMode="auto">
            <a:xfrm flipH="1">
              <a:off x="-3776663" y="5627688"/>
              <a:ext cx="12700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410"/>
            <p:cNvSpPr>
              <a:spLocks/>
            </p:cNvSpPr>
            <p:nvPr/>
          </p:nvSpPr>
          <p:spPr bwMode="auto">
            <a:xfrm>
              <a:off x="-3911600" y="5016501"/>
              <a:ext cx="57150" cy="120650"/>
            </a:xfrm>
            <a:custGeom>
              <a:avLst/>
              <a:gdLst>
                <a:gd name="T0" fmla="*/ 3 w 36"/>
                <a:gd name="T1" fmla="*/ 0 h 76"/>
                <a:gd name="T2" fmla="*/ 12 w 36"/>
                <a:gd name="T3" fmla="*/ 1 h 76"/>
                <a:gd name="T4" fmla="*/ 11 w 36"/>
                <a:gd name="T5" fmla="*/ 7 h 76"/>
                <a:gd name="T6" fmla="*/ 9 w 36"/>
                <a:gd name="T7" fmla="*/ 16 h 76"/>
                <a:gd name="T8" fmla="*/ 9 w 36"/>
                <a:gd name="T9" fmla="*/ 50 h 76"/>
                <a:gd name="T10" fmla="*/ 11 w 36"/>
                <a:gd name="T11" fmla="*/ 60 h 76"/>
                <a:gd name="T12" fmla="*/ 12 w 36"/>
                <a:gd name="T13" fmla="*/ 66 h 76"/>
                <a:gd name="T14" fmla="*/ 12 w 36"/>
                <a:gd name="T15" fmla="*/ 66 h 76"/>
                <a:gd name="T16" fmla="*/ 27 w 36"/>
                <a:gd name="T17" fmla="*/ 66 h 76"/>
                <a:gd name="T18" fmla="*/ 34 w 36"/>
                <a:gd name="T19" fmla="*/ 67 h 76"/>
                <a:gd name="T20" fmla="*/ 36 w 36"/>
                <a:gd name="T21" fmla="*/ 67 h 76"/>
                <a:gd name="T22" fmla="*/ 36 w 36"/>
                <a:gd name="T23" fmla="*/ 76 h 76"/>
                <a:gd name="T24" fmla="*/ 34 w 36"/>
                <a:gd name="T25" fmla="*/ 76 h 76"/>
                <a:gd name="T26" fmla="*/ 27 w 36"/>
                <a:gd name="T27" fmla="*/ 75 h 76"/>
                <a:gd name="T28" fmla="*/ 11 w 36"/>
                <a:gd name="T29" fmla="*/ 75 h 76"/>
                <a:gd name="T30" fmla="*/ 9 w 36"/>
                <a:gd name="T31" fmla="*/ 73 h 76"/>
                <a:gd name="T32" fmla="*/ 6 w 36"/>
                <a:gd name="T33" fmla="*/ 72 h 76"/>
                <a:gd name="T34" fmla="*/ 4 w 36"/>
                <a:gd name="T35" fmla="*/ 71 h 76"/>
                <a:gd name="T36" fmla="*/ 3 w 36"/>
                <a:gd name="T37" fmla="*/ 67 h 76"/>
                <a:gd name="T38" fmla="*/ 2 w 36"/>
                <a:gd name="T39" fmla="*/ 60 h 76"/>
                <a:gd name="T40" fmla="*/ 0 w 36"/>
                <a:gd name="T41" fmla="*/ 50 h 76"/>
                <a:gd name="T42" fmla="*/ 0 w 36"/>
                <a:gd name="T43" fmla="*/ 16 h 76"/>
                <a:gd name="T44" fmla="*/ 2 w 36"/>
                <a:gd name="T45" fmla="*/ 7 h 76"/>
                <a:gd name="T46" fmla="*/ 3 w 36"/>
                <a:gd name="T4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76">
                  <a:moveTo>
                    <a:pt x="3" y="0"/>
                  </a:moveTo>
                  <a:lnTo>
                    <a:pt x="12" y="1"/>
                  </a:lnTo>
                  <a:lnTo>
                    <a:pt x="11" y="7"/>
                  </a:lnTo>
                  <a:lnTo>
                    <a:pt x="9" y="16"/>
                  </a:lnTo>
                  <a:lnTo>
                    <a:pt x="9" y="50"/>
                  </a:lnTo>
                  <a:lnTo>
                    <a:pt x="11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27" y="66"/>
                  </a:lnTo>
                  <a:lnTo>
                    <a:pt x="34" y="67"/>
                  </a:lnTo>
                  <a:lnTo>
                    <a:pt x="36" y="67"/>
                  </a:lnTo>
                  <a:lnTo>
                    <a:pt x="36" y="76"/>
                  </a:lnTo>
                  <a:lnTo>
                    <a:pt x="34" y="76"/>
                  </a:lnTo>
                  <a:lnTo>
                    <a:pt x="27" y="75"/>
                  </a:lnTo>
                  <a:lnTo>
                    <a:pt x="11" y="75"/>
                  </a:lnTo>
                  <a:lnTo>
                    <a:pt x="9" y="73"/>
                  </a:lnTo>
                  <a:lnTo>
                    <a:pt x="6" y="72"/>
                  </a:lnTo>
                  <a:lnTo>
                    <a:pt x="4" y="71"/>
                  </a:lnTo>
                  <a:lnTo>
                    <a:pt x="3" y="67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0" y="16"/>
                  </a:lnTo>
                  <a:lnTo>
                    <a:pt x="2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Freeform 411"/>
            <p:cNvSpPr>
              <a:spLocks/>
            </p:cNvSpPr>
            <p:nvPr/>
          </p:nvSpPr>
          <p:spPr bwMode="auto">
            <a:xfrm>
              <a:off x="-3844925" y="6024563"/>
              <a:ext cx="144463" cy="65088"/>
            </a:xfrm>
            <a:custGeom>
              <a:avLst/>
              <a:gdLst>
                <a:gd name="T0" fmla="*/ 85 w 91"/>
                <a:gd name="T1" fmla="*/ 0 h 41"/>
                <a:gd name="T2" fmla="*/ 87 w 91"/>
                <a:gd name="T3" fmla="*/ 0 h 41"/>
                <a:gd name="T4" fmla="*/ 88 w 91"/>
                <a:gd name="T5" fmla="*/ 1 h 41"/>
                <a:gd name="T6" fmla="*/ 88 w 91"/>
                <a:gd name="T7" fmla="*/ 3 h 41"/>
                <a:gd name="T8" fmla="*/ 91 w 91"/>
                <a:gd name="T9" fmla="*/ 31 h 41"/>
                <a:gd name="T10" fmla="*/ 89 w 91"/>
                <a:gd name="T11" fmla="*/ 32 h 41"/>
                <a:gd name="T12" fmla="*/ 89 w 91"/>
                <a:gd name="T13" fmla="*/ 34 h 41"/>
                <a:gd name="T14" fmla="*/ 88 w 91"/>
                <a:gd name="T15" fmla="*/ 34 h 41"/>
                <a:gd name="T16" fmla="*/ 60 w 91"/>
                <a:gd name="T17" fmla="*/ 39 h 41"/>
                <a:gd name="T18" fmla="*/ 32 w 91"/>
                <a:gd name="T19" fmla="*/ 41 h 41"/>
                <a:gd name="T20" fmla="*/ 5 w 91"/>
                <a:gd name="T21" fmla="*/ 40 h 41"/>
                <a:gd name="T22" fmla="*/ 2 w 91"/>
                <a:gd name="T23" fmla="*/ 39 h 41"/>
                <a:gd name="T24" fmla="*/ 2 w 91"/>
                <a:gd name="T25" fmla="*/ 39 h 41"/>
                <a:gd name="T26" fmla="*/ 1 w 91"/>
                <a:gd name="T27" fmla="*/ 37 h 41"/>
                <a:gd name="T28" fmla="*/ 0 w 91"/>
                <a:gd name="T29" fmla="*/ 9 h 41"/>
                <a:gd name="T30" fmla="*/ 0 w 91"/>
                <a:gd name="T31" fmla="*/ 7 h 41"/>
                <a:gd name="T32" fmla="*/ 1 w 91"/>
                <a:gd name="T33" fmla="*/ 5 h 41"/>
                <a:gd name="T34" fmla="*/ 2 w 91"/>
                <a:gd name="T35" fmla="*/ 5 h 41"/>
                <a:gd name="T36" fmla="*/ 29 w 91"/>
                <a:gd name="T37" fmla="*/ 7 h 41"/>
                <a:gd name="T38" fmla="*/ 57 w 91"/>
                <a:gd name="T39" fmla="*/ 4 h 41"/>
                <a:gd name="T40" fmla="*/ 85 w 91"/>
                <a:gd name="T4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41">
                  <a:moveTo>
                    <a:pt x="85" y="0"/>
                  </a:moveTo>
                  <a:lnTo>
                    <a:pt x="87" y="0"/>
                  </a:lnTo>
                  <a:lnTo>
                    <a:pt x="88" y="1"/>
                  </a:lnTo>
                  <a:lnTo>
                    <a:pt x="88" y="3"/>
                  </a:lnTo>
                  <a:lnTo>
                    <a:pt x="91" y="31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88" y="34"/>
                  </a:lnTo>
                  <a:lnTo>
                    <a:pt x="60" y="39"/>
                  </a:lnTo>
                  <a:lnTo>
                    <a:pt x="32" y="41"/>
                  </a:lnTo>
                  <a:lnTo>
                    <a:pt x="5" y="40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1" y="37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5"/>
                  </a:lnTo>
                  <a:lnTo>
                    <a:pt x="29" y="7"/>
                  </a:lnTo>
                  <a:lnTo>
                    <a:pt x="57" y="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4A8BC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Line 412"/>
            <p:cNvSpPr>
              <a:spLocks noChangeShapeType="1"/>
            </p:cNvSpPr>
            <p:nvPr/>
          </p:nvSpPr>
          <p:spPr bwMode="auto">
            <a:xfrm flipV="1">
              <a:off x="-3700463" y="6280151"/>
              <a:ext cx="3175" cy="238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Line 413"/>
            <p:cNvSpPr>
              <a:spLocks noChangeShapeType="1"/>
            </p:cNvSpPr>
            <p:nvPr/>
          </p:nvSpPr>
          <p:spPr bwMode="auto">
            <a:xfrm flipV="1">
              <a:off x="-3697288" y="6253163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Line 414"/>
            <p:cNvSpPr>
              <a:spLocks noChangeShapeType="1"/>
            </p:cNvSpPr>
            <p:nvPr/>
          </p:nvSpPr>
          <p:spPr bwMode="auto">
            <a:xfrm flipH="1" flipV="1">
              <a:off x="-3697288" y="6226176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6" name="Line 415"/>
            <p:cNvSpPr>
              <a:spLocks noChangeShapeType="1"/>
            </p:cNvSpPr>
            <p:nvPr/>
          </p:nvSpPr>
          <p:spPr bwMode="auto">
            <a:xfrm flipH="1" flipV="1">
              <a:off x="-3703638" y="6203951"/>
              <a:ext cx="6350" cy="222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7" name="Line 416"/>
            <p:cNvSpPr>
              <a:spLocks noChangeShapeType="1"/>
            </p:cNvSpPr>
            <p:nvPr/>
          </p:nvSpPr>
          <p:spPr bwMode="auto">
            <a:xfrm flipH="1" flipV="1">
              <a:off x="-3705225" y="6191251"/>
              <a:ext cx="1588" cy="127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Line 417"/>
            <p:cNvSpPr>
              <a:spLocks noChangeShapeType="1"/>
            </p:cNvSpPr>
            <p:nvPr/>
          </p:nvSpPr>
          <p:spPr bwMode="auto">
            <a:xfrm flipV="1">
              <a:off x="-3705225" y="6181726"/>
              <a:ext cx="4763" cy="95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Line 418"/>
            <p:cNvSpPr>
              <a:spLocks noChangeShapeType="1"/>
            </p:cNvSpPr>
            <p:nvPr/>
          </p:nvSpPr>
          <p:spPr bwMode="auto">
            <a:xfrm flipV="1">
              <a:off x="-3700463" y="6176963"/>
              <a:ext cx="7938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Line 419"/>
            <p:cNvSpPr>
              <a:spLocks noChangeShapeType="1"/>
            </p:cNvSpPr>
            <p:nvPr/>
          </p:nvSpPr>
          <p:spPr bwMode="auto">
            <a:xfrm>
              <a:off x="-3692525" y="6176963"/>
              <a:ext cx="7938" cy="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Line 420"/>
            <p:cNvSpPr>
              <a:spLocks noChangeShapeType="1"/>
            </p:cNvSpPr>
            <p:nvPr/>
          </p:nvSpPr>
          <p:spPr bwMode="auto">
            <a:xfrm>
              <a:off x="-3684588" y="6176963"/>
              <a:ext cx="9525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2" name="Line 421"/>
            <p:cNvSpPr>
              <a:spLocks noChangeShapeType="1"/>
            </p:cNvSpPr>
            <p:nvPr/>
          </p:nvSpPr>
          <p:spPr bwMode="auto">
            <a:xfrm>
              <a:off x="-3675063" y="6181726"/>
              <a:ext cx="7938" cy="79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422"/>
            <p:cNvSpPr>
              <a:spLocks/>
            </p:cNvSpPr>
            <p:nvPr/>
          </p:nvSpPr>
          <p:spPr bwMode="auto">
            <a:xfrm>
              <a:off x="-3941763" y="5176838"/>
              <a:ext cx="71438" cy="895350"/>
            </a:xfrm>
            <a:custGeom>
              <a:avLst/>
              <a:gdLst>
                <a:gd name="T0" fmla="*/ 37 w 45"/>
                <a:gd name="T1" fmla="*/ 0 h 564"/>
                <a:gd name="T2" fmla="*/ 45 w 45"/>
                <a:gd name="T3" fmla="*/ 2 h 564"/>
                <a:gd name="T4" fmla="*/ 43 w 45"/>
                <a:gd name="T5" fmla="*/ 13 h 564"/>
                <a:gd name="T6" fmla="*/ 40 w 45"/>
                <a:gd name="T7" fmla="*/ 29 h 564"/>
                <a:gd name="T8" fmla="*/ 35 w 45"/>
                <a:gd name="T9" fmla="*/ 61 h 564"/>
                <a:gd name="T10" fmla="*/ 30 w 45"/>
                <a:gd name="T11" fmla="*/ 95 h 564"/>
                <a:gd name="T12" fmla="*/ 25 w 45"/>
                <a:gd name="T13" fmla="*/ 131 h 564"/>
                <a:gd name="T14" fmla="*/ 22 w 45"/>
                <a:gd name="T15" fmla="*/ 169 h 564"/>
                <a:gd name="T16" fmla="*/ 19 w 45"/>
                <a:gd name="T17" fmla="*/ 203 h 564"/>
                <a:gd name="T18" fmla="*/ 19 w 45"/>
                <a:gd name="T19" fmla="*/ 235 h 564"/>
                <a:gd name="T20" fmla="*/ 21 w 45"/>
                <a:gd name="T21" fmla="*/ 249 h 564"/>
                <a:gd name="T22" fmla="*/ 22 w 45"/>
                <a:gd name="T23" fmla="*/ 262 h 564"/>
                <a:gd name="T24" fmla="*/ 22 w 45"/>
                <a:gd name="T25" fmla="*/ 276 h 564"/>
                <a:gd name="T26" fmla="*/ 23 w 45"/>
                <a:gd name="T27" fmla="*/ 293 h 564"/>
                <a:gd name="T28" fmla="*/ 23 w 45"/>
                <a:gd name="T29" fmla="*/ 331 h 564"/>
                <a:gd name="T30" fmla="*/ 22 w 45"/>
                <a:gd name="T31" fmla="*/ 353 h 564"/>
                <a:gd name="T32" fmla="*/ 18 w 45"/>
                <a:gd name="T33" fmla="*/ 423 h 564"/>
                <a:gd name="T34" fmla="*/ 14 w 45"/>
                <a:gd name="T35" fmla="*/ 469 h 564"/>
                <a:gd name="T36" fmla="*/ 12 w 45"/>
                <a:gd name="T37" fmla="*/ 510 h 564"/>
                <a:gd name="T38" fmla="*/ 10 w 45"/>
                <a:gd name="T39" fmla="*/ 527 h 564"/>
                <a:gd name="T40" fmla="*/ 9 w 45"/>
                <a:gd name="T41" fmla="*/ 542 h 564"/>
                <a:gd name="T42" fmla="*/ 9 w 45"/>
                <a:gd name="T43" fmla="*/ 564 h 564"/>
                <a:gd name="T44" fmla="*/ 0 w 45"/>
                <a:gd name="T45" fmla="*/ 564 h 564"/>
                <a:gd name="T46" fmla="*/ 0 w 45"/>
                <a:gd name="T47" fmla="*/ 542 h 564"/>
                <a:gd name="T48" fmla="*/ 2 w 45"/>
                <a:gd name="T49" fmla="*/ 527 h 564"/>
                <a:gd name="T50" fmla="*/ 3 w 45"/>
                <a:gd name="T51" fmla="*/ 510 h 564"/>
                <a:gd name="T52" fmla="*/ 5 w 45"/>
                <a:gd name="T53" fmla="*/ 469 h 564"/>
                <a:gd name="T54" fmla="*/ 9 w 45"/>
                <a:gd name="T55" fmla="*/ 423 h 564"/>
                <a:gd name="T56" fmla="*/ 13 w 45"/>
                <a:gd name="T57" fmla="*/ 353 h 564"/>
                <a:gd name="T58" fmla="*/ 14 w 45"/>
                <a:gd name="T59" fmla="*/ 331 h 564"/>
                <a:gd name="T60" fmla="*/ 14 w 45"/>
                <a:gd name="T61" fmla="*/ 293 h 564"/>
                <a:gd name="T62" fmla="*/ 13 w 45"/>
                <a:gd name="T63" fmla="*/ 276 h 564"/>
                <a:gd name="T64" fmla="*/ 13 w 45"/>
                <a:gd name="T65" fmla="*/ 263 h 564"/>
                <a:gd name="T66" fmla="*/ 10 w 45"/>
                <a:gd name="T67" fmla="*/ 235 h 564"/>
                <a:gd name="T68" fmla="*/ 10 w 45"/>
                <a:gd name="T69" fmla="*/ 203 h 564"/>
                <a:gd name="T70" fmla="*/ 13 w 45"/>
                <a:gd name="T71" fmla="*/ 169 h 564"/>
                <a:gd name="T72" fmla="*/ 16 w 45"/>
                <a:gd name="T73" fmla="*/ 131 h 564"/>
                <a:gd name="T74" fmla="*/ 21 w 45"/>
                <a:gd name="T75" fmla="*/ 95 h 564"/>
                <a:gd name="T76" fmla="*/ 26 w 45"/>
                <a:gd name="T77" fmla="*/ 61 h 564"/>
                <a:gd name="T78" fmla="*/ 31 w 45"/>
                <a:gd name="T79" fmla="*/ 29 h 564"/>
                <a:gd name="T80" fmla="*/ 34 w 45"/>
                <a:gd name="T81" fmla="*/ 13 h 564"/>
                <a:gd name="T82" fmla="*/ 37 w 45"/>
                <a:gd name="T83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5" h="564">
                  <a:moveTo>
                    <a:pt x="37" y="0"/>
                  </a:moveTo>
                  <a:lnTo>
                    <a:pt x="45" y="2"/>
                  </a:lnTo>
                  <a:lnTo>
                    <a:pt x="43" y="13"/>
                  </a:lnTo>
                  <a:lnTo>
                    <a:pt x="40" y="29"/>
                  </a:lnTo>
                  <a:lnTo>
                    <a:pt x="35" y="61"/>
                  </a:lnTo>
                  <a:lnTo>
                    <a:pt x="30" y="95"/>
                  </a:lnTo>
                  <a:lnTo>
                    <a:pt x="25" y="131"/>
                  </a:lnTo>
                  <a:lnTo>
                    <a:pt x="22" y="169"/>
                  </a:lnTo>
                  <a:lnTo>
                    <a:pt x="19" y="203"/>
                  </a:lnTo>
                  <a:lnTo>
                    <a:pt x="19" y="235"/>
                  </a:lnTo>
                  <a:lnTo>
                    <a:pt x="21" y="249"/>
                  </a:lnTo>
                  <a:lnTo>
                    <a:pt x="22" y="262"/>
                  </a:lnTo>
                  <a:lnTo>
                    <a:pt x="22" y="276"/>
                  </a:lnTo>
                  <a:lnTo>
                    <a:pt x="23" y="293"/>
                  </a:lnTo>
                  <a:lnTo>
                    <a:pt x="23" y="331"/>
                  </a:lnTo>
                  <a:lnTo>
                    <a:pt x="22" y="353"/>
                  </a:lnTo>
                  <a:lnTo>
                    <a:pt x="18" y="423"/>
                  </a:lnTo>
                  <a:lnTo>
                    <a:pt x="14" y="469"/>
                  </a:lnTo>
                  <a:lnTo>
                    <a:pt x="12" y="510"/>
                  </a:lnTo>
                  <a:lnTo>
                    <a:pt x="10" y="527"/>
                  </a:lnTo>
                  <a:lnTo>
                    <a:pt x="9" y="542"/>
                  </a:lnTo>
                  <a:lnTo>
                    <a:pt x="9" y="564"/>
                  </a:lnTo>
                  <a:lnTo>
                    <a:pt x="0" y="564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3" y="510"/>
                  </a:lnTo>
                  <a:lnTo>
                    <a:pt x="5" y="469"/>
                  </a:lnTo>
                  <a:lnTo>
                    <a:pt x="9" y="423"/>
                  </a:lnTo>
                  <a:lnTo>
                    <a:pt x="13" y="353"/>
                  </a:lnTo>
                  <a:lnTo>
                    <a:pt x="14" y="331"/>
                  </a:lnTo>
                  <a:lnTo>
                    <a:pt x="14" y="293"/>
                  </a:lnTo>
                  <a:lnTo>
                    <a:pt x="13" y="276"/>
                  </a:lnTo>
                  <a:lnTo>
                    <a:pt x="13" y="263"/>
                  </a:lnTo>
                  <a:lnTo>
                    <a:pt x="10" y="235"/>
                  </a:lnTo>
                  <a:lnTo>
                    <a:pt x="10" y="203"/>
                  </a:lnTo>
                  <a:lnTo>
                    <a:pt x="13" y="169"/>
                  </a:lnTo>
                  <a:lnTo>
                    <a:pt x="16" y="131"/>
                  </a:lnTo>
                  <a:lnTo>
                    <a:pt x="21" y="95"/>
                  </a:lnTo>
                  <a:lnTo>
                    <a:pt x="26" y="61"/>
                  </a:lnTo>
                  <a:lnTo>
                    <a:pt x="31" y="29"/>
                  </a:lnTo>
                  <a:lnTo>
                    <a:pt x="34" y="1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4" name="Freeform 423"/>
            <p:cNvSpPr>
              <a:spLocks/>
            </p:cNvSpPr>
            <p:nvPr/>
          </p:nvSpPr>
          <p:spPr bwMode="auto">
            <a:xfrm>
              <a:off x="-4041775" y="6024563"/>
              <a:ext cx="144463" cy="65088"/>
            </a:xfrm>
            <a:custGeom>
              <a:avLst/>
              <a:gdLst>
                <a:gd name="T0" fmla="*/ 5 w 91"/>
                <a:gd name="T1" fmla="*/ 0 h 41"/>
                <a:gd name="T2" fmla="*/ 34 w 91"/>
                <a:gd name="T3" fmla="*/ 4 h 41"/>
                <a:gd name="T4" fmla="*/ 62 w 91"/>
                <a:gd name="T5" fmla="*/ 7 h 41"/>
                <a:gd name="T6" fmla="*/ 89 w 91"/>
                <a:gd name="T7" fmla="*/ 5 h 41"/>
                <a:gd name="T8" fmla="*/ 90 w 91"/>
                <a:gd name="T9" fmla="*/ 5 h 41"/>
                <a:gd name="T10" fmla="*/ 91 w 91"/>
                <a:gd name="T11" fmla="*/ 7 h 41"/>
                <a:gd name="T12" fmla="*/ 91 w 91"/>
                <a:gd name="T13" fmla="*/ 9 h 41"/>
                <a:gd name="T14" fmla="*/ 90 w 91"/>
                <a:gd name="T15" fmla="*/ 37 h 41"/>
                <a:gd name="T16" fmla="*/ 89 w 91"/>
                <a:gd name="T17" fmla="*/ 39 h 41"/>
                <a:gd name="T18" fmla="*/ 89 w 91"/>
                <a:gd name="T19" fmla="*/ 39 h 41"/>
                <a:gd name="T20" fmla="*/ 86 w 91"/>
                <a:gd name="T21" fmla="*/ 40 h 41"/>
                <a:gd name="T22" fmla="*/ 59 w 91"/>
                <a:gd name="T23" fmla="*/ 41 h 41"/>
                <a:gd name="T24" fmla="*/ 31 w 91"/>
                <a:gd name="T25" fmla="*/ 39 h 41"/>
                <a:gd name="T26" fmla="*/ 3 w 91"/>
                <a:gd name="T27" fmla="*/ 34 h 41"/>
                <a:gd name="T28" fmla="*/ 2 w 91"/>
                <a:gd name="T29" fmla="*/ 34 h 41"/>
                <a:gd name="T30" fmla="*/ 0 w 91"/>
                <a:gd name="T31" fmla="*/ 32 h 41"/>
                <a:gd name="T32" fmla="*/ 0 w 91"/>
                <a:gd name="T33" fmla="*/ 31 h 41"/>
                <a:gd name="T34" fmla="*/ 3 w 91"/>
                <a:gd name="T35" fmla="*/ 3 h 41"/>
                <a:gd name="T36" fmla="*/ 3 w 91"/>
                <a:gd name="T37" fmla="*/ 1 h 41"/>
                <a:gd name="T38" fmla="*/ 4 w 91"/>
                <a:gd name="T39" fmla="*/ 0 h 41"/>
                <a:gd name="T40" fmla="*/ 5 w 91"/>
                <a:gd name="T4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41">
                  <a:moveTo>
                    <a:pt x="5" y="0"/>
                  </a:moveTo>
                  <a:lnTo>
                    <a:pt x="34" y="4"/>
                  </a:lnTo>
                  <a:lnTo>
                    <a:pt x="62" y="7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1" y="7"/>
                  </a:lnTo>
                  <a:lnTo>
                    <a:pt x="91" y="9"/>
                  </a:lnTo>
                  <a:lnTo>
                    <a:pt x="90" y="37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6" y="40"/>
                  </a:lnTo>
                  <a:lnTo>
                    <a:pt x="59" y="41"/>
                  </a:lnTo>
                  <a:lnTo>
                    <a:pt x="31" y="39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3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4A8BC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Freeform 424"/>
            <p:cNvSpPr>
              <a:spLocks/>
            </p:cNvSpPr>
            <p:nvPr/>
          </p:nvSpPr>
          <p:spPr bwMode="auto">
            <a:xfrm>
              <a:off x="-4251325" y="4943476"/>
              <a:ext cx="127000" cy="80963"/>
            </a:xfrm>
            <a:custGeom>
              <a:avLst/>
              <a:gdLst>
                <a:gd name="T0" fmla="*/ 3 w 80"/>
                <a:gd name="T1" fmla="*/ 0 h 51"/>
                <a:gd name="T2" fmla="*/ 40 w 80"/>
                <a:gd name="T3" fmla="*/ 4 h 51"/>
                <a:gd name="T4" fmla="*/ 77 w 80"/>
                <a:gd name="T5" fmla="*/ 2 h 51"/>
                <a:gd name="T6" fmla="*/ 78 w 80"/>
                <a:gd name="T7" fmla="*/ 4 h 51"/>
                <a:gd name="T8" fmla="*/ 80 w 80"/>
                <a:gd name="T9" fmla="*/ 5 h 51"/>
                <a:gd name="T10" fmla="*/ 80 w 80"/>
                <a:gd name="T11" fmla="*/ 6 h 51"/>
                <a:gd name="T12" fmla="*/ 78 w 80"/>
                <a:gd name="T13" fmla="*/ 15 h 51"/>
                <a:gd name="T14" fmla="*/ 78 w 80"/>
                <a:gd name="T15" fmla="*/ 27 h 51"/>
                <a:gd name="T16" fmla="*/ 77 w 80"/>
                <a:gd name="T17" fmla="*/ 38 h 51"/>
                <a:gd name="T18" fmla="*/ 77 w 80"/>
                <a:gd name="T19" fmla="*/ 47 h 51"/>
                <a:gd name="T20" fmla="*/ 77 w 80"/>
                <a:gd name="T21" fmla="*/ 49 h 51"/>
                <a:gd name="T22" fmla="*/ 76 w 80"/>
                <a:gd name="T23" fmla="*/ 50 h 51"/>
                <a:gd name="T24" fmla="*/ 75 w 80"/>
                <a:gd name="T25" fmla="*/ 50 h 51"/>
                <a:gd name="T26" fmla="*/ 52 w 80"/>
                <a:gd name="T27" fmla="*/ 51 h 51"/>
                <a:gd name="T28" fmla="*/ 32 w 80"/>
                <a:gd name="T29" fmla="*/ 50 h 51"/>
                <a:gd name="T30" fmla="*/ 9 w 80"/>
                <a:gd name="T31" fmla="*/ 46 h 51"/>
                <a:gd name="T32" fmla="*/ 8 w 80"/>
                <a:gd name="T33" fmla="*/ 45 h 51"/>
                <a:gd name="T34" fmla="*/ 7 w 80"/>
                <a:gd name="T35" fmla="*/ 44 h 51"/>
                <a:gd name="T36" fmla="*/ 4 w 80"/>
                <a:gd name="T37" fmla="*/ 35 h 51"/>
                <a:gd name="T38" fmla="*/ 3 w 80"/>
                <a:gd name="T39" fmla="*/ 23 h 51"/>
                <a:gd name="T40" fmla="*/ 0 w 80"/>
                <a:gd name="T41" fmla="*/ 11 h 51"/>
                <a:gd name="T42" fmla="*/ 0 w 80"/>
                <a:gd name="T43" fmla="*/ 2 h 51"/>
                <a:gd name="T44" fmla="*/ 0 w 80"/>
                <a:gd name="T45" fmla="*/ 1 h 51"/>
                <a:gd name="T46" fmla="*/ 1 w 80"/>
                <a:gd name="T47" fmla="*/ 0 h 51"/>
                <a:gd name="T48" fmla="*/ 3 w 80"/>
                <a:gd name="T4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51">
                  <a:moveTo>
                    <a:pt x="3" y="0"/>
                  </a:moveTo>
                  <a:lnTo>
                    <a:pt x="40" y="4"/>
                  </a:lnTo>
                  <a:lnTo>
                    <a:pt x="77" y="2"/>
                  </a:lnTo>
                  <a:lnTo>
                    <a:pt x="78" y="4"/>
                  </a:lnTo>
                  <a:lnTo>
                    <a:pt x="80" y="5"/>
                  </a:lnTo>
                  <a:lnTo>
                    <a:pt x="80" y="6"/>
                  </a:lnTo>
                  <a:lnTo>
                    <a:pt x="78" y="15"/>
                  </a:lnTo>
                  <a:lnTo>
                    <a:pt x="78" y="27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49"/>
                  </a:lnTo>
                  <a:lnTo>
                    <a:pt x="76" y="50"/>
                  </a:lnTo>
                  <a:lnTo>
                    <a:pt x="75" y="50"/>
                  </a:lnTo>
                  <a:lnTo>
                    <a:pt x="52" y="51"/>
                  </a:lnTo>
                  <a:lnTo>
                    <a:pt x="32" y="50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7" y="44"/>
                  </a:lnTo>
                  <a:lnTo>
                    <a:pt x="4" y="35"/>
                  </a:lnTo>
                  <a:lnTo>
                    <a:pt x="3" y="23"/>
                  </a:lnTo>
                  <a:lnTo>
                    <a:pt x="0" y="11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6" name="Freeform 425"/>
            <p:cNvSpPr>
              <a:spLocks/>
            </p:cNvSpPr>
            <p:nvPr/>
          </p:nvSpPr>
          <p:spPr bwMode="auto">
            <a:xfrm>
              <a:off x="-3986213" y="3663951"/>
              <a:ext cx="165100" cy="115888"/>
            </a:xfrm>
            <a:custGeom>
              <a:avLst/>
              <a:gdLst>
                <a:gd name="T0" fmla="*/ 5 w 104"/>
                <a:gd name="T1" fmla="*/ 0 h 73"/>
                <a:gd name="T2" fmla="*/ 15 w 104"/>
                <a:gd name="T3" fmla="*/ 21 h 73"/>
                <a:gd name="T4" fmla="*/ 27 w 104"/>
                <a:gd name="T5" fmla="*/ 35 h 73"/>
                <a:gd name="T6" fmla="*/ 40 w 104"/>
                <a:gd name="T7" fmla="*/ 46 h 73"/>
                <a:gd name="T8" fmla="*/ 54 w 104"/>
                <a:gd name="T9" fmla="*/ 54 h 73"/>
                <a:gd name="T10" fmla="*/ 69 w 104"/>
                <a:gd name="T11" fmla="*/ 58 h 73"/>
                <a:gd name="T12" fmla="*/ 86 w 104"/>
                <a:gd name="T13" fmla="*/ 62 h 73"/>
                <a:gd name="T14" fmla="*/ 104 w 104"/>
                <a:gd name="T15" fmla="*/ 64 h 73"/>
                <a:gd name="T16" fmla="*/ 85 w 104"/>
                <a:gd name="T17" fmla="*/ 71 h 73"/>
                <a:gd name="T18" fmla="*/ 65 w 104"/>
                <a:gd name="T19" fmla="*/ 73 h 73"/>
                <a:gd name="T20" fmla="*/ 47 w 104"/>
                <a:gd name="T21" fmla="*/ 72 h 73"/>
                <a:gd name="T22" fmla="*/ 31 w 104"/>
                <a:gd name="T23" fmla="*/ 67 h 73"/>
                <a:gd name="T24" fmla="*/ 17 w 104"/>
                <a:gd name="T25" fmla="*/ 58 h 73"/>
                <a:gd name="T26" fmla="*/ 6 w 104"/>
                <a:gd name="T27" fmla="*/ 46 h 73"/>
                <a:gd name="T28" fmla="*/ 0 w 104"/>
                <a:gd name="T29" fmla="*/ 34 h 73"/>
                <a:gd name="T30" fmla="*/ 0 w 104"/>
                <a:gd name="T31" fmla="*/ 18 h 73"/>
                <a:gd name="T32" fmla="*/ 5 w 104"/>
                <a:gd name="T3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5" y="0"/>
                  </a:moveTo>
                  <a:lnTo>
                    <a:pt x="15" y="21"/>
                  </a:lnTo>
                  <a:lnTo>
                    <a:pt x="27" y="35"/>
                  </a:lnTo>
                  <a:lnTo>
                    <a:pt x="40" y="46"/>
                  </a:lnTo>
                  <a:lnTo>
                    <a:pt x="54" y="54"/>
                  </a:lnTo>
                  <a:lnTo>
                    <a:pt x="69" y="58"/>
                  </a:lnTo>
                  <a:lnTo>
                    <a:pt x="86" y="62"/>
                  </a:lnTo>
                  <a:lnTo>
                    <a:pt x="104" y="64"/>
                  </a:lnTo>
                  <a:lnTo>
                    <a:pt x="85" y="71"/>
                  </a:lnTo>
                  <a:lnTo>
                    <a:pt x="65" y="73"/>
                  </a:lnTo>
                  <a:lnTo>
                    <a:pt x="47" y="72"/>
                  </a:lnTo>
                  <a:lnTo>
                    <a:pt x="31" y="67"/>
                  </a:lnTo>
                  <a:lnTo>
                    <a:pt x="17" y="58"/>
                  </a:lnTo>
                  <a:lnTo>
                    <a:pt x="6" y="46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C79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49" name="Group 948"/>
          <p:cNvGrpSpPr/>
          <p:nvPr/>
        </p:nvGrpSpPr>
        <p:grpSpPr>
          <a:xfrm>
            <a:off x="7210455" y="4249746"/>
            <a:ext cx="136140" cy="436252"/>
            <a:chOff x="-1831975" y="3668713"/>
            <a:chExt cx="854075" cy="2736850"/>
          </a:xfrm>
        </p:grpSpPr>
        <p:sp>
          <p:nvSpPr>
            <p:cNvPr id="73" name="Freeform 869"/>
            <p:cNvSpPr>
              <a:spLocks/>
            </p:cNvSpPr>
            <p:nvPr/>
          </p:nvSpPr>
          <p:spPr bwMode="auto">
            <a:xfrm>
              <a:off x="-1544638" y="4756150"/>
              <a:ext cx="198438" cy="814388"/>
            </a:xfrm>
            <a:custGeom>
              <a:avLst/>
              <a:gdLst>
                <a:gd name="T0" fmla="*/ 50 w 125"/>
                <a:gd name="T1" fmla="*/ 0 h 513"/>
                <a:gd name="T2" fmla="*/ 62 w 125"/>
                <a:gd name="T3" fmla="*/ 1 h 513"/>
                <a:gd name="T4" fmla="*/ 73 w 125"/>
                <a:gd name="T5" fmla="*/ 10 h 513"/>
                <a:gd name="T6" fmla="*/ 84 w 125"/>
                <a:gd name="T7" fmla="*/ 24 h 513"/>
                <a:gd name="T8" fmla="*/ 95 w 125"/>
                <a:gd name="T9" fmla="*/ 46 h 513"/>
                <a:gd name="T10" fmla="*/ 104 w 125"/>
                <a:gd name="T11" fmla="*/ 74 h 513"/>
                <a:gd name="T12" fmla="*/ 112 w 125"/>
                <a:gd name="T13" fmla="*/ 109 h 513"/>
                <a:gd name="T14" fmla="*/ 118 w 125"/>
                <a:gd name="T15" fmla="*/ 150 h 513"/>
                <a:gd name="T16" fmla="*/ 124 w 125"/>
                <a:gd name="T17" fmla="*/ 199 h 513"/>
                <a:gd name="T18" fmla="*/ 125 w 125"/>
                <a:gd name="T19" fmla="*/ 221 h 513"/>
                <a:gd name="T20" fmla="*/ 125 w 125"/>
                <a:gd name="T21" fmla="*/ 246 h 513"/>
                <a:gd name="T22" fmla="*/ 125 w 125"/>
                <a:gd name="T23" fmla="*/ 276 h 513"/>
                <a:gd name="T24" fmla="*/ 125 w 125"/>
                <a:gd name="T25" fmla="*/ 307 h 513"/>
                <a:gd name="T26" fmla="*/ 124 w 125"/>
                <a:gd name="T27" fmla="*/ 340 h 513"/>
                <a:gd name="T28" fmla="*/ 121 w 125"/>
                <a:gd name="T29" fmla="*/ 372 h 513"/>
                <a:gd name="T30" fmla="*/ 118 w 125"/>
                <a:gd name="T31" fmla="*/ 403 h 513"/>
                <a:gd name="T32" fmla="*/ 116 w 125"/>
                <a:gd name="T33" fmla="*/ 432 h 513"/>
                <a:gd name="T34" fmla="*/ 111 w 125"/>
                <a:gd name="T35" fmla="*/ 459 h 513"/>
                <a:gd name="T36" fmla="*/ 106 w 125"/>
                <a:gd name="T37" fmla="*/ 481 h 513"/>
                <a:gd name="T38" fmla="*/ 98 w 125"/>
                <a:gd name="T39" fmla="*/ 498 h 513"/>
                <a:gd name="T40" fmla="*/ 90 w 125"/>
                <a:gd name="T41" fmla="*/ 509 h 513"/>
                <a:gd name="T42" fmla="*/ 81 w 125"/>
                <a:gd name="T43" fmla="*/ 513 h 513"/>
                <a:gd name="T44" fmla="*/ 70 w 125"/>
                <a:gd name="T45" fmla="*/ 509 h 513"/>
                <a:gd name="T46" fmla="*/ 57 w 125"/>
                <a:gd name="T47" fmla="*/ 499 h 513"/>
                <a:gd name="T48" fmla="*/ 45 w 125"/>
                <a:gd name="T49" fmla="*/ 481 h 513"/>
                <a:gd name="T50" fmla="*/ 35 w 125"/>
                <a:gd name="T51" fmla="*/ 457 h 513"/>
                <a:gd name="T52" fmla="*/ 26 w 125"/>
                <a:gd name="T53" fmla="*/ 425 h 513"/>
                <a:gd name="T54" fmla="*/ 17 w 125"/>
                <a:gd name="T55" fmla="*/ 385 h 513"/>
                <a:gd name="T56" fmla="*/ 11 w 125"/>
                <a:gd name="T57" fmla="*/ 337 h 513"/>
                <a:gd name="T58" fmla="*/ 5 w 125"/>
                <a:gd name="T59" fmla="*/ 282 h 513"/>
                <a:gd name="T60" fmla="*/ 2 w 125"/>
                <a:gd name="T61" fmla="*/ 221 h 513"/>
                <a:gd name="T62" fmla="*/ 0 w 125"/>
                <a:gd name="T63" fmla="*/ 151 h 513"/>
                <a:gd name="T64" fmla="*/ 3 w 125"/>
                <a:gd name="T65" fmla="*/ 113 h 513"/>
                <a:gd name="T66" fmla="*/ 7 w 125"/>
                <a:gd name="T67" fmla="*/ 79 h 513"/>
                <a:gd name="T68" fmla="*/ 12 w 125"/>
                <a:gd name="T69" fmla="*/ 51 h 513"/>
                <a:gd name="T70" fmla="*/ 20 w 125"/>
                <a:gd name="T71" fmla="*/ 29 h 513"/>
                <a:gd name="T72" fmla="*/ 29 w 125"/>
                <a:gd name="T73" fmla="*/ 14 h 513"/>
                <a:gd name="T74" fmla="*/ 39 w 125"/>
                <a:gd name="T75" fmla="*/ 4 h 513"/>
                <a:gd name="T76" fmla="*/ 50 w 125"/>
                <a:gd name="T77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513">
                  <a:moveTo>
                    <a:pt x="50" y="0"/>
                  </a:moveTo>
                  <a:lnTo>
                    <a:pt x="62" y="1"/>
                  </a:lnTo>
                  <a:lnTo>
                    <a:pt x="73" y="10"/>
                  </a:lnTo>
                  <a:lnTo>
                    <a:pt x="84" y="24"/>
                  </a:lnTo>
                  <a:lnTo>
                    <a:pt x="95" y="46"/>
                  </a:lnTo>
                  <a:lnTo>
                    <a:pt x="104" y="74"/>
                  </a:lnTo>
                  <a:lnTo>
                    <a:pt x="112" y="109"/>
                  </a:lnTo>
                  <a:lnTo>
                    <a:pt x="118" y="150"/>
                  </a:lnTo>
                  <a:lnTo>
                    <a:pt x="124" y="199"/>
                  </a:lnTo>
                  <a:lnTo>
                    <a:pt x="125" y="221"/>
                  </a:lnTo>
                  <a:lnTo>
                    <a:pt x="125" y="246"/>
                  </a:lnTo>
                  <a:lnTo>
                    <a:pt x="125" y="276"/>
                  </a:lnTo>
                  <a:lnTo>
                    <a:pt x="125" y="307"/>
                  </a:lnTo>
                  <a:lnTo>
                    <a:pt x="124" y="340"/>
                  </a:lnTo>
                  <a:lnTo>
                    <a:pt x="121" y="372"/>
                  </a:lnTo>
                  <a:lnTo>
                    <a:pt x="118" y="403"/>
                  </a:lnTo>
                  <a:lnTo>
                    <a:pt x="116" y="432"/>
                  </a:lnTo>
                  <a:lnTo>
                    <a:pt x="111" y="459"/>
                  </a:lnTo>
                  <a:lnTo>
                    <a:pt x="106" y="481"/>
                  </a:lnTo>
                  <a:lnTo>
                    <a:pt x="98" y="498"/>
                  </a:lnTo>
                  <a:lnTo>
                    <a:pt x="90" y="509"/>
                  </a:lnTo>
                  <a:lnTo>
                    <a:pt x="81" y="513"/>
                  </a:lnTo>
                  <a:lnTo>
                    <a:pt x="70" y="509"/>
                  </a:lnTo>
                  <a:lnTo>
                    <a:pt x="57" y="499"/>
                  </a:lnTo>
                  <a:lnTo>
                    <a:pt x="45" y="481"/>
                  </a:lnTo>
                  <a:lnTo>
                    <a:pt x="35" y="457"/>
                  </a:lnTo>
                  <a:lnTo>
                    <a:pt x="26" y="425"/>
                  </a:lnTo>
                  <a:lnTo>
                    <a:pt x="17" y="385"/>
                  </a:lnTo>
                  <a:lnTo>
                    <a:pt x="11" y="337"/>
                  </a:lnTo>
                  <a:lnTo>
                    <a:pt x="5" y="282"/>
                  </a:lnTo>
                  <a:lnTo>
                    <a:pt x="2" y="221"/>
                  </a:lnTo>
                  <a:lnTo>
                    <a:pt x="0" y="151"/>
                  </a:lnTo>
                  <a:lnTo>
                    <a:pt x="3" y="113"/>
                  </a:lnTo>
                  <a:lnTo>
                    <a:pt x="7" y="79"/>
                  </a:lnTo>
                  <a:lnTo>
                    <a:pt x="12" y="51"/>
                  </a:lnTo>
                  <a:lnTo>
                    <a:pt x="20" y="29"/>
                  </a:lnTo>
                  <a:lnTo>
                    <a:pt x="29" y="14"/>
                  </a:lnTo>
                  <a:lnTo>
                    <a:pt x="39" y="4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870"/>
            <p:cNvSpPr>
              <a:spLocks/>
            </p:cNvSpPr>
            <p:nvPr/>
          </p:nvSpPr>
          <p:spPr bwMode="auto">
            <a:xfrm>
              <a:off x="-1316038" y="4759325"/>
              <a:ext cx="195263" cy="811213"/>
            </a:xfrm>
            <a:custGeom>
              <a:avLst/>
              <a:gdLst>
                <a:gd name="T0" fmla="*/ 74 w 123"/>
                <a:gd name="T1" fmla="*/ 0 h 511"/>
                <a:gd name="T2" fmla="*/ 86 w 123"/>
                <a:gd name="T3" fmla="*/ 6 h 511"/>
                <a:gd name="T4" fmla="*/ 95 w 123"/>
                <a:gd name="T5" fmla="*/ 16 h 511"/>
                <a:gd name="T6" fmla="*/ 104 w 123"/>
                <a:gd name="T7" fmla="*/ 33 h 511"/>
                <a:gd name="T8" fmla="*/ 112 w 123"/>
                <a:gd name="T9" fmla="*/ 54 h 511"/>
                <a:gd name="T10" fmla="*/ 118 w 123"/>
                <a:gd name="T11" fmla="*/ 83 h 511"/>
                <a:gd name="T12" fmla="*/ 122 w 123"/>
                <a:gd name="T13" fmla="*/ 116 h 511"/>
                <a:gd name="T14" fmla="*/ 123 w 123"/>
                <a:gd name="T15" fmla="*/ 154 h 511"/>
                <a:gd name="T16" fmla="*/ 122 w 123"/>
                <a:gd name="T17" fmla="*/ 222 h 511"/>
                <a:gd name="T18" fmla="*/ 119 w 123"/>
                <a:gd name="T19" fmla="*/ 284 h 511"/>
                <a:gd name="T20" fmla="*/ 114 w 123"/>
                <a:gd name="T21" fmla="*/ 337 h 511"/>
                <a:gd name="T22" fmla="*/ 107 w 123"/>
                <a:gd name="T23" fmla="*/ 383 h 511"/>
                <a:gd name="T24" fmla="*/ 99 w 123"/>
                <a:gd name="T25" fmla="*/ 423 h 511"/>
                <a:gd name="T26" fmla="*/ 90 w 123"/>
                <a:gd name="T27" fmla="*/ 455 h 511"/>
                <a:gd name="T28" fmla="*/ 78 w 123"/>
                <a:gd name="T29" fmla="*/ 479 h 511"/>
                <a:gd name="T30" fmla="*/ 68 w 123"/>
                <a:gd name="T31" fmla="*/ 497 h 511"/>
                <a:gd name="T32" fmla="*/ 55 w 123"/>
                <a:gd name="T33" fmla="*/ 507 h 511"/>
                <a:gd name="T34" fmla="*/ 44 w 123"/>
                <a:gd name="T35" fmla="*/ 511 h 511"/>
                <a:gd name="T36" fmla="*/ 35 w 123"/>
                <a:gd name="T37" fmla="*/ 507 h 511"/>
                <a:gd name="T38" fmla="*/ 27 w 123"/>
                <a:gd name="T39" fmla="*/ 496 h 511"/>
                <a:gd name="T40" fmla="*/ 21 w 123"/>
                <a:gd name="T41" fmla="*/ 479 h 511"/>
                <a:gd name="T42" fmla="*/ 14 w 123"/>
                <a:gd name="T43" fmla="*/ 457 h 511"/>
                <a:gd name="T44" fmla="*/ 10 w 123"/>
                <a:gd name="T45" fmla="*/ 430 h 511"/>
                <a:gd name="T46" fmla="*/ 6 w 123"/>
                <a:gd name="T47" fmla="*/ 401 h 511"/>
                <a:gd name="T48" fmla="*/ 4 w 123"/>
                <a:gd name="T49" fmla="*/ 370 h 511"/>
                <a:gd name="T50" fmla="*/ 1 w 123"/>
                <a:gd name="T51" fmla="*/ 338 h 511"/>
                <a:gd name="T52" fmla="*/ 0 w 123"/>
                <a:gd name="T53" fmla="*/ 305 h 511"/>
                <a:gd name="T54" fmla="*/ 0 w 123"/>
                <a:gd name="T55" fmla="*/ 274 h 511"/>
                <a:gd name="T56" fmla="*/ 0 w 123"/>
                <a:gd name="T57" fmla="*/ 244 h 511"/>
                <a:gd name="T58" fmla="*/ 0 w 123"/>
                <a:gd name="T59" fmla="*/ 219 h 511"/>
                <a:gd name="T60" fmla="*/ 1 w 123"/>
                <a:gd name="T61" fmla="*/ 197 h 511"/>
                <a:gd name="T62" fmla="*/ 6 w 123"/>
                <a:gd name="T63" fmla="*/ 148 h 511"/>
                <a:gd name="T64" fmla="*/ 13 w 123"/>
                <a:gd name="T65" fmla="*/ 107 h 511"/>
                <a:gd name="T66" fmla="*/ 21 w 123"/>
                <a:gd name="T67" fmla="*/ 72 h 511"/>
                <a:gd name="T68" fmla="*/ 31 w 123"/>
                <a:gd name="T69" fmla="*/ 45 h 511"/>
                <a:gd name="T70" fmla="*/ 41 w 123"/>
                <a:gd name="T71" fmla="*/ 25 h 511"/>
                <a:gd name="T72" fmla="*/ 51 w 123"/>
                <a:gd name="T73" fmla="*/ 11 h 511"/>
                <a:gd name="T74" fmla="*/ 63 w 123"/>
                <a:gd name="T75" fmla="*/ 2 h 511"/>
                <a:gd name="T76" fmla="*/ 74 w 123"/>
                <a:gd name="T77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511">
                  <a:moveTo>
                    <a:pt x="74" y="0"/>
                  </a:moveTo>
                  <a:lnTo>
                    <a:pt x="86" y="6"/>
                  </a:lnTo>
                  <a:lnTo>
                    <a:pt x="95" y="16"/>
                  </a:lnTo>
                  <a:lnTo>
                    <a:pt x="104" y="33"/>
                  </a:lnTo>
                  <a:lnTo>
                    <a:pt x="112" y="54"/>
                  </a:lnTo>
                  <a:lnTo>
                    <a:pt x="118" y="83"/>
                  </a:lnTo>
                  <a:lnTo>
                    <a:pt x="122" y="116"/>
                  </a:lnTo>
                  <a:lnTo>
                    <a:pt x="123" y="154"/>
                  </a:lnTo>
                  <a:lnTo>
                    <a:pt x="122" y="222"/>
                  </a:lnTo>
                  <a:lnTo>
                    <a:pt x="119" y="284"/>
                  </a:lnTo>
                  <a:lnTo>
                    <a:pt x="114" y="337"/>
                  </a:lnTo>
                  <a:lnTo>
                    <a:pt x="107" y="383"/>
                  </a:lnTo>
                  <a:lnTo>
                    <a:pt x="99" y="423"/>
                  </a:lnTo>
                  <a:lnTo>
                    <a:pt x="90" y="455"/>
                  </a:lnTo>
                  <a:lnTo>
                    <a:pt x="78" y="479"/>
                  </a:lnTo>
                  <a:lnTo>
                    <a:pt x="68" y="497"/>
                  </a:lnTo>
                  <a:lnTo>
                    <a:pt x="55" y="507"/>
                  </a:lnTo>
                  <a:lnTo>
                    <a:pt x="44" y="511"/>
                  </a:lnTo>
                  <a:lnTo>
                    <a:pt x="35" y="507"/>
                  </a:lnTo>
                  <a:lnTo>
                    <a:pt x="27" y="496"/>
                  </a:lnTo>
                  <a:lnTo>
                    <a:pt x="21" y="479"/>
                  </a:lnTo>
                  <a:lnTo>
                    <a:pt x="14" y="457"/>
                  </a:lnTo>
                  <a:lnTo>
                    <a:pt x="10" y="430"/>
                  </a:lnTo>
                  <a:lnTo>
                    <a:pt x="6" y="401"/>
                  </a:lnTo>
                  <a:lnTo>
                    <a:pt x="4" y="370"/>
                  </a:lnTo>
                  <a:lnTo>
                    <a:pt x="1" y="338"/>
                  </a:lnTo>
                  <a:lnTo>
                    <a:pt x="0" y="305"/>
                  </a:lnTo>
                  <a:lnTo>
                    <a:pt x="0" y="274"/>
                  </a:lnTo>
                  <a:lnTo>
                    <a:pt x="0" y="244"/>
                  </a:lnTo>
                  <a:lnTo>
                    <a:pt x="0" y="219"/>
                  </a:lnTo>
                  <a:lnTo>
                    <a:pt x="1" y="197"/>
                  </a:lnTo>
                  <a:lnTo>
                    <a:pt x="6" y="148"/>
                  </a:lnTo>
                  <a:lnTo>
                    <a:pt x="13" y="107"/>
                  </a:lnTo>
                  <a:lnTo>
                    <a:pt x="21" y="72"/>
                  </a:lnTo>
                  <a:lnTo>
                    <a:pt x="31" y="45"/>
                  </a:lnTo>
                  <a:lnTo>
                    <a:pt x="41" y="25"/>
                  </a:lnTo>
                  <a:lnTo>
                    <a:pt x="51" y="11"/>
                  </a:lnTo>
                  <a:lnTo>
                    <a:pt x="63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872"/>
            <p:cNvSpPr>
              <a:spLocks/>
            </p:cNvSpPr>
            <p:nvPr/>
          </p:nvSpPr>
          <p:spPr bwMode="auto">
            <a:xfrm>
              <a:off x="-1268413" y="6121400"/>
              <a:ext cx="144463" cy="284163"/>
            </a:xfrm>
            <a:custGeom>
              <a:avLst/>
              <a:gdLst>
                <a:gd name="T0" fmla="*/ 30 w 91"/>
                <a:gd name="T1" fmla="*/ 0 h 179"/>
                <a:gd name="T2" fmla="*/ 38 w 91"/>
                <a:gd name="T3" fmla="*/ 1 h 179"/>
                <a:gd name="T4" fmla="*/ 46 w 91"/>
                <a:gd name="T5" fmla="*/ 6 h 179"/>
                <a:gd name="T6" fmla="*/ 51 w 91"/>
                <a:gd name="T7" fmla="*/ 14 h 179"/>
                <a:gd name="T8" fmla="*/ 52 w 91"/>
                <a:gd name="T9" fmla="*/ 25 h 179"/>
                <a:gd name="T10" fmla="*/ 55 w 91"/>
                <a:gd name="T11" fmla="*/ 37 h 179"/>
                <a:gd name="T12" fmla="*/ 60 w 91"/>
                <a:gd name="T13" fmla="*/ 51 h 179"/>
                <a:gd name="T14" fmla="*/ 69 w 91"/>
                <a:gd name="T15" fmla="*/ 66 h 179"/>
                <a:gd name="T16" fmla="*/ 79 w 91"/>
                <a:gd name="T17" fmla="*/ 83 h 179"/>
                <a:gd name="T18" fmla="*/ 88 w 91"/>
                <a:gd name="T19" fmla="*/ 102 h 179"/>
                <a:gd name="T20" fmla="*/ 89 w 91"/>
                <a:gd name="T21" fmla="*/ 106 h 179"/>
                <a:gd name="T22" fmla="*/ 91 w 91"/>
                <a:gd name="T23" fmla="*/ 112 h 179"/>
                <a:gd name="T24" fmla="*/ 91 w 91"/>
                <a:gd name="T25" fmla="*/ 118 h 179"/>
                <a:gd name="T26" fmla="*/ 91 w 91"/>
                <a:gd name="T27" fmla="*/ 137 h 179"/>
                <a:gd name="T28" fmla="*/ 87 w 91"/>
                <a:gd name="T29" fmla="*/ 152 h 179"/>
                <a:gd name="T30" fmla="*/ 79 w 91"/>
                <a:gd name="T31" fmla="*/ 164 h 179"/>
                <a:gd name="T32" fmla="*/ 69 w 91"/>
                <a:gd name="T33" fmla="*/ 173 h 179"/>
                <a:gd name="T34" fmla="*/ 57 w 91"/>
                <a:gd name="T35" fmla="*/ 178 h 179"/>
                <a:gd name="T36" fmla="*/ 48 w 91"/>
                <a:gd name="T37" fmla="*/ 179 h 179"/>
                <a:gd name="T38" fmla="*/ 39 w 91"/>
                <a:gd name="T39" fmla="*/ 178 h 179"/>
                <a:gd name="T40" fmla="*/ 29 w 91"/>
                <a:gd name="T41" fmla="*/ 175 h 179"/>
                <a:gd name="T42" fmla="*/ 20 w 91"/>
                <a:gd name="T43" fmla="*/ 170 h 179"/>
                <a:gd name="T44" fmla="*/ 11 w 91"/>
                <a:gd name="T45" fmla="*/ 164 h 179"/>
                <a:gd name="T46" fmla="*/ 5 w 91"/>
                <a:gd name="T47" fmla="*/ 152 h 179"/>
                <a:gd name="T48" fmla="*/ 1 w 91"/>
                <a:gd name="T49" fmla="*/ 138 h 179"/>
                <a:gd name="T50" fmla="*/ 0 w 91"/>
                <a:gd name="T51" fmla="*/ 120 h 179"/>
                <a:gd name="T52" fmla="*/ 3 w 91"/>
                <a:gd name="T53" fmla="*/ 93 h 179"/>
                <a:gd name="T54" fmla="*/ 7 w 91"/>
                <a:gd name="T55" fmla="*/ 70 h 179"/>
                <a:gd name="T56" fmla="*/ 11 w 91"/>
                <a:gd name="T57" fmla="*/ 50 h 179"/>
                <a:gd name="T58" fmla="*/ 10 w 91"/>
                <a:gd name="T59" fmla="*/ 29 h 179"/>
                <a:gd name="T60" fmla="*/ 10 w 91"/>
                <a:gd name="T61" fmla="*/ 16 h 179"/>
                <a:gd name="T62" fmla="*/ 14 w 91"/>
                <a:gd name="T63" fmla="*/ 7 h 179"/>
                <a:gd name="T64" fmla="*/ 21 w 91"/>
                <a:gd name="T65" fmla="*/ 1 h 179"/>
                <a:gd name="T66" fmla="*/ 30 w 91"/>
                <a:gd name="T67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179">
                  <a:moveTo>
                    <a:pt x="30" y="0"/>
                  </a:moveTo>
                  <a:lnTo>
                    <a:pt x="38" y="1"/>
                  </a:lnTo>
                  <a:lnTo>
                    <a:pt x="46" y="6"/>
                  </a:lnTo>
                  <a:lnTo>
                    <a:pt x="51" y="14"/>
                  </a:lnTo>
                  <a:lnTo>
                    <a:pt x="52" y="25"/>
                  </a:lnTo>
                  <a:lnTo>
                    <a:pt x="55" y="37"/>
                  </a:lnTo>
                  <a:lnTo>
                    <a:pt x="60" y="51"/>
                  </a:lnTo>
                  <a:lnTo>
                    <a:pt x="69" y="66"/>
                  </a:lnTo>
                  <a:lnTo>
                    <a:pt x="79" y="83"/>
                  </a:lnTo>
                  <a:lnTo>
                    <a:pt x="88" y="102"/>
                  </a:lnTo>
                  <a:lnTo>
                    <a:pt x="89" y="106"/>
                  </a:lnTo>
                  <a:lnTo>
                    <a:pt x="91" y="112"/>
                  </a:lnTo>
                  <a:lnTo>
                    <a:pt x="91" y="118"/>
                  </a:lnTo>
                  <a:lnTo>
                    <a:pt x="91" y="137"/>
                  </a:lnTo>
                  <a:lnTo>
                    <a:pt x="87" y="152"/>
                  </a:lnTo>
                  <a:lnTo>
                    <a:pt x="79" y="164"/>
                  </a:lnTo>
                  <a:lnTo>
                    <a:pt x="69" y="173"/>
                  </a:lnTo>
                  <a:lnTo>
                    <a:pt x="57" y="178"/>
                  </a:lnTo>
                  <a:lnTo>
                    <a:pt x="48" y="179"/>
                  </a:lnTo>
                  <a:lnTo>
                    <a:pt x="39" y="178"/>
                  </a:lnTo>
                  <a:lnTo>
                    <a:pt x="29" y="175"/>
                  </a:lnTo>
                  <a:lnTo>
                    <a:pt x="20" y="170"/>
                  </a:lnTo>
                  <a:lnTo>
                    <a:pt x="11" y="164"/>
                  </a:lnTo>
                  <a:lnTo>
                    <a:pt x="5" y="152"/>
                  </a:lnTo>
                  <a:lnTo>
                    <a:pt x="1" y="138"/>
                  </a:lnTo>
                  <a:lnTo>
                    <a:pt x="0" y="120"/>
                  </a:lnTo>
                  <a:lnTo>
                    <a:pt x="3" y="93"/>
                  </a:lnTo>
                  <a:lnTo>
                    <a:pt x="7" y="70"/>
                  </a:lnTo>
                  <a:lnTo>
                    <a:pt x="11" y="50"/>
                  </a:lnTo>
                  <a:lnTo>
                    <a:pt x="10" y="29"/>
                  </a:lnTo>
                  <a:lnTo>
                    <a:pt x="10" y="16"/>
                  </a:lnTo>
                  <a:lnTo>
                    <a:pt x="14" y="7"/>
                  </a:lnTo>
                  <a:lnTo>
                    <a:pt x="21" y="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873"/>
            <p:cNvSpPr>
              <a:spLocks/>
            </p:cNvSpPr>
            <p:nvPr/>
          </p:nvSpPr>
          <p:spPr bwMode="auto">
            <a:xfrm>
              <a:off x="-1831975" y="4448175"/>
              <a:ext cx="150813" cy="166688"/>
            </a:xfrm>
            <a:custGeom>
              <a:avLst/>
              <a:gdLst>
                <a:gd name="T0" fmla="*/ 20 w 95"/>
                <a:gd name="T1" fmla="*/ 0 h 105"/>
                <a:gd name="T2" fmla="*/ 26 w 95"/>
                <a:gd name="T3" fmla="*/ 1 h 105"/>
                <a:gd name="T4" fmla="*/ 39 w 95"/>
                <a:gd name="T5" fmla="*/ 5 h 105"/>
                <a:gd name="T6" fmla="*/ 56 w 95"/>
                <a:gd name="T7" fmla="*/ 13 h 105"/>
                <a:gd name="T8" fmla="*/ 74 w 95"/>
                <a:gd name="T9" fmla="*/ 27 h 105"/>
                <a:gd name="T10" fmla="*/ 95 w 95"/>
                <a:gd name="T11" fmla="*/ 46 h 105"/>
                <a:gd name="T12" fmla="*/ 83 w 95"/>
                <a:gd name="T13" fmla="*/ 58 h 105"/>
                <a:gd name="T14" fmla="*/ 65 w 95"/>
                <a:gd name="T15" fmla="*/ 41 h 105"/>
                <a:gd name="T16" fmla="*/ 48 w 95"/>
                <a:gd name="T17" fmla="*/ 28 h 105"/>
                <a:gd name="T18" fmla="*/ 34 w 95"/>
                <a:gd name="T19" fmla="*/ 21 h 105"/>
                <a:gd name="T20" fmla="*/ 24 w 95"/>
                <a:gd name="T21" fmla="*/ 18 h 105"/>
                <a:gd name="T22" fmla="*/ 20 w 95"/>
                <a:gd name="T23" fmla="*/ 18 h 105"/>
                <a:gd name="T24" fmla="*/ 18 w 95"/>
                <a:gd name="T25" fmla="*/ 18 h 105"/>
                <a:gd name="T26" fmla="*/ 17 w 95"/>
                <a:gd name="T27" fmla="*/ 19 h 105"/>
                <a:gd name="T28" fmla="*/ 17 w 95"/>
                <a:gd name="T29" fmla="*/ 22 h 105"/>
                <a:gd name="T30" fmla="*/ 17 w 95"/>
                <a:gd name="T31" fmla="*/ 25 h 105"/>
                <a:gd name="T32" fmla="*/ 21 w 95"/>
                <a:gd name="T33" fmla="*/ 37 h 105"/>
                <a:gd name="T34" fmla="*/ 30 w 95"/>
                <a:gd name="T35" fmla="*/ 53 h 105"/>
                <a:gd name="T36" fmla="*/ 43 w 95"/>
                <a:gd name="T37" fmla="*/ 72 h 105"/>
                <a:gd name="T38" fmla="*/ 62 w 95"/>
                <a:gd name="T39" fmla="*/ 94 h 105"/>
                <a:gd name="T40" fmla="*/ 49 w 95"/>
                <a:gd name="T41" fmla="*/ 105 h 105"/>
                <a:gd name="T42" fmla="*/ 29 w 95"/>
                <a:gd name="T43" fmla="*/ 81 h 105"/>
                <a:gd name="T44" fmla="*/ 15 w 95"/>
                <a:gd name="T45" fmla="*/ 60 h 105"/>
                <a:gd name="T46" fmla="*/ 4 w 95"/>
                <a:gd name="T47" fmla="*/ 42 h 105"/>
                <a:gd name="T48" fmla="*/ 0 w 95"/>
                <a:gd name="T49" fmla="*/ 27 h 105"/>
                <a:gd name="T50" fmla="*/ 0 w 95"/>
                <a:gd name="T51" fmla="*/ 21 h 105"/>
                <a:gd name="T52" fmla="*/ 2 w 95"/>
                <a:gd name="T53" fmla="*/ 16 h 105"/>
                <a:gd name="T54" fmla="*/ 3 w 95"/>
                <a:gd name="T55" fmla="*/ 10 h 105"/>
                <a:gd name="T56" fmla="*/ 6 w 95"/>
                <a:gd name="T57" fmla="*/ 7 h 105"/>
                <a:gd name="T58" fmla="*/ 9 w 95"/>
                <a:gd name="T59" fmla="*/ 4 h 105"/>
                <a:gd name="T60" fmla="*/ 15 w 95"/>
                <a:gd name="T61" fmla="*/ 1 h 105"/>
                <a:gd name="T62" fmla="*/ 20 w 95"/>
                <a:gd name="T6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5" h="105">
                  <a:moveTo>
                    <a:pt x="20" y="0"/>
                  </a:moveTo>
                  <a:lnTo>
                    <a:pt x="26" y="1"/>
                  </a:lnTo>
                  <a:lnTo>
                    <a:pt x="39" y="5"/>
                  </a:lnTo>
                  <a:lnTo>
                    <a:pt x="56" y="13"/>
                  </a:lnTo>
                  <a:lnTo>
                    <a:pt x="74" y="27"/>
                  </a:lnTo>
                  <a:lnTo>
                    <a:pt x="95" y="46"/>
                  </a:lnTo>
                  <a:lnTo>
                    <a:pt x="83" y="58"/>
                  </a:lnTo>
                  <a:lnTo>
                    <a:pt x="65" y="41"/>
                  </a:lnTo>
                  <a:lnTo>
                    <a:pt x="48" y="28"/>
                  </a:lnTo>
                  <a:lnTo>
                    <a:pt x="34" y="21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7" y="25"/>
                  </a:lnTo>
                  <a:lnTo>
                    <a:pt x="21" y="37"/>
                  </a:lnTo>
                  <a:lnTo>
                    <a:pt x="30" y="53"/>
                  </a:lnTo>
                  <a:lnTo>
                    <a:pt x="43" y="72"/>
                  </a:lnTo>
                  <a:lnTo>
                    <a:pt x="62" y="94"/>
                  </a:lnTo>
                  <a:lnTo>
                    <a:pt x="49" y="105"/>
                  </a:lnTo>
                  <a:lnTo>
                    <a:pt x="29" y="81"/>
                  </a:lnTo>
                  <a:lnTo>
                    <a:pt x="15" y="60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3" y="10"/>
                  </a:lnTo>
                  <a:lnTo>
                    <a:pt x="6" y="7"/>
                  </a:lnTo>
                  <a:lnTo>
                    <a:pt x="9" y="4"/>
                  </a:lnTo>
                  <a:lnTo>
                    <a:pt x="15" y="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5BFF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874"/>
            <p:cNvSpPr>
              <a:spLocks/>
            </p:cNvSpPr>
            <p:nvPr/>
          </p:nvSpPr>
          <p:spPr bwMode="auto">
            <a:xfrm>
              <a:off x="-1774825" y="4541838"/>
              <a:ext cx="334963" cy="533400"/>
            </a:xfrm>
            <a:custGeom>
              <a:avLst/>
              <a:gdLst>
                <a:gd name="T0" fmla="*/ 57 w 211"/>
                <a:gd name="T1" fmla="*/ 0 h 336"/>
                <a:gd name="T2" fmla="*/ 68 w 211"/>
                <a:gd name="T3" fmla="*/ 0 h 336"/>
                <a:gd name="T4" fmla="*/ 85 w 211"/>
                <a:gd name="T5" fmla="*/ 1 h 336"/>
                <a:gd name="T6" fmla="*/ 106 w 211"/>
                <a:gd name="T7" fmla="*/ 5 h 336"/>
                <a:gd name="T8" fmla="*/ 127 w 211"/>
                <a:gd name="T9" fmla="*/ 10 h 336"/>
                <a:gd name="T10" fmla="*/ 148 w 211"/>
                <a:gd name="T11" fmla="*/ 16 h 336"/>
                <a:gd name="T12" fmla="*/ 168 w 211"/>
                <a:gd name="T13" fmla="*/ 23 h 336"/>
                <a:gd name="T14" fmla="*/ 186 w 211"/>
                <a:gd name="T15" fmla="*/ 31 h 336"/>
                <a:gd name="T16" fmla="*/ 201 w 211"/>
                <a:gd name="T17" fmla="*/ 40 h 336"/>
                <a:gd name="T18" fmla="*/ 210 w 211"/>
                <a:gd name="T19" fmla="*/ 49 h 336"/>
                <a:gd name="T20" fmla="*/ 211 w 211"/>
                <a:gd name="T21" fmla="*/ 58 h 336"/>
                <a:gd name="T22" fmla="*/ 165 w 211"/>
                <a:gd name="T23" fmla="*/ 327 h 336"/>
                <a:gd name="T24" fmla="*/ 159 w 211"/>
                <a:gd name="T25" fmla="*/ 331 h 336"/>
                <a:gd name="T26" fmla="*/ 149 w 211"/>
                <a:gd name="T27" fmla="*/ 334 h 336"/>
                <a:gd name="T28" fmla="*/ 135 w 211"/>
                <a:gd name="T29" fmla="*/ 335 h 336"/>
                <a:gd name="T30" fmla="*/ 121 w 211"/>
                <a:gd name="T31" fmla="*/ 336 h 336"/>
                <a:gd name="T32" fmla="*/ 108 w 211"/>
                <a:gd name="T33" fmla="*/ 336 h 336"/>
                <a:gd name="T34" fmla="*/ 100 w 211"/>
                <a:gd name="T35" fmla="*/ 335 h 336"/>
                <a:gd name="T36" fmla="*/ 27 w 211"/>
                <a:gd name="T37" fmla="*/ 313 h 336"/>
                <a:gd name="T38" fmla="*/ 17 w 211"/>
                <a:gd name="T39" fmla="*/ 308 h 336"/>
                <a:gd name="T40" fmla="*/ 8 w 211"/>
                <a:gd name="T41" fmla="*/ 302 h 336"/>
                <a:gd name="T42" fmla="*/ 3 w 211"/>
                <a:gd name="T43" fmla="*/ 293 h 336"/>
                <a:gd name="T44" fmla="*/ 0 w 211"/>
                <a:gd name="T45" fmla="*/ 262 h 336"/>
                <a:gd name="T46" fmla="*/ 3 w 211"/>
                <a:gd name="T47" fmla="*/ 234 h 336"/>
                <a:gd name="T48" fmla="*/ 8 w 211"/>
                <a:gd name="T49" fmla="*/ 207 h 336"/>
                <a:gd name="T50" fmla="*/ 13 w 211"/>
                <a:gd name="T51" fmla="*/ 184 h 336"/>
                <a:gd name="T52" fmla="*/ 17 w 211"/>
                <a:gd name="T53" fmla="*/ 162 h 336"/>
                <a:gd name="T54" fmla="*/ 18 w 211"/>
                <a:gd name="T55" fmla="*/ 143 h 336"/>
                <a:gd name="T56" fmla="*/ 12 w 211"/>
                <a:gd name="T57" fmla="*/ 125 h 336"/>
                <a:gd name="T58" fmla="*/ 4 w 211"/>
                <a:gd name="T59" fmla="*/ 100 h 336"/>
                <a:gd name="T60" fmla="*/ 3 w 211"/>
                <a:gd name="T61" fmla="*/ 76 h 336"/>
                <a:gd name="T62" fmla="*/ 7 w 211"/>
                <a:gd name="T63" fmla="*/ 53 h 336"/>
                <a:gd name="T64" fmla="*/ 16 w 211"/>
                <a:gd name="T65" fmla="*/ 32 h 336"/>
                <a:gd name="T66" fmla="*/ 27 w 211"/>
                <a:gd name="T67" fmla="*/ 16 h 336"/>
                <a:gd name="T68" fmla="*/ 41 w 211"/>
                <a:gd name="T69" fmla="*/ 4 h 336"/>
                <a:gd name="T70" fmla="*/ 57 w 211"/>
                <a:gd name="T71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1" h="336">
                  <a:moveTo>
                    <a:pt x="57" y="0"/>
                  </a:moveTo>
                  <a:lnTo>
                    <a:pt x="68" y="0"/>
                  </a:lnTo>
                  <a:lnTo>
                    <a:pt x="85" y="1"/>
                  </a:lnTo>
                  <a:lnTo>
                    <a:pt x="106" y="5"/>
                  </a:lnTo>
                  <a:lnTo>
                    <a:pt x="127" y="10"/>
                  </a:lnTo>
                  <a:lnTo>
                    <a:pt x="148" y="16"/>
                  </a:lnTo>
                  <a:lnTo>
                    <a:pt x="168" y="23"/>
                  </a:lnTo>
                  <a:lnTo>
                    <a:pt x="186" y="31"/>
                  </a:lnTo>
                  <a:lnTo>
                    <a:pt x="201" y="40"/>
                  </a:lnTo>
                  <a:lnTo>
                    <a:pt x="210" y="49"/>
                  </a:lnTo>
                  <a:lnTo>
                    <a:pt x="211" y="58"/>
                  </a:lnTo>
                  <a:lnTo>
                    <a:pt x="165" y="327"/>
                  </a:lnTo>
                  <a:lnTo>
                    <a:pt x="159" y="331"/>
                  </a:lnTo>
                  <a:lnTo>
                    <a:pt x="149" y="334"/>
                  </a:lnTo>
                  <a:lnTo>
                    <a:pt x="135" y="335"/>
                  </a:lnTo>
                  <a:lnTo>
                    <a:pt x="121" y="336"/>
                  </a:lnTo>
                  <a:lnTo>
                    <a:pt x="108" y="336"/>
                  </a:lnTo>
                  <a:lnTo>
                    <a:pt x="100" y="335"/>
                  </a:lnTo>
                  <a:lnTo>
                    <a:pt x="27" y="313"/>
                  </a:lnTo>
                  <a:lnTo>
                    <a:pt x="17" y="308"/>
                  </a:lnTo>
                  <a:lnTo>
                    <a:pt x="8" y="302"/>
                  </a:lnTo>
                  <a:lnTo>
                    <a:pt x="3" y="293"/>
                  </a:lnTo>
                  <a:lnTo>
                    <a:pt x="0" y="262"/>
                  </a:lnTo>
                  <a:lnTo>
                    <a:pt x="3" y="234"/>
                  </a:lnTo>
                  <a:lnTo>
                    <a:pt x="8" y="207"/>
                  </a:lnTo>
                  <a:lnTo>
                    <a:pt x="13" y="184"/>
                  </a:lnTo>
                  <a:lnTo>
                    <a:pt x="17" y="162"/>
                  </a:lnTo>
                  <a:lnTo>
                    <a:pt x="18" y="143"/>
                  </a:lnTo>
                  <a:lnTo>
                    <a:pt x="12" y="125"/>
                  </a:lnTo>
                  <a:lnTo>
                    <a:pt x="4" y="100"/>
                  </a:lnTo>
                  <a:lnTo>
                    <a:pt x="3" y="76"/>
                  </a:lnTo>
                  <a:lnTo>
                    <a:pt x="7" y="53"/>
                  </a:lnTo>
                  <a:lnTo>
                    <a:pt x="16" y="32"/>
                  </a:lnTo>
                  <a:lnTo>
                    <a:pt x="27" y="16"/>
                  </a:lnTo>
                  <a:lnTo>
                    <a:pt x="41" y="4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7AFF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875"/>
            <p:cNvSpPr>
              <a:spLocks/>
            </p:cNvSpPr>
            <p:nvPr/>
          </p:nvSpPr>
          <p:spPr bwMode="auto">
            <a:xfrm>
              <a:off x="-1595438" y="4216400"/>
              <a:ext cx="533400" cy="892175"/>
            </a:xfrm>
            <a:custGeom>
              <a:avLst/>
              <a:gdLst>
                <a:gd name="T0" fmla="*/ 181 w 336"/>
                <a:gd name="T1" fmla="*/ 0 h 562"/>
                <a:gd name="T2" fmla="*/ 238 w 336"/>
                <a:gd name="T3" fmla="*/ 6 h 562"/>
                <a:gd name="T4" fmla="*/ 288 w 336"/>
                <a:gd name="T5" fmla="*/ 20 h 562"/>
                <a:gd name="T6" fmla="*/ 322 w 336"/>
                <a:gd name="T7" fmla="*/ 42 h 562"/>
                <a:gd name="T8" fmla="*/ 336 w 336"/>
                <a:gd name="T9" fmla="*/ 70 h 562"/>
                <a:gd name="T10" fmla="*/ 327 w 336"/>
                <a:gd name="T11" fmla="*/ 101 h 562"/>
                <a:gd name="T12" fmla="*/ 312 w 336"/>
                <a:gd name="T13" fmla="*/ 120 h 562"/>
                <a:gd name="T14" fmla="*/ 297 w 336"/>
                <a:gd name="T15" fmla="*/ 149 h 562"/>
                <a:gd name="T16" fmla="*/ 283 w 336"/>
                <a:gd name="T17" fmla="*/ 204 h 562"/>
                <a:gd name="T18" fmla="*/ 276 w 336"/>
                <a:gd name="T19" fmla="*/ 263 h 562"/>
                <a:gd name="T20" fmla="*/ 275 w 336"/>
                <a:gd name="T21" fmla="*/ 318 h 562"/>
                <a:gd name="T22" fmla="*/ 283 w 336"/>
                <a:gd name="T23" fmla="*/ 358 h 562"/>
                <a:gd name="T24" fmla="*/ 295 w 336"/>
                <a:gd name="T25" fmla="*/ 408 h 562"/>
                <a:gd name="T26" fmla="*/ 297 w 336"/>
                <a:gd name="T27" fmla="*/ 455 h 562"/>
                <a:gd name="T28" fmla="*/ 286 w 336"/>
                <a:gd name="T29" fmla="*/ 498 h 562"/>
                <a:gd name="T30" fmla="*/ 261 w 336"/>
                <a:gd name="T31" fmla="*/ 531 h 562"/>
                <a:gd name="T32" fmla="*/ 221 w 336"/>
                <a:gd name="T33" fmla="*/ 554 h 562"/>
                <a:gd name="T34" fmla="*/ 165 w 336"/>
                <a:gd name="T35" fmla="*/ 562 h 562"/>
                <a:gd name="T36" fmla="*/ 109 w 336"/>
                <a:gd name="T37" fmla="*/ 553 h 562"/>
                <a:gd name="T38" fmla="*/ 68 w 336"/>
                <a:gd name="T39" fmla="*/ 530 h 562"/>
                <a:gd name="T40" fmla="*/ 44 w 336"/>
                <a:gd name="T41" fmla="*/ 495 h 562"/>
                <a:gd name="T42" fmla="*/ 34 w 336"/>
                <a:gd name="T43" fmla="*/ 451 h 562"/>
                <a:gd name="T44" fmla="*/ 39 w 336"/>
                <a:gd name="T45" fmla="*/ 403 h 562"/>
                <a:gd name="T46" fmla="*/ 52 w 336"/>
                <a:gd name="T47" fmla="*/ 358 h 562"/>
                <a:gd name="T48" fmla="*/ 52 w 336"/>
                <a:gd name="T49" fmla="*/ 307 h 562"/>
                <a:gd name="T50" fmla="*/ 44 w 336"/>
                <a:gd name="T51" fmla="*/ 244 h 562"/>
                <a:gd name="T52" fmla="*/ 29 w 336"/>
                <a:gd name="T53" fmla="*/ 179 h 562"/>
                <a:gd name="T54" fmla="*/ 12 w 336"/>
                <a:gd name="T55" fmla="*/ 118 h 562"/>
                <a:gd name="T56" fmla="*/ 0 w 336"/>
                <a:gd name="T57" fmla="*/ 73 h 562"/>
                <a:gd name="T58" fmla="*/ 14 w 336"/>
                <a:gd name="T59" fmla="*/ 42 h 562"/>
                <a:gd name="T60" fmla="*/ 48 w 336"/>
                <a:gd name="T61" fmla="*/ 19 h 562"/>
                <a:gd name="T62" fmla="*/ 97 w 336"/>
                <a:gd name="T63" fmla="*/ 5 h 562"/>
                <a:gd name="T64" fmla="*/ 153 w 336"/>
                <a:gd name="T65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6" h="562">
                  <a:moveTo>
                    <a:pt x="153" y="0"/>
                  </a:moveTo>
                  <a:lnTo>
                    <a:pt x="181" y="0"/>
                  </a:lnTo>
                  <a:lnTo>
                    <a:pt x="211" y="2"/>
                  </a:lnTo>
                  <a:lnTo>
                    <a:pt x="238" y="6"/>
                  </a:lnTo>
                  <a:lnTo>
                    <a:pt x="265" y="13"/>
                  </a:lnTo>
                  <a:lnTo>
                    <a:pt x="288" y="20"/>
                  </a:lnTo>
                  <a:lnTo>
                    <a:pt x="307" y="31"/>
                  </a:lnTo>
                  <a:lnTo>
                    <a:pt x="322" y="42"/>
                  </a:lnTo>
                  <a:lnTo>
                    <a:pt x="333" y="55"/>
                  </a:lnTo>
                  <a:lnTo>
                    <a:pt x="336" y="70"/>
                  </a:lnTo>
                  <a:lnTo>
                    <a:pt x="334" y="87"/>
                  </a:lnTo>
                  <a:lnTo>
                    <a:pt x="327" y="101"/>
                  </a:lnTo>
                  <a:lnTo>
                    <a:pt x="320" y="111"/>
                  </a:lnTo>
                  <a:lnTo>
                    <a:pt x="312" y="120"/>
                  </a:lnTo>
                  <a:lnTo>
                    <a:pt x="303" y="132"/>
                  </a:lnTo>
                  <a:lnTo>
                    <a:pt x="297" y="149"/>
                  </a:lnTo>
                  <a:lnTo>
                    <a:pt x="289" y="174"/>
                  </a:lnTo>
                  <a:lnTo>
                    <a:pt x="283" y="204"/>
                  </a:lnTo>
                  <a:lnTo>
                    <a:pt x="279" y="233"/>
                  </a:lnTo>
                  <a:lnTo>
                    <a:pt x="276" y="263"/>
                  </a:lnTo>
                  <a:lnTo>
                    <a:pt x="275" y="291"/>
                  </a:lnTo>
                  <a:lnTo>
                    <a:pt x="275" y="318"/>
                  </a:lnTo>
                  <a:lnTo>
                    <a:pt x="277" y="340"/>
                  </a:lnTo>
                  <a:lnTo>
                    <a:pt x="283" y="358"/>
                  </a:lnTo>
                  <a:lnTo>
                    <a:pt x="290" y="382"/>
                  </a:lnTo>
                  <a:lnTo>
                    <a:pt x="295" y="408"/>
                  </a:lnTo>
                  <a:lnTo>
                    <a:pt x="298" y="431"/>
                  </a:lnTo>
                  <a:lnTo>
                    <a:pt x="297" y="455"/>
                  </a:lnTo>
                  <a:lnTo>
                    <a:pt x="293" y="477"/>
                  </a:lnTo>
                  <a:lnTo>
                    <a:pt x="286" y="498"/>
                  </a:lnTo>
                  <a:lnTo>
                    <a:pt x="275" y="516"/>
                  </a:lnTo>
                  <a:lnTo>
                    <a:pt x="261" y="531"/>
                  </a:lnTo>
                  <a:lnTo>
                    <a:pt x="243" y="544"/>
                  </a:lnTo>
                  <a:lnTo>
                    <a:pt x="221" y="554"/>
                  </a:lnTo>
                  <a:lnTo>
                    <a:pt x="195" y="561"/>
                  </a:lnTo>
                  <a:lnTo>
                    <a:pt x="165" y="562"/>
                  </a:lnTo>
                  <a:lnTo>
                    <a:pt x="135" y="559"/>
                  </a:lnTo>
                  <a:lnTo>
                    <a:pt x="109" y="553"/>
                  </a:lnTo>
                  <a:lnTo>
                    <a:pt x="86" y="543"/>
                  </a:lnTo>
                  <a:lnTo>
                    <a:pt x="68" y="530"/>
                  </a:lnTo>
                  <a:lnTo>
                    <a:pt x="54" y="513"/>
                  </a:lnTo>
                  <a:lnTo>
                    <a:pt x="44" y="495"/>
                  </a:lnTo>
                  <a:lnTo>
                    <a:pt x="37" y="473"/>
                  </a:lnTo>
                  <a:lnTo>
                    <a:pt x="34" y="451"/>
                  </a:lnTo>
                  <a:lnTo>
                    <a:pt x="35" y="427"/>
                  </a:lnTo>
                  <a:lnTo>
                    <a:pt x="39" y="403"/>
                  </a:lnTo>
                  <a:lnTo>
                    <a:pt x="46" y="378"/>
                  </a:lnTo>
                  <a:lnTo>
                    <a:pt x="52" y="358"/>
                  </a:lnTo>
                  <a:lnTo>
                    <a:pt x="53" y="333"/>
                  </a:lnTo>
                  <a:lnTo>
                    <a:pt x="52" y="307"/>
                  </a:lnTo>
                  <a:lnTo>
                    <a:pt x="49" y="276"/>
                  </a:lnTo>
                  <a:lnTo>
                    <a:pt x="44" y="244"/>
                  </a:lnTo>
                  <a:lnTo>
                    <a:pt x="36" y="212"/>
                  </a:lnTo>
                  <a:lnTo>
                    <a:pt x="29" y="179"/>
                  </a:lnTo>
                  <a:lnTo>
                    <a:pt x="21" y="147"/>
                  </a:lnTo>
                  <a:lnTo>
                    <a:pt x="12" y="118"/>
                  </a:lnTo>
                  <a:lnTo>
                    <a:pt x="3" y="92"/>
                  </a:lnTo>
                  <a:lnTo>
                    <a:pt x="0" y="73"/>
                  </a:lnTo>
                  <a:lnTo>
                    <a:pt x="4" y="56"/>
                  </a:lnTo>
                  <a:lnTo>
                    <a:pt x="14" y="42"/>
                  </a:lnTo>
                  <a:lnTo>
                    <a:pt x="29" y="29"/>
                  </a:lnTo>
                  <a:lnTo>
                    <a:pt x="48" y="19"/>
                  </a:lnTo>
                  <a:lnTo>
                    <a:pt x="71" y="11"/>
                  </a:lnTo>
                  <a:lnTo>
                    <a:pt x="97" y="5"/>
                  </a:lnTo>
                  <a:lnTo>
                    <a:pt x="123" y="1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876"/>
            <p:cNvSpPr>
              <a:spLocks/>
            </p:cNvSpPr>
            <p:nvPr/>
          </p:nvSpPr>
          <p:spPr bwMode="auto">
            <a:xfrm>
              <a:off x="-1484313" y="5373688"/>
              <a:ext cx="133350" cy="798513"/>
            </a:xfrm>
            <a:custGeom>
              <a:avLst/>
              <a:gdLst>
                <a:gd name="T0" fmla="*/ 21 w 84"/>
                <a:gd name="T1" fmla="*/ 0 h 503"/>
                <a:gd name="T2" fmla="*/ 29 w 84"/>
                <a:gd name="T3" fmla="*/ 2 h 503"/>
                <a:gd name="T4" fmla="*/ 37 w 84"/>
                <a:gd name="T5" fmla="*/ 10 h 503"/>
                <a:gd name="T6" fmla="*/ 44 w 84"/>
                <a:gd name="T7" fmla="*/ 21 h 503"/>
                <a:gd name="T8" fmla="*/ 52 w 84"/>
                <a:gd name="T9" fmla="*/ 36 h 503"/>
                <a:gd name="T10" fmla="*/ 60 w 84"/>
                <a:gd name="T11" fmla="*/ 52 h 503"/>
                <a:gd name="T12" fmla="*/ 66 w 84"/>
                <a:gd name="T13" fmla="*/ 73 h 503"/>
                <a:gd name="T14" fmla="*/ 73 w 84"/>
                <a:gd name="T15" fmla="*/ 95 h 503"/>
                <a:gd name="T16" fmla="*/ 78 w 84"/>
                <a:gd name="T17" fmla="*/ 119 h 503"/>
                <a:gd name="T18" fmla="*/ 82 w 84"/>
                <a:gd name="T19" fmla="*/ 143 h 503"/>
                <a:gd name="T20" fmla="*/ 84 w 84"/>
                <a:gd name="T21" fmla="*/ 169 h 503"/>
                <a:gd name="T22" fmla="*/ 84 w 84"/>
                <a:gd name="T23" fmla="*/ 195 h 503"/>
                <a:gd name="T24" fmla="*/ 83 w 84"/>
                <a:gd name="T25" fmla="*/ 222 h 503"/>
                <a:gd name="T26" fmla="*/ 82 w 84"/>
                <a:gd name="T27" fmla="*/ 238 h 503"/>
                <a:gd name="T28" fmla="*/ 79 w 84"/>
                <a:gd name="T29" fmla="*/ 261 h 503"/>
                <a:gd name="T30" fmla="*/ 78 w 84"/>
                <a:gd name="T31" fmla="*/ 287 h 503"/>
                <a:gd name="T32" fmla="*/ 75 w 84"/>
                <a:gd name="T33" fmla="*/ 318 h 503"/>
                <a:gd name="T34" fmla="*/ 71 w 84"/>
                <a:gd name="T35" fmla="*/ 349 h 503"/>
                <a:gd name="T36" fmla="*/ 68 w 84"/>
                <a:gd name="T37" fmla="*/ 381 h 503"/>
                <a:gd name="T38" fmla="*/ 64 w 84"/>
                <a:gd name="T39" fmla="*/ 411 h 503"/>
                <a:gd name="T40" fmla="*/ 59 w 84"/>
                <a:gd name="T41" fmla="*/ 440 h 503"/>
                <a:gd name="T42" fmla="*/ 53 w 84"/>
                <a:gd name="T43" fmla="*/ 464 h 503"/>
                <a:gd name="T44" fmla="*/ 46 w 84"/>
                <a:gd name="T45" fmla="*/ 485 h 503"/>
                <a:gd name="T46" fmla="*/ 39 w 84"/>
                <a:gd name="T47" fmla="*/ 497 h 503"/>
                <a:gd name="T48" fmla="*/ 32 w 84"/>
                <a:gd name="T49" fmla="*/ 503 h 503"/>
                <a:gd name="T50" fmla="*/ 27 w 84"/>
                <a:gd name="T51" fmla="*/ 500 h 503"/>
                <a:gd name="T52" fmla="*/ 21 w 84"/>
                <a:gd name="T53" fmla="*/ 491 h 503"/>
                <a:gd name="T54" fmla="*/ 18 w 84"/>
                <a:gd name="T55" fmla="*/ 476 h 503"/>
                <a:gd name="T56" fmla="*/ 14 w 84"/>
                <a:gd name="T57" fmla="*/ 455 h 503"/>
                <a:gd name="T58" fmla="*/ 11 w 84"/>
                <a:gd name="T59" fmla="*/ 431 h 503"/>
                <a:gd name="T60" fmla="*/ 9 w 84"/>
                <a:gd name="T61" fmla="*/ 403 h 503"/>
                <a:gd name="T62" fmla="*/ 7 w 84"/>
                <a:gd name="T63" fmla="*/ 372 h 503"/>
                <a:gd name="T64" fmla="*/ 6 w 84"/>
                <a:gd name="T65" fmla="*/ 340 h 503"/>
                <a:gd name="T66" fmla="*/ 6 w 84"/>
                <a:gd name="T67" fmla="*/ 306 h 503"/>
                <a:gd name="T68" fmla="*/ 5 w 84"/>
                <a:gd name="T69" fmla="*/ 273 h 503"/>
                <a:gd name="T70" fmla="*/ 5 w 84"/>
                <a:gd name="T71" fmla="*/ 241 h 503"/>
                <a:gd name="T72" fmla="*/ 3 w 84"/>
                <a:gd name="T73" fmla="*/ 211 h 503"/>
                <a:gd name="T74" fmla="*/ 3 w 84"/>
                <a:gd name="T75" fmla="*/ 183 h 503"/>
                <a:gd name="T76" fmla="*/ 2 w 84"/>
                <a:gd name="T77" fmla="*/ 159 h 503"/>
                <a:gd name="T78" fmla="*/ 1 w 84"/>
                <a:gd name="T79" fmla="*/ 138 h 503"/>
                <a:gd name="T80" fmla="*/ 0 w 84"/>
                <a:gd name="T81" fmla="*/ 98 h 503"/>
                <a:gd name="T82" fmla="*/ 0 w 84"/>
                <a:gd name="T83" fmla="*/ 66 h 503"/>
                <a:gd name="T84" fmla="*/ 1 w 84"/>
                <a:gd name="T85" fmla="*/ 41 h 503"/>
                <a:gd name="T86" fmla="*/ 5 w 84"/>
                <a:gd name="T87" fmla="*/ 21 h 503"/>
                <a:gd name="T88" fmla="*/ 9 w 84"/>
                <a:gd name="T89" fmla="*/ 9 h 503"/>
                <a:gd name="T90" fmla="*/ 15 w 84"/>
                <a:gd name="T91" fmla="*/ 1 h 503"/>
                <a:gd name="T92" fmla="*/ 21 w 84"/>
                <a:gd name="T9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4" h="503">
                  <a:moveTo>
                    <a:pt x="21" y="0"/>
                  </a:moveTo>
                  <a:lnTo>
                    <a:pt x="29" y="2"/>
                  </a:lnTo>
                  <a:lnTo>
                    <a:pt x="37" y="10"/>
                  </a:lnTo>
                  <a:lnTo>
                    <a:pt x="44" y="21"/>
                  </a:lnTo>
                  <a:lnTo>
                    <a:pt x="52" y="36"/>
                  </a:lnTo>
                  <a:lnTo>
                    <a:pt x="60" y="52"/>
                  </a:lnTo>
                  <a:lnTo>
                    <a:pt x="66" y="73"/>
                  </a:lnTo>
                  <a:lnTo>
                    <a:pt x="73" y="95"/>
                  </a:lnTo>
                  <a:lnTo>
                    <a:pt x="78" y="119"/>
                  </a:lnTo>
                  <a:lnTo>
                    <a:pt x="82" y="143"/>
                  </a:lnTo>
                  <a:lnTo>
                    <a:pt x="84" y="169"/>
                  </a:lnTo>
                  <a:lnTo>
                    <a:pt x="84" y="195"/>
                  </a:lnTo>
                  <a:lnTo>
                    <a:pt x="83" y="222"/>
                  </a:lnTo>
                  <a:lnTo>
                    <a:pt x="82" y="238"/>
                  </a:lnTo>
                  <a:lnTo>
                    <a:pt x="79" y="261"/>
                  </a:lnTo>
                  <a:lnTo>
                    <a:pt x="78" y="287"/>
                  </a:lnTo>
                  <a:lnTo>
                    <a:pt x="75" y="318"/>
                  </a:lnTo>
                  <a:lnTo>
                    <a:pt x="71" y="349"/>
                  </a:lnTo>
                  <a:lnTo>
                    <a:pt x="68" y="381"/>
                  </a:lnTo>
                  <a:lnTo>
                    <a:pt x="64" y="411"/>
                  </a:lnTo>
                  <a:lnTo>
                    <a:pt x="59" y="440"/>
                  </a:lnTo>
                  <a:lnTo>
                    <a:pt x="53" y="464"/>
                  </a:lnTo>
                  <a:lnTo>
                    <a:pt x="46" y="485"/>
                  </a:lnTo>
                  <a:lnTo>
                    <a:pt x="39" y="497"/>
                  </a:lnTo>
                  <a:lnTo>
                    <a:pt x="32" y="503"/>
                  </a:lnTo>
                  <a:lnTo>
                    <a:pt x="27" y="500"/>
                  </a:lnTo>
                  <a:lnTo>
                    <a:pt x="21" y="491"/>
                  </a:lnTo>
                  <a:lnTo>
                    <a:pt x="18" y="476"/>
                  </a:lnTo>
                  <a:lnTo>
                    <a:pt x="14" y="455"/>
                  </a:lnTo>
                  <a:lnTo>
                    <a:pt x="11" y="431"/>
                  </a:lnTo>
                  <a:lnTo>
                    <a:pt x="9" y="403"/>
                  </a:lnTo>
                  <a:lnTo>
                    <a:pt x="7" y="372"/>
                  </a:lnTo>
                  <a:lnTo>
                    <a:pt x="6" y="340"/>
                  </a:lnTo>
                  <a:lnTo>
                    <a:pt x="6" y="306"/>
                  </a:lnTo>
                  <a:lnTo>
                    <a:pt x="5" y="273"/>
                  </a:lnTo>
                  <a:lnTo>
                    <a:pt x="5" y="241"/>
                  </a:lnTo>
                  <a:lnTo>
                    <a:pt x="3" y="211"/>
                  </a:lnTo>
                  <a:lnTo>
                    <a:pt x="3" y="183"/>
                  </a:lnTo>
                  <a:lnTo>
                    <a:pt x="2" y="159"/>
                  </a:lnTo>
                  <a:lnTo>
                    <a:pt x="1" y="138"/>
                  </a:lnTo>
                  <a:lnTo>
                    <a:pt x="0" y="98"/>
                  </a:lnTo>
                  <a:lnTo>
                    <a:pt x="0" y="66"/>
                  </a:lnTo>
                  <a:lnTo>
                    <a:pt x="1" y="41"/>
                  </a:lnTo>
                  <a:lnTo>
                    <a:pt x="5" y="21"/>
                  </a:lnTo>
                  <a:lnTo>
                    <a:pt x="9" y="9"/>
                  </a:lnTo>
                  <a:lnTo>
                    <a:pt x="15" y="1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877"/>
            <p:cNvSpPr>
              <a:spLocks/>
            </p:cNvSpPr>
            <p:nvPr/>
          </p:nvSpPr>
          <p:spPr bwMode="auto">
            <a:xfrm>
              <a:off x="-1301750" y="5324475"/>
              <a:ext cx="136525" cy="866775"/>
            </a:xfrm>
            <a:custGeom>
              <a:avLst/>
              <a:gdLst>
                <a:gd name="T0" fmla="*/ 46 w 86"/>
                <a:gd name="T1" fmla="*/ 0 h 546"/>
                <a:gd name="T2" fmla="*/ 54 w 86"/>
                <a:gd name="T3" fmla="*/ 1 h 546"/>
                <a:gd name="T4" fmla="*/ 60 w 86"/>
                <a:gd name="T5" fmla="*/ 8 h 546"/>
                <a:gd name="T6" fmla="*/ 67 w 86"/>
                <a:gd name="T7" fmla="*/ 19 h 546"/>
                <a:gd name="T8" fmla="*/ 72 w 86"/>
                <a:gd name="T9" fmla="*/ 37 h 546"/>
                <a:gd name="T10" fmla="*/ 77 w 86"/>
                <a:gd name="T11" fmla="*/ 61 h 546"/>
                <a:gd name="T12" fmla="*/ 81 w 86"/>
                <a:gd name="T13" fmla="*/ 94 h 546"/>
                <a:gd name="T14" fmla="*/ 83 w 86"/>
                <a:gd name="T15" fmla="*/ 132 h 546"/>
                <a:gd name="T16" fmla="*/ 85 w 86"/>
                <a:gd name="T17" fmla="*/ 178 h 546"/>
                <a:gd name="T18" fmla="*/ 86 w 86"/>
                <a:gd name="T19" fmla="*/ 200 h 546"/>
                <a:gd name="T20" fmla="*/ 86 w 86"/>
                <a:gd name="T21" fmla="*/ 226 h 546"/>
                <a:gd name="T22" fmla="*/ 86 w 86"/>
                <a:gd name="T23" fmla="*/ 255 h 546"/>
                <a:gd name="T24" fmla="*/ 86 w 86"/>
                <a:gd name="T25" fmla="*/ 286 h 546"/>
                <a:gd name="T26" fmla="*/ 85 w 86"/>
                <a:gd name="T27" fmla="*/ 318 h 546"/>
                <a:gd name="T28" fmla="*/ 85 w 86"/>
                <a:gd name="T29" fmla="*/ 351 h 546"/>
                <a:gd name="T30" fmla="*/ 82 w 86"/>
                <a:gd name="T31" fmla="*/ 385 h 546"/>
                <a:gd name="T32" fmla="*/ 81 w 86"/>
                <a:gd name="T33" fmla="*/ 417 h 546"/>
                <a:gd name="T34" fmla="*/ 78 w 86"/>
                <a:gd name="T35" fmla="*/ 448 h 546"/>
                <a:gd name="T36" fmla="*/ 76 w 86"/>
                <a:gd name="T37" fmla="*/ 476 h 546"/>
                <a:gd name="T38" fmla="*/ 72 w 86"/>
                <a:gd name="T39" fmla="*/ 500 h 546"/>
                <a:gd name="T40" fmla="*/ 68 w 86"/>
                <a:gd name="T41" fmla="*/ 519 h 546"/>
                <a:gd name="T42" fmla="*/ 63 w 86"/>
                <a:gd name="T43" fmla="*/ 535 h 546"/>
                <a:gd name="T44" fmla="*/ 56 w 86"/>
                <a:gd name="T45" fmla="*/ 544 h 546"/>
                <a:gd name="T46" fmla="*/ 50 w 86"/>
                <a:gd name="T47" fmla="*/ 546 h 546"/>
                <a:gd name="T48" fmla="*/ 42 w 86"/>
                <a:gd name="T49" fmla="*/ 541 h 546"/>
                <a:gd name="T50" fmla="*/ 36 w 86"/>
                <a:gd name="T51" fmla="*/ 528 h 546"/>
                <a:gd name="T52" fmla="*/ 30 w 86"/>
                <a:gd name="T53" fmla="*/ 509 h 546"/>
                <a:gd name="T54" fmla="*/ 23 w 86"/>
                <a:gd name="T55" fmla="*/ 484 h 546"/>
                <a:gd name="T56" fmla="*/ 18 w 86"/>
                <a:gd name="T57" fmla="*/ 453 h 546"/>
                <a:gd name="T58" fmla="*/ 14 w 86"/>
                <a:gd name="T59" fmla="*/ 418 h 546"/>
                <a:gd name="T60" fmla="*/ 10 w 86"/>
                <a:gd name="T61" fmla="*/ 381 h 546"/>
                <a:gd name="T62" fmla="*/ 8 w 86"/>
                <a:gd name="T63" fmla="*/ 344 h 546"/>
                <a:gd name="T64" fmla="*/ 5 w 86"/>
                <a:gd name="T65" fmla="*/ 305 h 546"/>
                <a:gd name="T66" fmla="*/ 3 w 86"/>
                <a:gd name="T67" fmla="*/ 269 h 546"/>
                <a:gd name="T68" fmla="*/ 1 w 86"/>
                <a:gd name="T69" fmla="*/ 236 h 546"/>
                <a:gd name="T70" fmla="*/ 1 w 86"/>
                <a:gd name="T71" fmla="*/ 206 h 546"/>
                <a:gd name="T72" fmla="*/ 0 w 86"/>
                <a:gd name="T73" fmla="*/ 181 h 546"/>
                <a:gd name="T74" fmla="*/ 1 w 86"/>
                <a:gd name="T75" fmla="*/ 163 h 546"/>
                <a:gd name="T76" fmla="*/ 3 w 86"/>
                <a:gd name="T77" fmla="*/ 135 h 546"/>
                <a:gd name="T78" fmla="*/ 5 w 86"/>
                <a:gd name="T79" fmla="*/ 108 h 546"/>
                <a:gd name="T80" fmla="*/ 9 w 86"/>
                <a:gd name="T81" fmla="*/ 82 h 546"/>
                <a:gd name="T82" fmla="*/ 14 w 86"/>
                <a:gd name="T83" fmla="*/ 60 h 546"/>
                <a:gd name="T84" fmla="*/ 19 w 86"/>
                <a:gd name="T85" fmla="*/ 41 h 546"/>
                <a:gd name="T86" fmla="*/ 26 w 86"/>
                <a:gd name="T87" fmla="*/ 24 h 546"/>
                <a:gd name="T88" fmla="*/ 32 w 86"/>
                <a:gd name="T89" fmla="*/ 13 h 546"/>
                <a:gd name="T90" fmla="*/ 40 w 86"/>
                <a:gd name="T91" fmla="*/ 4 h 546"/>
                <a:gd name="T92" fmla="*/ 46 w 86"/>
                <a:gd name="T93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" h="546">
                  <a:moveTo>
                    <a:pt x="46" y="0"/>
                  </a:moveTo>
                  <a:lnTo>
                    <a:pt x="54" y="1"/>
                  </a:lnTo>
                  <a:lnTo>
                    <a:pt x="60" y="8"/>
                  </a:lnTo>
                  <a:lnTo>
                    <a:pt x="67" y="19"/>
                  </a:lnTo>
                  <a:lnTo>
                    <a:pt x="72" y="37"/>
                  </a:lnTo>
                  <a:lnTo>
                    <a:pt x="77" y="61"/>
                  </a:lnTo>
                  <a:lnTo>
                    <a:pt x="81" y="94"/>
                  </a:lnTo>
                  <a:lnTo>
                    <a:pt x="83" y="132"/>
                  </a:lnTo>
                  <a:lnTo>
                    <a:pt x="85" y="178"/>
                  </a:lnTo>
                  <a:lnTo>
                    <a:pt x="86" y="200"/>
                  </a:lnTo>
                  <a:lnTo>
                    <a:pt x="86" y="226"/>
                  </a:lnTo>
                  <a:lnTo>
                    <a:pt x="86" y="255"/>
                  </a:lnTo>
                  <a:lnTo>
                    <a:pt x="86" y="286"/>
                  </a:lnTo>
                  <a:lnTo>
                    <a:pt x="85" y="318"/>
                  </a:lnTo>
                  <a:lnTo>
                    <a:pt x="85" y="351"/>
                  </a:lnTo>
                  <a:lnTo>
                    <a:pt x="82" y="385"/>
                  </a:lnTo>
                  <a:lnTo>
                    <a:pt x="81" y="417"/>
                  </a:lnTo>
                  <a:lnTo>
                    <a:pt x="78" y="448"/>
                  </a:lnTo>
                  <a:lnTo>
                    <a:pt x="76" y="476"/>
                  </a:lnTo>
                  <a:lnTo>
                    <a:pt x="72" y="500"/>
                  </a:lnTo>
                  <a:lnTo>
                    <a:pt x="68" y="519"/>
                  </a:lnTo>
                  <a:lnTo>
                    <a:pt x="63" y="535"/>
                  </a:lnTo>
                  <a:lnTo>
                    <a:pt x="56" y="544"/>
                  </a:lnTo>
                  <a:lnTo>
                    <a:pt x="50" y="546"/>
                  </a:lnTo>
                  <a:lnTo>
                    <a:pt x="42" y="541"/>
                  </a:lnTo>
                  <a:lnTo>
                    <a:pt x="36" y="528"/>
                  </a:lnTo>
                  <a:lnTo>
                    <a:pt x="30" y="509"/>
                  </a:lnTo>
                  <a:lnTo>
                    <a:pt x="23" y="484"/>
                  </a:lnTo>
                  <a:lnTo>
                    <a:pt x="18" y="453"/>
                  </a:lnTo>
                  <a:lnTo>
                    <a:pt x="14" y="418"/>
                  </a:lnTo>
                  <a:lnTo>
                    <a:pt x="10" y="381"/>
                  </a:lnTo>
                  <a:lnTo>
                    <a:pt x="8" y="344"/>
                  </a:lnTo>
                  <a:lnTo>
                    <a:pt x="5" y="305"/>
                  </a:lnTo>
                  <a:lnTo>
                    <a:pt x="3" y="269"/>
                  </a:lnTo>
                  <a:lnTo>
                    <a:pt x="1" y="236"/>
                  </a:lnTo>
                  <a:lnTo>
                    <a:pt x="1" y="206"/>
                  </a:lnTo>
                  <a:lnTo>
                    <a:pt x="0" y="181"/>
                  </a:lnTo>
                  <a:lnTo>
                    <a:pt x="1" y="163"/>
                  </a:lnTo>
                  <a:lnTo>
                    <a:pt x="3" y="135"/>
                  </a:lnTo>
                  <a:lnTo>
                    <a:pt x="5" y="108"/>
                  </a:lnTo>
                  <a:lnTo>
                    <a:pt x="9" y="82"/>
                  </a:lnTo>
                  <a:lnTo>
                    <a:pt x="14" y="60"/>
                  </a:lnTo>
                  <a:lnTo>
                    <a:pt x="19" y="41"/>
                  </a:lnTo>
                  <a:lnTo>
                    <a:pt x="26" y="24"/>
                  </a:lnTo>
                  <a:lnTo>
                    <a:pt x="32" y="13"/>
                  </a:lnTo>
                  <a:lnTo>
                    <a:pt x="40" y="4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878"/>
            <p:cNvSpPr>
              <a:spLocks/>
            </p:cNvSpPr>
            <p:nvPr/>
          </p:nvSpPr>
          <p:spPr bwMode="auto">
            <a:xfrm>
              <a:off x="-1684338" y="6037263"/>
              <a:ext cx="303213" cy="303213"/>
            </a:xfrm>
            <a:custGeom>
              <a:avLst/>
              <a:gdLst>
                <a:gd name="T0" fmla="*/ 172 w 191"/>
                <a:gd name="T1" fmla="*/ 0 h 191"/>
                <a:gd name="T2" fmla="*/ 179 w 191"/>
                <a:gd name="T3" fmla="*/ 1 h 191"/>
                <a:gd name="T4" fmla="*/ 186 w 191"/>
                <a:gd name="T5" fmla="*/ 5 h 191"/>
                <a:gd name="T6" fmla="*/ 190 w 191"/>
                <a:gd name="T7" fmla="*/ 11 h 191"/>
                <a:gd name="T8" fmla="*/ 188 w 191"/>
                <a:gd name="T9" fmla="*/ 22 h 191"/>
                <a:gd name="T10" fmla="*/ 186 w 191"/>
                <a:gd name="T11" fmla="*/ 37 h 191"/>
                <a:gd name="T12" fmla="*/ 187 w 191"/>
                <a:gd name="T13" fmla="*/ 56 h 191"/>
                <a:gd name="T14" fmla="*/ 188 w 191"/>
                <a:gd name="T15" fmla="*/ 77 h 191"/>
                <a:gd name="T16" fmla="*/ 190 w 191"/>
                <a:gd name="T17" fmla="*/ 96 h 191"/>
                <a:gd name="T18" fmla="*/ 191 w 191"/>
                <a:gd name="T19" fmla="*/ 113 h 191"/>
                <a:gd name="T20" fmla="*/ 188 w 191"/>
                <a:gd name="T21" fmla="*/ 126 h 191"/>
                <a:gd name="T22" fmla="*/ 181 w 191"/>
                <a:gd name="T23" fmla="*/ 135 h 191"/>
                <a:gd name="T24" fmla="*/ 168 w 191"/>
                <a:gd name="T25" fmla="*/ 141 h 191"/>
                <a:gd name="T26" fmla="*/ 153 w 191"/>
                <a:gd name="T27" fmla="*/ 147 h 191"/>
                <a:gd name="T28" fmla="*/ 135 w 191"/>
                <a:gd name="T29" fmla="*/ 155 h 191"/>
                <a:gd name="T30" fmla="*/ 118 w 191"/>
                <a:gd name="T31" fmla="*/ 164 h 191"/>
                <a:gd name="T32" fmla="*/ 105 w 191"/>
                <a:gd name="T33" fmla="*/ 174 h 191"/>
                <a:gd name="T34" fmla="*/ 93 w 191"/>
                <a:gd name="T35" fmla="*/ 182 h 191"/>
                <a:gd name="T36" fmla="*/ 79 w 191"/>
                <a:gd name="T37" fmla="*/ 187 h 191"/>
                <a:gd name="T38" fmla="*/ 64 w 191"/>
                <a:gd name="T39" fmla="*/ 190 h 191"/>
                <a:gd name="T40" fmla="*/ 46 w 191"/>
                <a:gd name="T41" fmla="*/ 191 h 191"/>
                <a:gd name="T42" fmla="*/ 29 w 191"/>
                <a:gd name="T43" fmla="*/ 189 h 191"/>
                <a:gd name="T44" fmla="*/ 15 w 191"/>
                <a:gd name="T45" fmla="*/ 183 h 191"/>
                <a:gd name="T46" fmla="*/ 5 w 191"/>
                <a:gd name="T47" fmla="*/ 177 h 191"/>
                <a:gd name="T48" fmla="*/ 0 w 191"/>
                <a:gd name="T49" fmla="*/ 168 h 191"/>
                <a:gd name="T50" fmla="*/ 1 w 191"/>
                <a:gd name="T51" fmla="*/ 158 h 191"/>
                <a:gd name="T52" fmla="*/ 11 w 191"/>
                <a:gd name="T53" fmla="*/ 149 h 191"/>
                <a:gd name="T54" fmla="*/ 27 w 191"/>
                <a:gd name="T55" fmla="*/ 140 h 191"/>
                <a:gd name="T56" fmla="*/ 45 w 191"/>
                <a:gd name="T57" fmla="*/ 131 h 191"/>
                <a:gd name="T58" fmla="*/ 51 w 191"/>
                <a:gd name="T59" fmla="*/ 127 h 191"/>
                <a:gd name="T60" fmla="*/ 60 w 191"/>
                <a:gd name="T61" fmla="*/ 119 h 191"/>
                <a:gd name="T62" fmla="*/ 72 w 191"/>
                <a:gd name="T63" fmla="*/ 110 h 191"/>
                <a:gd name="T64" fmla="*/ 83 w 191"/>
                <a:gd name="T65" fmla="*/ 101 h 191"/>
                <a:gd name="T66" fmla="*/ 97 w 191"/>
                <a:gd name="T67" fmla="*/ 90 h 191"/>
                <a:gd name="T68" fmla="*/ 110 w 191"/>
                <a:gd name="T69" fmla="*/ 79 h 191"/>
                <a:gd name="T70" fmla="*/ 123 w 191"/>
                <a:gd name="T71" fmla="*/ 65 h 191"/>
                <a:gd name="T72" fmla="*/ 133 w 191"/>
                <a:gd name="T73" fmla="*/ 53 h 191"/>
                <a:gd name="T74" fmla="*/ 138 w 191"/>
                <a:gd name="T75" fmla="*/ 40 h 191"/>
                <a:gd name="T76" fmla="*/ 141 w 191"/>
                <a:gd name="T77" fmla="*/ 29 h 191"/>
                <a:gd name="T78" fmla="*/ 141 w 191"/>
                <a:gd name="T79" fmla="*/ 19 h 191"/>
                <a:gd name="T80" fmla="*/ 146 w 191"/>
                <a:gd name="T81" fmla="*/ 11 h 191"/>
                <a:gd name="T82" fmla="*/ 154 w 191"/>
                <a:gd name="T83" fmla="*/ 5 h 191"/>
                <a:gd name="T84" fmla="*/ 161 w 191"/>
                <a:gd name="T85" fmla="*/ 1 h 191"/>
                <a:gd name="T86" fmla="*/ 172 w 191"/>
                <a:gd name="T8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1" h="191">
                  <a:moveTo>
                    <a:pt x="172" y="0"/>
                  </a:moveTo>
                  <a:lnTo>
                    <a:pt x="179" y="1"/>
                  </a:lnTo>
                  <a:lnTo>
                    <a:pt x="186" y="5"/>
                  </a:lnTo>
                  <a:lnTo>
                    <a:pt x="190" y="11"/>
                  </a:lnTo>
                  <a:lnTo>
                    <a:pt x="188" y="22"/>
                  </a:lnTo>
                  <a:lnTo>
                    <a:pt x="186" y="37"/>
                  </a:lnTo>
                  <a:lnTo>
                    <a:pt x="187" y="56"/>
                  </a:lnTo>
                  <a:lnTo>
                    <a:pt x="188" y="77"/>
                  </a:lnTo>
                  <a:lnTo>
                    <a:pt x="190" y="96"/>
                  </a:lnTo>
                  <a:lnTo>
                    <a:pt x="191" y="113"/>
                  </a:lnTo>
                  <a:lnTo>
                    <a:pt x="188" y="126"/>
                  </a:lnTo>
                  <a:lnTo>
                    <a:pt x="181" y="135"/>
                  </a:lnTo>
                  <a:lnTo>
                    <a:pt x="168" y="141"/>
                  </a:lnTo>
                  <a:lnTo>
                    <a:pt x="153" y="147"/>
                  </a:lnTo>
                  <a:lnTo>
                    <a:pt x="135" y="155"/>
                  </a:lnTo>
                  <a:lnTo>
                    <a:pt x="118" y="164"/>
                  </a:lnTo>
                  <a:lnTo>
                    <a:pt x="105" y="174"/>
                  </a:lnTo>
                  <a:lnTo>
                    <a:pt x="93" y="182"/>
                  </a:lnTo>
                  <a:lnTo>
                    <a:pt x="79" y="187"/>
                  </a:lnTo>
                  <a:lnTo>
                    <a:pt x="64" y="190"/>
                  </a:lnTo>
                  <a:lnTo>
                    <a:pt x="46" y="191"/>
                  </a:lnTo>
                  <a:lnTo>
                    <a:pt x="29" y="189"/>
                  </a:lnTo>
                  <a:lnTo>
                    <a:pt x="15" y="183"/>
                  </a:lnTo>
                  <a:lnTo>
                    <a:pt x="5" y="177"/>
                  </a:lnTo>
                  <a:lnTo>
                    <a:pt x="0" y="168"/>
                  </a:lnTo>
                  <a:lnTo>
                    <a:pt x="1" y="158"/>
                  </a:lnTo>
                  <a:lnTo>
                    <a:pt x="11" y="149"/>
                  </a:lnTo>
                  <a:lnTo>
                    <a:pt x="27" y="140"/>
                  </a:lnTo>
                  <a:lnTo>
                    <a:pt x="45" y="131"/>
                  </a:lnTo>
                  <a:lnTo>
                    <a:pt x="51" y="127"/>
                  </a:lnTo>
                  <a:lnTo>
                    <a:pt x="60" y="119"/>
                  </a:lnTo>
                  <a:lnTo>
                    <a:pt x="72" y="110"/>
                  </a:lnTo>
                  <a:lnTo>
                    <a:pt x="83" y="101"/>
                  </a:lnTo>
                  <a:lnTo>
                    <a:pt x="97" y="90"/>
                  </a:lnTo>
                  <a:lnTo>
                    <a:pt x="110" y="79"/>
                  </a:lnTo>
                  <a:lnTo>
                    <a:pt x="123" y="65"/>
                  </a:lnTo>
                  <a:lnTo>
                    <a:pt x="133" y="53"/>
                  </a:lnTo>
                  <a:lnTo>
                    <a:pt x="138" y="40"/>
                  </a:lnTo>
                  <a:lnTo>
                    <a:pt x="141" y="29"/>
                  </a:lnTo>
                  <a:lnTo>
                    <a:pt x="141" y="19"/>
                  </a:lnTo>
                  <a:lnTo>
                    <a:pt x="146" y="11"/>
                  </a:lnTo>
                  <a:lnTo>
                    <a:pt x="154" y="5"/>
                  </a:lnTo>
                  <a:lnTo>
                    <a:pt x="161" y="1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879"/>
            <p:cNvSpPr>
              <a:spLocks/>
            </p:cNvSpPr>
            <p:nvPr/>
          </p:nvSpPr>
          <p:spPr bwMode="auto">
            <a:xfrm>
              <a:off x="-1266825" y="6092825"/>
              <a:ext cx="142875" cy="288925"/>
            </a:xfrm>
            <a:custGeom>
              <a:avLst/>
              <a:gdLst>
                <a:gd name="T0" fmla="*/ 27 w 90"/>
                <a:gd name="T1" fmla="*/ 0 h 182"/>
                <a:gd name="T2" fmla="*/ 36 w 90"/>
                <a:gd name="T3" fmla="*/ 2 h 182"/>
                <a:gd name="T4" fmla="*/ 45 w 90"/>
                <a:gd name="T5" fmla="*/ 7 h 182"/>
                <a:gd name="T6" fmla="*/ 50 w 90"/>
                <a:gd name="T7" fmla="*/ 16 h 182"/>
                <a:gd name="T8" fmla="*/ 51 w 90"/>
                <a:gd name="T9" fmla="*/ 28 h 182"/>
                <a:gd name="T10" fmla="*/ 52 w 90"/>
                <a:gd name="T11" fmla="*/ 39 h 182"/>
                <a:gd name="T12" fmla="*/ 58 w 90"/>
                <a:gd name="T13" fmla="*/ 53 h 182"/>
                <a:gd name="T14" fmla="*/ 64 w 90"/>
                <a:gd name="T15" fmla="*/ 69 h 182"/>
                <a:gd name="T16" fmla="*/ 72 w 90"/>
                <a:gd name="T17" fmla="*/ 86 h 182"/>
                <a:gd name="T18" fmla="*/ 81 w 90"/>
                <a:gd name="T19" fmla="*/ 102 h 182"/>
                <a:gd name="T20" fmla="*/ 87 w 90"/>
                <a:gd name="T21" fmla="*/ 120 h 182"/>
                <a:gd name="T22" fmla="*/ 90 w 90"/>
                <a:gd name="T23" fmla="*/ 137 h 182"/>
                <a:gd name="T24" fmla="*/ 87 w 90"/>
                <a:gd name="T25" fmla="*/ 151 h 182"/>
                <a:gd name="T26" fmla="*/ 78 w 90"/>
                <a:gd name="T27" fmla="*/ 164 h 182"/>
                <a:gd name="T28" fmla="*/ 68 w 90"/>
                <a:gd name="T29" fmla="*/ 174 h 182"/>
                <a:gd name="T30" fmla="*/ 58 w 90"/>
                <a:gd name="T31" fmla="*/ 179 h 182"/>
                <a:gd name="T32" fmla="*/ 47 w 90"/>
                <a:gd name="T33" fmla="*/ 182 h 182"/>
                <a:gd name="T34" fmla="*/ 38 w 90"/>
                <a:gd name="T35" fmla="*/ 180 h 182"/>
                <a:gd name="T36" fmla="*/ 28 w 90"/>
                <a:gd name="T37" fmla="*/ 178 h 182"/>
                <a:gd name="T38" fmla="*/ 19 w 90"/>
                <a:gd name="T39" fmla="*/ 174 h 182"/>
                <a:gd name="T40" fmla="*/ 10 w 90"/>
                <a:gd name="T41" fmla="*/ 166 h 182"/>
                <a:gd name="T42" fmla="*/ 4 w 90"/>
                <a:gd name="T43" fmla="*/ 156 h 182"/>
                <a:gd name="T44" fmla="*/ 0 w 90"/>
                <a:gd name="T45" fmla="*/ 145 h 182"/>
                <a:gd name="T46" fmla="*/ 0 w 90"/>
                <a:gd name="T47" fmla="*/ 129 h 182"/>
                <a:gd name="T48" fmla="*/ 4 w 90"/>
                <a:gd name="T49" fmla="*/ 100 h 182"/>
                <a:gd name="T50" fmla="*/ 6 w 90"/>
                <a:gd name="T51" fmla="*/ 73 h 182"/>
                <a:gd name="T52" fmla="*/ 6 w 90"/>
                <a:gd name="T53" fmla="*/ 48 h 182"/>
                <a:gd name="T54" fmla="*/ 5 w 90"/>
                <a:gd name="T55" fmla="*/ 26 h 182"/>
                <a:gd name="T56" fmla="*/ 5 w 90"/>
                <a:gd name="T57" fmla="*/ 14 h 182"/>
                <a:gd name="T58" fmla="*/ 10 w 90"/>
                <a:gd name="T59" fmla="*/ 5 h 182"/>
                <a:gd name="T60" fmla="*/ 18 w 90"/>
                <a:gd name="T61" fmla="*/ 1 h 182"/>
                <a:gd name="T62" fmla="*/ 27 w 90"/>
                <a:gd name="T63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" h="182">
                  <a:moveTo>
                    <a:pt x="27" y="0"/>
                  </a:moveTo>
                  <a:lnTo>
                    <a:pt x="36" y="2"/>
                  </a:lnTo>
                  <a:lnTo>
                    <a:pt x="45" y="7"/>
                  </a:lnTo>
                  <a:lnTo>
                    <a:pt x="50" y="16"/>
                  </a:lnTo>
                  <a:lnTo>
                    <a:pt x="51" y="28"/>
                  </a:lnTo>
                  <a:lnTo>
                    <a:pt x="52" y="39"/>
                  </a:lnTo>
                  <a:lnTo>
                    <a:pt x="58" y="53"/>
                  </a:lnTo>
                  <a:lnTo>
                    <a:pt x="64" y="69"/>
                  </a:lnTo>
                  <a:lnTo>
                    <a:pt x="72" y="86"/>
                  </a:lnTo>
                  <a:lnTo>
                    <a:pt x="81" y="102"/>
                  </a:lnTo>
                  <a:lnTo>
                    <a:pt x="87" y="120"/>
                  </a:lnTo>
                  <a:lnTo>
                    <a:pt x="90" y="137"/>
                  </a:lnTo>
                  <a:lnTo>
                    <a:pt x="87" y="151"/>
                  </a:lnTo>
                  <a:lnTo>
                    <a:pt x="78" y="164"/>
                  </a:lnTo>
                  <a:lnTo>
                    <a:pt x="68" y="174"/>
                  </a:lnTo>
                  <a:lnTo>
                    <a:pt x="58" y="179"/>
                  </a:lnTo>
                  <a:lnTo>
                    <a:pt x="47" y="182"/>
                  </a:lnTo>
                  <a:lnTo>
                    <a:pt x="38" y="180"/>
                  </a:lnTo>
                  <a:lnTo>
                    <a:pt x="28" y="178"/>
                  </a:lnTo>
                  <a:lnTo>
                    <a:pt x="19" y="174"/>
                  </a:lnTo>
                  <a:lnTo>
                    <a:pt x="10" y="166"/>
                  </a:lnTo>
                  <a:lnTo>
                    <a:pt x="4" y="156"/>
                  </a:lnTo>
                  <a:lnTo>
                    <a:pt x="0" y="145"/>
                  </a:lnTo>
                  <a:lnTo>
                    <a:pt x="0" y="129"/>
                  </a:lnTo>
                  <a:lnTo>
                    <a:pt x="4" y="100"/>
                  </a:lnTo>
                  <a:lnTo>
                    <a:pt x="6" y="73"/>
                  </a:lnTo>
                  <a:lnTo>
                    <a:pt x="6" y="48"/>
                  </a:lnTo>
                  <a:lnTo>
                    <a:pt x="5" y="26"/>
                  </a:lnTo>
                  <a:lnTo>
                    <a:pt x="5" y="14"/>
                  </a:lnTo>
                  <a:lnTo>
                    <a:pt x="10" y="5"/>
                  </a:lnTo>
                  <a:lnTo>
                    <a:pt x="18" y="1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880"/>
            <p:cNvSpPr>
              <a:spLocks/>
            </p:cNvSpPr>
            <p:nvPr/>
          </p:nvSpPr>
          <p:spPr bwMode="auto">
            <a:xfrm>
              <a:off x="-1249363" y="6126163"/>
              <a:ext cx="90488" cy="192088"/>
            </a:xfrm>
            <a:custGeom>
              <a:avLst/>
              <a:gdLst>
                <a:gd name="T0" fmla="*/ 32 w 57"/>
                <a:gd name="T1" fmla="*/ 0 h 121"/>
                <a:gd name="T2" fmla="*/ 35 w 57"/>
                <a:gd name="T3" fmla="*/ 8 h 121"/>
                <a:gd name="T4" fmla="*/ 38 w 57"/>
                <a:gd name="T5" fmla="*/ 18 h 121"/>
                <a:gd name="T6" fmla="*/ 41 w 57"/>
                <a:gd name="T7" fmla="*/ 31 h 121"/>
                <a:gd name="T8" fmla="*/ 44 w 57"/>
                <a:gd name="T9" fmla="*/ 44 h 121"/>
                <a:gd name="T10" fmla="*/ 52 w 57"/>
                <a:gd name="T11" fmla="*/ 71 h 121"/>
                <a:gd name="T12" fmla="*/ 57 w 57"/>
                <a:gd name="T13" fmla="*/ 97 h 121"/>
                <a:gd name="T14" fmla="*/ 56 w 57"/>
                <a:gd name="T15" fmla="*/ 106 h 121"/>
                <a:gd name="T16" fmla="*/ 56 w 57"/>
                <a:gd name="T17" fmla="*/ 107 h 121"/>
                <a:gd name="T18" fmla="*/ 50 w 57"/>
                <a:gd name="T19" fmla="*/ 113 h 121"/>
                <a:gd name="T20" fmla="*/ 49 w 57"/>
                <a:gd name="T21" fmla="*/ 115 h 121"/>
                <a:gd name="T22" fmla="*/ 43 w 57"/>
                <a:gd name="T23" fmla="*/ 118 h 121"/>
                <a:gd name="T24" fmla="*/ 35 w 57"/>
                <a:gd name="T25" fmla="*/ 121 h 121"/>
                <a:gd name="T26" fmla="*/ 25 w 57"/>
                <a:gd name="T27" fmla="*/ 121 h 121"/>
                <a:gd name="T28" fmla="*/ 18 w 57"/>
                <a:gd name="T29" fmla="*/ 118 h 121"/>
                <a:gd name="T30" fmla="*/ 12 w 57"/>
                <a:gd name="T31" fmla="*/ 113 h 121"/>
                <a:gd name="T32" fmla="*/ 11 w 57"/>
                <a:gd name="T33" fmla="*/ 112 h 121"/>
                <a:gd name="T34" fmla="*/ 9 w 57"/>
                <a:gd name="T35" fmla="*/ 104 h 121"/>
                <a:gd name="T36" fmla="*/ 7 w 57"/>
                <a:gd name="T37" fmla="*/ 94 h 121"/>
                <a:gd name="T38" fmla="*/ 6 w 57"/>
                <a:gd name="T39" fmla="*/ 82 h 121"/>
                <a:gd name="T40" fmla="*/ 3 w 57"/>
                <a:gd name="T41" fmla="*/ 54 h 121"/>
                <a:gd name="T42" fmla="*/ 2 w 57"/>
                <a:gd name="T43" fmla="*/ 41 h 121"/>
                <a:gd name="T44" fmla="*/ 2 w 57"/>
                <a:gd name="T45" fmla="*/ 29 h 121"/>
                <a:gd name="T46" fmla="*/ 0 w 57"/>
                <a:gd name="T47" fmla="*/ 17 h 121"/>
                <a:gd name="T48" fmla="*/ 0 w 57"/>
                <a:gd name="T49" fmla="*/ 7 h 121"/>
                <a:gd name="T50" fmla="*/ 4 w 57"/>
                <a:gd name="T51" fmla="*/ 7 h 121"/>
                <a:gd name="T52" fmla="*/ 4 w 57"/>
                <a:gd name="T53" fmla="*/ 16 h 121"/>
                <a:gd name="T54" fmla="*/ 6 w 57"/>
                <a:gd name="T55" fmla="*/ 27 h 121"/>
                <a:gd name="T56" fmla="*/ 6 w 57"/>
                <a:gd name="T57" fmla="*/ 40 h 121"/>
                <a:gd name="T58" fmla="*/ 7 w 57"/>
                <a:gd name="T59" fmla="*/ 53 h 121"/>
                <a:gd name="T60" fmla="*/ 9 w 57"/>
                <a:gd name="T61" fmla="*/ 81 h 121"/>
                <a:gd name="T62" fmla="*/ 11 w 57"/>
                <a:gd name="T63" fmla="*/ 93 h 121"/>
                <a:gd name="T64" fmla="*/ 13 w 57"/>
                <a:gd name="T65" fmla="*/ 104 h 121"/>
                <a:gd name="T66" fmla="*/ 15 w 57"/>
                <a:gd name="T67" fmla="*/ 111 h 121"/>
                <a:gd name="T68" fmla="*/ 20 w 57"/>
                <a:gd name="T69" fmla="*/ 115 h 121"/>
                <a:gd name="T70" fmla="*/ 26 w 57"/>
                <a:gd name="T71" fmla="*/ 117 h 121"/>
                <a:gd name="T72" fmla="*/ 34 w 57"/>
                <a:gd name="T73" fmla="*/ 117 h 121"/>
                <a:gd name="T74" fmla="*/ 41 w 57"/>
                <a:gd name="T75" fmla="*/ 115 h 121"/>
                <a:gd name="T76" fmla="*/ 48 w 57"/>
                <a:gd name="T77" fmla="*/ 111 h 121"/>
                <a:gd name="T78" fmla="*/ 52 w 57"/>
                <a:gd name="T79" fmla="*/ 106 h 121"/>
                <a:gd name="T80" fmla="*/ 52 w 57"/>
                <a:gd name="T81" fmla="*/ 106 h 121"/>
                <a:gd name="T82" fmla="*/ 53 w 57"/>
                <a:gd name="T83" fmla="*/ 97 h 121"/>
                <a:gd name="T84" fmla="*/ 50 w 57"/>
                <a:gd name="T85" fmla="*/ 85 h 121"/>
                <a:gd name="T86" fmla="*/ 48 w 57"/>
                <a:gd name="T87" fmla="*/ 72 h 121"/>
                <a:gd name="T88" fmla="*/ 40 w 57"/>
                <a:gd name="T89" fmla="*/ 45 h 121"/>
                <a:gd name="T90" fmla="*/ 38 w 57"/>
                <a:gd name="T91" fmla="*/ 32 h 121"/>
                <a:gd name="T92" fmla="*/ 34 w 57"/>
                <a:gd name="T93" fmla="*/ 20 h 121"/>
                <a:gd name="T94" fmla="*/ 31 w 57"/>
                <a:gd name="T95" fmla="*/ 9 h 121"/>
                <a:gd name="T96" fmla="*/ 29 w 57"/>
                <a:gd name="T97" fmla="*/ 2 h 121"/>
                <a:gd name="T98" fmla="*/ 32 w 57"/>
                <a:gd name="T9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121">
                  <a:moveTo>
                    <a:pt x="32" y="0"/>
                  </a:moveTo>
                  <a:lnTo>
                    <a:pt x="35" y="8"/>
                  </a:lnTo>
                  <a:lnTo>
                    <a:pt x="38" y="18"/>
                  </a:lnTo>
                  <a:lnTo>
                    <a:pt x="41" y="31"/>
                  </a:lnTo>
                  <a:lnTo>
                    <a:pt x="44" y="44"/>
                  </a:lnTo>
                  <a:lnTo>
                    <a:pt x="52" y="71"/>
                  </a:lnTo>
                  <a:lnTo>
                    <a:pt x="57" y="97"/>
                  </a:lnTo>
                  <a:lnTo>
                    <a:pt x="56" y="106"/>
                  </a:lnTo>
                  <a:lnTo>
                    <a:pt x="56" y="107"/>
                  </a:lnTo>
                  <a:lnTo>
                    <a:pt x="50" y="113"/>
                  </a:lnTo>
                  <a:lnTo>
                    <a:pt x="49" y="115"/>
                  </a:lnTo>
                  <a:lnTo>
                    <a:pt x="43" y="118"/>
                  </a:lnTo>
                  <a:lnTo>
                    <a:pt x="35" y="121"/>
                  </a:lnTo>
                  <a:lnTo>
                    <a:pt x="25" y="121"/>
                  </a:lnTo>
                  <a:lnTo>
                    <a:pt x="18" y="118"/>
                  </a:lnTo>
                  <a:lnTo>
                    <a:pt x="12" y="113"/>
                  </a:lnTo>
                  <a:lnTo>
                    <a:pt x="11" y="112"/>
                  </a:lnTo>
                  <a:lnTo>
                    <a:pt x="9" y="104"/>
                  </a:lnTo>
                  <a:lnTo>
                    <a:pt x="7" y="94"/>
                  </a:lnTo>
                  <a:lnTo>
                    <a:pt x="6" y="82"/>
                  </a:lnTo>
                  <a:lnTo>
                    <a:pt x="3" y="54"/>
                  </a:lnTo>
                  <a:lnTo>
                    <a:pt x="2" y="41"/>
                  </a:lnTo>
                  <a:lnTo>
                    <a:pt x="2" y="29"/>
                  </a:lnTo>
                  <a:lnTo>
                    <a:pt x="0" y="1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16"/>
                  </a:lnTo>
                  <a:lnTo>
                    <a:pt x="6" y="27"/>
                  </a:lnTo>
                  <a:lnTo>
                    <a:pt x="6" y="40"/>
                  </a:lnTo>
                  <a:lnTo>
                    <a:pt x="7" y="53"/>
                  </a:lnTo>
                  <a:lnTo>
                    <a:pt x="9" y="81"/>
                  </a:lnTo>
                  <a:lnTo>
                    <a:pt x="11" y="93"/>
                  </a:lnTo>
                  <a:lnTo>
                    <a:pt x="13" y="104"/>
                  </a:lnTo>
                  <a:lnTo>
                    <a:pt x="15" y="111"/>
                  </a:lnTo>
                  <a:lnTo>
                    <a:pt x="20" y="115"/>
                  </a:lnTo>
                  <a:lnTo>
                    <a:pt x="26" y="117"/>
                  </a:lnTo>
                  <a:lnTo>
                    <a:pt x="34" y="117"/>
                  </a:lnTo>
                  <a:lnTo>
                    <a:pt x="41" y="115"/>
                  </a:lnTo>
                  <a:lnTo>
                    <a:pt x="48" y="111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3" y="97"/>
                  </a:lnTo>
                  <a:lnTo>
                    <a:pt x="50" y="85"/>
                  </a:lnTo>
                  <a:lnTo>
                    <a:pt x="48" y="72"/>
                  </a:lnTo>
                  <a:lnTo>
                    <a:pt x="40" y="45"/>
                  </a:lnTo>
                  <a:lnTo>
                    <a:pt x="38" y="32"/>
                  </a:lnTo>
                  <a:lnTo>
                    <a:pt x="34" y="20"/>
                  </a:lnTo>
                  <a:lnTo>
                    <a:pt x="31" y="9"/>
                  </a:lnTo>
                  <a:lnTo>
                    <a:pt x="29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881"/>
            <p:cNvSpPr>
              <a:spLocks/>
            </p:cNvSpPr>
            <p:nvPr/>
          </p:nvSpPr>
          <p:spPr bwMode="auto">
            <a:xfrm>
              <a:off x="-1685925" y="6191250"/>
              <a:ext cx="304800" cy="161925"/>
            </a:xfrm>
            <a:custGeom>
              <a:avLst/>
              <a:gdLst>
                <a:gd name="T0" fmla="*/ 100 w 192"/>
                <a:gd name="T1" fmla="*/ 0 h 102"/>
                <a:gd name="T2" fmla="*/ 106 w 192"/>
                <a:gd name="T3" fmla="*/ 0 h 102"/>
                <a:gd name="T4" fmla="*/ 112 w 192"/>
                <a:gd name="T5" fmla="*/ 3 h 102"/>
                <a:gd name="T6" fmla="*/ 119 w 192"/>
                <a:gd name="T7" fmla="*/ 8 h 102"/>
                <a:gd name="T8" fmla="*/ 123 w 192"/>
                <a:gd name="T9" fmla="*/ 12 h 102"/>
                <a:gd name="T10" fmla="*/ 128 w 192"/>
                <a:gd name="T11" fmla="*/ 16 h 102"/>
                <a:gd name="T12" fmla="*/ 134 w 192"/>
                <a:gd name="T13" fmla="*/ 18 h 102"/>
                <a:gd name="T14" fmla="*/ 143 w 192"/>
                <a:gd name="T15" fmla="*/ 20 h 102"/>
                <a:gd name="T16" fmla="*/ 155 w 192"/>
                <a:gd name="T17" fmla="*/ 20 h 102"/>
                <a:gd name="T18" fmla="*/ 168 w 192"/>
                <a:gd name="T19" fmla="*/ 17 h 102"/>
                <a:gd name="T20" fmla="*/ 177 w 192"/>
                <a:gd name="T21" fmla="*/ 12 h 102"/>
                <a:gd name="T22" fmla="*/ 184 w 192"/>
                <a:gd name="T23" fmla="*/ 3 h 102"/>
                <a:gd name="T24" fmla="*/ 191 w 192"/>
                <a:gd name="T25" fmla="*/ 0 h 102"/>
                <a:gd name="T26" fmla="*/ 192 w 192"/>
                <a:gd name="T27" fmla="*/ 15 h 102"/>
                <a:gd name="T28" fmla="*/ 192 w 192"/>
                <a:gd name="T29" fmla="*/ 27 h 102"/>
                <a:gd name="T30" fmla="*/ 189 w 192"/>
                <a:gd name="T31" fmla="*/ 38 h 102"/>
                <a:gd name="T32" fmla="*/ 182 w 192"/>
                <a:gd name="T33" fmla="*/ 45 h 102"/>
                <a:gd name="T34" fmla="*/ 169 w 192"/>
                <a:gd name="T35" fmla="*/ 53 h 102"/>
                <a:gd name="T36" fmla="*/ 154 w 192"/>
                <a:gd name="T37" fmla="*/ 59 h 102"/>
                <a:gd name="T38" fmla="*/ 136 w 192"/>
                <a:gd name="T39" fmla="*/ 66 h 102"/>
                <a:gd name="T40" fmla="*/ 119 w 192"/>
                <a:gd name="T41" fmla="*/ 75 h 102"/>
                <a:gd name="T42" fmla="*/ 105 w 192"/>
                <a:gd name="T43" fmla="*/ 86 h 102"/>
                <a:gd name="T44" fmla="*/ 94 w 192"/>
                <a:gd name="T45" fmla="*/ 94 h 102"/>
                <a:gd name="T46" fmla="*/ 80 w 192"/>
                <a:gd name="T47" fmla="*/ 99 h 102"/>
                <a:gd name="T48" fmla="*/ 64 w 192"/>
                <a:gd name="T49" fmla="*/ 102 h 102"/>
                <a:gd name="T50" fmla="*/ 47 w 192"/>
                <a:gd name="T51" fmla="*/ 102 h 102"/>
                <a:gd name="T52" fmla="*/ 30 w 192"/>
                <a:gd name="T53" fmla="*/ 100 h 102"/>
                <a:gd name="T54" fmla="*/ 15 w 192"/>
                <a:gd name="T55" fmla="*/ 95 h 102"/>
                <a:gd name="T56" fmla="*/ 5 w 192"/>
                <a:gd name="T57" fmla="*/ 89 h 102"/>
                <a:gd name="T58" fmla="*/ 0 w 192"/>
                <a:gd name="T59" fmla="*/ 79 h 102"/>
                <a:gd name="T60" fmla="*/ 0 w 192"/>
                <a:gd name="T61" fmla="*/ 76 h 102"/>
                <a:gd name="T62" fmla="*/ 0 w 192"/>
                <a:gd name="T63" fmla="*/ 72 h 102"/>
                <a:gd name="T64" fmla="*/ 0 w 192"/>
                <a:gd name="T65" fmla="*/ 68 h 102"/>
                <a:gd name="T66" fmla="*/ 0 w 192"/>
                <a:gd name="T67" fmla="*/ 65 h 102"/>
                <a:gd name="T68" fmla="*/ 1 w 192"/>
                <a:gd name="T69" fmla="*/ 62 h 102"/>
                <a:gd name="T70" fmla="*/ 7 w 192"/>
                <a:gd name="T71" fmla="*/ 57 h 102"/>
                <a:gd name="T72" fmla="*/ 18 w 192"/>
                <a:gd name="T73" fmla="*/ 52 h 102"/>
                <a:gd name="T74" fmla="*/ 30 w 192"/>
                <a:gd name="T75" fmla="*/ 48 h 102"/>
                <a:gd name="T76" fmla="*/ 46 w 192"/>
                <a:gd name="T77" fmla="*/ 41 h 102"/>
                <a:gd name="T78" fmla="*/ 52 w 192"/>
                <a:gd name="T79" fmla="*/ 38 h 102"/>
                <a:gd name="T80" fmla="*/ 61 w 192"/>
                <a:gd name="T81" fmla="*/ 31 h 102"/>
                <a:gd name="T82" fmla="*/ 71 w 192"/>
                <a:gd name="T83" fmla="*/ 22 h 102"/>
                <a:gd name="T84" fmla="*/ 84 w 192"/>
                <a:gd name="T85" fmla="*/ 12 h 102"/>
                <a:gd name="T86" fmla="*/ 98 w 192"/>
                <a:gd name="T87" fmla="*/ 2 h 102"/>
                <a:gd name="T88" fmla="*/ 100 w 192"/>
                <a:gd name="T8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" h="102">
                  <a:moveTo>
                    <a:pt x="100" y="0"/>
                  </a:moveTo>
                  <a:lnTo>
                    <a:pt x="106" y="0"/>
                  </a:lnTo>
                  <a:lnTo>
                    <a:pt x="112" y="3"/>
                  </a:lnTo>
                  <a:lnTo>
                    <a:pt x="119" y="8"/>
                  </a:lnTo>
                  <a:lnTo>
                    <a:pt x="123" y="12"/>
                  </a:lnTo>
                  <a:lnTo>
                    <a:pt x="128" y="16"/>
                  </a:lnTo>
                  <a:lnTo>
                    <a:pt x="134" y="18"/>
                  </a:lnTo>
                  <a:lnTo>
                    <a:pt x="143" y="20"/>
                  </a:lnTo>
                  <a:lnTo>
                    <a:pt x="155" y="20"/>
                  </a:lnTo>
                  <a:lnTo>
                    <a:pt x="168" y="17"/>
                  </a:lnTo>
                  <a:lnTo>
                    <a:pt x="177" y="12"/>
                  </a:lnTo>
                  <a:lnTo>
                    <a:pt x="184" y="3"/>
                  </a:lnTo>
                  <a:lnTo>
                    <a:pt x="191" y="0"/>
                  </a:lnTo>
                  <a:lnTo>
                    <a:pt x="192" y="15"/>
                  </a:lnTo>
                  <a:lnTo>
                    <a:pt x="192" y="27"/>
                  </a:lnTo>
                  <a:lnTo>
                    <a:pt x="189" y="38"/>
                  </a:lnTo>
                  <a:lnTo>
                    <a:pt x="182" y="45"/>
                  </a:lnTo>
                  <a:lnTo>
                    <a:pt x="169" y="53"/>
                  </a:lnTo>
                  <a:lnTo>
                    <a:pt x="154" y="59"/>
                  </a:lnTo>
                  <a:lnTo>
                    <a:pt x="136" y="66"/>
                  </a:lnTo>
                  <a:lnTo>
                    <a:pt x="119" y="75"/>
                  </a:lnTo>
                  <a:lnTo>
                    <a:pt x="105" y="86"/>
                  </a:lnTo>
                  <a:lnTo>
                    <a:pt x="94" y="94"/>
                  </a:lnTo>
                  <a:lnTo>
                    <a:pt x="80" y="99"/>
                  </a:lnTo>
                  <a:lnTo>
                    <a:pt x="64" y="102"/>
                  </a:lnTo>
                  <a:lnTo>
                    <a:pt x="47" y="102"/>
                  </a:lnTo>
                  <a:lnTo>
                    <a:pt x="30" y="100"/>
                  </a:lnTo>
                  <a:lnTo>
                    <a:pt x="15" y="95"/>
                  </a:lnTo>
                  <a:lnTo>
                    <a:pt x="5" y="8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5"/>
                  </a:lnTo>
                  <a:lnTo>
                    <a:pt x="1" y="62"/>
                  </a:lnTo>
                  <a:lnTo>
                    <a:pt x="7" y="57"/>
                  </a:lnTo>
                  <a:lnTo>
                    <a:pt x="18" y="52"/>
                  </a:lnTo>
                  <a:lnTo>
                    <a:pt x="30" y="48"/>
                  </a:lnTo>
                  <a:lnTo>
                    <a:pt x="46" y="41"/>
                  </a:lnTo>
                  <a:lnTo>
                    <a:pt x="52" y="38"/>
                  </a:lnTo>
                  <a:lnTo>
                    <a:pt x="61" y="31"/>
                  </a:lnTo>
                  <a:lnTo>
                    <a:pt x="71" y="22"/>
                  </a:lnTo>
                  <a:lnTo>
                    <a:pt x="84" y="12"/>
                  </a:lnTo>
                  <a:lnTo>
                    <a:pt x="98" y="2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882"/>
            <p:cNvSpPr>
              <a:spLocks/>
            </p:cNvSpPr>
            <p:nvPr/>
          </p:nvSpPr>
          <p:spPr bwMode="auto">
            <a:xfrm>
              <a:off x="-1685925" y="6024563"/>
              <a:ext cx="304800" cy="307975"/>
            </a:xfrm>
            <a:custGeom>
              <a:avLst/>
              <a:gdLst>
                <a:gd name="T0" fmla="*/ 169 w 192"/>
                <a:gd name="T1" fmla="*/ 0 h 194"/>
                <a:gd name="T2" fmla="*/ 178 w 192"/>
                <a:gd name="T3" fmla="*/ 0 h 194"/>
                <a:gd name="T4" fmla="*/ 186 w 192"/>
                <a:gd name="T5" fmla="*/ 4 h 194"/>
                <a:gd name="T6" fmla="*/ 189 w 192"/>
                <a:gd name="T7" fmla="*/ 12 h 194"/>
                <a:gd name="T8" fmla="*/ 188 w 192"/>
                <a:gd name="T9" fmla="*/ 22 h 194"/>
                <a:gd name="T10" fmla="*/ 187 w 192"/>
                <a:gd name="T11" fmla="*/ 36 h 194"/>
                <a:gd name="T12" fmla="*/ 187 w 192"/>
                <a:gd name="T13" fmla="*/ 53 h 194"/>
                <a:gd name="T14" fmla="*/ 188 w 192"/>
                <a:gd name="T15" fmla="*/ 69 h 194"/>
                <a:gd name="T16" fmla="*/ 189 w 192"/>
                <a:gd name="T17" fmla="*/ 87 h 194"/>
                <a:gd name="T18" fmla="*/ 192 w 192"/>
                <a:gd name="T19" fmla="*/ 104 h 194"/>
                <a:gd name="T20" fmla="*/ 192 w 192"/>
                <a:gd name="T21" fmla="*/ 118 h 194"/>
                <a:gd name="T22" fmla="*/ 189 w 192"/>
                <a:gd name="T23" fmla="*/ 129 h 194"/>
                <a:gd name="T24" fmla="*/ 182 w 192"/>
                <a:gd name="T25" fmla="*/ 137 h 194"/>
                <a:gd name="T26" fmla="*/ 169 w 192"/>
                <a:gd name="T27" fmla="*/ 144 h 194"/>
                <a:gd name="T28" fmla="*/ 154 w 192"/>
                <a:gd name="T29" fmla="*/ 152 h 194"/>
                <a:gd name="T30" fmla="*/ 136 w 192"/>
                <a:gd name="T31" fmla="*/ 158 h 194"/>
                <a:gd name="T32" fmla="*/ 119 w 192"/>
                <a:gd name="T33" fmla="*/ 167 h 194"/>
                <a:gd name="T34" fmla="*/ 105 w 192"/>
                <a:gd name="T35" fmla="*/ 177 h 194"/>
                <a:gd name="T36" fmla="*/ 94 w 192"/>
                <a:gd name="T37" fmla="*/ 185 h 194"/>
                <a:gd name="T38" fmla="*/ 80 w 192"/>
                <a:gd name="T39" fmla="*/ 190 h 194"/>
                <a:gd name="T40" fmla="*/ 64 w 192"/>
                <a:gd name="T41" fmla="*/ 194 h 194"/>
                <a:gd name="T42" fmla="*/ 47 w 192"/>
                <a:gd name="T43" fmla="*/ 194 h 194"/>
                <a:gd name="T44" fmla="*/ 30 w 192"/>
                <a:gd name="T45" fmla="*/ 191 h 194"/>
                <a:gd name="T46" fmla="*/ 15 w 192"/>
                <a:gd name="T47" fmla="*/ 188 h 194"/>
                <a:gd name="T48" fmla="*/ 5 w 192"/>
                <a:gd name="T49" fmla="*/ 180 h 194"/>
                <a:gd name="T50" fmla="*/ 0 w 192"/>
                <a:gd name="T51" fmla="*/ 171 h 194"/>
                <a:gd name="T52" fmla="*/ 2 w 192"/>
                <a:gd name="T53" fmla="*/ 162 h 194"/>
                <a:gd name="T54" fmla="*/ 11 w 192"/>
                <a:gd name="T55" fmla="*/ 152 h 194"/>
                <a:gd name="T56" fmla="*/ 26 w 192"/>
                <a:gd name="T57" fmla="*/ 143 h 194"/>
                <a:gd name="T58" fmla="*/ 46 w 192"/>
                <a:gd name="T59" fmla="*/ 134 h 194"/>
                <a:gd name="T60" fmla="*/ 52 w 192"/>
                <a:gd name="T61" fmla="*/ 130 h 194"/>
                <a:gd name="T62" fmla="*/ 62 w 192"/>
                <a:gd name="T63" fmla="*/ 123 h 194"/>
                <a:gd name="T64" fmla="*/ 74 w 192"/>
                <a:gd name="T65" fmla="*/ 116 h 194"/>
                <a:gd name="T66" fmla="*/ 88 w 192"/>
                <a:gd name="T67" fmla="*/ 107 h 194"/>
                <a:gd name="T68" fmla="*/ 102 w 192"/>
                <a:gd name="T69" fmla="*/ 96 h 194"/>
                <a:gd name="T70" fmla="*/ 115 w 192"/>
                <a:gd name="T71" fmla="*/ 84 h 194"/>
                <a:gd name="T72" fmla="*/ 127 w 192"/>
                <a:gd name="T73" fmla="*/ 69 h 194"/>
                <a:gd name="T74" fmla="*/ 136 w 192"/>
                <a:gd name="T75" fmla="*/ 55 h 194"/>
                <a:gd name="T76" fmla="*/ 141 w 192"/>
                <a:gd name="T77" fmla="*/ 41 h 194"/>
                <a:gd name="T78" fmla="*/ 143 w 192"/>
                <a:gd name="T79" fmla="*/ 31 h 194"/>
                <a:gd name="T80" fmla="*/ 145 w 192"/>
                <a:gd name="T81" fmla="*/ 18 h 194"/>
                <a:gd name="T82" fmla="*/ 151 w 192"/>
                <a:gd name="T83" fmla="*/ 9 h 194"/>
                <a:gd name="T84" fmla="*/ 159 w 192"/>
                <a:gd name="T85" fmla="*/ 3 h 194"/>
                <a:gd name="T86" fmla="*/ 169 w 192"/>
                <a:gd name="T87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2" h="194">
                  <a:moveTo>
                    <a:pt x="169" y="0"/>
                  </a:moveTo>
                  <a:lnTo>
                    <a:pt x="178" y="0"/>
                  </a:lnTo>
                  <a:lnTo>
                    <a:pt x="186" y="4"/>
                  </a:lnTo>
                  <a:lnTo>
                    <a:pt x="189" y="12"/>
                  </a:lnTo>
                  <a:lnTo>
                    <a:pt x="188" y="22"/>
                  </a:lnTo>
                  <a:lnTo>
                    <a:pt x="187" y="36"/>
                  </a:lnTo>
                  <a:lnTo>
                    <a:pt x="187" y="53"/>
                  </a:lnTo>
                  <a:lnTo>
                    <a:pt x="188" y="69"/>
                  </a:lnTo>
                  <a:lnTo>
                    <a:pt x="189" y="87"/>
                  </a:lnTo>
                  <a:lnTo>
                    <a:pt x="192" y="104"/>
                  </a:lnTo>
                  <a:lnTo>
                    <a:pt x="192" y="118"/>
                  </a:lnTo>
                  <a:lnTo>
                    <a:pt x="189" y="129"/>
                  </a:lnTo>
                  <a:lnTo>
                    <a:pt x="182" y="137"/>
                  </a:lnTo>
                  <a:lnTo>
                    <a:pt x="169" y="144"/>
                  </a:lnTo>
                  <a:lnTo>
                    <a:pt x="154" y="152"/>
                  </a:lnTo>
                  <a:lnTo>
                    <a:pt x="136" y="158"/>
                  </a:lnTo>
                  <a:lnTo>
                    <a:pt x="119" y="167"/>
                  </a:lnTo>
                  <a:lnTo>
                    <a:pt x="105" y="177"/>
                  </a:lnTo>
                  <a:lnTo>
                    <a:pt x="94" y="185"/>
                  </a:lnTo>
                  <a:lnTo>
                    <a:pt x="80" y="190"/>
                  </a:lnTo>
                  <a:lnTo>
                    <a:pt x="64" y="194"/>
                  </a:lnTo>
                  <a:lnTo>
                    <a:pt x="47" y="194"/>
                  </a:lnTo>
                  <a:lnTo>
                    <a:pt x="30" y="191"/>
                  </a:lnTo>
                  <a:lnTo>
                    <a:pt x="15" y="188"/>
                  </a:lnTo>
                  <a:lnTo>
                    <a:pt x="5" y="180"/>
                  </a:lnTo>
                  <a:lnTo>
                    <a:pt x="0" y="171"/>
                  </a:lnTo>
                  <a:lnTo>
                    <a:pt x="2" y="162"/>
                  </a:lnTo>
                  <a:lnTo>
                    <a:pt x="11" y="152"/>
                  </a:lnTo>
                  <a:lnTo>
                    <a:pt x="26" y="143"/>
                  </a:lnTo>
                  <a:lnTo>
                    <a:pt x="46" y="134"/>
                  </a:lnTo>
                  <a:lnTo>
                    <a:pt x="52" y="130"/>
                  </a:lnTo>
                  <a:lnTo>
                    <a:pt x="62" y="123"/>
                  </a:lnTo>
                  <a:lnTo>
                    <a:pt x="74" y="116"/>
                  </a:lnTo>
                  <a:lnTo>
                    <a:pt x="88" y="107"/>
                  </a:lnTo>
                  <a:lnTo>
                    <a:pt x="102" y="96"/>
                  </a:lnTo>
                  <a:lnTo>
                    <a:pt x="115" y="84"/>
                  </a:lnTo>
                  <a:lnTo>
                    <a:pt x="127" y="69"/>
                  </a:lnTo>
                  <a:lnTo>
                    <a:pt x="136" y="55"/>
                  </a:lnTo>
                  <a:lnTo>
                    <a:pt x="141" y="41"/>
                  </a:lnTo>
                  <a:lnTo>
                    <a:pt x="143" y="31"/>
                  </a:lnTo>
                  <a:lnTo>
                    <a:pt x="145" y="18"/>
                  </a:lnTo>
                  <a:lnTo>
                    <a:pt x="151" y="9"/>
                  </a:lnTo>
                  <a:lnTo>
                    <a:pt x="15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883"/>
            <p:cNvSpPr>
              <a:spLocks/>
            </p:cNvSpPr>
            <p:nvPr/>
          </p:nvSpPr>
          <p:spPr bwMode="auto">
            <a:xfrm>
              <a:off x="-1682750" y="6096000"/>
              <a:ext cx="301625" cy="236538"/>
            </a:xfrm>
            <a:custGeom>
              <a:avLst/>
              <a:gdLst>
                <a:gd name="T0" fmla="*/ 146 w 190"/>
                <a:gd name="T1" fmla="*/ 0 h 149"/>
                <a:gd name="T2" fmla="*/ 153 w 190"/>
                <a:gd name="T3" fmla="*/ 3 h 149"/>
                <a:gd name="T4" fmla="*/ 155 w 190"/>
                <a:gd name="T5" fmla="*/ 8 h 149"/>
                <a:gd name="T6" fmla="*/ 155 w 190"/>
                <a:gd name="T7" fmla="*/ 10 h 149"/>
                <a:gd name="T8" fmla="*/ 157 w 190"/>
                <a:gd name="T9" fmla="*/ 14 h 149"/>
                <a:gd name="T10" fmla="*/ 158 w 190"/>
                <a:gd name="T11" fmla="*/ 18 h 149"/>
                <a:gd name="T12" fmla="*/ 158 w 190"/>
                <a:gd name="T13" fmla="*/ 22 h 149"/>
                <a:gd name="T14" fmla="*/ 169 w 190"/>
                <a:gd name="T15" fmla="*/ 22 h 149"/>
                <a:gd name="T16" fmla="*/ 177 w 190"/>
                <a:gd name="T17" fmla="*/ 21 h 149"/>
                <a:gd name="T18" fmla="*/ 182 w 190"/>
                <a:gd name="T19" fmla="*/ 18 h 149"/>
                <a:gd name="T20" fmla="*/ 184 w 190"/>
                <a:gd name="T21" fmla="*/ 16 h 149"/>
                <a:gd name="T22" fmla="*/ 185 w 190"/>
                <a:gd name="T23" fmla="*/ 12 h 149"/>
                <a:gd name="T24" fmla="*/ 185 w 190"/>
                <a:gd name="T25" fmla="*/ 8 h 149"/>
                <a:gd name="T26" fmla="*/ 189 w 190"/>
                <a:gd name="T27" fmla="*/ 23 h 149"/>
                <a:gd name="T28" fmla="*/ 190 w 190"/>
                <a:gd name="T29" fmla="*/ 42 h 149"/>
                <a:gd name="T30" fmla="*/ 190 w 190"/>
                <a:gd name="T31" fmla="*/ 60 h 149"/>
                <a:gd name="T32" fmla="*/ 189 w 190"/>
                <a:gd name="T33" fmla="*/ 75 h 149"/>
                <a:gd name="T34" fmla="*/ 187 w 190"/>
                <a:gd name="T35" fmla="*/ 84 h 149"/>
                <a:gd name="T36" fmla="*/ 180 w 190"/>
                <a:gd name="T37" fmla="*/ 92 h 149"/>
                <a:gd name="T38" fmla="*/ 167 w 190"/>
                <a:gd name="T39" fmla="*/ 99 h 149"/>
                <a:gd name="T40" fmla="*/ 152 w 190"/>
                <a:gd name="T41" fmla="*/ 107 h 149"/>
                <a:gd name="T42" fmla="*/ 134 w 190"/>
                <a:gd name="T43" fmla="*/ 113 h 149"/>
                <a:gd name="T44" fmla="*/ 117 w 190"/>
                <a:gd name="T45" fmla="*/ 122 h 149"/>
                <a:gd name="T46" fmla="*/ 103 w 190"/>
                <a:gd name="T47" fmla="*/ 132 h 149"/>
                <a:gd name="T48" fmla="*/ 92 w 190"/>
                <a:gd name="T49" fmla="*/ 140 h 149"/>
                <a:gd name="T50" fmla="*/ 78 w 190"/>
                <a:gd name="T51" fmla="*/ 145 h 149"/>
                <a:gd name="T52" fmla="*/ 63 w 190"/>
                <a:gd name="T53" fmla="*/ 149 h 149"/>
                <a:gd name="T54" fmla="*/ 45 w 190"/>
                <a:gd name="T55" fmla="*/ 149 h 149"/>
                <a:gd name="T56" fmla="*/ 30 w 190"/>
                <a:gd name="T57" fmla="*/ 146 h 149"/>
                <a:gd name="T58" fmla="*/ 16 w 190"/>
                <a:gd name="T59" fmla="*/ 143 h 149"/>
                <a:gd name="T60" fmla="*/ 5 w 190"/>
                <a:gd name="T61" fmla="*/ 135 h 149"/>
                <a:gd name="T62" fmla="*/ 0 w 190"/>
                <a:gd name="T63" fmla="*/ 126 h 149"/>
                <a:gd name="T64" fmla="*/ 1 w 190"/>
                <a:gd name="T65" fmla="*/ 117 h 149"/>
                <a:gd name="T66" fmla="*/ 10 w 190"/>
                <a:gd name="T67" fmla="*/ 107 h 149"/>
                <a:gd name="T68" fmla="*/ 23 w 190"/>
                <a:gd name="T69" fmla="*/ 98 h 149"/>
                <a:gd name="T70" fmla="*/ 41 w 190"/>
                <a:gd name="T71" fmla="*/ 89 h 149"/>
                <a:gd name="T72" fmla="*/ 46 w 190"/>
                <a:gd name="T73" fmla="*/ 86 h 149"/>
                <a:gd name="T74" fmla="*/ 55 w 190"/>
                <a:gd name="T75" fmla="*/ 81 h 149"/>
                <a:gd name="T76" fmla="*/ 67 w 190"/>
                <a:gd name="T77" fmla="*/ 75 h 149"/>
                <a:gd name="T78" fmla="*/ 80 w 190"/>
                <a:gd name="T79" fmla="*/ 66 h 149"/>
                <a:gd name="T80" fmla="*/ 92 w 190"/>
                <a:gd name="T81" fmla="*/ 55 h 149"/>
                <a:gd name="T82" fmla="*/ 105 w 190"/>
                <a:gd name="T83" fmla="*/ 45 h 149"/>
                <a:gd name="T84" fmla="*/ 117 w 190"/>
                <a:gd name="T85" fmla="*/ 33 h 149"/>
                <a:gd name="T86" fmla="*/ 121 w 190"/>
                <a:gd name="T87" fmla="*/ 26 h 149"/>
                <a:gd name="T88" fmla="*/ 121 w 190"/>
                <a:gd name="T89" fmla="*/ 17 h 149"/>
                <a:gd name="T90" fmla="*/ 121 w 190"/>
                <a:gd name="T91" fmla="*/ 9 h 149"/>
                <a:gd name="T92" fmla="*/ 123 w 190"/>
                <a:gd name="T93" fmla="*/ 5 h 149"/>
                <a:gd name="T94" fmla="*/ 130 w 190"/>
                <a:gd name="T95" fmla="*/ 1 h 149"/>
                <a:gd name="T96" fmla="*/ 137 w 190"/>
                <a:gd name="T97" fmla="*/ 0 h 149"/>
                <a:gd name="T98" fmla="*/ 146 w 190"/>
                <a:gd name="T9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0" h="149">
                  <a:moveTo>
                    <a:pt x="146" y="0"/>
                  </a:moveTo>
                  <a:lnTo>
                    <a:pt x="153" y="3"/>
                  </a:lnTo>
                  <a:lnTo>
                    <a:pt x="155" y="8"/>
                  </a:lnTo>
                  <a:lnTo>
                    <a:pt x="155" y="10"/>
                  </a:lnTo>
                  <a:lnTo>
                    <a:pt x="157" y="14"/>
                  </a:lnTo>
                  <a:lnTo>
                    <a:pt x="158" y="18"/>
                  </a:lnTo>
                  <a:lnTo>
                    <a:pt x="158" y="22"/>
                  </a:lnTo>
                  <a:lnTo>
                    <a:pt x="169" y="22"/>
                  </a:lnTo>
                  <a:lnTo>
                    <a:pt x="177" y="21"/>
                  </a:lnTo>
                  <a:lnTo>
                    <a:pt x="182" y="18"/>
                  </a:lnTo>
                  <a:lnTo>
                    <a:pt x="184" y="16"/>
                  </a:lnTo>
                  <a:lnTo>
                    <a:pt x="185" y="12"/>
                  </a:lnTo>
                  <a:lnTo>
                    <a:pt x="185" y="8"/>
                  </a:lnTo>
                  <a:lnTo>
                    <a:pt x="189" y="23"/>
                  </a:lnTo>
                  <a:lnTo>
                    <a:pt x="190" y="42"/>
                  </a:lnTo>
                  <a:lnTo>
                    <a:pt x="190" y="60"/>
                  </a:lnTo>
                  <a:lnTo>
                    <a:pt x="189" y="75"/>
                  </a:lnTo>
                  <a:lnTo>
                    <a:pt x="187" y="84"/>
                  </a:lnTo>
                  <a:lnTo>
                    <a:pt x="180" y="92"/>
                  </a:lnTo>
                  <a:lnTo>
                    <a:pt x="167" y="99"/>
                  </a:lnTo>
                  <a:lnTo>
                    <a:pt x="152" y="107"/>
                  </a:lnTo>
                  <a:lnTo>
                    <a:pt x="134" y="113"/>
                  </a:lnTo>
                  <a:lnTo>
                    <a:pt x="117" y="122"/>
                  </a:lnTo>
                  <a:lnTo>
                    <a:pt x="103" y="132"/>
                  </a:lnTo>
                  <a:lnTo>
                    <a:pt x="92" y="140"/>
                  </a:lnTo>
                  <a:lnTo>
                    <a:pt x="78" y="145"/>
                  </a:lnTo>
                  <a:lnTo>
                    <a:pt x="63" y="149"/>
                  </a:lnTo>
                  <a:lnTo>
                    <a:pt x="45" y="149"/>
                  </a:lnTo>
                  <a:lnTo>
                    <a:pt x="30" y="146"/>
                  </a:lnTo>
                  <a:lnTo>
                    <a:pt x="16" y="143"/>
                  </a:lnTo>
                  <a:lnTo>
                    <a:pt x="5" y="135"/>
                  </a:lnTo>
                  <a:lnTo>
                    <a:pt x="0" y="126"/>
                  </a:lnTo>
                  <a:lnTo>
                    <a:pt x="1" y="117"/>
                  </a:lnTo>
                  <a:lnTo>
                    <a:pt x="10" y="107"/>
                  </a:lnTo>
                  <a:lnTo>
                    <a:pt x="23" y="98"/>
                  </a:lnTo>
                  <a:lnTo>
                    <a:pt x="41" y="89"/>
                  </a:lnTo>
                  <a:lnTo>
                    <a:pt x="46" y="86"/>
                  </a:lnTo>
                  <a:lnTo>
                    <a:pt x="55" y="81"/>
                  </a:lnTo>
                  <a:lnTo>
                    <a:pt x="67" y="75"/>
                  </a:lnTo>
                  <a:lnTo>
                    <a:pt x="80" y="66"/>
                  </a:lnTo>
                  <a:lnTo>
                    <a:pt x="92" y="55"/>
                  </a:lnTo>
                  <a:lnTo>
                    <a:pt x="105" y="45"/>
                  </a:lnTo>
                  <a:lnTo>
                    <a:pt x="117" y="33"/>
                  </a:lnTo>
                  <a:lnTo>
                    <a:pt x="121" y="26"/>
                  </a:lnTo>
                  <a:lnTo>
                    <a:pt x="121" y="17"/>
                  </a:lnTo>
                  <a:lnTo>
                    <a:pt x="121" y="9"/>
                  </a:lnTo>
                  <a:lnTo>
                    <a:pt x="123" y="5"/>
                  </a:lnTo>
                  <a:lnTo>
                    <a:pt x="130" y="1"/>
                  </a:lnTo>
                  <a:lnTo>
                    <a:pt x="137" y="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884"/>
            <p:cNvSpPr>
              <a:spLocks/>
            </p:cNvSpPr>
            <p:nvPr/>
          </p:nvSpPr>
          <p:spPr bwMode="auto">
            <a:xfrm>
              <a:off x="-1625600" y="6130925"/>
              <a:ext cx="200025" cy="139700"/>
            </a:xfrm>
            <a:custGeom>
              <a:avLst/>
              <a:gdLst>
                <a:gd name="T0" fmla="*/ 122 w 126"/>
                <a:gd name="T1" fmla="*/ 0 h 88"/>
                <a:gd name="T2" fmla="*/ 126 w 126"/>
                <a:gd name="T3" fmla="*/ 1 h 88"/>
                <a:gd name="T4" fmla="*/ 122 w 126"/>
                <a:gd name="T5" fmla="*/ 8 h 88"/>
                <a:gd name="T6" fmla="*/ 116 w 126"/>
                <a:gd name="T7" fmla="*/ 17 h 88"/>
                <a:gd name="T8" fmla="*/ 108 w 126"/>
                <a:gd name="T9" fmla="*/ 27 h 88"/>
                <a:gd name="T10" fmla="*/ 99 w 126"/>
                <a:gd name="T11" fmla="*/ 38 h 88"/>
                <a:gd name="T12" fmla="*/ 81 w 126"/>
                <a:gd name="T13" fmla="*/ 59 h 88"/>
                <a:gd name="T14" fmla="*/ 80 w 126"/>
                <a:gd name="T15" fmla="*/ 60 h 88"/>
                <a:gd name="T16" fmla="*/ 71 w 126"/>
                <a:gd name="T17" fmla="*/ 68 h 88"/>
                <a:gd name="T18" fmla="*/ 63 w 126"/>
                <a:gd name="T19" fmla="*/ 76 h 88"/>
                <a:gd name="T20" fmla="*/ 64 w 126"/>
                <a:gd name="T21" fmla="*/ 76 h 88"/>
                <a:gd name="T22" fmla="*/ 49 w 126"/>
                <a:gd name="T23" fmla="*/ 83 h 88"/>
                <a:gd name="T24" fmla="*/ 36 w 126"/>
                <a:gd name="T25" fmla="*/ 88 h 88"/>
                <a:gd name="T26" fmla="*/ 23 w 126"/>
                <a:gd name="T27" fmla="*/ 88 h 88"/>
                <a:gd name="T28" fmla="*/ 14 w 126"/>
                <a:gd name="T29" fmla="*/ 87 h 88"/>
                <a:gd name="T30" fmla="*/ 6 w 126"/>
                <a:gd name="T31" fmla="*/ 83 h 88"/>
                <a:gd name="T32" fmla="*/ 1 w 126"/>
                <a:gd name="T33" fmla="*/ 78 h 88"/>
                <a:gd name="T34" fmla="*/ 0 w 126"/>
                <a:gd name="T35" fmla="*/ 73 h 88"/>
                <a:gd name="T36" fmla="*/ 0 w 126"/>
                <a:gd name="T37" fmla="*/ 72 h 88"/>
                <a:gd name="T38" fmla="*/ 1 w 126"/>
                <a:gd name="T39" fmla="*/ 70 h 88"/>
                <a:gd name="T40" fmla="*/ 5 w 126"/>
                <a:gd name="T41" fmla="*/ 68 h 88"/>
                <a:gd name="T42" fmla="*/ 6 w 126"/>
                <a:gd name="T43" fmla="*/ 72 h 88"/>
                <a:gd name="T44" fmla="*/ 4 w 126"/>
                <a:gd name="T45" fmla="*/ 73 h 88"/>
                <a:gd name="T46" fmla="*/ 5 w 126"/>
                <a:gd name="T47" fmla="*/ 77 h 88"/>
                <a:gd name="T48" fmla="*/ 8 w 126"/>
                <a:gd name="T49" fmla="*/ 79 h 88"/>
                <a:gd name="T50" fmla="*/ 15 w 126"/>
                <a:gd name="T51" fmla="*/ 83 h 88"/>
                <a:gd name="T52" fmla="*/ 24 w 126"/>
                <a:gd name="T53" fmla="*/ 85 h 88"/>
                <a:gd name="T54" fmla="*/ 35 w 126"/>
                <a:gd name="T55" fmla="*/ 85 h 88"/>
                <a:gd name="T56" fmla="*/ 48 w 126"/>
                <a:gd name="T57" fmla="*/ 79 h 88"/>
                <a:gd name="T58" fmla="*/ 62 w 126"/>
                <a:gd name="T59" fmla="*/ 72 h 88"/>
                <a:gd name="T60" fmla="*/ 62 w 126"/>
                <a:gd name="T61" fmla="*/ 72 h 88"/>
                <a:gd name="T62" fmla="*/ 69 w 126"/>
                <a:gd name="T63" fmla="*/ 64 h 88"/>
                <a:gd name="T64" fmla="*/ 78 w 126"/>
                <a:gd name="T65" fmla="*/ 56 h 88"/>
                <a:gd name="T66" fmla="*/ 95 w 126"/>
                <a:gd name="T67" fmla="*/ 37 h 88"/>
                <a:gd name="T68" fmla="*/ 104 w 126"/>
                <a:gd name="T69" fmla="*/ 26 h 88"/>
                <a:gd name="T70" fmla="*/ 112 w 126"/>
                <a:gd name="T71" fmla="*/ 15 h 88"/>
                <a:gd name="T72" fmla="*/ 118 w 126"/>
                <a:gd name="T73" fmla="*/ 6 h 88"/>
                <a:gd name="T74" fmla="*/ 122 w 126"/>
                <a:gd name="T7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" h="88">
                  <a:moveTo>
                    <a:pt x="122" y="0"/>
                  </a:moveTo>
                  <a:lnTo>
                    <a:pt x="126" y="1"/>
                  </a:lnTo>
                  <a:lnTo>
                    <a:pt x="122" y="8"/>
                  </a:lnTo>
                  <a:lnTo>
                    <a:pt x="116" y="17"/>
                  </a:lnTo>
                  <a:lnTo>
                    <a:pt x="108" y="27"/>
                  </a:lnTo>
                  <a:lnTo>
                    <a:pt x="99" y="38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1" y="68"/>
                  </a:lnTo>
                  <a:lnTo>
                    <a:pt x="63" y="76"/>
                  </a:lnTo>
                  <a:lnTo>
                    <a:pt x="64" y="76"/>
                  </a:lnTo>
                  <a:lnTo>
                    <a:pt x="49" y="83"/>
                  </a:lnTo>
                  <a:lnTo>
                    <a:pt x="36" y="88"/>
                  </a:lnTo>
                  <a:lnTo>
                    <a:pt x="23" y="88"/>
                  </a:lnTo>
                  <a:lnTo>
                    <a:pt x="14" y="87"/>
                  </a:lnTo>
                  <a:lnTo>
                    <a:pt x="6" y="83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1" y="70"/>
                  </a:lnTo>
                  <a:lnTo>
                    <a:pt x="5" y="68"/>
                  </a:lnTo>
                  <a:lnTo>
                    <a:pt x="6" y="72"/>
                  </a:lnTo>
                  <a:lnTo>
                    <a:pt x="4" y="73"/>
                  </a:lnTo>
                  <a:lnTo>
                    <a:pt x="5" y="77"/>
                  </a:lnTo>
                  <a:lnTo>
                    <a:pt x="8" y="79"/>
                  </a:lnTo>
                  <a:lnTo>
                    <a:pt x="15" y="83"/>
                  </a:lnTo>
                  <a:lnTo>
                    <a:pt x="24" y="85"/>
                  </a:lnTo>
                  <a:lnTo>
                    <a:pt x="35" y="85"/>
                  </a:lnTo>
                  <a:lnTo>
                    <a:pt x="48" y="79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9" y="64"/>
                  </a:lnTo>
                  <a:lnTo>
                    <a:pt x="78" y="56"/>
                  </a:lnTo>
                  <a:lnTo>
                    <a:pt x="95" y="37"/>
                  </a:lnTo>
                  <a:lnTo>
                    <a:pt x="104" y="26"/>
                  </a:lnTo>
                  <a:lnTo>
                    <a:pt x="112" y="15"/>
                  </a:lnTo>
                  <a:lnTo>
                    <a:pt x="118" y="6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Line 885"/>
            <p:cNvSpPr>
              <a:spLocks noChangeShapeType="1"/>
            </p:cNvSpPr>
            <p:nvPr/>
          </p:nvSpPr>
          <p:spPr bwMode="auto">
            <a:xfrm flipH="1" flipV="1">
              <a:off x="-1538288" y="6186488"/>
              <a:ext cx="19050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Line 886"/>
            <p:cNvSpPr>
              <a:spLocks noChangeShapeType="1"/>
            </p:cNvSpPr>
            <p:nvPr/>
          </p:nvSpPr>
          <p:spPr bwMode="auto">
            <a:xfrm flipH="1" flipV="1">
              <a:off x="-1519238" y="6165850"/>
              <a:ext cx="17463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Line 887"/>
            <p:cNvSpPr>
              <a:spLocks noChangeShapeType="1"/>
            </p:cNvSpPr>
            <p:nvPr/>
          </p:nvSpPr>
          <p:spPr bwMode="auto">
            <a:xfrm flipH="1" flipV="1">
              <a:off x="-1503363" y="6153150"/>
              <a:ext cx="19050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Line 888"/>
            <p:cNvSpPr>
              <a:spLocks noChangeShapeType="1"/>
            </p:cNvSpPr>
            <p:nvPr/>
          </p:nvSpPr>
          <p:spPr bwMode="auto">
            <a:xfrm>
              <a:off x="-1562100" y="6202363"/>
              <a:ext cx="53975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Line 889"/>
            <p:cNvSpPr>
              <a:spLocks noChangeShapeType="1"/>
            </p:cNvSpPr>
            <p:nvPr/>
          </p:nvSpPr>
          <p:spPr bwMode="auto">
            <a:xfrm>
              <a:off x="-1539875" y="6183313"/>
              <a:ext cx="52388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Line 890"/>
            <p:cNvSpPr>
              <a:spLocks noChangeShapeType="1"/>
            </p:cNvSpPr>
            <p:nvPr/>
          </p:nvSpPr>
          <p:spPr bwMode="auto">
            <a:xfrm>
              <a:off x="-1524000" y="6167438"/>
              <a:ext cx="57150" cy="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Line 891"/>
            <p:cNvSpPr>
              <a:spLocks noChangeShapeType="1"/>
            </p:cNvSpPr>
            <p:nvPr/>
          </p:nvSpPr>
          <p:spPr bwMode="auto">
            <a:xfrm flipH="1" flipV="1">
              <a:off x="-1562100" y="6202363"/>
              <a:ext cx="17463" cy="3492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Line 892"/>
            <p:cNvSpPr>
              <a:spLocks noChangeShapeType="1"/>
            </p:cNvSpPr>
            <p:nvPr/>
          </p:nvSpPr>
          <p:spPr bwMode="auto">
            <a:xfrm>
              <a:off x="-1584325" y="6218238"/>
              <a:ext cx="60325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Line 893"/>
            <p:cNvSpPr>
              <a:spLocks noChangeShapeType="1"/>
            </p:cNvSpPr>
            <p:nvPr/>
          </p:nvSpPr>
          <p:spPr bwMode="auto">
            <a:xfrm>
              <a:off x="-1611313" y="6232525"/>
              <a:ext cx="66675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Line 894"/>
            <p:cNvSpPr>
              <a:spLocks noChangeShapeType="1"/>
            </p:cNvSpPr>
            <p:nvPr/>
          </p:nvSpPr>
          <p:spPr bwMode="auto">
            <a:xfrm flipH="1" flipV="1">
              <a:off x="-1584325" y="6219825"/>
              <a:ext cx="14288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895"/>
            <p:cNvSpPr>
              <a:spLocks/>
            </p:cNvSpPr>
            <p:nvPr/>
          </p:nvSpPr>
          <p:spPr bwMode="auto">
            <a:xfrm>
              <a:off x="-1685925" y="6265863"/>
              <a:ext cx="80963" cy="68263"/>
            </a:xfrm>
            <a:custGeom>
              <a:avLst/>
              <a:gdLst>
                <a:gd name="T0" fmla="*/ 11 w 51"/>
                <a:gd name="T1" fmla="*/ 0 h 43"/>
                <a:gd name="T2" fmla="*/ 12 w 51"/>
                <a:gd name="T3" fmla="*/ 0 h 43"/>
                <a:gd name="T4" fmla="*/ 28 w 51"/>
                <a:gd name="T5" fmla="*/ 3 h 43"/>
                <a:gd name="T6" fmla="*/ 39 w 51"/>
                <a:gd name="T7" fmla="*/ 12 h 43"/>
                <a:gd name="T8" fmla="*/ 48 w 51"/>
                <a:gd name="T9" fmla="*/ 25 h 43"/>
                <a:gd name="T10" fmla="*/ 51 w 51"/>
                <a:gd name="T11" fmla="*/ 42 h 43"/>
                <a:gd name="T12" fmla="*/ 38 w 51"/>
                <a:gd name="T13" fmla="*/ 43 h 43"/>
                <a:gd name="T14" fmla="*/ 25 w 51"/>
                <a:gd name="T15" fmla="*/ 42 h 43"/>
                <a:gd name="T16" fmla="*/ 15 w 51"/>
                <a:gd name="T17" fmla="*/ 39 h 43"/>
                <a:gd name="T18" fmla="*/ 6 w 51"/>
                <a:gd name="T19" fmla="*/ 36 h 43"/>
                <a:gd name="T20" fmla="*/ 1 w 51"/>
                <a:gd name="T21" fmla="*/ 28 h 43"/>
                <a:gd name="T22" fmla="*/ 0 w 51"/>
                <a:gd name="T23" fmla="*/ 19 h 43"/>
                <a:gd name="T24" fmla="*/ 1 w 51"/>
                <a:gd name="T25" fmla="*/ 14 h 43"/>
                <a:gd name="T26" fmla="*/ 2 w 51"/>
                <a:gd name="T27" fmla="*/ 10 h 43"/>
                <a:gd name="T28" fmla="*/ 6 w 51"/>
                <a:gd name="T29" fmla="*/ 5 h 43"/>
                <a:gd name="T30" fmla="*/ 11 w 51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43">
                  <a:moveTo>
                    <a:pt x="11" y="0"/>
                  </a:moveTo>
                  <a:lnTo>
                    <a:pt x="12" y="0"/>
                  </a:lnTo>
                  <a:lnTo>
                    <a:pt x="28" y="3"/>
                  </a:lnTo>
                  <a:lnTo>
                    <a:pt x="39" y="12"/>
                  </a:lnTo>
                  <a:lnTo>
                    <a:pt x="48" y="25"/>
                  </a:lnTo>
                  <a:lnTo>
                    <a:pt x="51" y="42"/>
                  </a:lnTo>
                  <a:lnTo>
                    <a:pt x="38" y="43"/>
                  </a:lnTo>
                  <a:lnTo>
                    <a:pt x="25" y="42"/>
                  </a:lnTo>
                  <a:lnTo>
                    <a:pt x="15" y="39"/>
                  </a:lnTo>
                  <a:lnTo>
                    <a:pt x="6" y="36"/>
                  </a:lnTo>
                  <a:lnTo>
                    <a:pt x="1" y="28"/>
                  </a:lnTo>
                  <a:lnTo>
                    <a:pt x="0" y="19"/>
                  </a:lnTo>
                  <a:lnTo>
                    <a:pt x="1" y="14"/>
                  </a:lnTo>
                  <a:lnTo>
                    <a:pt x="2" y="10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896"/>
            <p:cNvSpPr>
              <a:spLocks/>
            </p:cNvSpPr>
            <p:nvPr/>
          </p:nvSpPr>
          <p:spPr bwMode="auto">
            <a:xfrm>
              <a:off x="-1411288" y="6154738"/>
              <a:ext cx="34925" cy="98425"/>
            </a:xfrm>
            <a:custGeom>
              <a:avLst/>
              <a:gdLst>
                <a:gd name="T0" fmla="*/ 19 w 22"/>
                <a:gd name="T1" fmla="*/ 0 h 62"/>
                <a:gd name="T2" fmla="*/ 22 w 22"/>
                <a:gd name="T3" fmla="*/ 16 h 62"/>
                <a:gd name="T4" fmla="*/ 20 w 22"/>
                <a:gd name="T5" fmla="*/ 32 h 62"/>
                <a:gd name="T6" fmla="*/ 20 w 22"/>
                <a:gd name="T7" fmla="*/ 45 h 62"/>
                <a:gd name="T8" fmla="*/ 18 w 22"/>
                <a:gd name="T9" fmla="*/ 52 h 62"/>
                <a:gd name="T10" fmla="*/ 16 w 22"/>
                <a:gd name="T11" fmla="*/ 55 h 62"/>
                <a:gd name="T12" fmla="*/ 13 w 22"/>
                <a:gd name="T13" fmla="*/ 58 h 62"/>
                <a:gd name="T14" fmla="*/ 9 w 22"/>
                <a:gd name="T15" fmla="*/ 61 h 62"/>
                <a:gd name="T16" fmla="*/ 5 w 22"/>
                <a:gd name="T17" fmla="*/ 62 h 62"/>
                <a:gd name="T18" fmla="*/ 0 w 22"/>
                <a:gd name="T19" fmla="*/ 61 h 62"/>
                <a:gd name="T20" fmla="*/ 6 w 22"/>
                <a:gd name="T21" fmla="*/ 52 h 62"/>
                <a:gd name="T22" fmla="*/ 13 w 22"/>
                <a:gd name="T23" fmla="*/ 38 h 62"/>
                <a:gd name="T24" fmla="*/ 16 w 22"/>
                <a:gd name="T25" fmla="*/ 23 h 62"/>
                <a:gd name="T26" fmla="*/ 18 w 22"/>
                <a:gd name="T27" fmla="*/ 11 h 62"/>
                <a:gd name="T28" fmla="*/ 19 w 22"/>
                <a:gd name="T2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" h="62">
                  <a:moveTo>
                    <a:pt x="19" y="0"/>
                  </a:moveTo>
                  <a:lnTo>
                    <a:pt x="22" y="16"/>
                  </a:lnTo>
                  <a:lnTo>
                    <a:pt x="20" y="32"/>
                  </a:lnTo>
                  <a:lnTo>
                    <a:pt x="20" y="45"/>
                  </a:lnTo>
                  <a:lnTo>
                    <a:pt x="18" y="52"/>
                  </a:lnTo>
                  <a:lnTo>
                    <a:pt x="16" y="55"/>
                  </a:lnTo>
                  <a:lnTo>
                    <a:pt x="13" y="58"/>
                  </a:lnTo>
                  <a:lnTo>
                    <a:pt x="9" y="61"/>
                  </a:lnTo>
                  <a:lnTo>
                    <a:pt x="5" y="62"/>
                  </a:lnTo>
                  <a:lnTo>
                    <a:pt x="0" y="61"/>
                  </a:lnTo>
                  <a:lnTo>
                    <a:pt x="6" y="52"/>
                  </a:lnTo>
                  <a:lnTo>
                    <a:pt x="13" y="38"/>
                  </a:lnTo>
                  <a:lnTo>
                    <a:pt x="16" y="23"/>
                  </a:lnTo>
                  <a:lnTo>
                    <a:pt x="18" y="11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897"/>
            <p:cNvSpPr>
              <a:spLocks/>
            </p:cNvSpPr>
            <p:nvPr/>
          </p:nvSpPr>
          <p:spPr bwMode="auto">
            <a:xfrm>
              <a:off x="-1544638" y="4865688"/>
              <a:ext cx="423863" cy="1295400"/>
            </a:xfrm>
            <a:custGeom>
              <a:avLst/>
              <a:gdLst>
                <a:gd name="T0" fmla="*/ 149 w 267"/>
                <a:gd name="T1" fmla="*/ 0 h 816"/>
                <a:gd name="T2" fmla="*/ 208 w 267"/>
                <a:gd name="T3" fmla="*/ 8 h 816"/>
                <a:gd name="T4" fmla="*/ 253 w 267"/>
                <a:gd name="T5" fmla="*/ 22 h 816"/>
                <a:gd name="T6" fmla="*/ 267 w 267"/>
                <a:gd name="T7" fmla="*/ 63 h 816"/>
                <a:gd name="T8" fmla="*/ 267 w 267"/>
                <a:gd name="T9" fmla="*/ 141 h 816"/>
                <a:gd name="T10" fmla="*/ 265 w 267"/>
                <a:gd name="T11" fmla="*/ 231 h 816"/>
                <a:gd name="T12" fmla="*/ 256 w 267"/>
                <a:gd name="T13" fmla="*/ 340 h 816"/>
                <a:gd name="T14" fmla="*/ 245 w 267"/>
                <a:gd name="T15" fmla="*/ 457 h 816"/>
                <a:gd name="T16" fmla="*/ 243 w 267"/>
                <a:gd name="T17" fmla="*/ 533 h 816"/>
                <a:gd name="T18" fmla="*/ 243 w 267"/>
                <a:gd name="T19" fmla="*/ 583 h 816"/>
                <a:gd name="T20" fmla="*/ 243 w 267"/>
                <a:gd name="T21" fmla="*/ 651 h 816"/>
                <a:gd name="T22" fmla="*/ 243 w 267"/>
                <a:gd name="T23" fmla="*/ 723 h 816"/>
                <a:gd name="T24" fmla="*/ 243 w 267"/>
                <a:gd name="T25" fmla="*/ 782 h 816"/>
                <a:gd name="T26" fmla="*/ 243 w 267"/>
                <a:gd name="T27" fmla="*/ 816 h 816"/>
                <a:gd name="T28" fmla="*/ 171 w 267"/>
                <a:gd name="T29" fmla="*/ 814 h 816"/>
                <a:gd name="T30" fmla="*/ 167 w 267"/>
                <a:gd name="T31" fmla="*/ 784 h 816"/>
                <a:gd name="T32" fmla="*/ 165 w 267"/>
                <a:gd name="T33" fmla="*/ 737 h 816"/>
                <a:gd name="T34" fmla="*/ 161 w 267"/>
                <a:gd name="T35" fmla="*/ 683 h 816"/>
                <a:gd name="T36" fmla="*/ 157 w 267"/>
                <a:gd name="T37" fmla="*/ 637 h 816"/>
                <a:gd name="T38" fmla="*/ 154 w 267"/>
                <a:gd name="T39" fmla="*/ 574 h 816"/>
                <a:gd name="T40" fmla="*/ 152 w 267"/>
                <a:gd name="T41" fmla="*/ 499 h 816"/>
                <a:gd name="T42" fmla="*/ 150 w 267"/>
                <a:gd name="T43" fmla="*/ 431 h 816"/>
                <a:gd name="T44" fmla="*/ 148 w 267"/>
                <a:gd name="T45" fmla="*/ 349 h 816"/>
                <a:gd name="T46" fmla="*/ 139 w 267"/>
                <a:gd name="T47" fmla="*/ 223 h 816"/>
                <a:gd name="T48" fmla="*/ 130 w 267"/>
                <a:gd name="T49" fmla="*/ 204 h 816"/>
                <a:gd name="T50" fmla="*/ 129 w 267"/>
                <a:gd name="T51" fmla="*/ 291 h 816"/>
                <a:gd name="T52" fmla="*/ 129 w 267"/>
                <a:gd name="T53" fmla="*/ 370 h 816"/>
                <a:gd name="T54" fmla="*/ 127 w 267"/>
                <a:gd name="T55" fmla="*/ 436 h 816"/>
                <a:gd name="T56" fmla="*/ 126 w 267"/>
                <a:gd name="T57" fmla="*/ 507 h 816"/>
                <a:gd name="T58" fmla="*/ 124 w 267"/>
                <a:gd name="T59" fmla="*/ 583 h 816"/>
                <a:gd name="T60" fmla="*/ 121 w 267"/>
                <a:gd name="T61" fmla="*/ 644 h 816"/>
                <a:gd name="T62" fmla="*/ 118 w 267"/>
                <a:gd name="T63" fmla="*/ 687 h 816"/>
                <a:gd name="T64" fmla="*/ 113 w 267"/>
                <a:gd name="T65" fmla="*/ 735 h 816"/>
                <a:gd name="T66" fmla="*/ 108 w 267"/>
                <a:gd name="T67" fmla="*/ 778 h 816"/>
                <a:gd name="T68" fmla="*/ 104 w 267"/>
                <a:gd name="T69" fmla="*/ 805 h 816"/>
                <a:gd name="T70" fmla="*/ 30 w 267"/>
                <a:gd name="T71" fmla="*/ 799 h 816"/>
                <a:gd name="T72" fmla="*/ 30 w 267"/>
                <a:gd name="T73" fmla="*/ 761 h 816"/>
                <a:gd name="T74" fmla="*/ 27 w 267"/>
                <a:gd name="T75" fmla="*/ 701 h 816"/>
                <a:gd name="T76" fmla="*/ 23 w 267"/>
                <a:gd name="T77" fmla="*/ 630 h 816"/>
                <a:gd name="T78" fmla="*/ 21 w 267"/>
                <a:gd name="T79" fmla="*/ 560 h 816"/>
                <a:gd name="T80" fmla="*/ 17 w 267"/>
                <a:gd name="T81" fmla="*/ 445 h 816"/>
                <a:gd name="T82" fmla="*/ 4 w 267"/>
                <a:gd name="T83" fmla="*/ 277 h 816"/>
                <a:gd name="T84" fmla="*/ 0 w 267"/>
                <a:gd name="T85" fmla="*/ 185 h 816"/>
                <a:gd name="T86" fmla="*/ 0 w 267"/>
                <a:gd name="T87" fmla="*/ 96 h 816"/>
                <a:gd name="T88" fmla="*/ 2 w 267"/>
                <a:gd name="T89" fmla="*/ 30 h 816"/>
                <a:gd name="T90" fmla="*/ 35 w 267"/>
                <a:gd name="T91" fmla="*/ 12 h 816"/>
                <a:gd name="T92" fmla="*/ 88 w 267"/>
                <a:gd name="T93" fmla="*/ 1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7" h="816">
                  <a:moveTo>
                    <a:pt x="118" y="0"/>
                  </a:moveTo>
                  <a:lnTo>
                    <a:pt x="149" y="0"/>
                  </a:lnTo>
                  <a:lnTo>
                    <a:pt x="180" y="3"/>
                  </a:lnTo>
                  <a:lnTo>
                    <a:pt x="208" y="8"/>
                  </a:lnTo>
                  <a:lnTo>
                    <a:pt x="233" y="14"/>
                  </a:lnTo>
                  <a:lnTo>
                    <a:pt x="253" y="22"/>
                  </a:lnTo>
                  <a:lnTo>
                    <a:pt x="266" y="32"/>
                  </a:lnTo>
                  <a:lnTo>
                    <a:pt x="267" y="63"/>
                  </a:lnTo>
                  <a:lnTo>
                    <a:pt x="267" y="99"/>
                  </a:lnTo>
                  <a:lnTo>
                    <a:pt x="267" y="141"/>
                  </a:lnTo>
                  <a:lnTo>
                    <a:pt x="266" y="185"/>
                  </a:lnTo>
                  <a:lnTo>
                    <a:pt x="265" y="231"/>
                  </a:lnTo>
                  <a:lnTo>
                    <a:pt x="262" y="277"/>
                  </a:lnTo>
                  <a:lnTo>
                    <a:pt x="256" y="340"/>
                  </a:lnTo>
                  <a:lnTo>
                    <a:pt x="251" y="399"/>
                  </a:lnTo>
                  <a:lnTo>
                    <a:pt x="245" y="457"/>
                  </a:lnTo>
                  <a:lnTo>
                    <a:pt x="244" y="517"/>
                  </a:lnTo>
                  <a:lnTo>
                    <a:pt x="243" y="533"/>
                  </a:lnTo>
                  <a:lnTo>
                    <a:pt x="243" y="554"/>
                  </a:lnTo>
                  <a:lnTo>
                    <a:pt x="243" y="583"/>
                  </a:lnTo>
                  <a:lnTo>
                    <a:pt x="243" y="616"/>
                  </a:lnTo>
                  <a:lnTo>
                    <a:pt x="243" y="651"/>
                  </a:lnTo>
                  <a:lnTo>
                    <a:pt x="243" y="687"/>
                  </a:lnTo>
                  <a:lnTo>
                    <a:pt x="243" y="723"/>
                  </a:lnTo>
                  <a:lnTo>
                    <a:pt x="243" y="755"/>
                  </a:lnTo>
                  <a:lnTo>
                    <a:pt x="243" y="782"/>
                  </a:lnTo>
                  <a:lnTo>
                    <a:pt x="243" y="803"/>
                  </a:lnTo>
                  <a:lnTo>
                    <a:pt x="243" y="816"/>
                  </a:lnTo>
                  <a:lnTo>
                    <a:pt x="171" y="816"/>
                  </a:lnTo>
                  <a:lnTo>
                    <a:pt x="171" y="814"/>
                  </a:lnTo>
                  <a:lnTo>
                    <a:pt x="170" y="802"/>
                  </a:lnTo>
                  <a:lnTo>
                    <a:pt x="167" y="784"/>
                  </a:lnTo>
                  <a:lnTo>
                    <a:pt x="166" y="762"/>
                  </a:lnTo>
                  <a:lnTo>
                    <a:pt x="165" y="737"/>
                  </a:lnTo>
                  <a:lnTo>
                    <a:pt x="162" y="710"/>
                  </a:lnTo>
                  <a:lnTo>
                    <a:pt x="161" y="683"/>
                  </a:lnTo>
                  <a:lnTo>
                    <a:pt x="158" y="658"/>
                  </a:lnTo>
                  <a:lnTo>
                    <a:pt x="157" y="637"/>
                  </a:lnTo>
                  <a:lnTo>
                    <a:pt x="156" y="607"/>
                  </a:lnTo>
                  <a:lnTo>
                    <a:pt x="154" y="574"/>
                  </a:lnTo>
                  <a:lnTo>
                    <a:pt x="153" y="536"/>
                  </a:lnTo>
                  <a:lnTo>
                    <a:pt x="152" y="499"/>
                  </a:lnTo>
                  <a:lnTo>
                    <a:pt x="152" y="463"/>
                  </a:lnTo>
                  <a:lnTo>
                    <a:pt x="150" y="431"/>
                  </a:lnTo>
                  <a:lnTo>
                    <a:pt x="150" y="404"/>
                  </a:lnTo>
                  <a:lnTo>
                    <a:pt x="148" y="349"/>
                  </a:lnTo>
                  <a:lnTo>
                    <a:pt x="144" y="288"/>
                  </a:lnTo>
                  <a:lnTo>
                    <a:pt x="139" y="223"/>
                  </a:lnTo>
                  <a:lnTo>
                    <a:pt x="133" y="153"/>
                  </a:lnTo>
                  <a:lnTo>
                    <a:pt x="130" y="204"/>
                  </a:lnTo>
                  <a:lnTo>
                    <a:pt x="129" y="250"/>
                  </a:lnTo>
                  <a:lnTo>
                    <a:pt x="129" y="291"/>
                  </a:lnTo>
                  <a:lnTo>
                    <a:pt x="129" y="330"/>
                  </a:lnTo>
                  <a:lnTo>
                    <a:pt x="129" y="370"/>
                  </a:lnTo>
                  <a:lnTo>
                    <a:pt x="129" y="409"/>
                  </a:lnTo>
                  <a:lnTo>
                    <a:pt x="127" y="436"/>
                  </a:lnTo>
                  <a:lnTo>
                    <a:pt x="126" y="470"/>
                  </a:lnTo>
                  <a:lnTo>
                    <a:pt x="126" y="507"/>
                  </a:lnTo>
                  <a:lnTo>
                    <a:pt x="125" y="545"/>
                  </a:lnTo>
                  <a:lnTo>
                    <a:pt x="124" y="583"/>
                  </a:lnTo>
                  <a:lnTo>
                    <a:pt x="122" y="616"/>
                  </a:lnTo>
                  <a:lnTo>
                    <a:pt x="121" y="644"/>
                  </a:lnTo>
                  <a:lnTo>
                    <a:pt x="120" y="663"/>
                  </a:lnTo>
                  <a:lnTo>
                    <a:pt x="118" y="687"/>
                  </a:lnTo>
                  <a:lnTo>
                    <a:pt x="116" y="711"/>
                  </a:lnTo>
                  <a:lnTo>
                    <a:pt x="113" y="735"/>
                  </a:lnTo>
                  <a:lnTo>
                    <a:pt x="111" y="757"/>
                  </a:lnTo>
                  <a:lnTo>
                    <a:pt x="108" y="778"/>
                  </a:lnTo>
                  <a:lnTo>
                    <a:pt x="106" y="794"/>
                  </a:lnTo>
                  <a:lnTo>
                    <a:pt x="104" y="805"/>
                  </a:lnTo>
                  <a:lnTo>
                    <a:pt x="104" y="808"/>
                  </a:lnTo>
                  <a:lnTo>
                    <a:pt x="30" y="799"/>
                  </a:lnTo>
                  <a:lnTo>
                    <a:pt x="31" y="783"/>
                  </a:lnTo>
                  <a:lnTo>
                    <a:pt x="30" y="761"/>
                  </a:lnTo>
                  <a:lnTo>
                    <a:pt x="29" y="733"/>
                  </a:lnTo>
                  <a:lnTo>
                    <a:pt x="27" y="701"/>
                  </a:lnTo>
                  <a:lnTo>
                    <a:pt x="25" y="666"/>
                  </a:lnTo>
                  <a:lnTo>
                    <a:pt x="23" y="630"/>
                  </a:lnTo>
                  <a:lnTo>
                    <a:pt x="22" y="594"/>
                  </a:lnTo>
                  <a:lnTo>
                    <a:pt x="21" y="560"/>
                  </a:lnTo>
                  <a:lnTo>
                    <a:pt x="20" y="526"/>
                  </a:lnTo>
                  <a:lnTo>
                    <a:pt x="17" y="445"/>
                  </a:lnTo>
                  <a:lnTo>
                    <a:pt x="12" y="363"/>
                  </a:lnTo>
                  <a:lnTo>
                    <a:pt x="4" y="277"/>
                  </a:lnTo>
                  <a:lnTo>
                    <a:pt x="2" y="231"/>
                  </a:lnTo>
                  <a:lnTo>
                    <a:pt x="0" y="185"/>
                  </a:lnTo>
                  <a:lnTo>
                    <a:pt x="0" y="139"/>
                  </a:lnTo>
                  <a:lnTo>
                    <a:pt x="0" y="96"/>
                  </a:lnTo>
                  <a:lnTo>
                    <a:pt x="0" y="59"/>
                  </a:lnTo>
                  <a:lnTo>
                    <a:pt x="2" y="30"/>
                  </a:lnTo>
                  <a:lnTo>
                    <a:pt x="14" y="19"/>
                  </a:lnTo>
                  <a:lnTo>
                    <a:pt x="35" y="12"/>
                  </a:lnTo>
                  <a:lnTo>
                    <a:pt x="59" y="5"/>
                  </a:lnTo>
                  <a:lnTo>
                    <a:pt x="88" y="1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898"/>
            <p:cNvSpPr>
              <a:spLocks/>
            </p:cNvSpPr>
            <p:nvPr/>
          </p:nvSpPr>
          <p:spPr bwMode="auto">
            <a:xfrm>
              <a:off x="-1357313" y="4937125"/>
              <a:ext cx="55563" cy="120650"/>
            </a:xfrm>
            <a:custGeom>
              <a:avLst/>
              <a:gdLst>
                <a:gd name="T0" fmla="*/ 2 w 35"/>
                <a:gd name="T1" fmla="*/ 0 h 76"/>
                <a:gd name="T2" fmla="*/ 11 w 35"/>
                <a:gd name="T3" fmla="*/ 0 h 76"/>
                <a:gd name="T4" fmla="*/ 9 w 35"/>
                <a:gd name="T5" fmla="*/ 6 h 76"/>
                <a:gd name="T6" fmla="*/ 9 w 35"/>
                <a:gd name="T7" fmla="*/ 50 h 76"/>
                <a:gd name="T8" fmla="*/ 11 w 35"/>
                <a:gd name="T9" fmla="*/ 59 h 76"/>
                <a:gd name="T10" fmla="*/ 12 w 35"/>
                <a:gd name="T11" fmla="*/ 66 h 76"/>
                <a:gd name="T12" fmla="*/ 12 w 35"/>
                <a:gd name="T13" fmla="*/ 66 h 76"/>
                <a:gd name="T14" fmla="*/ 27 w 35"/>
                <a:gd name="T15" fmla="*/ 66 h 76"/>
                <a:gd name="T16" fmla="*/ 32 w 35"/>
                <a:gd name="T17" fmla="*/ 67 h 76"/>
                <a:gd name="T18" fmla="*/ 35 w 35"/>
                <a:gd name="T19" fmla="*/ 67 h 76"/>
                <a:gd name="T20" fmla="*/ 35 w 35"/>
                <a:gd name="T21" fmla="*/ 76 h 76"/>
                <a:gd name="T22" fmla="*/ 32 w 35"/>
                <a:gd name="T23" fmla="*/ 76 h 76"/>
                <a:gd name="T24" fmla="*/ 27 w 35"/>
                <a:gd name="T25" fmla="*/ 74 h 76"/>
                <a:gd name="T26" fmla="*/ 11 w 35"/>
                <a:gd name="T27" fmla="*/ 74 h 76"/>
                <a:gd name="T28" fmla="*/ 9 w 35"/>
                <a:gd name="T29" fmla="*/ 73 h 76"/>
                <a:gd name="T30" fmla="*/ 6 w 35"/>
                <a:gd name="T31" fmla="*/ 72 h 76"/>
                <a:gd name="T32" fmla="*/ 3 w 35"/>
                <a:gd name="T33" fmla="*/ 67 h 76"/>
                <a:gd name="T34" fmla="*/ 2 w 35"/>
                <a:gd name="T35" fmla="*/ 59 h 76"/>
                <a:gd name="T36" fmla="*/ 0 w 35"/>
                <a:gd name="T37" fmla="*/ 50 h 76"/>
                <a:gd name="T38" fmla="*/ 0 w 35"/>
                <a:gd name="T39" fmla="*/ 6 h 76"/>
                <a:gd name="T40" fmla="*/ 2 w 35"/>
                <a:gd name="T4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76">
                  <a:moveTo>
                    <a:pt x="2" y="0"/>
                  </a:moveTo>
                  <a:lnTo>
                    <a:pt x="11" y="0"/>
                  </a:lnTo>
                  <a:lnTo>
                    <a:pt x="9" y="6"/>
                  </a:lnTo>
                  <a:lnTo>
                    <a:pt x="9" y="50"/>
                  </a:lnTo>
                  <a:lnTo>
                    <a:pt x="11" y="59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27" y="66"/>
                  </a:lnTo>
                  <a:lnTo>
                    <a:pt x="32" y="67"/>
                  </a:lnTo>
                  <a:lnTo>
                    <a:pt x="35" y="67"/>
                  </a:lnTo>
                  <a:lnTo>
                    <a:pt x="35" y="76"/>
                  </a:lnTo>
                  <a:lnTo>
                    <a:pt x="32" y="76"/>
                  </a:lnTo>
                  <a:lnTo>
                    <a:pt x="27" y="74"/>
                  </a:lnTo>
                  <a:lnTo>
                    <a:pt x="11" y="74"/>
                  </a:lnTo>
                  <a:lnTo>
                    <a:pt x="9" y="73"/>
                  </a:lnTo>
                  <a:lnTo>
                    <a:pt x="6" y="72"/>
                  </a:lnTo>
                  <a:lnTo>
                    <a:pt x="3" y="67"/>
                  </a:lnTo>
                  <a:lnTo>
                    <a:pt x="2" y="59"/>
                  </a:lnTo>
                  <a:lnTo>
                    <a:pt x="0" y="50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899"/>
            <p:cNvSpPr>
              <a:spLocks/>
            </p:cNvSpPr>
            <p:nvPr/>
          </p:nvSpPr>
          <p:spPr bwMode="auto">
            <a:xfrm>
              <a:off x="-1601788" y="4216400"/>
              <a:ext cx="539750" cy="727075"/>
            </a:xfrm>
            <a:custGeom>
              <a:avLst/>
              <a:gdLst>
                <a:gd name="T0" fmla="*/ 154 w 340"/>
                <a:gd name="T1" fmla="*/ 0 h 458"/>
                <a:gd name="T2" fmla="*/ 184 w 340"/>
                <a:gd name="T3" fmla="*/ 0 h 458"/>
                <a:gd name="T4" fmla="*/ 213 w 340"/>
                <a:gd name="T5" fmla="*/ 2 h 458"/>
                <a:gd name="T6" fmla="*/ 240 w 340"/>
                <a:gd name="T7" fmla="*/ 6 h 458"/>
                <a:gd name="T8" fmla="*/ 267 w 340"/>
                <a:gd name="T9" fmla="*/ 13 h 458"/>
                <a:gd name="T10" fmla="*/ 290 w 340"/>
                <a:gd name="T11" fmla="*/ 20 h 458"/>
                <a:gd name="T12" fmla="*/ 310 w 340"/>
                <a:gd name="T13" fmla="*/ 31 h 458"/>
                <a:gd name="T14" fmla="*/ 325 w 340"/>
                <a:gd name="T15" fmla="*/ 42 h 458"/>
                <a:gd name="T16" fmla="*/ 335 w 340"/>
                <a:gd name="T17" fmla="*/ 55 h 458"/>
                <a:gd name="T18" fmla="*/ 340 w 340"/>
                <a:gd name="T19" fmla="*/ 70 h 458"/>
                <a:gd name="T20" fmla="*/ 338 w 340"/>
                <a:gd name="T21" fmla="*/ 87 h 458"/>
                <a:gd name="T22" fmla="*/ 333 w 340"/>
                <a:gd name="T23" fmla="*/ 99 h 458"/>
                <a:gd name="T24" fmla="*/ 326 w 340"/>
                <a:gd name="T25" fmla="*/ 105 h 458"/>
                <a:gd name="T26" fmla="*/ 319 w 340"/>
                <a:gd name="T27" fmla="*/ 110 h 458"/>
                <a:gd name="T28" fmla="*/ 312 w 340"/>
                <a:gd name="T29" fmla="*/ 115 h 458"/>
                <a:gd name="T30" fmla="*/ 305 w 340"/>
                <a:gd name="T31" fmla="*/ 123 h 458"/>
                <a:gd name="T32" fmla="*/ 299 w 340"/>
                <a:gd name="T33" fmla="*/ 136 h 458"/>
                <a:gd name="T34" fmla="*/ 292 w 340"/>
                <a:gd name="T35" fmla="*/ 165 h 458"/>
                <a:gd name="T36" fmla="*/ 289 w 340"/>
                <a:gd name="T37" fmla="*/ 197 h 458"/>
                <a:gd name="T38" fmla="*/ 289 w 340"/>
                <a:gd name="T39" fmla="*/ 231 h 458"/>
                <a:gd name="T40" fmla="*/ 292 w 340"/>
                <a:gd name="T41" fmla="*/ 263 h 458"/>
                <a:gd name="T42" fmla="*/ 294 w 340"/>
                <a:gd name="T43" fmla="*/ 294 h 458"/>
                <a:gd name="T44" fmla="*/ 297 w 340"/>
                <a:gd name="T45" fmla="*/ 322 h 458"/>
                <a:gd name="T46" fmla="*/ 299 w 340"/>
                <a:gd name="T47" fmla="*/ 346 h 458"/>
                <a:gd name="T48" fmla="*/ 301 w 340"/>
                <a:gd name="T49" fmla="*/ 362 h 458"/>
                <a:gd name="T50" fmla="*/ 302 w 340"/>
                <a:gd name="T51" fmla="*/ 382 h 458"/>
                <a:gd name="T52" fmla="*/ 303 w 340"/>
                <a:gd name="T53" fmla="*/ 404 h 458"/>
                <a:gd name="T54" fmla="*/ 305 w 340"/>
                <a:gd name="T55" fmla="*/ 423 h 458"/>
                <a:gd name="T56" fmla="*/ 306 w 340"/>
                <a:gd name="T57" fmla="*/ 439 h 458"/>
                <a:gd name="T58" fmla="*/ 278 w 340"/>
                <a:gd name="T59" fmla="*/ 448 h 458"/>
                <a:gd name="T60" fmla="*/ 245 w 340"/>
                <a:gd name="T61" fmla="*/ 454 h 458"/>
                <a:gd name="T62" fmla="*/ 208 w 340"/>
                <a:gd name="T63" fmla="*/ 457 h 458"/>
                <a:gd name="T64" fmla="*/ 170 w 340"/>
                <a:gd name="T65" fmla="*/ 458 h 458"/>
                <a:gd name="T66" fmla="*/ 131 w 340"/>
                <a:gd name="T67" fmla="*/ 455 h 458"/>
                <a:gd name="T68" fmla="*/ 94 w 340"/>
                <a:gd name="T69" fmla="*/ 453 h 458"/>
                <a:gd name="T70" fmla="*/ 58 w 340"/>
                <a:gd name="T71" fmla="*/ 446 h 458"/>
                <a:gd name="T72" fmla="*/ 27 w 340"/>
                <a:gd name="T73" fmla="*/ 439 h 458"/>
                <a:gd name="T74" fmla="*/ 29 w 340"/>
                <a:gd name="T75" fmla="*/ 428 h 458"/>
                <a:gd name="T76" fmla="*/ 33 w 340"/>
                <a:gd name="T77" fmla="*/ 412 h 458"/>
                <a:gd name="T78" fmla="*/ 38 w 340"/>
                <a:gd name="T79" fmla="*/ 394 h 458"/>
                <a:gd name="T80" fmla="*/ 43 w 340"/>
                <a:gd name="T81" fmla="*/ 376 h 458"/>
                <a:gd name="T82" fmla="*/ 47 w 340"/>
                <a:gd name="T83" fmla="*/ 360 h 458"/>
                <a:gd name="T84" fmla="*/ 50 w 340"/>
                <a:gd name="T85" fmla="*/ 349 h 458"/>
                <a:gd name="T86" fmla="*/ 56 w 340"/>
                <a:gd name="T87" fmla="*/ 327 h 458"/>
                <a:gd name="T88" fmla="*/ 56 w 340"/>
                <a:gd name="T89" fmla="*/ 301 h 458"/>
                <a:gd name="T90" fmla="*/ 53 w 340"/>
                <a:gd name="T91" fmla="*/ 274 h 458"/>
                <a:gd name="T92" fmla="*/ 48 w 340"/>
                <a:gd name="T93" fmla="*/ 244 h 458"/>
                <a:gd name="T94" fmla="*/ 40 w 340"/>
                <a:gd name="T95" fmla="*/ 213 h 458"/>
                <a:gd name="T96" fmla="*/ 31 w 340"/>
                <a:gd name="T97" fmla="*/ 182 h 458"/>
                <a:gd name="T98" fmla="*/ 22 w 340"/>
                <a:gd name="T99" fmla="*/ 150 h 458"/>
                <a:gd name="T100" fmla="*/ 12 w 340"/>
                <a:gd name="T101" fmla="*/ 120 h 458"/>
                <a:gd name="T102" fmla="*/ 3 w 340"/>
                <a:gd name="T103" fmla="*/ 92 h 458"/>
                <a:gd name="T104" fmla="*/ 0 w 340"/>
                <a:gd name="T105" fmla="*/ 73 h 458"/>
                <a:gd name="T106" fmla="*/ 4 w 340"/>
                <a:gd name="T107" fmla="*/ 56 h 458"/>
                <a:gd name="T108" fmla="*/ 13 w 340"/>
                <a:gd name="T109" fmla="*/ 42 h 458"/>
                <a:gd name="T110" fmla="*/ 29 w 340"/>
                <a:gd name="T111" fmla="*/ 29 h 458"/>
                <a:gd name="T112" fmla="*/ 48 w 340"/>
                <a:gd name="T113" fmla="*/ 19 h 458"/>
                <a:gd name="T114" fmla="*/ 71 w 340"/>
                <a:gd name="T115" fmla="*/ 11 h 458"/>
                <a:gd name="T116" fmla="*/ 97 w 340"/>
                <a:gd name="T117" fmla="*/ 5 h 458"/>
                <a:gd name="T118" fmla="*/ 125 w 340"/>
                <a:gd name="T119" fmla="*/ 1 h 458"/>
                <a:gd name="T120" fmla="*/ 154 w 340"/>
                <a:gd name="T121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0" h="458">
                  <a:moveTo>
                    <a:pt x="154" y="0"/>
                  </a:moveTo>
                  <a:lnTo>
                    <a:pt x="184" y="0"/>
                  </a:lnTo>
                  <a:lnTo>
                    <a:pt x="213" y="2"/>
                  </a:lnTo>
                  <a:lnTo>
                    <a:pt x="240" y="6"/>
                  </a:lnTo>
                  <a:lnTo>
                    <a:pt x="267" y="13"/>
                  </a:lnTo>
                  <a:lnTo>
                    <a:pt x="290" y="20"/>
                  </a:lnTo>
                  <a:lnTo>
                    <a:pt x="310" y="31"/>
                  </a:lnTo>
                  <a:lnTo>
                    <a:pt x="325" y="42"/>
                  </a:lnTo>
                  <a:lnTo>
                    <a:pt x="335" y="55"/>
                  </a:lnTo>
                  <a:lnTo>
                    <a:pt x="340" y="70"/>
                  </a:lnTo>
                  <a:lnTo>
                    <a:pt x="338" y="87"/>
                  </a:lnTo>
                  <a:lnTo>
                    <a:pt x="333" y="99"/>
                  </a:lnTo>
                  <a:lnTo>
                    <a:pt x="326" y="105"/>
                  </a:lnTo>
                  <a:lnTo>
                    <a:pt x="319" y="110"/>
                  </a:lnTo>
                  <a:lnTo>
                    <a:pt x="312" y="115"/>
                  </a:lnTo>
                  <a:lnTo>
                    <a:pt x="305" y="123"/>
                  </a:lnTo>
                  <a:lnTo>
                    <a:pt x="299" y="136"/>
                  </a:lnTo>
                  <a:lnTo>
                    <a:pt x="292" y="165"/>
                  </a:lnTo>
                  <a:lnTo>
                    <a:pt x="289" y="197"/>
                  </a:lnTo>
                  <a:lnTo>
                    <a:pt x="289" y="231"/>
                  </a:lnTo>
                  <a:lnTo>
                    <a:pt x="292" y="263"/>
                  </a:lnTo>
                  <a:lnTo>
                    <a:pt x="294" y="294"/>
                  </a:lnTo>
                  <a:lnTo>
                    <a:pt x="297" y="322"/>
                  </a:lnTo>
                  <a:lnTo>
                    <a:pt x="299" y="346"/>
                  </a:lnTo>
                  <a:lnTo>
                    <a:pt x="301" y="362"/>
                  </a:lnTo>
                  <a:lnTo>
                    <a:pt x="302" y="382"/>
                  </a:lnTo>
                  <a:lnTo>
                    <a:pt x="303" y="404"/>
                  </a:lnTo>
                  <a:lnTo>
                    <a:pt x="305" y="423"/>
                  </a:lnTo>
                  <a:lnTo>
                    <a:pt x="306" y="439"/>
                  </a:lnTo>
                  <a:lnTo>
                    <a:pt x="278" y="448"/>
                  </a:lnTo>
                  <a:lnTo>
                    <a:pt x="245" y="454"/>
                  </a:lnTo>
                  <a:lnTo>
                    <a:pt x="208" y="457"/>
                  </a:lnTo>
                  <a:lnTo>
                    <a:pt x="170" y="458"/>
                  </a:lnTo>
                  <a:lnTo>
                    <a:pt x="131" y="455"/>
                  </a:lnTo>
                  <a:lnTo>
                    <a:pt x="94" y="453"/>
                  </a:lnTo>
                  <a:lnTo>
                    <a:pt x="58" y="446"/>
                  </a:lnTo>
                  <a:lnTo>
                    <a:pt x="27" y="439"/>
                  </a:lnTo>
                  <a:lnTo>
                    <a:pt x="29" y="428"/>
                  </a:lnTo>
                  <a:lnTo>
                    <a:pt x="33" y="412"/>
                  </a:lnTo>
                  <a:lnTo>
                    <a:pt x="38" y="394"/>
                  </a:lnTo>
                  <a:lnTo>
                    <a:pt x="43" y="376"/>
                  </a:lnTo>
                  <a:lnTo>
                    <a:pt x="47" y="360"/>
                  </a:lnTo>
                  <a:lnTo>
                    <a:pt x="50" y="349"/>
                  </a:lnTo>
                  <a:lnTo>
                    <a:pt x="56" y="327"/>
                  </a:lnTo>
                  <a:lnTo>
                    <a:pt x="56" y="301"/>
                  </a:lnTo>
                  <a:lnTo>
                    <a:pt x="53" y="274"/>
                  </a:lnTo>
                  <a:lnTo>
                    <a:pt x="48" y="244"/>
                  </a:lnTo>
                  <a:lnTo>
                    <a:pt x="40" y="213"/>
                  </a:lnTo>
                  <a:lnTo>
                    <a:pt x="31" y="182"/>
                  </a:lnTo>
                  <a:lnTo>
                    <a:pt x="22" y="150"/>
                  </a:lnTo>
                  <a:lnTo>
                    <a:pt x="12" y="120"/>
                  </a:lnTo>
                  <a:lnTo>
                    <a:pt x="3" y="92"/>
                  </a:lnTo>
                  <a:lnTo>
                    <a:pt x="0" y="73"/>
                  </a:lnTo>
                  <a:lnTo>
                    <a:pt x="4" y="56"/>
                  </a:lnTo>
                  <a:lnTo>
                    <a:pt x="13" y="42"/>
                  </a:lnTo>
                  <a:lnTo>
                    <a:pt x="29" y="29"/>
                  </a:lnTo>
                  <a:lnTo>
                    <a:pt x="48" y="19"/>
                  </a:lnTo>
                  <a:lnTo>
                    <a:pt x="71" y="11"/>
                  </a:lnTo>
                  <a:lnTo>
                    <a:pt x="97" y="5"/>
                  </a:lnTo>
                  <a:lnTo>
                    <a:pt x="125" y="1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900"/>
            <p:cNvSpPr>
              <a:spLocks noEditPoints="1"/>
            </p:cNvSpPr>
            <p:nvPr/>
          </p:nvSpPr>
          <p:spPr bwMode="auto">
            <a:xfrm>
              <a:off x="-1455738" y="4381500"/>
              <a:ext cx="254000" cy="153988"/>
            </a:xfrm>
            <a:custGeom>
              <a:avLst/>
              <a:gdLst>
                <a:gd name="T0" fmla="*/ 12 w 160"/>
                <a:gd name="T1" fmla="*/ 14 h 97"/>
                <a:gd name="T2" fmla="*/ 11 w 160"/>
                <a:gd name="T3" fmla="*/ 32 h 97"/>
                <a:gd name="T4" fmla="*/ 14 w 160"/>
                <a:gd name="T5" fmla="*/ 50 h 97"/>
                <a:gd name="T6" fmla="*/ 24 w 160"/>
                <a:gd name="T7" fmla="*/ 50 h 97"/>
                <a:gd name="T8" fmla="*/ 25 w 160"/>
                <a:gd name="T9" fmla="*/ 18 h 97"/>
                <a:gd name="T10" fmla="*/ 20 w 160"/>
                <a:gd name="T11" fmla="*/ 9 h 97"/>
                <a:gd name="T12" fmla="*/ 64 w 160"/>
                <a:gd name="T13" fmla="*/ 11 h 97"/>
                <a:gd name="T14" fmla="*/ 61 w 160"/>
                <a:gd name="T15" fmla="*/ 24 h 97"/>
                <a:gd name="T16" fmla="*/ 64 w 160"/>
                <a:gd name="T17" fmla="*/ 84 h 97"/>
                <a:gd name="T18" fmla="*/ 70 w 160"/>
                <a:gd name="T19" fmla="*/ 88 h 97"/>
                <a:gd name="T20" fmla="*/ 77 w 160"/>
                <a:gd name="T21" fmla="*/ 82 h 97"/>
                <a:gd name="T22" fmla="*/ 78 w 160"/>
                <a:gd name="T23" fmla="*/ 18 h 97"/>
                <a:gd name="T24" fmla="*/ 69 w 160"/>
                <a:gd name="T25" fmla="*/ 9 h 97"/>
                <a:gd name="T26" fmla="*/ 103 w 160"/>
                <a:gd name="T27" fmla="*/ 34 h 97"/>
                <a:gd name="T28" fmla="*/ 28 w 160"/>
                <a:gd name="T29" fmla="*/ 1 h 97"/>
                <a:gd name="T30" fmla="*/ 37 w 160"/>
                <a:gd name="T31" fmla="*/ 19 h 97"/>
                <a:gd name="T32" fmla="*/ 35 w 160"/>
                <a:gd name="T33" fmla="*/ 83 h 97"/>
                <a:gd name="T34" fmla="*/ 19 w 160"/>
                <a:gd name="T35" fmla="*/ 97 h 97"/>
                <a:gd name="T36" fmla="*/ 3 w 160"/>
                <a:gd name="T37" fmla="*/ 87 h 97"/>
                <a:gd name="T38" fmla="*/ 12 w 160"/>
                <a:gd name="T39" fmla="*/ 68 h 97"/>
                <a:gd name="T40" fmla="*/ 14 w 160"/>
                <a:gd name="T41" fmla="*/ 83 h 97"/>
                <a:gd name="T42" fmla="*/ 21 w 160"/>
                <a:gd name="T43" fmla="*/ 87 h 97"/>
                <a:gd name="T44" fmla="*/ 25 w 160"/>
                <a:gd name="T45" fmla="*/ 78 h 97"/>
                <a:gd name="T46" fmla="*/ 17 w 160"/>
                <a:gd name="T47" fmla="*/ 60 h 97"/>
                <a:gd name="T48" fmla="*/ 3 w 160"/>
                <a:gd name="T49" fmla="*/ 52 h 97"/>
                <a:gd name="T50" fmla="*/ 0 w 160"/>
                <a:gd name="T51" fmla="*/ 22 h 97"/>
                <a:gd name="T52" fmla="*/ 5 w 160"/>
                <a:gd name="T53" fmla="*/ 5 h 97"/>
                <a:gd name="T54" fmla="*/ 70 w 160"/>
                <a:gd name="T55" fmla="*/ 0 h 97"/>
                <a:gd name="T56" fmla="*/ 85 w 160"/>
                <a:gd name="T57" fmla="*/ 6 h 97"/>
                <a:gd name="T58" fmla="*/ 89 w 160"/>
                <a:gd name="T59" fmla="*/ 70 h 97"/>
                <a:gd name="T60" fmla="*/ 83 w 160"/>
                <a:gd name="T61" fmla="*/ 93 h 97"/>
                <a:gd name="T62" fmla="*/ 65 w 160"/>
                <a:gd name="T63" fmla="*/ 97 h 97"/>
                <a:gd name="T64" fmla="*/ 52 w 160"/>
                <a:gd name="T65" fmla="*/ 86 h 97"/>
                <a:gd name="T66" fmla="*/ 51 w 160"/>
                <a:gd name="T67" fmla="*/ 16 h 97"/>
                <a:gd name="T68" fmla="*/ 60 w 160"/>
                <a:gd name="T69" fmla="*/ 1 h 97"/>
                <a:gd name="T70" fmla="*/ 147 w 160"/>
                <a:gd name="T71" fmla="*/ 0 h 97"/>
                <a:gd name="T72" fmla="*/ 157 w 160"/>
                <a:gd name="T73" fmla="*/ 13 h 97"/>
                <a:gd name="T74" fmla="*/ 148 w 160"/>
                <a:gd name="T75" fmla="*/ 33 h 97"/>
                <a:gd name="T76" fmla="*/ 147 w 160"/>
                <a:gd name="T77" fmla="*/ 14 h 97"/>
                <a:gd name="T78" fmla="*/ 142 w 160"/>
                <a:gd name="T79" fmla="*/ 9 h 97"/>
                <a:gd name="T80" fmla="*/ 134 w 160"/>
                <a:gd name="T81" fmla="*/ 15 h 97"/>
                <a:gd name="T82" fmla="*/ 139 w 160"/>
                <a:gd name="T83" fmla="*/ 34 h 97"/>
                <a:gd name="T84" fmla="*/ 157 w 160"/>
                <a:gd name="T85" fmla="*/ 58 h 97"/>
                <a:gd name="T86" fmla="*/ 156 w 160"/>
                <a:gd name="T87" fmla="*/ 91 h 97"/>
                <a:gd name="T88" fmla="*/ 142 w 160"/>
                <a:gd name="T89" fmla="*/ 97 h 97"/>
                <a:gd name="T90" fmla="*/ 127 w 160"/>
                <a:gd name="T91" fmla="*/ 90 h 97"/>
                <a:gd name="T92" fmla="*/ 123 w 160"/>
                <a:gd name="T93" fmla="*/ 69 h 97"/>
                <a:gd name="T94" fmla="*/ 134 w 160"/>
                <a:gd name="T95" fmla="*/ 75 h 97"/>
                <a:gd name="T96" fmla="*/ 139 w 160"/>
                <a:gd name="T97" fmla="*/ 87 h 97"/>
                <a:gd name="T98" fmla="*/ 148 w 160"/>
                <a:gd name="T99" fmla="*/ 83 h 97"/>
                <a:gd name="T100" fmla="*/ 148 w 160"/>
                <a:gd name="T101" fmla="*/ 64 h 97"/>
                <a:gd name="T102" fmla="*/ 129 w 160"/>
                <a:gd name="T103" fmla="*/ 41 h 97"/>
                <a:gd name="T104" fmla="*/ 123 w 160"/>
                <a:gd name="T105" fmla="*/ 22 h 97"/>
                <a:gd name="T106" fmla="*/ 129 w 160"/>
                <a:gd name="T107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" h="97">
                  <a:moveTo>
                    <a:pt x="19" y="9"/>
                  </a:moveTo>
                  <a:lnTo>
                    <a:pt x="16" y="10"/>
                  </a:lnTo>
                  <a:lnTo>
                    <a:pt x="14" y="11"/>
                  </a:lnTo>
                  <a:lnTo>
                    <a:pt x="12" y="14"/>
                  </a:lnTo>
                  <a:lnTo>
                    <a:pt x="11" y="16"/>
                  </a:lnTo>
                  <a:lnTo>
                    <a:pt x="11" y="22"/>
                  </a:lnTo>
                  <a:lnTo>
                    <a:pt x="11" y="27"/>
                  </a:lnTo>
                  <a:lnTo>
                    <a:pt x="11" y="32"/>
                  </a:lnTo>
                  <a:lnTo>
                    <a:pt x="11" y="38"/>
                  </a:lnTo>
                  <a:lnTo>
                    <a:pt x="11" y="43"/>
                  </a:lnTo>
                  <a:lnTo>
                    <a:pt x="12" y="47"/>
                  </a:lnTo>
                  <a:lnTo>
                    <a:pt x="14" y="50"/>
                  </a:lnTo>
                  <a:lnTo>
                    <a:pt x="16" y="51"/>
                  </a:lnTo>
                  <a:lnTo>
                    <a:pt x="19" y="51"/>
                  </a:lnTo>
                  <a:lnTo>
                    <a:pt x="23" y="51"/>
                  </a:lnTo>
                  <a:lnTo>
                    <a:pt x="24" y="50"/>
                  </a:lnTo>
                  <a:lnTo>
                    <a:pt x="25" y="49"/>
                  </a:lnTo>
                  <a:lnTo>
                    <a:pt x="25" y="27"/>
                  </a:lnTo>
                  <a:lnTo>
                    <a:pt x="25" y="22"/>
                  </a:lnTo>
                  <a:lnTo>
                    <a:pt x="25" y="18"/>
                  </a:lnTo>
                  <a:lnTo>
                    <a:pt x="24" y="14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0" y="9"/>
                  </a:lnTo>
                  <a:lnTo>
                    <a:pt x="19" y="9"/>
                  </a:lnTo>
                  <a:close/>
                  <a:moveTo>
                    <a:pt x="69" y="9"/>
                  </a:moveTo>
                  <a:lnTo>
                    <a:pt x="66" y="10"/>
                  </a:lnTo>
                  <a:lnTo>
                    <a:pt x="64" y="11"/>
                  </a:lnTo>
                  <a:lnTo>
                    <a:pt x="62" y="14"/>
                  </a:lnTo>
                  <a:lnTo>
                    <a:pt x="62" y="16"/>
                  </a:lnTo>
                  <a:lnTo>
                    <a:pt x="61" y="19"/>
                  </a:lnTo>
                  <a:lnTo>
                    <a:pt x="61" y="24"/>
                  </a:lnTo>
                  <a:lnTo>
                    <a:pt x="61" y="72"/>
                  </a:lnTo>
                  <a:lnTo>
                    <a:pt x="61" y="77"/>
                  </a:lnTo>
                  <a:lnTo>
                    <a:pt x="62" y="82"/>
                  </a:lnTo>
                  <a:lnTo>
                    <a:pt x="64" y="84"/>
                  </a:lnTo>
                  <a:lnTo>
                    <a:pt x="65" y="87"/>
                  </a:lnTo>
                  <a:lnTo>
                    <a:pt x="66" y="87"/>
                  </a:lnTo>
                  <a:lnTo>
                    <a:pt x="69" y="88"/>
                  </a:lnTo>
                  <a:lnTo>
                    <a:pt x="70" y="88"/>
                  </a:lnTo>
                  <a:lnTo>
                    <a:pt x="71" y="87"/>
                  </a:lnTo>
                  <a:lnTo>
                    <a:pt x="74" y="87"/>
                  </a:lnTo>
                  <a:lnTo>
                    <a:pt x="75" y="84"/>
                  </a:lnTo>
                  <a:lnTo>
                    <a:pt x="77" y="82"/>
                  </a:lnTo>
                  <a:lnTo>
                    <a:pt x="78" y="77"/>
                  </a:lnTo>
                  <a:lnTo>
                    <a:pt x="78" y="72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7" y="14"/>
                  </a:lnTo>
                  <a:lnTo>
                    <a:pt x="74" y="10"/>
                  </a:lnTo>
                  <a:lnTo>
                    <a:pt x="71" y="9"/>
                  </a:lnTo>
                  <a:lnTo>
                    <a:pt x="69" y="9"/>
                  </a:lnTo>
                  <a:close/>
                  <a:moveTo>
                    <a:pt x="101" y="0"/>
                  </a:moveTo>
                  <a:lnTo>
                    <a:pt x="111" y="0"/>
                  </a:lnTo>
                  <a:lnTo>
                    <a:pt x="107" y="34"/>
                  </a:lnTo>
                  <a:lnTo>
                    <a:pt x="103" y="34"/>
                  </a:lnTo>
                  <a:lnTo>
                    <a:pt x="101" y="0"/>
                  </a:lnTo>
                  <a:close/>
                  <a:moveTo>
                    <a:pt x="19" y="0"/>
                  </a:moveTo>
                  <a:lnTo>
                    <a:pt x="24" y="0"/>
                  </a:lnTo>
                  <a:lnTo>
                    <a:pt x="28" y="1"/>
                  </a:lnTo>
                  <a:lnTo>
                    <a:pt x="32" y="4"/>
                  </a:lnTo>
                  <a:lnTo>
                    <a:pt x="34" y="7"/>
                  </a:lnTo>
                  <a:lnTo>
                    <a:pt x="35" y="13"/>
                  </a:lnTo>
                  <a:lnTo>
                    <a:pt x="37" y="19"/>
                  </a:lnTo>
                  <a:lnTo>
                    <a:pt x="37" y="23"/>
                  </a:lnTo>
                  <a:lnTo>
                    <a:pt x="37" y="28"/>
                  </a:lnTo>
                  <a:lnTo>
                    <a:pt x="37" y="67"/>
                  </a:lnTo>
                  <a:lnTo>
                    <a:pt x="35" y="83"/>
                  </a:lnTo>
                  <a:lnTo>
                    <a:pt x="32" y="92"/>
                  </a:lnTo>
                  <a:lnTo>
                    <a:pt x="28" y="95"/>
                  </a:lnTo>
                  <a:lnTo>
                    <a:pt x="24" y="97"/>
                  </a:lnTo>
                  <a:lnTo>
                    <a:pt x="19" y="97"/>
                  </a:lnTo>
                  <a:lnTo>
                    <a:pt x="14" y="96"/>
                  </a:lnTo>
                  <a:lnTo>
                    <a:pt x="9" y="95"/>
                  </a:lnTo>
                  <a:lnTo>
                    <a:pt x="6" y="91"/>
                  </a:lnTo>
                  <a:lnTo>
                    <a:pt x="3" y="87"/>
                  </a:lnTo>
                  <a:lnTo>
                    <a:pt x="2" y="79"/>
                  </a:lnTo>
                  <a:lnTo>
                    <a:pt x="2" y="72"/>
                  </a:lnTo>
                  <a:lnTo>
                    <a:pt x="2" y="6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2" y="75"/>
                  </a:lnTo>
                  <a:lnTo>
                    <a:pt x="12" y="81"/>
                  </a:lnTo>
                  <a:lnTo>
                    <a:pt x="14" y="83"/>
                  </a:lnTo>
                  <a:lnTo>
                    <a:pt x="15" y="86"/>
                  </a:lnTo>
                  <a:lnTo>
                    <a:pt x="16" y="87"/>
                  </a:lnTo>
                  <a:lnTo>
                    <a:pt x="20" y="88"/>
                  </a:lnTo>
                  <a:lnTo>
                    <a:pt x="21" y="87"/>
                  </a:lnTo>
                  <a:lnTo>
                    <a:pt x="24" y="87"/>
                  </a:lnTo>
                  <a:lnTo>
                    <a:pt x="24" y="84"/>
                  </a:lnTo>
                  <a:lnTo>
                    <a:pt x="25" y="82"/>
                  </a:lnTo>
                  <a:lnTo>
                    <a:pt x="25" y="78"/>
                  </a:lnTo>
                  <a:lnTo>
                    <a:pt x="25" y="73"/>
                  </a:lnTo>
                  <a:lnTo>
                    <a:pt x="25" y="58"/>
                  </a:lnTo>
                  <a:lnTo>
                    <a:pt x="23" y="60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9" y="59"/>
                  </a:lnTo>
                  <a:lnTo>
                    <a:pt x="6" y="56"/>
                  </a:lnTo>
                  <a:lnTo>
                    <a:pt x="3" y="52"/>
                  </a:lnTo>
                  <a:lnTo>
                    <a:pt x="1" y="43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2" y="11"/>
                  </a:lnTo>
                  <a:lnTo>
                    <a:pt x="3" y="7"/>
                  </a:lnTo>
                  <a:lnTo>
                    <a:pt x="5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9" y="0"/>
                  </a:lnTo>
                  <a:close/>
                  <a:moveTo>
                    <a:pt x="70" y="0"/>
                  </a:moveTo>
                  <a:lnTo>
                    <a:pt x="75" y="0"/>
                  </a:lnTo>
                  <a:lnTo>
                    <a:pt x="79" y="1"/>
                  </a:lnTo>
                  <a:lnTo>
                    <a:pt x="83" y="2"/>
                  </a:lnTo>
                  <a:lnTo>
                    <a:pt x="85" y="6"/>
                  </a:lnTo>
                  <a:lnTo>
                    <a:pt x="87" y="10"/>
                  </a:lnTo>
                  <a:lnTo>
                    <a:pt x="88" y="16"/>
                  </a:lnTo>
                  <a:lnTo>
                    <a:pt x="89" y="24"/>
                  </a:lnTo>
                  <a:lnTo>
                    <a:pt x="89" y="70"/>
                  </a:lnTo>
                  <a:lnTo>
                    <a:pt x="88" y="78"/>
                  </a:lnTo>
                  <a:lnTo>
                    <a:pt x="87" y="86"/>
                  </a:lnTo>
                  <a:lnTo>
                    <a:pt x="85" y="91"/>
                  </a:lnTo>
                  <a:lnTo>
                    <a:pt x="83" y="93"/>
                  </a:lnTo>
                  <a:lnTo>
                    <a:pt x="79" y="96"/>
                  </a:lnTo>
                  <a:lnTo>
                    <a:pt x="75" y="97"/>
                  </a:lnTo>
                  <a:lnTo>
                    <a:pt x="70" y="97"/>
                  </a:lnTo>
                  <a:lnTo>
                    <a:pt x="65" y="97"/>
                  </a:lnTo>
                  <a:lnTo>
                    <a:pt x="60" y="96"/>
                  </a:lnTo>
                  <a:lnTo>
                    <a:pt x="57" y="93"/>
                  </a:lnTo>
                  <a:lnTo>
                    <a:pt x="55" y="91"/>
                  </a:lnTo>
                  <a:lnTo>
                    <a:pt x="52" y="86"/>
                  </a:lnTo>
                  <a:lnTo>
                    <a:pt x="51" y="78"/>
                  </a:lnTo>
                  <a:lnTo>
                    <a:pt x="51" y="70"/>
                  </a:lnTo>
                  <a:lnTo>
                    <a:pt x="51" y="24"/>
                  </a:lnTo>
                  <a:lnTo>
                    <a:pt x="51" y="16"/>
                  </a:lnTo>
                  <a:lnTo>
                    <a:pt x="52" y="10"/>
                  </a:lnTo>
                  <a:lnTo>
                    <a:pt x="55" y="6"/>
                  </a:lnTo>
                  <a:lnTo>
                    <a:pt x="57" y="2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close/>
                  <a:moveTo>
                    <a:pt x="142" y="0"/>
                  </a:moveTo>
                  <a:lnTo>
                    <a:pt x="147" y="0"/>
                  </a:lnTo>
                  <a:lnTo>
                    <a:pt x="151" y="1"/>
                  </a:lnTo>
                  <a:lnTo>
                    <a:pt x="153" y="4"/>
                  </a:lnTo>
                  <a:lnTo>
                    <a:pt x="156" y="7"/>
                  </a:lnTo>
                  <a:lnTo>
                    <a:pt x="157" y="13"/>
                  </a:lnTo>
                  <a:lnTo>
                    <a:pt x="159" y="19"/>
                  </a:lnTo>
                  <a:lnTo>
                    <a:pt x="159" y="27"/>
                  </a:lnTo>
                  <a:lnTo>
                    <a:pt x="159" y="33"/>
                  </a:lnTo>
                  <a:lnTo>
                    <a:pt x="148" y="33"/>
                  </a:lnTo>
                  <a:lnTo>
                    <a:pt x="148" y="27"/>
                  </a:lnTo>
                  <a:lnTo>
                    <a:pt x="148" y="22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6" y="11"/>
                  </a:lnTo>
                  <a:lnTo>
                    <a:pt x="145" y="10"/>
                  </a:lnTo>
                  <a:lnTo>
                    <a:pt x="143" y="9"/>
                  </a:lnTo>
                  <a:lnTo>
                    <a:pt x="142" y="9"/>
                  </a:lnTo>
                  <a:lnTo>
                    <a:pt x="139" y="9"/>
                  </a:lnTo>
                  <a:lnTo>
                    <a:pt x="137" y="10"/>
                  </a:lnTo>
                  <a:lnTo>
                    <a:pt x="136" y="11"/>
                  </a:lnTo>
                  <a:lnTo>
                    <a:pt x="134" y="15"/>
                  </a:lnTo>
                  <a:lnTo>
                    <a:pt x="134" y="20"/>
                  </a:lnTo>
                  <a:lnTo>
                    <a:pt x="134" y="25"/>
                  </a:lnTo>
                  <a:lnTo>
                    <a:pt x="136" y="29"/>
                  </a:lnTo>
                  <a:lnTo>
                    <a:pt x="139" y="34"/>
                  </a:lnTo>
                  <a:lnTo>
                    <a:pt x="141" y="37"/>
                  </a:lnTo>
                  <a:lnTo>
                    <a:pt x="142" y="37"/>
                  </a:lnTo>
                  <a:lnTo>
                    <a:pt x="148" y="45"/>
                  </a:lnTo>
                  <a:lnTo>
                    <a:pt x="157" y="58"/>
                  </a:lnTo>
                  <a:lnTo>
                    <a:pt x="160" y="72"/>
                  </a:lnTo>
                  <a:lnTo>
                    <a:pt x="160" y="79"/>
                  </a:lnTo>
                  <a:lnTo>
                    <a:pt x="159" y="86"/>
                  </a:lnTo>
                  <a:lnTo>
                    <a:pt x="156" y="91"/>
                  </a:lnTo>
                  <a:lnTo>
                    <a:pt x="153" y="93"/>
                  </a:lnTo>
                  <a:lnTo>
                    <a:pt x="151" y="96"/>
                  </a:lnTo>
                  <a:lnTo>
                    <a:pt x="147" y="97"/>
                  </a:lnTo>
                  <a:lnTo>
                    <a:pt x="142" y="97"/>
                  </a:lnTo>
                  <a:lnTo>
                    <a:pt x="137" y="97"/>
                  </a:lnTo>
                  <a:lnTo>
                    <a:pt x="133" y="96"/>
                  </a:lnTo>
                  <a:lnTo>
                    <a:pt x="129" y="93"/>
                  </a:lnTo>
                  <a:lnTo>
                    <a:pt x="127" y="90"/>
                  </a:lnTo>
                  <a:lnTo>
                    <a:pt x="125" y="86"/>
                  </a:lnTo>
                  <a:lnTo>
                    <a:pt x="124" y="81"/>
                  </a:lnTo>
                  <a:lnTo>
                    <a:pt x="124" y="75"/>
                  </a:lnTo>
                  <a:lnTo>
                    <a:pt x="123" y="69"/>
                  </a:lnTo>
                  <a:lnTo>
                    <a:pt x="123" y="59"/>
                  </a:lnTo>
                  <a:lnTo>
                    <a:pt x="134" y="59"/>
                  </a:lnTo>
                  <a:lnTo>
                    <a:pt x="134" y="69"/>
                  </a:lnTo>
                  <a:lnTo>
                    <a:pt x="134" y="75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7" y="86"/>
                  </a:lnTo>
                  <a:lnTo>
                    <a:pt x="139" y="87"/>
                  </a:lnTo>
                  <a:lnTo>
                    <a:pt x="142" y="87"/>
                  </a:lnTo>
                  <a:lnTo>
                    <a:pt x="145" y="87"/>
                  </a:lnTo>
                  <a:lnTo>
                    <a:pt x="147" y="86"/>
                  </a:lnTo>
                  <a:lnTo>
                    <a:pt x="148" y="83"/>
                  </a:lnTo>
                  <a:lnTo>
                    <a:pt x="148" y="79"/>
                  </a:lnTo>
                  <a:lnTo>
                    <a:pt x="150" y="75"/>
                  </a:lnTo>
                  <a:lnTo>
                    <a:pt x="150" y="70"/>
                  </a:lnTo>
                  <a:lnTo>
                    <a:pt x="148" y="64"/>
                  </a:lnTo>
                  <a:lnTo>
                    <a:pt x="146" y="58"/>
                  </a:lnTo>
                  <a:lnTo>
                    <a:pt x="141" y="52"/>
                  </a:lnTo>
                  <a:lnTo>
                    <a:pt x="134" y="46"/>
                  </a:lnTo>
                  <a:lnTo>
                    <a:pt x="129" y="41"/>
                  </a:lnTo>
                  <a:lnTo>
                    <a:pt x="125" y="34"/>
                  </a:lnTo>
                  <a:lnTo>
                    <a:pt x="124" y="31"/>
                  </a:lnTo>
                  <a:lnTo>
                    <a:pt x="123" y="27"/>
                  </a:lnTo>
                  <a:lnTo>
                    <a:pt x="123" y="22"/>
                  </a:lnTo>
                  <a:lnTo>
                    <a:pt x="123" y="15"/>
                  </a:lnTo>
                  <a:lnTo>
                    <a:pt x="124" y="10"/>
                  </a:lnTo>
                  <a:lnTo>
                    <a:pt x="127" y="5"/>
                  </a:lnTo>
                  <a:lnTo>
                    <a:pt x="129" y="2"/>
                  </a:lnTo>
                  <a:lnTo>
                    <a:pt x="132" y="1"/>
                  </a:lnTo>
                  <a:lnTo>
                    <a:pt x="137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B111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901"/>
            <p:cNvSpPr>
              <a:spLocks/>
            </p:cNvSpPr>
            <p:nvPr/>
          </p:nvSpPr>
          <p:spPr bwMode="auto">
            <a:xfrm>
              <a:off x="-1417638" y="4216400"/>
              <a:ext cx="166688" cy="87313"/>
            </a:xfrm>
            <a:custGeom>
              <a:avLst/>
              <a:gdLst>
                <a:gd name="T0" fmla="*/ 35 w 105"/>
                <a:gd name="T1" fmla="*/ 0 h 55"/>
                <a:gd name="T2" fmla="*/ 70 w 105"/>
                <a:gd name="T3" fmla="*/ 0 h 55"/>
                <a:gd name="T4" fmla="*/ 105 w 105"/>
                <a:gd name="T5" fmla="*/ 4 h 55"/>
                <a:gd name="T6" fmla="*/ 103 w 105"/>
                <a:gd name="T7" fmla="*/ 19 h 55"/>
                <a:gd name="T8" fmla="*/ 95 w 105"/>
                <a:gd name="T9" fmla="*/ 33 h 55"/>
                <a:gd name="T10" fmla="*/ 83 w 105"/>
                <a:gd name="T11" fmla="*/ 45 h 55"/>
                <a:gd name="T12" fmla="*/ 69 w 105"/>
                <a:gd name="T13" fmla="*/ 52 h 55"/>
                <a:gd name="T14" fmla="*/ 53 w 105"/>
                <a:gd name="T15" fmla="*/ 55 h 55"/>
                <a:gd name="T16" fmla="*/ 36 w 105"/>
                <a:gd name="T17" fmla="*/ 52 h 55"/>
                <a:gd name="T18" fmla="*/ 22 w 105"/>
                <a:gd name="T19" fmla="*/ 45 h 55"/>
                <a:gd name="T20" fmla="*/ 10 w 105"/>
                <a:gd name="T21" fmla="*/ 33 h 55"/>
                <a:gd name="T22" fmla="*/ 2 w 105"/>
                <a:gd name="T23" fmla="*/ 19 h 55"/>
                <a:gd name="T24" fmla="*/ 0 w 105"/>
                <a:gd name="T25" fmla="*/ 2 h 55"/>
                <a:gd name="T26" fmla="*/ 35 w 105"/>
                <a:gd name="T2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55">
                  <a:moveTo>
                    <a:pt x="35" y="0"/>
                  </a:moveTo>
                  <a:lnTo>
                    <a:pt x="70" y="0"/>
                  </a:lnTo>
                  <a:lnTo>
                    <a:pt x="105" y="4"/>
                  </a:lnTo>
                  <a:lnTo>
                    <a:pt x="103" y="19"/>
                  </a:lnTo>
                  <a:lnTo>
                    <a:pt x="95" y="33"/>
                  </a:lnTo>
                  <a:lnTo>
                    <a:pt x="83" y="45"/>
                  </a:lnTo>
                  <a:lnTo>
                    <a:pt x="69" y="52"/>
                  </a:lnTo>
                  <a:lnTo>
                    <a:pt x="53" y="55"/>
                  </a:lnTo>
                  <a:lnTo>
                    <a:pt x="36" y="52"/>
                  </a:lnTo>
                  <a:lnTo>
                    <a:pt x="22" y="45"/>
                  </a:lnTo>
                  <a:lnTo>
                    <a:pt x="10" y="33"/>
                  </a:lnTo>
                  <a:lnTo>
                    <a:pt x="2" y="19"/>
                  </a:lnTo>
                  <a:lnTo>
                    <a:pt x="0" y="2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902"/>
            <p:cNvSpPr>
              <a:spLocks/>
            </p:cNvSpPr>
            <p:nvPr/>
          </p:nvSpPr>
          <p:spPr bwMode="auto">
            <a:xfrm>
              <a:off x="-1790700" y="4248150"/>
              <a:ext cx="328613" cy="371475"/>
            </a:xfrm>
            <a:custGeom>
              <a:avLst/>
              <a:gdLst>
                <a:gd name="T0" fmla="*/ 172 w 207"/>
                <a:gd name="T1" fmla="*/ 0 h 234"/>
                <a:gd name="T2" fmla="*/ 186 w 207"/>
                <a:gd name="T3" fmla="*/ 0 h 234"/>
                <a:gd name="T4" fmla="*/ 196 w 207"/>
                <a:gd name="T5" fmla="*/ 6 h 234"/>
                <a:gd name="T6" fmla="*/ 204 w 207"/>
                <a:gd name="T7" fmla="*/ 16 h 234"/>
                <a:gd name="T8" fmla="*/ 207 w 207"/>
                <a:gd name="T9" fmla="*/ 30 h 234"/>
                <a:gd name="T10" fmla="*/ 204 w 207"/>
                <a:gd name="T11" fmla="*/ 47 h 234"/>
                <a:gd name="T12" fmla="*/ 195 w 207"/>
                <a:gd name="T13" fmla="*/ 68 h 234"/>
                <a:gd name="T14" fmla="*/ 181 w 207"/>
                <a:gd name="T15" fmla="*/ 93 h 234"/>
                <a:gd name="T16" fmla="*/ 160 w 207"/>
                <a:gd name="T17" fmla="*/ 120 h 234"/>
                <a:gd name="T18" fmla="*/ 132 w 207"/>
                <a:gd name="T19" fmla="*/ 149 h 234"/>
                <a:gd name="T20" fmla="*/ 113 w 207"/>
                <a:gd name="T21" fmla="*/ 167 h 234"/>
                <a:gd name="T22" fmla="*/ 95 w 207"/>
                <a:gd name="T23" fmla="*/ 185 h 234"/>
                <a:gd name="T24" fmla="*/ 77 w 207"/>
                <a:gd name="T25" fmla="*/ 201 h 234"/>
                <a:gd name="T26" fmla="*/ 59 w 207"/>
                <a:gd name="T27" fmla="*/ 215 h 234"/>
                <a:gd name="T28" fmla="*/ 44 w 207"/>
                <a:gd name="T29" fmla="*/ 225 h 234"/>
                <a:gd name="T30" fmla="*/ 30 w 207"/>
                <a:gd name="T31" fmla="*/ 231 h 234"/>
                <a:gd name="T32" fmla="*/ 17 w 207"/>
                <a:gd name="T33" fmla="*/ 234 h 234"/>
                <a:gd name="T34" fmla="*/ 8 w 207"/>
                <a:gd name="T35" fmla="*/ 229 h 234"/>
                <a:gd name="T36" fmla="*/ 1 w 207"/>
                <a:gd name="T37" fmla="*/ 220 h 234"/>
                <a:gd name="T38" fmla="*/ 0 w 207"/>
                <a:gd name="T39" fmla="*/ 207 h 234"/>
                <a:gd name="T40" fmla="*/ 4 w 207"/>
                <a:gd name="T41" fmla="*/ 192 h 234"/>
                <a:gd name="T42" fmla="*/ 12 w 207"/>
                <a:gd name="T43" fmla="*/ 174 h 234"/>
                <a:gd name="T44" fmla="*/ 23 w 207"/>
                <a:gd name="T45" fmla="*/ 153 h 234"/>
                <a:gd name="T46" fmla="*/ 37 w 207"/>
                <a:gd name="T47" fmla="*/ 130 h 234"/>
                <a:gd name="T48" fmla="*/ 53 w 207"/>
                <a:gd name="T49" fmla="*/ 106 h 234"/>
                <a:gd name="T50" fmla="*/ 72 w 207"/>
                <a:gd name="T51" fmla="*/ 80 h 234"/>
                <a:gd name="T52" fmla="*/ 94 w 207"/>
                <a:gd name="T53" fmla="*/ 52 h 234"/>
                <a:gd name="T54" fmla="*/ 116 w 207"/>
                <a:gd name="T55" fmla="*/ 30 h 234"/>
                <a:gd name="T56" fmla="*/ 136 w 207"/>
                <a:gd name="T57" fmla="*/ 15 h 234"/>
                <a:gd name="T58" fmla="*/ 155 w 207"/>
                <a:gd name="T59" fmla="*/ 4 h 234"/>
                <a:gd name="T60" fmla="*/ 172 w 207"/>
                <a:gd name="T6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7" h="234">
                  <a:moveTo>
                    <a:pt x="172" y="0"/>
                  </a:moveTo>
                  <a:lnTo>
                    <a:pt x="186" y="0"/>
                  </a:lnTo>
                  <a:lnTo>
                    <a:pt x="196" y="6"/>
                  </a:lnTo>
                  <a:lnTo>
                    <a:pt x="204" y="16"/>
                  </a:lnTo>
                  <a:lnTo>
                    <a:pt x="207" y="30"/>
                  </a:lnTo>
                  <a:lnTo>
                    <a:pt x="204" y="47"/>
                  </a:lnTo>
                  <a:lnTo>
                    <a:pt x="195" y="68"/>
                  </a:lnTo>
                  <a:lnTo>
                    <a:pt x="181" y="93"/>
                  </a:lnTo>
                  <a:lnTo>
                    <a:pt x="160" y="120"/>
                  </a:lnTo>
                  <a:lnTo>
                    <a:pt x="132" y="149"/>
                  </a:lnTo>
                  <a:lnTo>
                    <a:pt x="113" y="167"/>
                  </a:lnTo>
                  <a:lnTo>
                    <a:pt x="95" y="185"/>
                  </a:lnTo>
                  <a:lnTo>
                    <a:pt x="77" y="201"/>
                  </a:lnTo>
                  <a:lnTo>
                    <a:pt x="59" y="215"/>
                  </a:lnTo>
                  <a:lnTo>
                    <a:pt x="44" y="225"/>
                  </a:lnTo>
                  <a:lnTo>
                    <a:pt x="30" y="231"/>
                  </a:lnTo>
                  <a:lnTo>
                    <a:pt x="17" y="234"/>
                  </a:lnTo>
                  <a:lnTo>
                    <a:pt x="8" y="229"/>
                  </a:lnTo>
                  <a:lnTo>
                    <a:pt x="1" y="220"/>
                  </a:lnTo>
                  <a:lnTo>
                    <a:pt x="0" y="207"/>
                  </a:lnTo>
                  <a:lnTo>
                    <a:pt x="4" y="192"/>
                  </a:lnTo>
                  <a:lnTo>
                    <a:pt x="12" y="174"/>
                  </a:lnTo>
                  <a:lnTo>
                    <a:pt x="23" y="153"/>
                  </a:lnTo>
                  <a:lnTo>
                    <a:pt x="37" y="130"/>
                  </a:lnTo>
                  <a:lnTo>
                    <a:pt x="53" y="106"/>
                  </a:lnTo>
                  <a:lnTo>
                    <a:pt x="72" y="80"/>
                  </a:lnTo>
                  <a:lnTo>
                    <a:pt x="94" y="52"/>
                  </a:lnTo>
                  <a:lnTo>
                    <a:pt x="116" y="30"/>
                  </a:lnTo>
                  <a:lnTo>
                    <a:pt x="136" y="15"/>
                  </a:lnTo>
                  <a:lnTo>
                    <a:pt x="155" y="4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903"/>
            <p:cNvSpPr>
              <a:spLocks/>
            </p:cNvSpPr>
            <p:nvPr/>
          </p:nvSpPr>
          <p:spPr bwMode="auto">
            <a:xfrm>
              <a:off x="-1789113" y="4527550"/>
              <a:ext cx="290513" cy="101600"/>
            </a:xfrm>
            <a:custGeom>
              <a:avLst/>
              <a:gdLst>
                <a:gd name="T0" fmla="*/ 156 w 183"/>
                <a:gd name="T1" fmla="*/ 0 h 64"/>
                <a:gd name="T2" fmla="*/ 168 w 183"/>
                <a:gd name="T3" fmla="*/ 0 h 64"/>
                <a:gd name="T4" fmla="*/ 179 w 183"/>
                <a:gd name="T5" fmla="*/ 3 h 64"/>
                <a:gd name="T6" fmla="*/ 183 w 183"/>
                <a:gd name="T7" fmla="*/ 7 h 64"/>
                <a:gd name="T8" fmla="*/ 181 w 183"/>
                <a:gd name="T9" fmla="*/ 16 h 64"/>
                <a:gd name="T10" fmla="*/ 174 w 183"/>
                <a:gd name="T11" fmla="*/ 23 h 64"/>
                <a:gd name="T12" fmla="*/ 159 w 183"/>
                <a:gd name="T13" fmla="*/ 31 h 64"/>
                <a:gd name="T14" fmla="*/ 143 w 183"/>
                <a:gd name="T15" fmla="*/ 40 h 64"/>
                <a:gd name="T16" fmla="*/ 125 w 183"/>
                <a:gd name="T17" fmla="*/ 46 h 64"/>
                <a:gd name="T18" fmla="*/ 106 w 183"/>
                <a:gd name="T19" fmla="*/ 53 h 64"/>
                <a:gd name="T20" fmla="*/ 88 w 183"/>
                <a:gd name="T21" fmla="*/ 58 h 64"/>
                <a:gd name="T22" fmla="*/ 67 w 183"/>
                <a:gd name="T23" fmla="*/ 63 h 64"/>
                <a:gd name="T24" fmla="*/ 47 w 183"/>
                <a:gd name="T25" fmla="*/ 64 h 64"/>
                <a:gd name="T26" fmla="*/ 31 w 183"/>
                <a:gd name="T27" fmla="*/ 63 h 64"/>
                <a:gd name="T28" fmla="*/ 17 w 183"/>
                <a:gd name="T29" fmla="*/ 59 h 64"/>
                <a:gd name="T30" fmla="*/ 8 w 183"/>
                <a:gd name="T31" fmla="*/ 53 h 64"/>
                <a:gd name="T32" fmla="*/ 2 w 183"/>
                <a:gd name="T33" fmla="*/ 46 h 64"/>
                <a:gd name="T34" fmla="*/ 0 w 183"/>
                <a:gd name="T35" fmla="*/ 39 h 64"/>
                <a:gd name="T36" fmla="*/ 4 w 183"/>
                <a:gd name="T37" fmla="*/ 32 h 64"/>
                <a:gd name="T38" fmla="*/ 13 w 183"/>
                <a:gd name="T39" fmla="*/ 25 h 64"/>
                <a:gd name="T40" fmla="*/ 29 w 183"/>
                <a:gd name="T41" fmla="*/ 18 h 64"/>
                <a:gd name="T42" fmla="*/ 49 w 183"/>
                <a:gd name="T43" fmla="*/ 13 h 64"/>
                <a:gd name="T44" fmla="*/ 77 w 183"/>
                <a:gd name="T45" fmla="*/ 10 h 64"/>
                <a:gd name="T46" fmla="*/ 90 w 183"/>
                <a:gd name="T47" fmla="*/ 9 h 64"/>
                <a:gd name="T48" fmla="*/ 107 w 183"/>
                <a:gd name="T49" fmla="*/ 7 h 64"/>
                <a:gd name="T50" fmla="*/ 124 w 183"/>
                <a:gd name="T51" fmla="*/ 4 h 64"/>
                <a:gd name="T52" fmla="*/ 140 w 183"/>
                <a:gd name="T53" fmla="*/ 1 h 64"/>
                <a:gd name="T54" fmla="*/ 156 w 183"/>
                <a:gd name="T5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3" h="64">
                  <a:moveTo>
                    <a:pt x="156" y="0"/>
                  </a:moveTo>
                  <a:lnTo>
                    <a:pt x="168" y="0"/>
                  </a:lnTo>
                  <a:lnTo>
                    <a:pt x="179" y="3"/>
                  </a:lnTo>
                  <a:lnTo>
                    <a:pt x="183" y="7"/>
                  </a:lnTo>
                  <a:lnTo>
                    <a:pt x="181" y="16"/>
                  </a:lnTo>
                  <a:lnTo>
                    <a:pt x="174" y="23"/>
                  </a:lnTo>
                  <a:lnTo>
                    <a:pt x="159" y="31"/>
                  </a:lnTo>
                  <a:lnTo>
                    <a:pt x="143" y="40"/>
                  </a:lnTo>
                  <a:lnTo>
                    <a:pt x="125" y="46"/>
                  </a:lnTo>
                  <a:lnTo>
                    <a:pt x="106" y="53"/>
                  </a:lnTo>
                  <a:lnTo>
                    <a:pt x="88" y="58"/>
                  </a:lnTo>
                  <a:lnTo>
                    <a:pt x="67" y="63"/>
                  </a:lnTo>
                  <a:lnTo>
                    <a:pt x="47" y="64"/>
                  </a:lnTo>
                  <a:lnTo>
                    <a:pt x="31" y="63"/>
                  </a:lnTo>
                  <a:lnTo>
                    <a:pt x="17" y="59"/>
                  </a:lnTo>
                  <a:lnTo>
                    <a:pt x="8" y="53"/>
                  </a:lnTo>
                  <a:lnTo>
                    <a:pt x="2" y="46"/>
                  </a:lnTo>
                  <a:lnTo>
                    <a:pt x="0" y="39"/>
                  </a:lnTo>
                  <a:lnTo>
                    <a:pt x="4" y="32"/>
                  </a:lnTo>
                  <a:lnTo>
                    <a:pt x="13" y="25"/>
                  </a:lnTo>
                  <a:lnTo>
                    <a:pt x="29" y="18"/>
                  </a:lnTo>
                  <a:lnTo>
                    <a:pt x="49" y="13"/>
                  </a:lnTo>
                  <a:lnTo>
                    <a:pt x="77" y="10"/>
                  </a:lnTo>
                  <a:lnTo>
                    <a:pt x="90" y="9"/>
                  </a:lnTo>
                  <a:lnTo>
                    <a:pt x="107" y="7"/>
                  </a:lnTo>
                  <a:lnTo>
                    <a:pt x="124" y="4"/>
                  </a:lnTo>
                  <a:lnTo>
                    <a:pt x="140" y="1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904"/>
            <p:cNvSpPr>
              <a:spLocks/>
            </p:cNvSpPr>
            <p:nvPr/>
          </p:nvSpPr>
          <p:spPr bwMode="auto">
            <a:xfrm>
              <a:off x="-1184275" y="4259263"/>
              <a:ext cx="198438" cy="554038"/>
            </a:xfrm>
            <a:custGeom>
              <a:avLst/>
              <a:gdLst>
                <a:gd name="T0" fmla="*/ 25 w 125"/>
                <a:gd name="T1" fmla="*/ 0 h 349"/>
                <a:gd name="T2" fmla="*/ 35 w 125"/>
                <a:gd name="T3" fmla="*/ 0 h 349"/>
                <a:gd name="T4" fmla="*/ 47 w 125"/>
                <a:gd name="T5" fmla="*/ 5 h 349"/>
                <a:gd name="T6" fmla="*/ 57 w 125"/>
                <a:gd name="T7" fmla="*/ 14 h 349"/>
                <a:gd name="T8" fmla="*/ 68 w 125"/>
                <a:gd name="T9" fmla="*/ 28 h 349"/>
                <a:gd name="T10" fmla="*/ 80 w 125"/>
                <a:gd name="T11" fmla="*/ 46 h 349"/>
                <a:gd name="T12" fmla="*/ 90 w 125"/>
                <a:gd name="T13" fmla="*/ 69 h 349"/>
                <a:gd name="T14" fmla="*/ 98 w 125"/>
                <a:gd name="T15" fmla="*/ 97 h 349"/>
                <a:gd name="T16" fmla="*/ 106 w 125"/>
                <a:gd name="T17" fmla="*/ 129 h 349"/>
                <a:gd name="T18" fmla="*/ 111 w 125"/>
                <a:gd name="T19" fmla="*/ 163 h 349"/>
                <a:gd name="T20" fmla="*/ 116 w 125"/>
                <a:gd name="T21" fmla="*/ 197 h 349"/>
                <a:gd name="T22" fmla="*/ 120 w 125"/>
                <a:gd name="T23" fmla="*/ 232 h 349"/>
                <a:gd name="T24" fmla="*/ 122 w 125"/>
                <a:gd name="T25" fmla="*/ 264 h 349"/>
                <a:gd name="T26" fmla="*/ 125 w 125"/>
                <a:gd name="T27" fmla="*/ 292 h 349"/>
                <a:gd name="T28" fmla="*/ 125 w 125"/>
                <a:gd name="T29" fmla="*/ 315 h 349"/>
                <a:gd name="T30" fmla="*/ 122 w 125"/>
                <a:gd name="T31" fmla="*/ 327 h 349"/>
                <a:gd name="T32" fmla="*/ 116 w 125"/>
                <a:gd name="T33" fmla="*/ 337 h 349"/>
                <a:gd name="T34" fmla="*/ 108 w 125"/>
                <a:gd name="T35" fmla="*/ 345 h 349"/>
                <a:gd name="T36" fmla="*/ 101 w 125"/>
                <a:gd name="T37" fmla="*/ 349 h 349"/>
                <a:gd name="T38" fmla="*/ 94 w 125"/>
                <a:gd name="T39" fmla="*/ 349 h 349"/>
                <a:gd name="T40" fmla="*/ 86 w 125"/>
                <a:gd name="T41" fmla="*/ 346 h 349"/>
                <a:gd name="T42" fmla="*/ 79 w 125"/>
                <a:gd name="T43" fmla="*/ 340 h 349"/>
                <a:gd name="T44" fmla="*/ 72 w 125"/>
                <a:gd name="T45" fmla="*/ 332 h 349"/>
                <a:gd name="T46" fmla="*/ 71 w 125"/>
                <a:gd name="T47" fmla="*/ 322 h 349"/>
                <a:gd name="T48" fmla="*/ 70 w 125"/>
                <a:gd name="T49" fmla="*/ 304 h 349"/>
                <a:gd name="T50" fmla="*/ 65 w 125"/>
                <a:gd name="T51" fmla="*/ 282 h 349"/>
                <a:gd name="T52" fmla="*/ 57 w 125"/>
                <a:gd name="T53" fmla="*/ 258 h 349"/>
                <a:gd name="T54" fmla="*/ 49 w 125"/>
                <a:gd name="T55" fmla="*/ 232 h 349"/>
                <a:gd name="T56" fmla="*/ 39 w 125"/>
                <a:gd name="T57" fmla="*/ 206 h 349"/>
                <a:gd name="T58" fmla="*/ 30 w 125"/>
                <a:gd name="T59" fmla="*/ 183 h 349"/>
                <a:gd name="T60" fmla="*/ 22 w 125"/>
                <a:gd name="T61" fmla="*/ 161 h 349"/>
                <a:gd name="T62" fmla="*/ 11 w 125"/>
                <a:gd name="T63" fmla="*/ 126 h 349"/>
                <a:gd name="T64" fmla="*/ 4 w 125"/>
                <a:gd name="T65" fmla="*/ 93 h 349"/>
                <a:gd name="T66" fmla="*/ 0 w 125"/>
                <a:gd name="T67" fmla="*/ 67 h 349"/>
                <a:gd name="T68" fmla="*/ 0 w 125"/>
                <a:gd name="T69" fmla="*/ 43 h 349"/>
                <a:gd name="T70" fmla="*/ 3 w 125"/>
                <a:gd name="T71" fmla="*/ 27 h 349"/>
                <a:gd name="T72" fmla="*/ 9 w 125"/>
                <a:gd name="T73" fmla="*/ 13 h 349"/>
                <a:gd name="T74" fmla="*/ 16 w 125"/>
                <a:gd name="T75" fmla="*/ 4 h 349"/>
                <a:gd name="T76" fmla="*/ 25 w 125"/>
                <a:gd name="T77" fmla="*/ 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349">
                  <a:moveTo>
                    <a:pt x="25" y="0"/>
                  </a:moveTo>
                  <a:lnTo>
                    <a:pt x="35" y="0"/>
                  </a:lnTo>
                  <a:lnTo>
                    <a:pt x="47" y="5"/>
                  </a:lnTo>
                  <a:lnTo>
                    <a:pt x="57" y="14"/>
                  </a:lnTo>
                  <a:lnTo>
                    <a:pt x="68" y="28"/>
                  </a:lnTo>
                  <a:lnTo>
                    <a:pt x="80" y="46"/>
                  </a:lnTo>
                  <a:lnTo>
                    <a:pt x="90" y="69"/>
                  </a:lnTo>
                  <a:lnTo>
                    <a:pt x="98" y="97"/>
                  </a:lnTo>
                  <a:lnTo>
                    <a:pt x="106" y="129"/>
                  </a:lnTo>
                  <a:lnTo>
                    <a:pt x="111" y="163"/>
                  </a:lnTo>
                  <a:lnTo>
                    <a:pt x="116" y="197"/>
                  </a:lnTo>
                  <a:lnTo>
                    <a:pt x="120" y="232"/>
                  </a:lnTo>
                  <a:lnTo>
                    <a:pt x="122" y="264"/>
                  </a:lnTo>
                  <a:lnTo>
                    <a:pt x="125" y="292"/>
                  </a:lnTo>
                  <a:lnTo>
                    <a:pt x="125" y="315"/>
                  </a:lnTo>
                  <a:lnTo>
                    <a:pt x="122" y="327"/>
                  </a:lnTo>
                  <a:lnTo>
                    <a:pt x="116" y="337"/>
                  </a:lnTo>
                  <a:lnTo>
                    <a:pt x="108" y="345"/>
                  </a:lnTo>
                  <a:lnTo>
                    <a:pt x="101" y="349"/>
                  </a:lnTo>
                  <a:lnTo>
                    <a:pt x="94" y="349"/>
                  </a:lnTo>
                  <a:lnTo>
                    <a:pt x="86" y="346"/>
                  </a:lnTo>
                  <a:lnTo>
                    <a:pt x="79" y="340"/>
                  </a:lnTo>
                  <a:lnTo>
                    <a:pt x="72" y="332"/>
                  </a:lnTo>
                  <a:lnTo>
                    <a:pt x="71" y="322"/>
                  </a:lnTo>
                  <a:lnTo>
                    <a:pt x="70" y="304"/>
                  </a:lnTo>
                  <a:lnTo>
                    <a:pt x="65" y="282"/>
                  </a:lnTo>
                  <a:lnTo>
                    <a:pt x="57" y="258"/>
                  </a:lnTo>
                  <a:lnTo>
                    <a:pt x="49" y="232"/>
                  </a:lnTo>
                  <a:lnTo>
                    <a:pt x="39" y="206"/>
                  </a:lnTo>
                  <a:lnTo>
                    <a:pt x="30" y="183"/>
                  </a:lnTo>
                  <a:lnTo>
                    <a:pt x="22" y="161"/>
                  </a:lnTo>
                  <a:lnTo>
                    <a:pt x="11" y="126"/>
                  </a:lnTo>
                  <a:lnTo>
                    <a:pt x="4" y="93"/>
                  </a:lnTo>
                  <a:lnTo>
                    <a:pt x="0" y="67"/>
                  </a:lnTo>
                  <a:lnTo>
                    <a:pt x="0" y="43"/>
                  </a:lnTo>
                  <a:lnTo>
                    <a:pt x="3" y="27"/>
                  </a:lnTo>
                  <a:lnTo>
                    <a:pt x="9" y="13"/>
                  </a:lnTo>
                  <a:lnTo>
                    <a:pt x="16" y="4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905"/>
            <p:cNvSpPr>
              <a:spLocks/>
            </p:cNvSpPr>
            <p:nvPr/>
          </p:nvSpPr>
          <p:spPr bwMode="auto">
            <a:xfrm>
              <a:off x="-1071563" y="4662488"/>
              <a:ext cx="92075" cy="439738"/>
            </a:xfrm>
            <a:custGeom>
              <a:avLst/>
              <a:gdLst>
                <a:gd name="T0" fmla="*/ 30 w 58"/>
                <a:gd name="T1" fmla="*/ 0 h 277"/>
                <a:gd name="T2" fmla="*/ 36 w 58"/>
                <a:gd name="T3" fmla="*/ 5 h 277"/>
                <a:gd name="T4" fmla="*/ 42 w 58"/>
                <a:gd name="T5" fmla="*/ 14 h 277"/>
                <a:gd name="T6" fmla="*/ 49 w 58"/>
                <a:gd name="T7" fmla="*/ 28 h 277"/>
                <a:gd name="T8" fmla="*/ 54 w 58"/>
                <a:gd name="T9" fmla="*/ 45 h 277"/>
                <a:gd name="T10" fmla="*/ 56 w 58"/>
                <a:gd name="T11" fmla="*/ 65 h 277"/>
                <a:gd name="T12" fmla="*/ 58 w 58"/>
                <a:gd name="T13" fmla="*/ 90 h 277"/>
                <a:gd name="T14" fmla="*/ 56 w 58"/>
                <a:gd name="T15" fmla="*/ 117 h 277"/>
                <a:gd name="T16" fmla="*/ 54 w 58"/>
                <a:gd name="T17" fmla="*/ 138 h 277"/>
                <a:gd name="T18" fmla="*/ 53 w 58"/>
                <a:gd name="T19" fmla="*/ 163 h 277"/>
                <a:gd name="T20" fmla="*/ 50 w 58"/>
                <a:gd name="T21" fmla="*/ 187 h 277"/>
                <a:gd name="T22" fmla="*/ 49 w 58"/>
                <a:gd name="T23" fmla="*/ 210 h 277"/>
                <a:gd name="T24" fmla="*/ 46 w 58"/>
                <a:gd name="T25" fmla="*/ 232 h 277"/>
                <a:gd name="T26" fmla="*/ 42 w 58"/>
                <a:gd name="T27" fmla="*/ 251 h 277"/>
                <a:gd name="T28" fmla="*/ 39 w 58"/>
                <a:gd name="T29" fmla="*/ 265 h 277"/>
                <a:gd name="T30" fmla="*/ 33 w 58"/>
                <a:gd name="T31" fmla="*/ 274 h 277"/>
                <a:gd name="T32" fmla="*/ 28 w 58"/>
                <a:gd name="T33" fmla="*/ 277 h 277"/>
                <a:gd name="T34" fmla="*/ 23 w 58"/>
                <a:gd name="T35" fmla="*/ 273 h 277"/>
                <a:gd name="T36" fmla="*/ 18 w 58"/>
                <a:gd name="T37" fmla="*/ 263 h 277"/>
                <a:gd name="T38" fmla="*/ 14 w 58"/>
                <a:gd name="T39" fmla="*/ 246 h 277"/>
                <a:gd name="T40" fmla="*/ 12 w 58"/>
                <a:gd name="T41" fmla="*/ 227 h 277"/>
                <a:gd name="T42" fmla="*/ 8 w 58"/>
                <a:gd name="T43" fmla="*/ 205 h 277"/>
                <a:gd name="T44" fmla="*/ 6 w 58"/>
                <a:gd name="T45" fmla="*/ 182 h 277"/>
                <a:gd name="T46" fmla="*/ 4 w 58"/>
                <a:gd name="T47" fmla="*/ 159 h 277"/>
                <a:gd name="T48" fmla="*/ 3 w 58"/>
                <a:gd name="T49" fmla="*/ 138 h 277"/>
                <a:gd name="T50" fmla="*/ 1 w 58"/>
                <a:gd name="T51" fmla="*/ 120 h 277"/>
                <a:gd name="T52" fmla="*/ 0 w 58"/>
                <a:gd name="T53" fmla="*/ 85 h 277"/>
                <a:gd name="T54" fmla="*/ 1 w 58"/>
                <a:gd name="T55" fmla="*/ 55 h 277"/>
                <a:gd name="T56" fmla="*/ 4 w 58"/>
                <a:gd name="T57" fmla="*/ 33 h 277"/>
                <a:gd name="T58" fmla="*/ 9 w 58"/>
                <a:gd name="T59" fmla="*/ 17 h 277"/>
                <a:gd name="T60" fmla="*/ 15 w 58"/>
                <a:gd name="T61" fmla="*/ 6 h 277"/>
                <a:gd name="T62" fmla="*/ 22 w 58"/>
                <a:gd name="T63" fmla="*/ 1 h 277"/>
                <a:gd name="T64" fmla="*/ 30 w 58"/>
                <a:gd name="T65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" h="277">
                  <a:moveTo>
                    <a:pt x="30" y="0"/>
                  </a:moveTo>
                  <a:lnTo>
                    <a:pt x="36" y="5"/>
                  </a:lnTo>
                  <a:lnTo>
                    <a:pt x="42" y="14"/>
                  </a:lnTo>
                  <a:lnTo>
                    <a:pt x="49" y="28"/>
                  </a:lnTo>
                  <a:lnTo>
                    <a:pt x="54" y="45"/>
                  </a:lnTo>
                  <a:lnTo>
                    <a:pt x="56" y="65"/>
                  </a:lnTo>
                  <a:lnTo>
                    <a:pt x="58" y="90"/>
                  </a:lnTo>
                  <a:lnTo>
                    <a:pt x="56" y="117"/>
                  </a:lnTo>
                  <a:lnTo>
                    <a:pt x="54" y="138"/>
                  </a:lnTo>
                  <a:lnTo>
                    <a:pt x="53" y="163"/>
                  </a:lnTo>
                  <a:lnTo>
                    <a:pt x="50" y="187"/>
                  </a:lnTo>
                  <a:lnTo>
                    <a:pt x="49" y="210"/>
                  </a:lnTo>
                  <a:lnTo>
                    <a:pt x="46" y="232"/>
                  </a:lnTo>
                  <a:lnTo>
                    <a:pt x="42" y="251"/>
                  </a:lnTo>
                  <a:lnTo>
                    <a:pt x="39" y="265"/>
                  </a:lnTo>
                  <a:lnTo>
                    <a:pt x="33" y="274"/>
                  </a:lnTo>
                  <a:lnTo>
                    <a:pt x="28" y="277"/>
                  </a:lnTo>
                  <a:lnTo>
                    <a:pt x="23" y="273"/>
                  </a:lnTo>
                  <a:lnTo>
                    <a:pt x="18" y="263"/>
                  </a:lnTo>
                  <a:lnTo>
                    <a:pt x="14" y="246"/>
                  </a:lnTo>
                  <a:lnTo>
                    <a:pt x="12" y="227"/>
                  </a:lnTo>
                  <a:lnTo>
                    <a:pt x="8" y="205"/>
                  </a:lnTo>
                  <a:lnTo>
                    <a:pt x="6" y="182"/>
                  </a:lnTo>
                  <a:lnTo>
                    <a:pt x="4" y="159"/>
                  </a:lnTo>
                  <a:lnTo>
                    <a:pt x="3" y="138"/>
                  </a:lnTo>
                  <a:lnTo>
                    <a:pt x="1" y="120"/>
                  </a:lnTo>
                  <a:lnTo>
                    <a:pt x="0" y="85"/>
                  </a:lnTo>
                  <a:lnTo>
                    <a:pt x="1" y="55"/>
                  </a:lnTo>
                  <a:lnTo>
                    <a:pt x="4" y="33"/>
                  </a:lnTo>
                  <a:lnTo>
                    <a:pt x="9" y="17"/>
                  </a:lnTo>
                  <a:lnTo>
                    <a:pt x="15" y="6"/>
                  </a:lnTo>
                  <a:lnTo>
                    <a:pt x="22" y="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906"/>
            <p:cNvSpPr>
              <a:spLocks/>
            </p:cNvSpPr>
            <p:nvPr/>
          </p:nvSpPr>
          <p:spPr bwMode="auto">
            <a:xfrm>
              <a:off x="-1389063" y="4032250"/>
              <a:ext cx="111125" cy="249238"/>
            </a:xfrm>
            <a:custGeom>
              <a:avLst/>
              <a:gdLst>
                <a:gd name="T0" fmla="*/ 18 w 70"/>
                <a:gd name="T1" fmla="*/ 0 h 157"/>
                <a:gd name="T2" fmla="*/ 52 w 70"/>
                <a:gd name="T3" fmla="*/ 0 h 157"/>
                <a:gd name="T4" fmla="*/ 58 w 70"/>
                <a:gd name="T5" fmla="*/ 2 h 157"/>
                <a:gd name="T6" fmla="*/ 63 w 70"/>
                <a:gd name="T7" fmla="*/ 4 h 157"/>
                <a:gd name="T8" fmla="*/ 67 w 70"/>
                <a:gd name="T9" fmla="*/ 8 h 157"/>
                <a:gd name="T10" fmla="*/ 69 w 70"/>
                <a:gd name="T11" fmla="*/ 13 h 157"/>
                <a:gd name="T12" fmla="*/ 70 w 70"/>
                <a:gd name="T13" fmla="*/ 18 h 157"/>
                <a:gd name="T14" fmla="*/ 70 w 70"/>
                <a:gd name="T15" fmla="*/ 122 h 157"/>
                <a:gd name="T16" fmla="*/ 68 w 70"/>
                <a:gd name="T17" fmla="*/ 135 h 157"/>
                <a:gd name="T18" fmla="*/ 60 w 70"/>
                <a:gd name="T19" fmla="*/ 147 h 157"/>
                <a:gd name="T20" fmla="*/ 49 w 70"/>
                <a:gd name="T21" fmla="*/ 154 h 157"/>
                <a:gd name="T22" fmla="*/ 35 w 70"/>
                <a:gd name="T23" fmla="*/ 157 h 157"/>
                <a:gd name="T24" fmla="*/ 22 w 70"/>
                <a:gd name="T25" fmla="*/ 154 h 157"/>
                <a:gd name="T26" fmla="*/ 10 w 70"/>
                <a:gd name="T27" fmla="*/ 147 h 157"/>
                <a:gd name="T28" fmla="*/ 2 w 70"/>
                <a:gd name="T29" fmla="*/ 135 h 157"/>
                <a:gd name="T30" fmla="*/ 0 w 70"/>
                <a:gd name="T31" fmla="*/ 122 h 157"/>
                <a:gd name="T32" fmla="*/ 0 w 70"/>
                <a:gd name="T33" fmla="*/ 18 h 157"/>
                <a:gd name="T34" fmla="*/ 0 w 70"/>
                <a:gd name="T35" fmla="*/ 13 h 157"/>
                <a:gd name="T36" fmla="*/ 2 w 70"/>
                <a:gd name="T37" fmla="*/ 8 h 157"/>
                <a:gd name="T38" fmla="*/ 8 w 70"/>
                <a:gd name="T39" fmla="*/ 4 h 157"/>
                <a:gd name="T40" fmla="*/ 11 w 70"/>
                <a:gd name="T41" fmla="*/ 2 h 157"/>
                <a:gd name="T42" fmla="*/ 18 w 70"/>
                <a:gd name="T4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157">
                  <a:moveTo>
                    <a:pt x="18" y="0"/>
                  </a:moveTo>
                  <a:lnTo>
                    <a:pt x="52" y="0"/>
                  </a:lnTo>
                  <a:lnTo>
                    <a:pt x="58" y="2"/>
                  </a:lnTo>
                  <a:lnTo>
                    <a:pt x="63" y="4"/>
                  </a:lnTo>
                  <a:lnTo>
                    <a:pt x="67" y="8"/>
                  </a:lnTo>
                  <a:lnTo>
                    <a:pt x="69" y="13"/>
                  </a:lnTo>
                  <a:lnTo>
                    <a:pt x="70" y="18"/>
                  </a:lnTo>
                  <a:lnTo>
                    <a:pt x="70" y="122"/>
                  </a:lnTo>
                  <a:lnTo>
                    <a:pt x="68" y="135"/>
                  </a:lnTo>
                  <a:lnTo>
                    <a:pt x="60" y="147"/>
                  </a:lnTo>
                  <a:lnTo>
                    <a:pt x="49" y="154"/>
                  </a:lnTo>
                  <a:lnTo>
                    <a:pt x="35" y="157"/>
                  </a:lnTo>
                  <a:lnTo>
                    <a:pt x="22" y="154"/>
                  </a:lnTo>
                  <a:lnTo>
                    <a:pt x="10" y="147"/>
                  </a:lnTo>
                  <a:lnTo>
                    <a:pt x="2" y="135"/>
                  </a:lnTo>
                  <a:lnTo>
                    <a:pt x="0" y="1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2" y="8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907"/>
            <p:cNvSpPr>
              <a:spLocks/>
            </p:cNvSpPr>
            <p:nvPr/>
          </p:nvSpPr>
          <p:spPr bwMode="auto">
            <a:xfrm>
              <a:off x="-1790700" y="4248150"/>
              <a:ext cx="328613" cy="371475"/>
            </a:xfrm>
            <a:custGeom>
              <a:avLst/>
              <a:gdLst>
                <a:gd name="T0" fmla="*/ 172 w 207"/>
                <a:gd name="T1" fmla="*/ 0 h 234"/>
                <a:gd name="T2" fmla="*/ 186 w 207"/>
                <a:gd name="T3" fmla="*/ 0 h 234"/>
                <a:gd name="T4" fmla="*/ 196 w 207"/>
                <a:gd name="T5" fmla="*/ 6 h 234"/>
                <a:gd name="T6" fmla="*/ 204 w 207"/>
                <a:gd name="T7" fmla="*/ 16 h 234"/>
                <a:gd name="T8" fmla="*/ 207 w 207"/>
                <a:gd name="T9" fmla="*/ 30 h 234"/>
                <a:gd name="T10" fmla="*/ 204 w 207"/>
                <a:gd name="T11" fmla="*/ 47 h 234"/>
                <a:gd name="T12" fmla="*/ 195 w 207"/>
                <a:gd name="T13" fmla="*/ 68 h 234"/>
                <a:gd name="T14" fmla="*/ 181 w 207"/>
                <a:gd name="T15" fmla="*/ 93 h 234"/>
                <a:gd name="T16" fmla="*/ 160 w 207"/>
                <a:gd name="T17" fmla="*/ 120 h 234"/>
                <a:gd name="T18" fmla="*/ 132 w 207"/>
                <a:gd name="T19" fmla="*/ 149 h 234"/>
                <a:gd name="T20" fmla="*/ 113 w 207"/>
                <a:gd name="T21" fmla="*/ 167 h 234"/>
                <a:gd name="T22" fmla="*/ 95 w 207"/>
                <a:gd name="T23" fmla="*/ 185 h 234"/>
                <a:gd name="T24" fmla="*/ 77 w 207"/>
                <a:gd name="T25" fmla="*/ 201 h 234"/>
                <a:gd name="T26" fmla="*/ 59 w 207"/>
                <a:gd name="T27" fmla="*/ 215 h 234"/>
                <a:gd name="T28" fmla="*/ 44 w 207"/>
                <a:gd name="T29" fmla="*/ 225 h 234"/>
                <a:gd name="T30" fmla="*/ 30 w 207"/>
                <a:gd name="T31" fmla="*/ 231 h 234"/>
                <a:gd name="T32" fmla="*/ 17 w 207"/>
                <a:gd name="T33" fmla="*/ 234 h 234"/>
                <a:gd name="T34" fmla="*/ 8 w 207"/>
                <a:gd name="T35" fmla="*/ 229 h 234"/>
                <a:gd name="T36" fmla="*/ 1 w 207"/>
                <a:gd name="T37" fmla="*/ 220 h 234"/>
                <a:gd name="T38" fmla="*/ 0 w 207"/>
                <a:gd name="T39" fmla="*/ 207 h 234"/>
                <a:gd name="T40" fmla="*/ 4 w 207"/>
                <a:gd name="T41" fmla="*/ 192 h 234"/>
                <a:gd name="T42" fmla="*/ 12 w 207"/>
                <a:gd name="T43" fmla="*/ 174 h 234"/>
                <a:gd name="T44" fmla="*/ 23 w 207"/>
                <a:gd name="T45" fmla="*/ 153 h 234"/>
                <a:gd name="T46" fmla="*/ 37 w 207"/>
                <a:gd name="T47" fmla="*/ 130 h 234"/>
                <a:gd name="T48" fmla="*/ 53 w 207"/>
                <a:gd name="T49" fmla="*/ 106 h 234"/>
                <a:gd name="T50" fmla="*/ 72 w 207"/>
                <a:gd name="T51" fmla="*/ 80 h 234"/>
                <a:gd name="T52" fmla="*/ 94 w 207"/>
                <a:gd name="T53" fmla="*/ 52 h 234"/>
                <a:gd name="T54" fmla="*/ 116 w 207"/>
                <a:gd name="T55" fmla="*/ 30 h 234"/>
                <a:gd name="T56" fmla="*/ 136 w 207"/>
                <a:gd name="T57" fmla="*/ 15 h 234"/>
                <a:gd name="T58" fmla="*/ 155 w 207"/>
                <a:gd name="T59" fmla="*/ 4 h 234"/>
                <a:gd name="T60" fmla="*/ 172 w 207"/>
                <a:gd name="T6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7" h="234">
                  <a:moveTo>
                    <a:pt x="172" y="0"/>
                  </a:moveTo>
                  <a:lnTo>
                    <a:pt x="186" y="0"/>
                  </a:lnTo>
                  <a:lnTo>
                    <a:pt x="196" y="6"/>
                  </a:lnTo>
                  <a:lnTo>
                    <a:pt x="204" y="16"/>
                  </a:lnTo>
                  <a:lnTo>
                    <a:pt x="207" y="30"/>
                  </a:lnTo>
                  <a:lnTo>
                    <a:pt x="204" y="47"/>
                  </a:lnTo>
                  <a:lnTo>
                    <a:pt x="195" y="68"/>
                  </a:lnTo>
                  <a:lnTo>
                    <a:pt x="181" y="93"/>
                  </a:lnTo>
                  <a:lnTo>
                    <a:pt x="160" y="120"/>
                  </a:lnTo>
                  <a:lnTo>
                    <a:pt x="132" y="149"/>
                  </a:lnTo>
                  <a:lnTo>
                    <a:pt x="113" y="167"/>
                  </a:lnTo>
                  <a:lnTo>
                    <a:pt x="95" y="185"/>
                  </a:lnTo>
                  <a:lnTo>
                    <a:pt x="77" y="201"/>
                  </a:lnTo>
                  <a:lnTo>
                    <a:pt x="59" y="215"/>
                  </a:lnTo>
                  <a:lnTo>
                    <a:pt x="44" y="225"/>
                  </a:lnTo>
                  <a:lnTo>
                    <a:pt x="30" y="231"/>
                  </a:lnTo>
                  <a:lnTo>
                    <a:pt x="17" y="234"/>
                  </a:lnTo>
                  <a:lnTo>
                    <a:pt x="8" y="229"/>
                  </a:lnTo>
                  <a:lnTo>
                    <a:pt x="1" y="220"/>
                  </a:lnTo>
                  <a:lnTo>
                    <a:pt x="0" y="207"/>
                  </a:lnTo>
                  <a:lnTo>
                    <a:pt x="4" y="192"/>
                  </a:lnTo>
                  <a:lnTo>
                    <a:pt x="12" y="174"/>
                  </a:lnTo>
                  <a:lnTo>
                    <a:pt x="23" y="153"/>
                  </a:lnTo>
                  <a:lnTo>
                    <a:pt x="37" y="130"/>
                  </a:lnTo>
                  <a:lnTo>
                    <a:pt x="53" y="106"/>
                  </a:lnTo>
                  <a:lnTo>
                    <a:pt x="72" y="80"/>
                  </a:lnTo>
                  <a:lnTo>
                    <a:pt x="94" y="52"/>
                  </a:lnTo>
                  <a:lnTo>
                    <a:pt x="116" y="30"/>
                  </a:lnTo>
                  <a:lnTo>
                    <a:pt x="136" y="15"/>
                  </a:lnTo>
                  <a:lnTo>
                    <a:pt x="155" y="4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908"/>
            <p:cNvSpPr>
              <a:spLocks/>
            </p:cNvSpPr>
            <p:nvPr/>
          </p:nvSpPr>
          <p:spPr bwMode="auto">
            <a:xfrm>
              <a:off x="-1712913" y="4240213"/>
              <a:ext cx="254000" cy="271463"/>
            </a:xfrm>
            <a:custGeom>
              <a:avLst/>
              <a:gdLst>
                <a:gd name="T0" fmla="*/ 127 w 160"/>
                <a:gd name="T1" fmla="*/ 0 h 171"/>
                <a:gd name="T2" fmla="*/ 141 w 160"/>
                <a:gd name="T3" fmla="*/ 3 h 171"/>
                <a:gd name="T4" fmla="*/ 151 w 160"/>
                <a:gd name="T5" fmla="*/ 8 h 171"/>
                <a:gd name="T6" fmla="*/ 158 w 160"/>
                <a:gd name="T7" fmla="*/ 17 h 171"/>
                <a:gd name="T8" fmla="*/ 160 w 160"/>
                <a:gd name="T9" fmla="*/ 31 h 171"/>
                <a:gd name="T10" fmla="*/ 159 w 160"/>
                <a:gd name="T11" fmla="*/ 46 h 171"/>
                <a:gd name="T12" fmla="*/ 153 w 160"/>
                <a:gd name="T13" fmla="*/ 66 h 171"/>
                <a:gd name="T14" fmla="*/ 141 w 160"/>
                <a:gd name="T15" fmla="*/ 89 h 171"/>
                <a:gd name="T16" fmla="*/ 123 w 160"/>
                <a:gd name="T17" fmla="*/ 113 h 171"/>
                <a:gd name="T18" fmla="*/ 99 w 160"/>
                <a:gd name="T19" fmla="*/ 141 h 171"/>
                <a:gd name="T20" fmla="*/ 68 w 160"/>
                <a:gd name="T21" fmla="*/ 171 h 171"/>
                <a:gd name="T22" fmla="*/ 0 w 160"/>
                <a:gd name="T23" fmla="*/ 111 h 171"/>
                <a:gd name="T24" fmla="*/ 19 w 160"/>
                <a:gd name="T25" fmla="*/ 80 h 171"/>
                <a:gd name="T26" fmla="*/ 38 w 160"/>
                <a:gd name="T27" fmla="*/ 55 h 171"/>
                <a:gd name="T28" fmla="*/ 58 w 160"/>
                <a:gd name="T29" fmla="*/ 35 h 171"/>
                <a:gd name="T30" fmla="*/ 77 w 160"/>
                <a:gd name="T31" fmla="*/ 20 h 171"/>
                <a:gd name="T32" fmla="*/ 95 w 160"/>
                <a:gd name="T33" fmla="*/ 9 h 171"/>
                <a:gd name="T34" fmla="*/ 111 w 160"/>
                <a:gd name="T35" fmla="*/ 3 h 171"/>
                <a:gd name="T36" fmla="*/ 127 w 160"/>
                <a:gd name="T37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" h="171">
                  <a:moveTo>
                    <a:pt x="127" y="0"/>
                  </a:moveTo>
                  <a:lnTo>
                    <a:pt x="141" y="3"/>
                  </a:lnTo>
                  <a:lnTo>
                    <a:pt x="151" y="8"/>
                  </a:lnTo>
                  <a:lnTo>
                    <a:pt x="158" y="17"/>
                  </a:lnTo>
                  <a:lnTo>
                    <a:pt x="160" y="31"/>
                  </a:lnTo>
                  <a:lnTo>
                    <a:pt x="159" y="46"/>
                  </a:lnTo>
                  <a:lnTo>
                    <a:pt x="153" y="66"/>
                  </a:lnTo>
                  <a:lnTo>
                    <a:pt x="141" y="89"/>
                  </a:lnTo>
                  <a:lnTo>
                    <a:pt x="123" y="113"/>
                  </a:lnTo>
                  <a:lnTo>
                    <a:pt x="99" y="141"/>
                  </a:lnTo>
                  <a:lnTo>
                    <a:pt x="68" y="171"/>
                  </a:lnTo>
                  <a:lnTo>
                    <a:pt x="0" y="111"/>
                  </a:lnTo>
                  <a:lnTo>
                    <a:pt x="19" y="80"/>
                  </a:lnTo>
                  <a:lnTo>
                    <a:pt x="38" y="55"/>
                  </a:lnTo>
                  <a:lnTo>
                    <a:pt x="58" y="35"/>
                  </a:lnTo>
                  <a:lnTo>
                    <a:pt x="77" y="20"/>
                  </a:lnTo>
                  <a:lnTo>
                    <a:pt x="95" y="9"/>
                  </a:lnTo>
                  <a:lnTo>
                    <a:pt x="111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909"/>
            <p:cNvSpPr>
              <a:spLocks/>
            </p:cNvSpPr>
            <p:nvPr/>
          </p:nvSpPr>
          <p:spPr bwMode="auto">
            <a:xfrm>
              <a:off x="-1674813" y="4205288"/>
              <a:ext cx="233363" cy="873125"/>
            </a:xfrm>
            <a:custGeom>
              <a:avLst/>
              <a:gdLst>
                <a:gd name="T0" fmla="*/ 143 w 147"/>
                <a:gd name="T1" fmla="*/ 0 h 550"/>
                <a:gd name="T2" fmla="*/ 145 w 147"/>
                <a:gd name="T3" fmla="*/ 22 h 550"/>
                <a:gd name="T4" fmla="*/ 147 w 147"/>
                <a:gd name="T5" fmla="*/ 49 h 550"/>
                <a:gd name="T6" fmla="*/ 145 w 147"/>
                <a:gd name="T7" fmla="*/ 81 h 550"/>
                <a:gd name="T8" fmla="*/ 141 w 147"/>
                <a:gd name="T9" fmla="*/ 116 h 550"/>
                <a:gd name="T10" fmla="*/ 136 w 147"/>
                <a:gd name="T11" fmla="*/ 156 h 550"/>
                <a:gd name="T12" fmla="*/ 130 w 147"/>
                <a:gd name="T13" fmla="*/ 198 h 550"/>
                <a:gd name="T14" fmla="*/ 122 w 147"/>
                <a:gd name="T15" fmla="*/ 242 h 550"/>
                <a:gd name="T16" fmla="*/ 112 w 147"/>
                <a:gd name="T17" fmla="*/ 292 h 550"/>
                <a:gd name="T18" fmla="*/ 99 w 147"/>
                <a:gd name="T19" fmla="*/ 347 h 550"/>
                <a:gd name="T20" fmla="*/ 85 w 147"/>
                <a:gd name="T21" fmla="*/ 402 h 550"/>
                <a:gd name="T22" fmla="*/ 68 w 147"/>
                <a:gd name="T23" fmla="*/ 456 h 550"/>
                <a:gd name="T24" fmla="*/ 53 w 147"/>
                <a:gd name="T25" fmla="*/ 506 h 550"/>
                <a:gd name="T26" fmla="*/ 36 w 147"/>
                <a:gd name="T27" fmla="*/ 550 h 550"/>
                <a:gd name="T28" fmla="*/ 0 w 147"/>
                <a:gd name="T29" fmla="*/ 538 h 550"/>
                <a:gd name="T30" fmla="*/ 16 w 147"/>
                <a:gd name="T31" fmla="*/ 494 h 550"/>
                <a:gd name="T32" fmla="*/ 32 w 147"/>
                <a:gd name="T33" fmla="*/ 446 h 550"/>
                <a:gd name="T34" fmla="*/ 48 w 147"/>
                <a:gd name="T35" fmla="*/ 393 h 550"/>
                <a:gd name="T36" fmla="*/ 62 w 147"/>
                <a:gd name="T37" fmla="*/ 338 h 550"/>
                <a:gd name="T38" fmla="*/ 75 w 147"/>
                <a:gd name="T39" fmla="*/ 284 h 550"/>
                <a:gd name="T40" fmla="*/ 85 w 147"/>
                <a:gd name="T41" fmla="*/ 234 h 550"/>
                <a:gd name="T42" fmla="*/ 93 w 147"/>
                <a:gd name="T43" fmla="*/ 193 h 550"/>
                <a:gd name="T44" fmla="*/ 99 w 147"/>
                <a:gd name="T45" fmla="*/ 153 h 550"/>
                <a:gd name="T46" fmla="*/ 103 w 147"/>
                <a:gd name="T47" fmla="*/ 116 h 550"/>
                <a:gd name="T48" fmla="*/ 107 w 147"/>
                <a:gd name="T49" fmla="*/ 81 h 550"/>
                <a:gd name="T50" fmla="*/ 108 w 147"/>
                <a:gd name="T51" fmla="*/ 52 h 550"/>
                <a:gd name="T52" fmla="*/ 108 w 147"/>
                <a:gd name="T53" fmla="*/ 27 h 550"/>
                <a:gd name="T54" fmla="*/ 105 w 147"/>
                <a:gd name="T55" fmla="*/ 8 h 550"/>
                <a:gd name="T56" fmla="*/ 143 w 147"/>
                <a:gd name="T57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7" h="550">
                  <a:moveTo>
                    <a:pt x="143" y="0"/>
                  </a:moveTo>
                  <a:lnTo>
                    <a:pt x="145" y="22"/>
                  </a:lnTo>
                  <a:lnTo>
                    <a:pt x="147" y="49"/>
                  </a:lnTo>
                  <a:lnTo>
                    <a:pt x="145" y="81"/>
                  </a:lnTo>
                  <a:lnTo>
                    <a:pt x="141" y="116"/>
                  </a:lnTo>
                  <a:lnTo>
                    <a:pt x="136" y="156"/>
                  </a:lnTo>
                  <a:lnTo>
                    <a:pt x="130" y="198"/>
                  </a:lnTo>
                  <a:lnTo>
                    <a:pt x="122" y="242"/>
                  </a:lnTo>
                  <a:lnTo>
                    <a:pt x="112" y="292"/>
                  </a:lnTo>
                  <a:lnTo>
                    <a:pt x="99" y="347"/>
                  </a:lnTo>
                  <a:lnTo>
                    <a:pt x="85" y="402"/>
                  </a:lnTo>
                  <a:lnTo>
                    <a:pt x="68" y="456"/>
                  </a:lnTo>
                  <a:lnTo>
                    <a:pt x="53" y="506"/>
                  </a:lnTo>
                  <a:lnTo>
                    <a:pt x="36" y="550"/>
                  </a:lnTo>
                  <a:lnTo>
                    <a:pt x="0" y="538"/>
                  </a:lnTo>
                  <a:lnTo>
                    <a:pt x="16" y="494"/>
                  </a:lnTo>
                  <a:lnTo>
                    <a:pt x="32" y="446"/>
                  </a:lnTo>
                  <a:lnTo>
                    <a:pt x="48" y="393"/>
                  </a:lnTo>
                  <a:lnTo>
                    <a:pt x="62" y="338"/>
                  </a:lnTo>
                  <a:lnTo>
                    <a:pt x="75" y="284"/>
                  </a:lnTo>
                  <a:lnTo>
                    <a:pt x="85" y="234"/>
                  </a:lnTo>
                  <a:lnTo>
                    <a:pt x="93" y="193"/>
                  </a:lnTo>
                  <a:lnTo>
                    <a:pt x="99" y="153"/>
                  </a:lnTo>
                  <a:lnTo>
                    <a:pt x="103" y="116"/>
                  </a:lnTo>
                  <a:lnTo>
                    <a:pt x="107" y="81"/>
                  </a:lnTo>
                  <a:lnTo>
                    <a:pt x="108" y="52"/>
                  </a:lnTo>
                  <a:lnTo>
                    <a:pt x="108" y="27"/>
                  </a:lnTo>
                  <a:lnTo>
                    <a:pt x="105" y="8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5BFF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910"/>
            <p:cNvSpPr>
              <a:spLocks/>
            </p:cNvSpPr>
            <p:nvPr/>
          </p:nvSpPr>
          <p:spPr bwMode="auto">
            <a:xfrm>
              <a:off x="-1616075" y="4438650"/>
              <a:ext cx="174625" cy="165100"/>
            </a:xfrm>
            <a:custGeom>
              <a:avLst/>
              <a:gdLst>
                <a:gd name="T0" fmla="*/ 62 w 110"/>
                <a:gd name="T1" fmla="*/ 1 h 104"/>
                <a:gd name="T2" fmla="*/ 63 w 110"/>
                <a:gd name="T3" fmla="*/ 4 h 104"/>
                <a:gd name="T4" fmla="*/ 62 w 110"/>
                <a:gd name="T5" fmla="*/ 9 h 104"/>
                <a:gd name="T6" fmla="*/ 61 w 110"/>
                <a:gd name="T7" fmla="*/ 14 h 104"/>
                <a:gd name="T8" fmla="*/ 59 w 110"/>
                <a:gd name="T9" fmla="*/ 20 h 104"/>
                <a:gd name="T10" fmla="*/ 58 w 110"/>
                <a:gd name="T11" fmla="*/ 24 h 104"/>
                <a:gd name="T12" fmla="*/ 57 w 110"/>
                <a:gd name="T13" fmla="*/ 28 h 104"/>
                <a:gd name="T14" fmla="*/ 66 w 110"/>
                <a:gd name="T15" fmla="*/ 27 h 104"/>
                <a:gd name="T16" fmla="*/ 93 w 110"/>
                <a:gd name="T17" fmla="*/ 23 h 104"/>
                <a:gd name="T18" fmla="*/ 99 w 110"/>
                <a:gd name="T19" fmla="*/ 23 h 104"/>
                <a:gd name="T20" fmla="*/ 103 w 110"/>
                <a:gd name="T21" fmla="*/ 25 h 104"/>
                <a:gd name="T22" fmla="*/ 104 w 110"/>
                <a:gd name="T23" fmla="*/ 29 h 104"/>
                <a:gd name="T24" fmla="*/ 102 w 110"/>
                <a:gd name="T25" fmla="*/ 34 h 104"/>
                <a:gd name="T26" fmla="*/ 103 w 110"/>
                <a:gd name="T27" fmla="*/ 37 h 104"/>
                <a:gd name="T28" fmla="*/ 107 w 110"/>
                <a:gd name="T29" fmla="*/ 42 h 104"/>
                <a:gd name="T30" fmla="*/ 106 w 110"/>
                <a:gd name="T31" fmla="*/ 48 h 104"/>
                <a:gd name="T32" fmla="*/ 103 w 110"/>
                <a:gd name="T33" fmla="*/ 52 h 104"/>
                <a:gd name="T34" fmla="*/ 103 w 110"/>
                <a:gd name="T35" fmla="*/ 56 h 104"/>
                <a:gd name="T36" fmla="*/ 107 w 110"/>
                <a:gd name="T37" fmla="*/ 60 h 104"/>
                <a:gd name="T38" fmla="*/ 110 w 110"/>
                <a:gd name="T39" fmla="*/ 65 h 104"/>
                <a:gd name="T40" fmla="*/ 107 w 110"/>
                <a:gd name="T41" fmla="*/ 70 h 104"/>
                <a:gd name="T42" fmla="*/ 103 w 110"/>
                <a:gd name="T43" fmla="*/ 73 h 104"/>
                <a:gd name="T44" fmla="*/ 101 w 110"/>
                <a:gd name="T45" fmla="*/ 75 h 104"/>
                <a:gd name="T46" fmla="*/ 103 w 110"/>
                <a:gd name="T47" fmla="*/ 77 h 104"/>
                <a:gd name="T48" fmla="*/ 108 w 110"/>
                <a:gd name="T49" fmla="*/ 82 h 104"/>
                <a:gd name="T50" fmla="*/ 108 w 110"/>
                <a:gd name="T51" fmla="*/ 86 h 104"/>
                <a:gd name="T52" fmla="*/ 101 w 110"/>
                <a:gd name="T53" fmla="*/ 91 h 104"/>
                <a:gd name="T54" fmla="*/ 76 w 110"/>
                <a:gd name="T55" fmla="*/ 93 h 104"/>
                <a:gd name="T56" fmla="*/ 44 w 110"/>
                <a:gd name="T57" fmla="*/ 96 h 104"/>
                <a:gd name="T58" fmla="*/ 16 w 110"/>
                <a:gd name="T59" fmla="*/ 102 h 104"/>
                <a:gd name="T60" fmla="*/ 9 w 110"/>
                <a:gd name="T61" fmla="*/ 102 h 104"/>
                <a:gd name="T62" fmla="*/ 6 w 110"/>
                <a:gd name="T63" fmla="*/ 97 h 104"/>
                <a:gd name="T64" fmla="*/ 3 w 110"/>
                <a:gd name="T65" fmla="*/ 92 h 104"/>
                <a:gd name="T66" fmla="*/ 2 w 110"/>
                <a:gd name="T67" fmla="*/ 87 h 104"/>
                <a:gd name="T68" fmla="*/ 4 w 110"/>
                <a:gd name="T69" fmla="*/ 64 h 104"/>
                <a:gd name="T70" fmla="*/ 24 w 110"/>
                <a:gd name="T71" fmla="*/ 43 h 104"/>
                <a:gd name="T72" fmla="*/ 45 w 110"/>
                <a:gd name="T73" fmla="*/ 19 h 104"/>
                <a:gd name="T74" fmla="*/ 53 w 110"/>
                <a:gd name="T75" fmla="*/ 7 h 104"/>
                <a:gd name="T76" fmla="*/ 58 w 110"/>
                <a:gd name="T77" fmla="*/ 2 h 104"/>
                <a:gd name="T78" fmla="*/ 62 w 110"/>
                <a:gd name="T7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62" y="0"/>
                  </a:moveTo>
                  <a:lnTo>
                    <a:pt x="62" y="1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2" y="6"/>
                  </a:lnTo>
                  <a:lnTo>
                    <a:pt x="62" y="9"/>
                  </a:lnTo>
                  <a:lnTo>
                    <a:pt x="61" y="11"/>
                  </a:lnTo>
                  <a:lnTo>
                    <a:pt x="61" y="14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8" y="23"/>
                  </a:lnTo>
                  <a:lnTo>
                    <a:pt x="58" y="24"/>
                  </a:lnTo>
                  <a:lnTo>
                    <a:pt x="57" y="27"/>
                  </a:lnTo>
                  <a:lnTo>
                    <a:pt x="57" y="28"/>
                  </a:lnTo>
                  <a:lnTo>
                    <a:pt x="58" y="28"/>
                  </a:lnTo>
                  <a:lnTo>
                    <a:pt x="66" y="27"/>
                  </a:lnTo>
                  <a:lnTo>
                    <a:pt x="79" y="25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99" y="23"/>
                  </a:lnTo>
                  <a:lnTo>
                    <a:pt x="102" y="24"/>
                  </a:lnTo>
                  <a:lnTo>
                    <a:pt x="103" y="25"/>
                  </a:lnTo>
                  <a:lnTo>
                    <a:pt x="104" y="28"/>
                  </a:lnTo>
                  <a:lnTo>
                    <a:pt x="104" y="29"/>
                  </a:lnTo>
                  <a:lnTo>
                    <a:pt x="103" y="32"/>
                  </a:lnTo>
                  <a:lnTo>
                    <a:pt x="102" y="34"/>
                  </a:lnTo>
                  <a:lnTo>
                    <a:pt x="102" y="36"/>
                  </a:lnTo>
                  <a:lnTo>
                    <a:pt x="103" y="37"/>
                  </a:lnTo>
                  <a:lnTo>
                    <a:pt x="106" y="39"/>
                  </a:lnTo>
                  <a:lnTo>
                    <a:pt x="107" y="42"/>
                  </a:lnTo>
                  <a:lnTo>
                    <a:pt x="107" y="46"/>
                  </a:lnTo>
                  <a:lnTo>
                    <a:pt x="106" y="48"/>
                  </a:lnTo>
                  <a:lnTo>
                    <a:pt x="104" y="51"/>
                  </a:lnTo>
                  <a:lnTo>
                    <a:pt x="103" y="52"/>
                  </a:lnTo>
                  <a:lnTo>
                    <a:pt x="102" y="55"/>
                  </a:lnTo>
                  <a:lnTo>
                    <a:pt x="103" y="56"/>
                  </a:lnTo>
                  <a:lnTo>
                    <a:pt x="104" y="57"/>
                  </a:lnTo>
                  <a:lnTo>
                    <a:pt x="107" y="60"/>
                  </a:lnTo>
                  <a:lnTo>
                    <a:pt x="108" y="63"/>
                  </a:lnTo>
                  <a:lnTo>
                    <a:pt x="110" y="65"/>
                  </a:lnTo>
                  <a:lnTo>
                    <a:pt x="108" y="68"/>
                  </a:lnTo>
                  <a:lnTo>
                    <a:pt x="107" y="70"/>
                  </a:lnTo>
                  <a:lnTo>
                    <a:pt x="106" y="72"/>
                  </a:lnTo>
                  <a:lnTo>
                    <a:pt x="103" y="73"/>
                  </a:lnTo>
                  <a:lnTo>
                    <a:pt x="102" y="74"/>
                  </a:lnTo>
                  <a:lnTo>
                    <a:pt x="101" y="75"/>
                  </a:lnTo>
                  <a:lnTo>
                    <a:pt x="102" y="75"/>
                  </a:lnTo>
                  <a:lnTo>
                    <a:pt x="103" y="77"/>
                  </a:lnTo>
                  <a:lnTo>
                    <a:pt x="107" y="79"/>
                  </a:lnTo>
                  <a:lnTo>
                    <a:pt x="108" y="82"/>
                  </a:lnTo>
                  <a:lnTo>
                    <a:pt x="108" y="84"/>
                  </a:lnTo>
                  <a:lnTo>
                    <a:pt x="108" y="86"/>
                  </a:lnTo>
                  <a:lnTo>
                    <a:pt x="107" y="88"/>
                  </a:lnTo>
                  <a:lnTo>
                    <a:pt x="101" y="91"/>
                  </a:lnTo>
                  <a:lnTo>
                    <a:pt x="90" y="92"/>
                  </a:lnTo>
                  <a:lnTo>
                    <a:pt x="76" y="93"/>
                  </a:lnTo>
                  <a:lnTo>
                    <a:pt x="61" y="95"/>
                  </a:lnTo>
                  <a:lnTo>
                    <a:pt x="44" y="96"/>
                  </a:lnTo>
                  <a:lnTo>
                    <a:pt x="29" y="99"/>
                  </a:lnTo>
                  <a:lnTo>
                    <a:pt x="16" y="102"/>
                  </a:lnTo>
                  <a:lnTo>
                    <a:pt x="12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6" y="97"/>
                  </a:lnTo>
                  <a:lnTo>
                    <a:pt x="4" y="95"/>
                  </a:lnTo>
                  <a:lnTo>
                    <a:pt x="3" y="92"/>
                  </a:lnTo>
                  <a:lnTo>
                    <a:pt x="2" y="90"/>
                  </a:lnTo>
                  <a:lnTo>
                    <a:pt x="2" y="87"/>
                  </a:lnTo>
                  <a:lnTo>
                    <a:pt x="0" y="75"/>
                  </a:lnTo>
                  <a:lnTo>
                    <a:pt x="4" y="64"/>
                  </a:lnTo>
                  <a:lnTo>
                    <a:pt x="12" y="54"/>
                  </a:lnTo>
                  <a:lnTo>
                    <a:pt x="24" y="43"/>
                  </a:lnTo>
                  <a:lnTo>
                    <a:pt x="34" y="32"/>
                  </a:lnTo>
                  <a:lnTo>
                    <a:pt x="45" y="19"/>
                  </a:lnTo>
                  <a:lnTo>
                    <a:pt x="49" y="13"/>
                  </a:lnTo>
                  <a:lnTo>
                    <a:pt x="53" y="7"/>
                  </a:lnTo>
                  <a:lnTo>
                    <a:pt x="57" y="4"/>
                  </a:lnTo>
                  <a:lnTo>
                    <a:pt x="58" y="2"/>
                  </a:lnTo>
                  <a:lnTo>
                    <a:pt x="61" y="1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911"/>
            <p:cNvSpPr>
              <a:spLocks/>
            </p:cNvSpPr>
            <p:nvPr/>
          </p:nvSpPr>
          <p:spPr bwMode="auto">
            <a:xfrm>
              <a:off x="-1090613" y="4914900"/>
              <a:ext cx="98425" cy="336550"/>
            </a:xfrm>
            <a:custGeom>
              <a:avLst/>
              <a:gdLst>
                <a:gd name="T0" fmla="*/ 35 w 62"/>
                <a:gd name="T1" fmla="*/ 0 h 212"/>
                <a:gd name="T2" fmla="*/ 44 w 62"/>
                <a:gd name="T3" fmla="*/ 4 h 212"/>
                <a:gd name="T4" fmla="*/ 52 w 62"/>
                <a:gd name="T5" fmla="*/ 10 h 212"/>
                <a:gd name="T6" fmla="*/ 57 w 62"/>
                <a:gd name="T7" fmla="*/ 20 h 212"/>
                <a:gd name="T8" fmla="*/ 59 w 62"/>
                <a:gd name="T9" fmla="*/ 33 h 212"/>
                <a:gd name="T10" fmla="*/ 58 w 62"/>
                <a:gd name="T11" fmla="*/ 50 h 212"/>
                <a:gd name="T12" fmla="*/ 59 w 62"/>
                <a:gd name="T13" fmla="*/ 69 h 212"/>
                <a:gd name="T14" fmla="*/ 61 w 62"/>
                <a:gd name="T15" fmla="*/ 90 h 212"/>
                <a:gd name="T16" fmla="*/ 62 w 62"/>
                <a:gd name="T17" fmla="*/ 110 h 212"/>
                <a:gd name="T18" fmla="*/ 62 w 62"/>
                <a:gd name="T19" fmla="*/ 131 h 212"/>
                <a:gd name="T20" fmla="*/ 61 w 62"/>
                <a:gd name="T21" fmla="*/ 148 h 212"/>
                <a:gd name="T22" fmla="*/ 58 w 62"/>
                <a:gd name="T23" fmla="*/ 160 h 212"/>
                <a:gd name="T24" fmla="*/ 53 w 62"/>
                <a:gd name="T25" fmla="*/ 173 h 212"/>
                <a:gd name="T26" fmla="*/ 48 w 62"/>
                <a:gd name="T27" fmla="*/ 185 h 212"/>
                <a:gd name="T28" fmla="*/ 42 w 62"/>
                <a:gd name="T29" fmla="*/ 195 h 212"/>
                <a:gd name="T30" fmla="*/ 33 w 62"/>
                <a:gd name="T31" fmla="*/ 201 h 212"/>
                <a:gd name="T32" fmla="*/ 22 w 62"/>
                <a:gd name="T33" fmla="*/ 207 h 212"/>
                <a:gd name="T34" fmla="*/ 15 w 62"/>
                <a:gd name="T35" fmla="*/ 210 h 212"/>
                <a:gd name="T36" fmla="*/ 8 w 62"/>
                <a:gd name="T37" fmla="*/ 212 h 212"/>
                <a:gd name="T38" fmla="*/ 6 w 62"/>
                <a:gd name="T39" fmla="*/ 210 h 212"/>
                <a:gd name="T40" fmla="*/ 3 w 62"/>
                <a:gd name="T41" fmla="*/ 210 h 212"/>
                <a:gd name="T42" fmla="*/ 2 w 62"/>
                <a:gd name="T43" fmla="*/ 208 h 212"/>
                <a:gd name="T44" fmla="*/ 0 w 62"/>
                <a:gd name="T45" fmla="*/ 207 h 212"/>
                <a:gd name="T46" fmla="*/ 2 w 62"/>
                <a:gd name="T47" fmla="*/ 204 h 212"/>
                <a:gd name="T48" fmla="*/ 4 w 62"/>
                <a:gd name="T49" fmla="*/ 201 h 212"/>
                <a:gd name="T50" fmla="*/ 8 w 62"/>
                <a:gd name="T51" fmla="*/ 199 h 212"/>
                <a:gd name="T52" fmla="*/ 12 w 62"/>
                <a:gd name="T53" fmla="*/ 196 h 212"/>
                <a:gd name="T54" fmla="*/ 17 w 62"/>
                <a:gd name="T55" fmla="*/ 194 h 212"/>
                <a:gd name="T56" fmla="*/ 21 w 62"/>
                <a:gd name="T57" fmla="*/ 191 h 212"/>
                <a:gd name="T58" fmla="*/ 26 w 62"/>
                <a:gd name="T59" fmla="*/ 186 h 212"/>
                <a:gd name="T60" fmla="*/ 33 w 62"/>
                <a:gd name="T61" fmla="*/ 176 h 212"/>
                <a:gd name="T62" fmla="*/ 35 w 62"/>
                <a:gd name="T63" fmla="*/ 164 h 212"/>
                <a:gd name="T64" fmla="*/ 36 w 62"/>
                <a:gd name="T65" fmla="*/ 155 h 212"/>
                <a:gd name="T66" fmla="*/ 35 w 62"/>
                <a:gd name="T67" fmla="*/ 150 h 212"/>
                <a:gd name="T68" fmla="*/ 30 w 62"/>
                <a:gd name="T69" fmla="*/ 151 h 212"/>
                <a:gd name="T70" fmla="*/ 24 w 62"/>
                <a:gd name="T71" fmla="*/ 158 h 212"/>
                <a:gd name="T72" fmla="*/ 18 w 62"/>
                <a:gd name="T73" fmla="*/ 165 h 212"/>
                <a:gd name="T74" fmla="*/ 13 w 62"/>
                <a:gd name="T75" fmla="*/ 174 h 212"/>
                <a:gd name="T76" fmla="*/ 8 w 62"/>
                <a:gd name="T77" fmla="*/ 180 h 212"/>
                <a:gd name="T78" fmla="*/ 3 w 62"/>
                <a:gd name="T79" fmla="*/ 181 h 212"/>
                <a:gd name="T80" fmla="*/ 2 w 62"/>
                <a:gd name="T81" fmla="*/ 178 h 212"/>
                <a:gd name="T82" fmla="*/ 3 w 62"/>
                <a:gd name="T83" fmla="*/ 171 h 212"/>
                <a:gd name="T84" fmla="*/ 4 w 62"/>
                <a:gd name="T85" fmla="*/ 162 h 212"/>
                <a:gd name="T86" fmla="*/ 7 w 62"/>
                <a:gd name="T87" fmla="*/ 153 h 212"/>
                <a:gd name="T88" fmla="*/ 9 w 62"/>
                <a:gd name="T89" fmla="*/ 144 h 212"/>
                <a:gd name="T90" fmla="*/ 11 w 62"/>
                <a:gd name="T91" fmla="*/ 133 h 212"/>
                <a:gd name="T92" fmla="*/ 11 w 62"/>
                <a:gd name="T93" fmla="*/ 121 h 212"/>
                <a:gd name="T94" fmla="*/ 12 w 62"/>
                <a:gd name="T95" fmla="*/ 108 h 212"/>
                <a:gd name="T96" fmla="*/ 17 w 62"/>
                <a:gd name="T97" fmla="*/ 97 h 212"/>
                <a:gd name="T98" fmla="*/ 24 w 62"/>
                <a:gd name="T99" fmla="*/ 82 h 212"/>
                <a:gd name="T100" fmla="*/ 25 w 62"/>
                <a:gd name="T101" fmla="*/ 65 h 212"/>
                <a:gd name="T102" fmla="*/ 24 w 62"/>
                <a:gd name="T103" fmla="*/ 47 h 212"/>
                <a:gd name="T104" fmla="*/ 21 w 62"/>
                <a:gd name="T105" fmla="*/ 31 h 212"/>
                <a:gd name="T106" fmla="*/ 18 w 62"/>
                <a:gd name="T107" fmla="*/ 14 h 212"/>
                <a:gd name="T108" fmla="*/ 21 w 62"/>
                <a:gd name="T109" fmla="*/ 5 h 212"/>
                <a:gd name="T110" fmla="*/ 26 w 62"/>
                <a:gd name="T111" fmla="*/ 0 h 212"/>
                <a:gd name="T112" fmla="*/ 35 w 62"/>
                <a:gd name="T113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212">
                  <a:moveTo>
                    <a:pt x="35" y="0"/>
                  </a:moveTo>
                  <a:lnTo>
                    <a:pt x="44" y="4"/>
                  </a:lnTo>
                  <a:lnTo>
                    <a:pt x="52" y="10"/>
                  </a:lnTo>
                  <a:lnTo>
                    <a:pt x="57" y="20"/>
                  </a:lnTo>
                  <a:lnTo>
                    <a:pt x="59" y="33"/>
                  </a:lnTo>
                  <a:lnTo>
                    <a:pt x="58" y="50"/>
                  </a:lnTo>
                  <a:lnTo>
                    <a:pt x="59" y="69"/>
                  </a:lnTo>
                  <a:lnTo>
                    <a:pt x="61" y="90"/>
                  </a:lnTo>
                  <a:lnTo>
                    <a:pt x="62" y="110"/>
                  </a:lnTo>
                  <a:lnTo>
                    <a:pt x="62" y="131"/>
                  </a:lnTo>
                  <a:lnTo>
                    <a:pt x="61" y="148"/>
                  </a:lnTo>
                  <a:lnTo>
                    <a:pt x="58" y="160"/>
                  </a:lnTo>
                  <a:lnTo>
                    <a:pt x="53" y="173"/>
                  </a:lnTo>
                  <a:lnTo>
                    <a:pt x="48" y="185"/>
                  </a:lnTo>
                  <a:lnTo>
                    <a:pt x="42" y="195"/>
                  </a:lnTo>
                  <a:lnTo>
                    <a:pt x="33" y="201"/>
                  </a:lnTo>
                  <a:lnTo>
                    <a:pt x="22" y="207"/>
                  </a:lnTo>
                  <a:lnTo>
                    <a:pt x="15" y="210"/>
                  </a:lnTo>
                  <a:lnTo>
                    <a:pt x="8" y="212"/>
                  </a:lnTo>
                  <a:lnTo>
                    <a:pt x="6" y="210"/>
                  </a:lnTo>
                  <a:lnTo>
                    <a:pt x="3" y="210"/>
                  </a:lnTo>
                  <a:lnTo>
                    <a:pt x="2" y="208"/>
                  </a:lnTo>
                  <a:lnTo>
                    <a:pt x="0" y="207"/>
                  </a:lnTo>
                  <a:lnTo>
                    <a:pt x="2" y="204"/>
                  </a:lnTo>
                  <a:lnTo>
                    <a:pt x="4" y="201"/>
                  </a:lnTo>
                  <a:lnTo>
                    <a:pt x="8" y="199"/>
                  </a:lnTo>
                  <a:lnTo>
                    <a:pt x="12" y="196"/>
                  </a:lnTo>
                  <a:lnTo>
                    <a:pt x="17" y="194"/>
                  </a:lnTo>
                  <a:lnTo>
                    <a:pt x="21" y="191"/>
                  </a:lnTo>
                  <a:lnTo>
                    <a:pt x="26" y="186"/>
                  </a:lnTo>
                  <a:lnTo>
                    <a:pt x="33" y="176"/>
                  </a:lnTo>
                  <a:lnTo>
                    <a:pt x="35" y="164"/>
                  </a:lnTo>
                  <a:lnTo>
                    <a:pt x="36" y="155"/>
                  </a:lnTo>
                  <a:lnTo>
                    <a:pt x="35" y="150"/>
                  </a:lnTo>
                  <a:lnTo>
                    <a:pt x="30" y="151"/>
                  </a:lnTo>
                  <a:lnTo>
                    <a:pt x="24" y="158"/>
                  </a:lnTo>
                  <a:lnTo>
                    <a:pt x="18" y="165"/>
                  </a:lnTo>
                  <a:lnTo>
                    <a:pt x="13" y="174"/>
                  </a:lnTo>
                  <a:lnTo>
                    <a:pt x="8" y="180"/>
                  </a:lnTo>
                  <a:lnTo>
                    <a:pt x="3" y="181"/>
                  </a:lnTo>
                  <a:lnTo>
                    <a:pt x="2" y="178"/>
                  </a:lnTo>
                  <a:lnTo>
                    <a:pt x="3" y="171"/>
                  </a:lnTo>
                  <a:lnTo>
                    <a:pt x="4" y="162"/>
                  </a:lnTo>
                  <a:lnTo>
                    <a:pt x="7" y="153"/>
                  </a:lnTo>
                  <a:lnTo>
                    <a:pt x="9" y="144"/>
                  </a:lnTo>
                  <a:lnTo>
                    <a:pt x="11" y="133"/>
                  </a:lnTo>
                  <a:lnTo>
                    <a:pt x="11" y="121"/>
                  </a:lnTo>
                  <a:lnTo>
                    <a:pt x="12" y="108"/>
                  </a:lnTo>
                  <a:lnTo>
                    <a:pt x="17" y="97"/>
                  </a:lnTo>
                  <a:lnTo>
                    <a:pt x="24" y="82"/>
                  </a:lnTo>
                  <a:lnTo>
                    <a:pt x="25" y="65"/>
                  </a:lnTo>
                  <a:lnTo>
                    <a:pt x="24" y="47"/>
                  </a:lnTo>
                  <a:lnTo>
                    <a:pt x="21" y="31"/>
                  </a:lnTo>
                  <a:lnTo>
                    <a:pt x="18" y="14"/>
                  </a:lnTo>
                  <a:lnTo>
                    <a:pt x="21" y="5"/>
                  </a:lnTo>
                  <a:lnTo>
                    <a:pt x="26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912"/>
            <p:cNvSpPr>
              <a:spLocks/>
            </p:cNvSpPr>
            <p:nvPr/>
          </p:nvSpPr>
          <p:spPr bwMode="auto">
            <a:xfrm>
              <a:off x="-1185863" y="4254500"/>
              <a:ext cx="195263" cy="330200"/>
            </a:xfrm>
            <a:custGeom>
              <a:avLst/>
              <a:gdLst>
                <a:gd name="T0" fmla="*/ 34 w 123"/>
                <a:gd name="T1" fmla="*/ 0 h 208"/>
                <a:gd name="T2" fmla="*/ 44 w 123"/>
                <a:gd name="T3" fmla="*/ 4 h 208"/>
                <a:gd name="T4" fmla="*/ 55 w 123"/>
                <a:gd name="T5" fmla="*/ 12 h 208"/>
                <a:gd name="T6" fmla="*/ 67 w 123"/>
                <a:gd name="T7" fmla="*/ 23 h 208"/>
                <a:gd name="T8" fmla="*/ 78 w 123"/>
                <a:gd name="T9" fmla="*/ 40 h 208"/>
                <a:gd name="T10" fmla="*/ 90 w 123"/>
                <a:gd name="T11" fmla="*/ 59 h 208"/>
                <a:gd name="T12" fmla="*/ 100 w 123"/>
                <a:gd name="T13" fmla="*/ 84 h 208"/>
                <a:gd name="T14" fmla="*/ 109 w 123"/>
                <a:gd name="T15" fmla="*/ 112 h 208"/>
                <a:gd name="T16" fmla="*/ 117 w 123"/>
                <a:gd name="T17" fmla="*/ 144 h 208"/>
                <a:gd name="T18" fmla="*/ 123 w 123"/>
                <a:gd name="T19" fmla="*/ 179 h 208"/>
                <a:gd name="T20" fmla="*/ 37 w 123"/>
                <a:gd name="T21" fmla="*/ 208 h 208"/>
                <a:gd name="T22" fmla="*/ 22 w 123"/>
                <a:gd name="T23" fmla="*/ 167 h 208"/>
                <a:gd name="T24" fmla="*/ 10 w 123"/>
                <a:gd name="T25" fmla="*/ 130 h 208"/>
                <a:gd name="T26" fmla="*/ 4 w 123"/>
                <a:gd name="T27" fmla="*/ 98 h 208"/>
                <a:gd name="T28" fmla="*/ 0 w 123"/>
                <a:gd name="T29" fmla="*/ 71 h 208"/>
                <a:gd name="T30" fmla="*/ 0 w 123"/>
                <a:gd name="T31" fmla="*/ 48 h 208"/>
                <a:gd name="T32" fmla="*/ 3 w 123"/>
                <a:gd name="T33" fmla="*/ 28 h 208"/>
                <a:gd name="T34" fmla="*/ 8 w 123"/>
                <a:gd name="T35" fmla="*/ 16 h 208"/>
                <a:gd name="T36" fmla="*/ 14 w 123"/>
                <a:gd name="T37" fmla="*/ 5 h 208"/>
                <a:gd name="T38" fmla="*/ 23 w 123"/>
                <a:gd name="T39" fmla="*/ 2 h 208"/>
                <a:gd name="T40" fmla="*/ 34 w 123"/>
                <a:gd name="T4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208">
                  <a:moveTo>
                    <a:pt x="34" y="0"/>
                  </a:moveTo>
                  <a:lnTo>
                    <a:pt x="44" y="4"/>
                  </a:lnTo>
                  <a:lnTo>
                    <a:pt x="55" y="12"/>
                  </a:lnTo>
                  <a:lnTo>
                    <a:pt x="67" y="23"/>
                  </a:lnTo>
                  <a:lnTo>
                    <a:pt x="78" y="40"/>
                  </a:lnTo>
                  <a:lnTo>
                    <a:pt x="90" y="59"/>
                  </a:lnTo>
                  <a:lnTo>
                    <a:pt x="100" y="84"/>
                  </a:lnTo>
                  <a:lnTo>
                    <a:pt x="109" y="112"/>
                  </a:lnTo>
                  <a:lnTo>
                    <a:pt x="117" y="144"/>
                  </a:lnTo>
                  <a:lnTo>
                    <a:pt x="123" y="179"/>
                  </a:lnTo>
                  <a:lnTo>
                    <a:pt x="37" y="208"/>
                  </a:lnTo>
                  <a:lnTo>
                    <a:pt x="22" y="167"/>
                  </a:lnTo>
                  <a:lnTo>
                    <a:pt x="10" y="130"/>
                  </a:lnTo>
                  <a:lnTo>
                    <a:pt x="4" y="98"/>
                  </a:lnTo>
                  <a:lnTo>
                    <a:pt x="0" y="71"/>
                  </a:lnTo>
                  <a:lnTo>
                    <a:pt x="0" y="48"/>
                  </a:lnTo>
                  <a:lnTo>
                    <a:pt x="3" y="28"/>
                  </a:lnTo>
                  <a:lnTo>
                    <a:pt x="8" y="16"/>
                  </a:lnTo>
                  <a:lnTo>
                    <a:pt x="14" y="5"/>
                  </a:lnTo>
                  <a:lnTo>
                    <a:pt x="23" y="2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913"/>
            <p:cNvSpPr>
              <a:spLocks/>
            </p:cNvSpPr>
            <p:nvPr/>
          </p:nvSpPr>
          <p:spPr bwMode="auto">
            <a:xfrm>
              <a:off x="-1789113" y="4535488"/>
              <a:ext cx="190500" cy="100013"/>
            </a:xfrm>
            <a:custGeom>
              <a:avLst/>
              <a:gdLst>
                <a:gd name="T0" fmla="*/ 111 w 120"/>
                <a:gd name="T1" fmla="*/ 0 h 63"/>
                <a:gd name="T2" fmla="*/ 113 w 120"/>
                <a:gd name="T3" fmla="*/ 16 h 63"/>
                <a:gd name="T4" fmla="*/ 116 w 120"/>
                <a:gd name="T5" fmla="*/ 34 h 63"/>
                <a:gd name="T6" fmla="*/ 120 w 120"/>
                <a:gd name="T7" fmla="*/ 50 h 63"/>
                <a:gd name="T8" fmla="*/ 93 w 120"/>
                <a:gd name="T9" fmla="*/ 58 h 63"/>
                <a:gd name="T10" fmla="*/ 68 w 120"/>
                <a:gd name="T11" fmla="*/ 62 h 63"/>
                <a:gd name="T12" fmla="*/ 47 w 120"/>
                <a:gd name="T13" fmla="*/ 63 h 63"/>
                <a:gd name="T14" fmla="*/ 29 w 120"/>
                <a:gd name="T15" fmla="*/ 61 h 63"/>
                <a:gd name="T16" fmla="*/ 16 w 120"/>
                <a:gd name="T17" fmla="*/ 57 h 63"/>
                <a:gd name="T18" fmla="*/ 7 w 120"/>
                <a:gd name="T19" fmla="*/ 50 h 63"/>
                <a:gd name="T20" fmla="*/ 2 w 120"/>
                <a:gd name="T21" fmla="*/ 43 h 63"/>
                <a:gd name="T22" fmla="*/ 0 w 120"/>
                <a:gd name="T23" fmla="*/ 35 h 63"/>
                <a:gd name="T24" fmla="*/ 6 w 120"/>
                <a:gd name="T25" fmla="*/ 27 h 63"/>
                <a:gd name="T26" fmla="*/ 15 w 120"/>
                <a:gd name="T27" fmla="*/ 20 h 63"/>
                <a:gd name="T28" fmla="*/ 30 w 120"/>
                <a:gd name="T29" fmla="*/ 13 h 63"/>
                <a:gd name="T30" fmla="*/ 50 w 120"/>
                <a:gd name="T31" fmla="*/ 8 h 63"/>
                <a:gd name="T32" fmla="*/ 77 w 120"/>
                <a:gd name="T33" fmla="*/ 5 h 63"/>
                <a:gd name="T34" fmla="*/ 93 w 120"/>
                <a:gd name="T35" fmla="*/ 3 h 63"/>
                <a:gd name="T36" fmla="*/ 111 w 120"/>
                <a:gd name="T3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63">
                  <a:moveTo>
                    <a:pt x="111" y="0"/>
                  </a:moveTo>
                  <a:lnTo>
                    <a:pt x="113" y="16"/>
                  </a:lnTo>
                  <a:lnTo>
                    <a:pt x="116" y="34"/>
                  </a:lnTo>
                  <a:lnTo>
                    <a:pt x="120" y="50"/>
                  </a:lnTo>
                  <a:lnTo>
                    <a:pt x="93" y="58"/>
                  </a:lnTo>
                  <a:lnTo>
                    <a:pt x="68" y="62"/>
                  </a:lnTo>
                  <a:lnTo>
                    <a:pt x="47" y="63"/>
                  </a:lnTo>
                  <a:lnTo>
                    <a:pt x="29" y="61"/>
                  </a:lnTo>
                  <a:lnTo>
                    <a:pt x="16" y="57"/>
                  </a:lnTo>
                  <a:lnTo>
                    <a:pt x="7" y="50"/>
                  </a:lnTo>
                  <a:lnTo>
                    <a:pt x="2" y="43"/>
                  </a:lnTo>
                  <a:lnTo>
                    <a:pt x="0" y="35"/>
                  </a:lnTo>
                  <a:lnTo>
                    <a:pt x="6" y="27"/>
                  </a:lnTo>
                  <a:lnTo>
                    <a:pt x="15" y="20"/>
                  </a:lnTo>
                  <a:lnTo>
                    <a:pt x="30" y="13"/>
                  </a:lnTo>
                  <a:lnTo>
                    <a:pt x="50" y="8"/>
                  </a:lnTo>
                  <a:lnTo>
                    <a:pt x="77" y="5"/>
                  </a:lnTo>
                  <a:lnTo>
                    <a:pt x="93" y="3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914"/>
            <p:cNvSpPr>
              <a:spLocks/>
            </p:cNvSpPr>
            <p:nvPr/>
          </p:nvSpPr>
          <p:spPr bwMode="auto">
            <a:xfrm>
              <a:off x="-1771650" y="4525963"/>
              <a:ext cx="131763" cy="41275"/>
            </a:xfrm>
            <a:custGeom>
              <a:avLst/>
              <a:gdLst>
                <a:gd name="T0" fmla="*/ 47 w 83"/>
                <a:gd name="T1" fmla="*/ 0 h 26"/>
                <a:gd name="T2" fmla="*/ 64 w 83"/>
                <a:gd name="T3" fmla="*/ 1 h 26"/>
                <a:gd name="T4" fmla="*/ 83 w 83"/>
                <a:gd name="T5" fmla="*/ 9 h 26"/>
                <a:gd name="T6" fmla="*/ 73 w 83"/>
                <a:gd name="T7" fmla="*/ 6 h 26"/>
                <a:gd name="T8" fmla="*/ 59 w 83"/>
                <a:gd name="T9" fmla="*/ 6 h 26"/>
                <a:gd name="T10" fmla="*/ 43 w 83"/>
                <a:gd name="T11" fmla="*/ 6 h 26"/>
                <a:gd name="T12" fmla="*/ 28 w 83"/>
                <a:gd name="T13" fmla="*/ 9 h 26"/>
                <a:gd name="T14" fmla="*/ 14 w 83"/>
                <a:gd name="T15" fmla="*/ 14 h 26"/>
                <a:gd name="T16" fmla="*/ 4 w 83"/>
                <a:gd name="T17" fmla="*/ 22 h 26"/>
                <a:gd name="T18" fmla="*/ 1 w 83"/>
                <a:gd name="T19" fmla="*/ 26 h 26"/>
                <a:gd name="T20" fmla="*/ 0 w 83"/>
                <a:gd name="T21" fmla="*/ 26 h 26"/>
                <a:gd name="T22" fmla="*/ 1 w 83"/>
                <a:gd name="T23" fmla="*/ 22 h 26"/>
                <a:gd name="T24" fmla="*/ 5 w 83"/>
                <a:gd name="T25" fmla="*/ 17 h 26"/>
                <a:gd name="T26" fmla="*/ 11 w 83"/>
                <a:gd name="T27" fmla="*/ 10 h 26"/>
                <a:gd name="T28" fmla="*/ 20 w 83"/>
                <a:gd name="T29" fmla="*/ 5 h 26"/>
                <a:gd name="T30" fmla="*/ 33 w 83"/>
                <a:gd name="T31" fmla="*/ 1 h 26"/>
                <a:gd name="T32" fmla="*/ 47 w 83"/>
                <a:gd name="T3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26">
                  <a:moveTo>
                    <a:pt x="47" y="0"/>
                  </a:moveTo>
                  <a:lnTo>
                    <a:pt x="64" y="1"/>
                  </a:lnTo>
                  <a:lnTo>
                    <a:pt x="83" y="9"/>
                  </a:lnTo>
                  <a:lnTo>
                    <a:pt x="73" y="6"/>
                  </a:lnTo>
                  <a:lnTo>
                    <a:pt x="59" y="6"/>
                  </a:lnTo>
                  <a:lnTo>
                    <a:pt x="43" y="6"/>
                  </a:lnTo>
                  <a:lnTo>
                    <a:pt x="28" y="9"/>
                  </a:lnTo>
                  <a:lnTo>
                    <a:pt x="14" y="14"/>
                  </a:lnTo>
                  <a:lnTo>
                    <a:pt x="4" y="22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5" y="17"/>
                  </a:lnTo>
                  <a:lnTo>
                    <a:pt x="11" y="10"/>
                  </a:lnTo>
                  <a:lnTo>
                    <a:pt x="20" y="5"/>
                  </a:lnTo>
                  <a:lnTo>
                    <a:pt x="33" y="1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DFE5E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915"/>
            <p:cNvSpPr>
              <a:spLocks/>
            </p:cNvSpPr>
            <p:nvPr/>
          </p:nvSpPr>
          <p:spPr bwMode="auto">
            <a:xfrm>
              <a:off x="-1076325" y="4649788"/>
              <a:ext cx="98425" cy="382588"/>
            </a:xfrm>
            <a:custGeom>
              <a:avLst/>
              <a:gdLst>
                <a:gd name="T0" fmla="*/ 31 w 62"/>
                <a:gd name="T1" fmla="*/ 0 h 241"/>
                <a:gd name="T2" fmla="*/ 38 w 62"/>
                <a:gd name="T3" fmla="*/ 5 h 241"/>
                <a:gd name="T4" fmla="*/ 45 w 62"/>
                <a:gd name="T5" fmla="*/ 16 h 241"/>
                <a:gd name="T6" fmla="*/ 50 w 62"/>
                <a:gd name="T7" fmla="*/ 30 h 241"/>
                <a:gd name="T8" fmla="*/ 56 w 62"/>
                <a:gd name="T9" fmla="*/ 49 h 241"/>
                <a:gd name="T10" fmla="*/ 59 w 62"/>
                <a:gd name="T11" fmla="*/ 73 h 241"/>
                <a:gd name="T12" fmla="*/ 62 w 62"/>
                <a:gd name="T13" fmla="*/ 100 h 241"/>
                <a:gd name="T14" fmla="*/ 62 w 62"/>
                <a:gd name="T15" fmla="*/ 131 h 241"/>
                <a:gd name="T16" fmla="*/ 61 w 62"/>
                <a:gd name="T17" fmla="*/ 168 h 241"/>
                <a:gd name="T18" fmla="*/ 59 w 62"/>
                <a:gd name="T19" fmla="*/ 205 h 241"/>
                <a:gd name="T20" fmla="*/ 56 w 62"/>
                <a:gd name="T21" fmla="*/ 241 h 241"/>
                <a:gd name="T22" fmla="*/ 42 w 62"/>
                <a:gd name="T23" fmla="*/ 240 h 241"/>
                <a:gd name="T24" fmla="*/ 26 w 62"/>
                <a:gd name="T25" fmla="*/ 240 h 241"/>
                <a:gd name="T26" fmla="*/ 12 w 62"/>
                <a:gd name="T27" fmla="*/ 241 h 241"/>
                <a:gd name="T28" fmla="*/ 7 w 62"/>
                <a:gd name="T29" fmla="*/ 205 h 241"/>
                <a:gd name="T30" fmla="*/ 3 w 62"/>
                <a:gd name="T31" fmla="*/ 171 h 241"/>
                <a:gd name="T32" fmla="*/ 2 w 62"/>
                <a:gd name="T33" fmla="*/ 139 h 241"/>
                <a:gd name="T34" fmla="*/ 0 w 62"/>
                <a:gd name="T35" fmla="*/ 99 h 241"/>
                <a:gd name="T36" fmla="*/ 3 w 62"/>
                <a:gd name="T37" fmla="*/ 66 h 241"/>
                <a:gd name="T38" fmla="*/ 6 w 62"/>
                <a:gd name="T39" fmla="*/ 40 h 241"/>
                <a:gd name="T40" fmla="*/ 11 w 62"/>
                <a:gd name="T41" fmla="*/ 21 h 241"/>
                <a:gd name="T42" fmla="*/ 17 w 62"/>
                <a:gd name="T43" fmla="*/ 8 h 241"/>
                <a:gd name="T44" fmla="*/ 24 w 62"/>
                <a:gd name="T45" fmla="*/ 1 h 241"/>
                <a:gd name="T46" fmla="*/ 31 w 62"/>
                <a:gd name="T4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241">
                  <a:moveTo>
                    <a:pt x="31" y="0"/>
                  </a:moveTo>
                  <a:lnTo>
                    <a:pt x="38" y="5"/>
                  </a:lnTo>
                  <a:lnTo>
                    <a:pt x="45" y="16"/>
                  </a:lnTo>
                  <a:lnTo>
                    <a:pt x="50" y="30"/>
                  </a:lnTo>
                  <a:lnTo>
                    <a:pt x="56" y="49"/>
                  </a:lnTo>
                  <a:lnTo>
                    <a:pt x="59" y="73"/>
                  </a:lnTo>
                  <a:lnTo>
                    <a:pt x="62" y="100"/>
                  </a:lnTo>
                  <a:lnTo>
                    <a:pt x="62" y="131"/>
                  </a:lnTo>
                  <a:lnTo>
                    <a:pt x="61" y="168"/>
                  </a:lnTo>
                  <a:lnTo>
                    <a:pt x="59" y="205"/>
                  </a:lnTo>
                  <a:lnTo>
                    <a:pt x="56" y="241"/>
                  </a:lnTo>
                  <a:lnTo>
                    <a:pt x="42" y="240"/>
                  </a:lnTo>
                  <a:lnTo>
                    <a:pt x="26" y="240"/>
                  </a:lnTo>
                  <a:lnTo>
                    <a:pt x="12" y="241"/>
                  </a:lnTo>
                  <a:lnTo>
                    <a:pt x="7" y="205"/>
                  </a:lnTo>
                  <a:lnTo>
                    <a:pt x="3" y="171"/>
                  </a:lnTo>
                  <a:lnTo>
                    <a:pt x="2" y="139"/>
                  </a:lnTo>
                  <a:lnTo>
                    <a:pt x="0" y="99"/>
                  </a:lnTo>
                  <a:lnTo>
                    <a:pt x="3" y="66"/>
                  </a:lnTo>
                  <a:lnTo>
                    <a:pt x="6" y="40"/>
                  </a:lnTo>
                  <a:lnTo>
                    <a:pt x="11" y="21"/>
                  </a:lnTo>
                  <a:lnTo>
                    <a:pt x="17" y="8"/>
                  </a:lnTo>
                  <a:lnTo>
                    <a:pt x="24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916"/>
            <p:cNvSpPr>
              <a:spLocks/>
            </p:cNvSpPr>
            <p:nvPr/>
          </p:nvSpPr>
          <p:spPr bwMode="auto">
            <a:xfrm>
              <a:off x="-1254125" y="6324600"/>
              <a:ext cx="117475" cy="65088"/>
            </a:xfrm>
            <a:custGeom>
              <a:avLst/>
              <a:gdLst>
                <a:gd name="T0" fmla="*/ 39 w 74"/>
                <a:gd name="T1" fmla="*/ 0 h 41"/>
                <a:gd name="T2" fmla="*/ 59 w 74"/>
                <a:gd name="T3" fmla="*/ 4 h 41"/>
                <a:gd name="T4" fmla="*/ 74 w 74"/>
                <a:gd name="T5" fmla="*/ 14 h 41"/>
                <a:gd name="T6" fmla="*/ 64 w 74"/>
                <a:gd name="T7" fmla="*/ 28 h 41"/>
                <a:gd name="T8" fmla="*/ 51 w 74"/>
                <a:gd name="T9" fmla="*/ 38 h 41"/>
                <a:gd name="T10" fmla="*/ 38 w 74"/>
                <a:gd name="T11" fmla="*/ 41 h 41"/>
                <a:gd name="T12" fmla="*/ 24 w 74"/>
                <a:gd name="T13" fmla="*/ 40 h 41"/>
                <a:gd name="T14" fmla="*/ 11 w 74"/>
                <a:gd name="T15" fmla="*/ 32 h 41"/>
                <a:gd name="T16" fmla="*/ 0 w 74"/>
                <a:gd name="T17" fmla="*/ 18 h 41"/>
                <a:gd name="T18" fmla="*/ 11 w 74"/>
                <a:gd name="T19" fmla="*/ 9 h 41"/>
                <a:gd name="T20" fmla="*/ 24 w 74"/>
                <a:gd name="T21" fmla="*/ 2 h 41"/>
                <a:gd name="T22" fmla="*/ 39 w 74"/>
                <a:gd name="T2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1">
                  <a:moveTo>
                    <a:pt x="39" y="0"/>
                  </a:moveTo>
                  <a:lnTo>
                    <a:pt x="59" y="4"/>
                  </a:lnTo>
                  <a:lnTo>
                    <a:pt x="74" y="14"/>
                  </a:lnTo>
                  <a:lnTo>
                    <a:pt x="64" y="28"/>
                  </a:lnTo>
                  <a:lnTo>
                    <a:pt x="51" y="38"/>
                  </a:lnTo>
                  <a:lnTo>
                    <a:pt x="38" y="41"/>
                  </a:lnTo>
                  <a:lnTo>
                    <a:pt x="24" y="40"/>
                  </a:lnTo>
                  <a:lnTo>
                    <a:pt x="11" y="32"/>
                  </a:lnTo>
                  <a:lnTo>
                    <a:pt x="0" y="18"/>
                  </a:lnTo>
                  <a:lnTo>
                    <a:pt x="11" y="9"/>
                  </a:lnTo>
                  <a:lnTo>
                    <a:pt x="24" y="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Line 917"/>
            <p:cNvSpPr>
              <a:spLocks noChangeShapeType="1"/>
            </p:cNvSpPr>
            <p:nvPr/>
          </p:nvSpPr>
          <p:spPr bwMode="auto">
            <a:xfrm flipV="1">
              <a:off x="-1230313" y="6229350"/>
              <a:ext cx="44450" cy="301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Line 918"/>
            <p:cNvSpPr>
              <a:spLocks noChangeShapeType="1"/>
            </p:cNvSpPr>
            <p:nvPr/>
          </p:nvSpPr>
          <p:spPr bwMode="auto">
            <a:xfrm flipV="1">
              <a:off x="-1230313" y="6197600"/>
              <a:ext cx="44450" cy="333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Line 919"/>
            <p:cNvSpPr>
              <a:spLocks noChangeShapeType="1"/>
            </p:cNvSpPr>
            <p:nvPr/>
          </p:nvSpPr>
          <p:spPr bwMode="auto">
            <a:xfrm flipV="1">
              <a:off x="-1231900" y="6173788"/>
              <a:ext cx="44450" cy="301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Line 920"/>
            <p:cNvSpPr>
              <a:spLocks noChangeShapeType="1"/>
            </p:cNvSpPr>
            <p:nvPr/>
          </p:nvSpPr>
          <p:spPr bwMode="auto">
            <a:xfrm flipH="1" flipV="1">
              <a:off x="-1225550" y="6232525"/>
              <a:ext cx="50800" cy="2222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Line 921"/>
            <p:cNvSpPr>
              <a:spLocks noChangeShapeType="1"/>
            </p:cNvSpPr>
            <p:nvPr/>
          </p:nvSpPr>
          <p:spPr bwMode="auto">
            <a:xfrm flipH="1" flipV="1">
              <a:off x="-1231900" y="6205538"/>
              <a:ext cx="50800" cy="206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Line 922"/>
            <p:cNvSpPr>
              <a:spLocks noChangeShapeType="1"/>
            </p:cNvSpPr>
            <p:nvPr/>
          </p:nvSpPr>
          <p:spPr bwMode="auto">
            <a:xfrm flipH="1" flipV="1">
              <a:off x="-1235075" y="6180138"/>
              <a:ext cx="49213" cy="2222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Line 923"/>
            <p:cNvSpPr>
              <a:spLocks noChangeShapeType="1"/>
            </p:cNvSpPr>
            <p:nvPr/>
          </p:nvSpPr>
          <p:spPr bwMode="auto">
            <a:xfrm flipV="1">
              <a:off x="-1228725" y="6254750"/>
              <a:ext cx="53975" cy="3492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Line 924"/>
            <p:cNvSpPr>
              <a:spLocks noChangeShapeType="1"/>
            </p:cNvSpPr>
            <p:nvPr/>
          </p:nvSpPr>
          <p:spPr bwMode="auto">
            <a:xfrm flipH="1" flipV="1">
              <a:off x="-1228725" y="6261100"/>
              <a:ext cx="57150" cy="238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925"/>
            <p:cNvSpPr>
              <a:spLocks/>
            </p:cNvSpPr>
            <p:nvPr/>
          </p:nvSpPr>
          <p:spPr bwMode="auto">
            <a:xfrm>
              <a:off x="-1504950" y="3679825"/>
              <a:ext cx="344488" cy="466725"/>
            </a:xfrm>
            <a:custGeom>
              <a:avLst/>
              <a:gdLst>
                <a:gd name="T0" fmla="*/ 109 w 217"/>
                <a:gd name="T1" fmla="*/ 0 h 294"/>
                <a:gd name="T2" fmla="*/ 134 w 217"/>
                <a:gd name="T3" fmla="*/ 3 h 294"/>
                <a:gd name="T4" fmla="*/ 156 w 217"/>
                <a:gd name="T5" fmla="*/ 11 h 294"/>
                <a:gd name="T6" fmla="*/ 174 w 217"/>
                <a:gd name="T7" fmla="*/ 22 h 294"/>
                <a:gd name="T8" fmla="*/ 188 w 217"/>
                <a:gd name="T9" fmla="*/ 38 h 294"/>
                <a:gd name="T10" fmla="*/ 200 w 217"/>
                <a:gd name="T11" fmla="*/ 56 h 294"/>
                <a:gd name="T12" fmla="*/ 208 w 217"/>
                <a:gd name="T13" fmla="*/ 76 h 294"/>
                <a:gd name="T14" fmla="*/ 213 w 217"/>
                <a:gd name="T15" fmla="*/ 99 h 294"/>
                <a:gd name="T16" fmla="*/ 215 w 217"/>
                <a:gd name="T17" fmla="*/ 122 h 294"/>
                <a:gd name="T18" fmla="*/ 217 w 217"/>
                <a:gd name="T19" fmla="*/ 147 h 294"/>
                <a:gd name="T20" fmla="*/ 214 w 217"/>
                <a:gd name="T21" fmla="*/ 171 h 294"/>
                <a:gd name="T22" fmla="*/ 211 w 217"/>
                <a:gd name="T23" fmla="*/ 194 h 294"/>
                <a:gd name="T24" fmla="*/ 206 w 217"/>
                <a:gd name="T25" fmla="*/ 216 h 294"/>
                <a:gd name="T26" fmla="*/ 197 w 217"/>
                <a:gd name="T27" fmla="*/ 237 h 294"/>
                <a:gd name="T28" fmla="*/ 183 w 217"/>
                <a:gd name="T29" fmla="*/ 256 h 294"/>
                <a:gd name="T30" fmla="*/ 165 w 217"/>
                <a:gd name="T31" fmla="*/ 271 h 294"/>
                <a:gd name="T32" fmla="*/ 146 w 217"/>
                <a:gd name="T33" fmla="*/ 284 h 294"/>
                <a:gd name="T34" fmla="*/ 127 w 217"/>
                <a:gd name="T35" fmla="*/ 292 h 294"/>
                <a:gd name="T36" fmla="*/ 109 w 217"/>
                <a:gd name="T37" fmla="*/ 294 h 294"/>
                <a:gd name="T38" fmla="*/ 91 w 217"/>
                <a:gd name="T39" fmla="*/ 292 h 294"/>
                <a:gd name="T40" fmla="*/ 72 w 217"/>
                <a:gd name="T41" fmla="*/ 284 h 294"/>
                <a:gd name="T42" fmla="*/ 51 w 217"/>
                <a:gd name="T43" fmla="*/ 272 h 294"/>
                <a:gd name="T44" fmla="*/ 33 w 217"/>
                <a:gd name="T45" fmla="*/ 256 h 294"/>
                <a:gd name="T46" fmla="*/ 19 w 217"/>
                <a:gd name="T47" fmla="*/ 237 h 294"/>
                <a:gd name="T48" fmla="*/ 10 w 217"/>
                <a:gd name="T49" fmla="*/ 215 h 294"/>
                <a:gd name="T50" fmla="*/ 4 w 217"/>
                <a:gd name="T51" fmla="*/ 193 h 294"/>
                <a:gd name="T52" fmla="*/ 1 w 217"/>
                <a:gd name="T53" fmla="*/ 170 h 294"/>
                <a:gd name="T54" fmla="*/ 0 w 217"/>
                <a:gd name="T55" fmla="*/ 147 h 294"/>
                <a:gd name="T56" fmla="*/ 1 w 217"/>
                <a:gd name="T57" fmla="*/ 122 h 294"/>
                <a:gd name="T58" fmla="*/ 4 w 217"/>
                <a:gd name="T59" fmla="*/ 99 h 294"/>
                <a:gd name="T60" fmla="*/ 10 w 217"/>
                <a:gd name="T61" fmla="*/ 76 h 294"/>
                <a:gd name="T62" fmla="*/ 19 w 217"/>
                <a:gd name="T63" fmla="*/ 56 h 294"/>
                <a:gd name="T64" fmla="*/ 31 w 217"/>
                <a:gd name="T65" fmla="*/ 38 h 294"/>
                <a:gd name="T66" fmla="*/ 45 w 217"/>
                <a:gd name="T67" fmla="*/ 22 h 294"/>
                <a:gd name="T68" fmla="*/ 63 w 217"/>
                <a:gd name="T69" fmla="*/ 11 h 294"/>
                <a:gd name="T70" fmla="*/ 84 w 217"/>
                <a:gd name="T71" fmla="*/ 3 h 294"/>
                <a:gd name="T72" fmla="*/ 109 w 217"/>
                <a:gd name="T7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94">
                  <a:moveTo>
                    <a:pt x="109" y="0"/>
                  </a:moveTo>
                  <a:lnTo>
                    <a:pt x="134" y="3"/>
                  </a:lnTo>
                  <a:lnTo>
                    <a:pt x="156" y="11"/>
                  </a:lnTo>
                  <a:lnTo>
                    <a:pt x="174" y="22"/>
                  </a:lnTo>
                  <a:lnTo>
                    <a:pt x="188" y="38"/>
                  </a:lnTo>
                  <a:lnTo>
                    <a:pt x="200" y="56"/>
                  </a:lnTo>
                  <a:lnTo>
                    <a:pt x="208" y="76"/>
                  </a:lnTo>
                  <a:lnTo>
                    <a:pt x="213" y="99"/>
                  </a:lnTo>
                  <a:lnTo>
                    <a:pt x="215" y="122"/>
                  </a:lnTo>
                  <a:lnTo>
                    <a:pt x="217" y="147"/>
                  </a:lnTo>
                  <a:lnTo>
                    <a:pt x="214" y="171"/>
                  </a:lnTo>
                  <a:lnTo>
                    <a:pt x="211" y="194"/>
                  </a:lnTo>
                  <a:lnTo>
                    <a:pt x="206" y="216"/>
                  </a:lnTo>
                  <a:lnTo>
                    <a:pt x="197" y="237"/>
                  </a:lnTo>
                  <a:lnTo>
                    <a:pt x="183" y="256"/>
                  </a:lnTo>
                  <a:lnTo>
                    <a:pt x="165" y="271"/>
                  </a:lnTo>
                  <a:lnTo>
                    <a:pt x="146" y="284"/>
                  </a:lnTo>
                  <a:lnTo>
                    <a:pt x="127" y="292"/>
                  </a:lnTo>
                  <a:lnTo>
                    <a:pt x="109" y="294"/>
                  </a:lnTo>
                  <a:lnTo>
                    <a:pt x="91" y="292"/>
                  </a:lnTo>
                  <a:lnTo>
                    <a:pt x="72" y="284"/>
                  </a:lnTo>
                  <a:lnTo>
                    <a:pt x="51" y="272"/>
                  </a:lnTo>
                  <a:lnTo>
                    <a:pt x="33" y="256"/>
                  </a:lnTo>
                  <a:lnTo>
                    <a:pt x="19" y="237"/>
                  </a:lnTo>
                  <a:lnTo>
                    <a:pt x="10" y="215"/>
                  </a:lnTo>
                  <a:lnTo>
                    <a:pt x="4" y="193"/>
                  </a:lnTo>
                  <a:lnTo>
                    <a:pt x="1" y="170"/>
                  </a:lnTo>
                  <a:lnTo>
                    <a:pt x="0" y="147"/>
                  </a:lnTo>
                  <a:lnTo>
                    <a:pt x="1" y="122"/>
                  </a:lnTo>
                  <a:lnTo>
                    <a:pt x="4" y="99"/>
                  </a:lnTo>
                  <a:lnTo>
                    <a:pt x="10" y="76"/>
                  </a:lnTo>
                  <a:lnTo>
                    <a:pt x="19" y="56"/>
                  </a:lnTo>
                  <a:lnTo>
                    <a:pt x="31" y="38"/>
                  </a:lnTo>
                  <a:lnTo>
                    <a:pt x="45" y="22"/>
                  </a:lnTo>
                  <a:lnTo>
                    <a:pt x="63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926"/>
            <p:cNvSpPr>
              <a:spLocks/>
            </p:cNvSpPr>
            <p:nvPr/>
          </p:nvSpPr>
          <p:spPr bwMode="auto">
            <a:xfrm>
              <a:off x="-1416050" y="3894138"/>
              <a:ext cx="26988" cy="63500"/>
            </a:xfrm>
            <a:custGeom>
              <a:avLst/>
              <a:gdLst>
                <a:gd name="T0" fmla="*/ 9 w 17"/>
                <a:gd name="T1" fmla="*/ 0 h 40"/>
                <a:gd name="T2" fmla="*/ 12 w 17"/>
                <a:gd name="T3" fmla="*/ 0 h 40"/>
                <a:gd name="T4" fmla="*/ 13 w 17"/>
                <a:gd name="T5" fmla="*/ 4 h 40"/>
                <a:gd name="T6" fmla="*/ 16 w 17"/>
                <a:gd name="T7" fmla="*/ 8 h 40"/>
                <a:gd name="T8" fmla="*/ 16 w 17"/>
                <a:gd name="T9" fmla="*/ 13 h 40"/>
                <a:gd name="T10" fmla="*/ 17 w 17"/>
                <a:gd name="T11" fmla="*/ 19 h 40"/>
                <a:gd name="T12" fmla="*/ 16 w 17"/>
                <a:gd name="T13" fmla="*/ 26 h 40"/>
                <a:gd name="T14" fmla="*/ 16 w 17"/>
                <a:gd name="T15" fmla="*/ 31 h 40"/>
                <a:gd name="T16" fmla="*/ 13 w 17"/>
                <a:gd name="T17" fmla="*/ 36 h 40"/>
                <a:gd name="T18" fmla="*/ 12 w 17"/>
                <a:gd name="T19" fmla="*/ 39 h 40"/>
                <a:gd name="T20" fmla="*/ 9 w 17"/>
                <a:gd name="T21" fmla="*/ 40 h 40"/>
                <a:gd name="T22" fmla="*/ 7 w 17"/>
                <a:gd name="T23" fmla="*/ 39 h 40"/>
                <a:gd name="T24" fmla="*/ 4 w 17"/>
                <a:gd name="T25" fmla="*/ 36 h 40"/>
                <a:gd name="T26" fmla="*/ 3 w 17"/>
                <a:gd name="T27" fmla="*/ 31 h 40"/>
                <a:gd name="T28" fmla="*/ 1 w 17"/>
                <a:gd name="T29" fmla="*/ 26 h 40"/>
                <a:gd name="T30" fmla="*/ 0 w 17"/>
                <a:gd name="T31" fmla="*/ 19 h 40"/>
                <a:gd name="T32" fmla="*/ 1 w 17"/>
                <a:gd name="T33" fmla="*/ 13 h 40"/>
                <a:gd name="T34" fmla="*/ 3 w 17"/>
                <a:gd name="T35" fmla="*/ 8 h 40"/>
                <a:gd name="T36" fmla="*/ 4 w 17"/>
                <a:gd name="T37" fmla="*/ 4 h 40"/>
                <a:gd name="T38" fmla="*/ 7 w 17"/>
                <a:gd name="T39" fmla="*/ 0 h 40"/>
                <a:gd name="T40" fmla="*/ 9 w 17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0">
                  <a:moveTo>
                    <a:pt x="9" y="0"/>
                  </a:moveTo>
                  <a:lnTo>
                    <a:pt x="12" y="0"/>
                  </a:lnTo>
                  <a:lnTo>
                    <a:pt x="13" y="4"/>
                  </a:lnTo>
                  <a:lnTo>
                    <a:pt x="16" y="8"/>
                  </a:lnTo>
                  <a:lnTo>
                    <a:pt x="16" y="13"/>
                  </a:lnTo>
                  <a:lnTo>
                    <a:pt x="17" y="19"/>
                  </a:lnTo>
                  <a:lnTo>
                    <a:pt x="16" y="26"/>
                  </a:lnTo>
                  <a:lnTo>
                    <a:pt x="16" y="31"/>
                  </a:lnTo>
                  <a:lnTo>
                    <a:pt x="13" y="36"/>
                  </a:lnTo>
                  <a:lnTo>
                    <a:pt x="12" y="39"/>
                  </a:lnTo>
                  <a:lnTo>
                    <a:pt x="9" y="40"/>
                  </a:lnTo>
                  <a:lnTo>
                    <a:pt x="7" y="39"/>
                  </a:lnTo>
                  <a:lnTo>
                    <a:pt x="4" y="36"/>
                  </a:lnTo>
                  <a:lnTo>
                    <a:pt x="3" y="31"/>
                  </a:lnTo>
                  <a:lnTo>
                    <a:pt x="1" y="26"/>
                  </a:lnTo>
                  <a:lnTo>
                    <a:pt x="0" y="19"/>
                  </a:lnTo>
                  <a:lnTo>
                    <a:pt x="1" y="13"/>
                  </a:lnTo>
                  <a:lnTo>
                    <a:pt x="3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927"/>
            <p:cNvSpPr>
              <a:spLocks/>
            </p:cNvSpPr>
            <p:nvPr/>
          </p:nvSpPr>
          <p:spPr bwMode="auto">
            <a:xfrm>
              <a:off x="-1282700" y="3894138"/>
              <a:ext cx="23813" cy="63500"/>
            </a:xfrm>
            <a:custGeom>
              <a:avLst/>
              <a:gdLst>
                <a:gd name="T0" fmla="*/ 7 w 15"/>
                <a:gd name="T1" fmla="*/ 0 h 40"/>
                <a:gd name="T2" fmla="*/ 10 w 15"/>
                <a:gd name="T3" fmla="*/ 0 h 40"/>
                <a:gd name="T4" fmla="*/ 12 w 15"/>
                <a:gd name="T5" fmla="*/ 4 h 40"/>
                <a:gd name="T6" fmla="*/ 14 w 15"/>
                <a:gd name="T7" fmla="*/ 8 h 40"/>
                <a:gd name="T8" fmla="*/ 15 w 15"/>
                <a:gd name="T9" fmla="*/ 13 h 40"/>
                <a:gd name="T10" fmla="*/ 15 w 15"/>
                <a:gd name="T11" fmla="*/ 19 h 40"/>
                <a:gd name="T12" fmla="*/ 15 w 15"/>
                <a:gd name="T13" fmla="*/ 26 h 40"/>
                <a:gd name="T14" fmla="*/ 14 w 15"/>
                <a:gd name="T15" fmla="*/ 31 h 40"/>
                <a:gd name="T16" fmla="*/ 12 w 15"/>
                <a:gd name="T17" fmla="*/ 36 h 40"/>
                <a:gd name="T18" fmla="*/ 10 w 15"/>
                <a:gd name="T19" fmla="*/ 39 h 40"/>
                <a:gd name="T20" fmla="*/ 7 w 15"/>
                <a:gd name="T21" fmla="*/ 40 h 40"/>
                <a:gd name="T22" fmla="*/ 5 w 15"/>
                <a:gd name="T23" fmla="*/ 39 h 40"/>
                <a:gd name="T24" fmla="*/ 2 w 15"/>
                <a:gd name="T25" fmla="*/ 36 h 40"/>
                <a:gd name="T26" fmla="*/ 1 w 15"/>
                <a:gd name="T27" fmla="*/ 31 h 40"/>
                <a:gd name="T28" fmla="*/ 0 w 15"/>
                <a:gd name="T29" fmla="*/ 26 h 40"/>
                <a:gd name="T30" fmla="*/ 0 w 15"/>
                <a:gd name="T31" fmla="*/ 19 h 40"/>
                <a:gd name="T32" fmla="*/ 0 w 15"/>
                <a:gd name="T33" fmla="*/ 13 h 40"/>
                <a:gd name="T34" fmla="*/ 1 w 15"/>
                <a:gd name="T35" fmla="*/ 8 h 40"/>
                <a:gd name="T36" fmla="*/ 2 w 15"/>
                <a:gd name="T37" fmla="*/ 4 h 40"/>
                <a:gd name="T38" fmla="*/ 5 w 15"/>
                <a:gd name="T39" fmla="*/ 0 h 40"/>
                <a:gd name="T40" fmla="*/ 7 w 15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40">
                  <a:moveTo>
                    <a:pt x="7" y="0"/>
                  </a:moveTo>
                  <a:lnTo>
                    <a:pt x="10" y="0"/>
                  </a:lnTo>
                  <a:lnTo>
                    <a:pt x="12" y="4"/>
                  </a:lnTo>
                  <a:lnTo>
                    <a:pt x="14" y="8"/>
                  </a:lnTo>
                  <a:lnTo>
                    <a:pt x="15" y="13"/>
                  </a:lnTo>
                  <a:lnTo>
                    <a:pt x="15" y="19"/>
                  </a:lnTo>
                  <a:lnTo>
                    <a:pt x="15" y="26"/>
                  </a:lnTo>
                  <a:lnTo>
                    <a:pt x="14" y="31"/>
                  </a:lnTo>
                  <a:lnTo>
                    <a:pt x="12" y="36"/>
                  </a:lnTo>
                  <a:lnTo>
                    <a:pt x="10" y="39"/>
                  </a:lnTo>
                  <a:lnTo>
                    <a:pt x="7" y="40"/>
                  </a:lnTo>
                  <a:lnTo>
                    <a:pt x="5" y="39"/>
                  </a:lnTo>
                  <a:lnTo>
                    <a:pt x="2" y="36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2" y="4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928"/>
            <p:cNvSpPr>
              <a:spLocks/>
            </p:cNvSpPr>
            <p:nvPr/>
          </p:nvSpPr>
          <p:spPr bwMode="auto">
            <a:xfrm>
              <a:off x="-1408113" y="4035425"/>
              <a:ext cx="149225" cy="53975"/>
            </a:xfrm>
            <a:custGeom>
              <a:avLst/>
              <a:gdLst>
                <a:gd name="T0" fmla="*/ 94 w 94"/>
                <a:gd name="T1" fmla="*/ 0 h 34"/>
                <a:gd name="T2" fmla="*/ 84 w 94"/>
                <a:gd name="T3" fmla="*/ 18 h 34"/>
                <a:gd name="T4" fmla="*/ 71 w 94"/>
                <a:gd name="T5" fmla="*/ 29 h 34"/>
                <a:gd name="T6" fmla="*/ 55 w 94"/>
                <a:gd name="T7" fmla="*/ 34 h 34"/>
                <a:gd name="T8" fmla="*/ 40 w 94"/>
                <a:gd name="T9" fmla="*/ 34 h 34"/>
                <a:gd name="T10" fmla="*/ 25 w 94"/>
                <a:gd name="T11" fmla="*/ 29 h 34"/>
                <a:gd name="T12" fmla="*/ 12 w 94"/>
                <a:gd name="T13" fmla="*/ 18 h 34"/>
                <a:gd name="T14" fmla="*/ 0 w 94"/>
                <a:gd name="T15" fmla="*/ 1 h 34"/>
                <a:gd name="T16" fmla="*/ 22 w 94"/>
                <a:gd name="T17" fmla="*/ 1 h 34"/>
                <a:gd name="T18" fmla="*/ 48 w 94"/>
                <a:gd name="T19" fmla="*/ 1 h 34"/>
                <a:gd name="T20" fmla="*/ 72 w 94"/>
                <a:gd name="T21" fmla="*/ 1 h 34"/>
                <a:gd name="T22" fmla="*/ 94 w 94"/>
                <a:gd name="T2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34">
                  <a:moveTo>
                    <a:pt x="94" y="0"/>
                  </a:moveTo>
                  <a:lnTo>
                    <a:pt x="84" y="18"/>
                  </a:lnTo>
                  <a:lnTo>
                    <a:pt x="71" y="29"/>
                  </a:lnTo>
                  <a:lnTo>
                    <a:pt x="55" y="34"/>
                  </a:lnTo>
                  <a:lnTo>
                    <a:pt x="40" y="34"/>
                  </a:lnTo>
                  <a:lnTo>
                    <a:pt x="25" y="29"/>
                  </a:lnTo>
                  <a:lnTo>
                    <a:pt x="12" y="18"/>
                  </a:lnTo>
                  <a:lnTo>
                    <a:pt x="0" y="1"/>
                  </a:lnTo>
                  <a:lnTo>
                    <a:pt x="22" y="1"/>
                  </a:lnTo>
                  <a:lnTo>
                    <a:pt x="48" y="1"/>
                  </a:lnTo>
                  <a:lnTo>
                    <a:pt x="72" y="1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929"/>
            <p:cNvSpPr>
              <a:spLocks/>
            </p:cNvSpPr>
            <p:nvPr/>
          </p:nvSpPr>
          <p:spPr bwMode="auto">
            <a:xfrm>
              <a:off x="-1347788" y="3975100"/>
              <a:ext cx="44450" cy="38100"/>
            </a:xfrm>
            <a:custGeom>
              <a:avLst/>
              <a:gdLst>
                <a:gd name="T0" fmla="*/ 28 w 28"/>
                <a:gd name="T1" fmla="*/ 0 h 24"/>
                <a:gd name="T2" fmla="*/ 28 w 28"/>
                <a:gd name="T3" fmla="*/ 13 h 24"/>
                <a:gd name="T4" fmla="*/ 23 w 28"/>
                <a:gd name="T5" fmla="*/ 21 h 24"/>
                <a:gd name="T6" fmla="*/ 12 w 28"/>
                <a:gd name="T7" fmla="*/ 24 h 24"/>
                <a:gd name="T8" fmla="*/ 0 w 28"/>
                <a:gd name="T9" fmla="*/ 20 h 24"/>
                <a:gd name="T10" fmla="*/ 10 w 28"/>
                <a:gd name="T11" fmla="*/ 20 h 24"/>
                <a:gd name="T12" fmla="*/ 17 w 28"/>
                <a:gd name="T13" fmla="*/ 17 h 24"/>
                <a:gd name="T14" fmla="*/ 23 w 28"/>
                <a:gd name="T15" fmla="*/ 13 h 24"/>
                <a:gd name="T16" fmla="*/ 26 w 28"/>
                <a:gd name="T17" fmla="*/ 7 h 24"/>
                <a:gd name="T18" fmla="*/ 28 w 28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4">
                  <a:moveTo>
                    <a:pt x="28" y="0"/>
                  </a:moveTo>
                  <a:lnTo>
                    <a:pt x="28" y="13"/>
                  </a:lnTo>
                  <a:lnTo>
                    <a:pt x="23" y="21"/>
                  </a:lnTo>
                  <a:lnTo>
                    <a:pt x="12" y="24"/>
                  </a:lnTo>
                  <a:lnTo>
                    <a:pt x="0" y="20"/>
                  </a:lnTo>
                  <a:lnTo>
                    <a:pt x="10" y="20"/>
                  </a:lnTo>
                  <a:lnTo>
                    <a:pt x="17" y="17"/>
                  </a:lnTo>
                  <a:lnTo>
                    <a:pt x="23" y="13"/>
                  </a:lnTo>
                  <a:lnTo>
                    <a:pt x="26" y="7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930"/>
            <p:cNvSpPr>
              <a:spLocks/>
            </p:cNvSpPr>
            <p:nvPr/>
          </p:nvSpPr>
          <p:spPr bwMode="auto">
            <a:xfrm>
              <a:off x="-1301750" y="3856038"/>
              <a:ext cx="73025" cy="17463"/>
            </a:xfrm>
            <a:custGeom>
              <a:avLst/>
              <a:gdLst>
                <a:gd name="T0" fmla="*/ 26 w 46"/>
                <a:gd name="T1" fmla="*/ 0 h 11"/>
                <a:gd name="T2" fmla="*/ 41 w 46"/>
                <a:gd name="T3" fmla="*/ 4 h 11"/>
                <a:gd name="T4" fmla="*/ 45 w 46"/>
                <a:gd name="T5" fmla="*/ 5 h 11"/>
                <a:gd name="T6" fmla="*/ 46 w 46"/>
                <a:gd name="T7" fmla="*/ 6 h 11"/>
                <a:gd name="T8" fmla="*/ 46 w 46"/>
                <a:gd name="T9" fmla="*/ 7 h 11"/>
                <a:gd name="T10" fmla="*/ 45 w 46"/>
                <a:gd name="T11" fmla="*/ 9 h 11"/>
                <a:gd name="T12" fmla="*/ 42 w 46"/>
                <a:gd name="T13" fmla="*/ 9 h 11"/>
                <a:gd name="T14" fmla="*/ 40 w 46"/>
                <a:gd name="T15" fmla="*/ 7 h 11"/>
                <a:gd name="T16" fmla="*/ 27 w 46"/>
                <a:gd name="T17" fmla="*/ 5 h 11"/>
                <a:gd name="T18" fmla="*/ 17 w 46"/>
                <a:gd name="T19" fmla="*/ 6 h 11"/>
                <a:gd name="T20" fmla="*/ 5 w 46"/>
                <a:gd name="T21" fmla="*/ 11 h 11"/>
                <a:gd name="T22" fmla="*/ 3 w 46"/>
                <a:gd name="T23" fmla="*/ 11 h 11"/>
                <a:gd name="T24" fmla="*/ 1 w 46"/>
                <a:gd name="T25" fmla="*/ 11 h 11"/>
                <a:gd name="T26" fmla="*/ 0 w 46"/>
                <a:gd name="T27" fmla="*/ 9 h 11"/>
                <a:gd name="T28" fmla="*/ 0 w 46"/>
                <a:gd name="T29" fmla="*/ 7 h 11"/>
                <a:gd name="T30" fmla="*/ 1 w 46"/>
                <a:gd name="T31" fmla="*/ 6 h 11"/>
                <a:gd name="T32" fmla="*/ 3 w 46"/>
                <a:gd name="T33" fmla="*/ 5 h 11"/>
                <a:gd name="T34" fmla="*/ 13 w 46"/>
                <a:gd name="T35" fmla="*/ 1 h 11"/>
                <a:gd name="T36" fmla="*/ 26 w 46"/>
                <a:gd name="T3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1">
                  <a:moveTo>
                    <a:pt x="26" y="0"/>
                  </a:moveTo>
                  <a:lnTo>
                    <a:pt x="41" y="4"/>
                  </a:lnTo>
                  <a:lnTo>
                    <a:pt x="45" y="5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9"/>
                  </a:lnTo>
                  <a:lnTo>
                    <a:pt x="42" y="9"/>
                  </a:lnTo>
                  <a:lnTo>
                    <a:pt x="40" y="7"/>
                  </a:lnTo>
                  <a:lnTo>
                    <a:pt x="27" y="5"/>
                  </a:lnTo>
                  <a:lnTo>
                    <a:pt x="17" y="6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6"/>
                  </a:lnTo>
                  <a:lnTo>
                    <a:pt x="3" y="5"/>
                  </a:lnTo>
                  <a:lnTo>
                    <a:pt x="13" y="1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931"/>
            <p:cNvSpPr>
              <a:spLocks/>
            </p:cNvSpPr>
            <p:nvPr/>
          </p:nvSpPr>
          <p:spPr bwMode="auto">
            <a:xfrm>
              <a:off x="-1446213" y="3856038"/>
              <a:ext cx="73025" cy="17463"/>
            </a:xfrm>
            <a:custGeom>
              <a:avLst/>
              <a:gdLst>
                <a:gd name="T0" fmla="*/ 20 w 46"/>
                <a:gd name="T1" fmla="*/ 0 h 11"/>
                <a:gd name="T2" fmla="*/ 33 w 46"/>
                <a:gd name="T3" fmla="*/ 1 h 11"/>
                <a:gd name="T4" fmla="*/ 44 w 46"/>
                <a:gd name="T5" fmla="*/ 5 h 11"/>
                <a:gd name="T6" fmla="*/ 45 w 46"/>
                <a:gd name="T7" fmla="*/ 6 h 11"/>
                <a:gd name="T8" fmla="*/ 46 w 46"/>
                <a:gd name="T9" fmla="*/ 7 h 11"/>
                <a:gd name="T10" fmla="*/ 46 w 46"/>
                <a:gd name="T11" fmla="*/ 9 h 11"/>
                <a:gd name="T12" fmla="*/ 45 w 46"/>
                <a:gd name="T13" fmla="*/ 11 h 11"/>
                <a:gd name="T14" fmla="*/ 44 w 46"/>
                <a:gd name="T15" fmla="*/ 11 h 11"/>
                <a:gd name="T16" fmla="*/ 41 w 46"/>
                <a:gd name="T17" fmla="*/ 11 h 11"/>
                <a:gd name="T18" fmla="*/ 29 w 46"/>
                <a:gd name="T19" fmla="*/ 6 h 11"/>
                <a:gd name="T20" fmla="*/ 19 w 46"/>
                <a:gd name="T21" fmla="*/ 5 h 11"/>
                <a:gd name="T22" fmla="*/ 6 w 46"/>
                <a:gd name="T23" fmla="*/ 7 h 11"/>
                <a:gd name="T24" fmla="*/ 3 w 46"/>
                <a:gd name="T25" fmla="*/ 9 h 11"/>
                <a:gd name="T26" fmla="*/ 1 w 46"/>
                <a:gd name="T27" fmla="*/ 9 h 11"/>
                <a:gd name="T28" fmla="*/ 0 w 46"/>
                <a:gd name="T29" fmla="*/ 7 h 11"/>
                <a:gd name="T30" fmla="*/ 0 w 46"/>
                <a:gd name="T31" fmla="*/ 6 h 11"/>
                <a:gd name="T32" fmla="*/ 1 w 46"/>
                <a:gd name="T33" fmla="*/ 5 h 11"/>
                <a:gd name="T34" fmla="*/ 5 w 46"/>
                <a:gd name="T35" fmla="*/ 4 h 11"/>
                <a:gd name="T36" fmla="*/ 20 w 46"/>
                <a:gd name="T3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1">
                  <a:moveTo>
                    <a:pt x="20" y="0"/>
                  </a:moveTo>
                  <a:lnTo>
                    <a:pt x="33" y="1"/>
                  </a:lnTo>
                  <a:lnTo>
                    <a:pt x="44" y="5"/>
                  </a:lnTo>
                  <a:lnTo>
                    <a:pt x="45" y="6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1" y="11"/>
                  </a:lnTo>
                  <a:lnTo>
                    <a:pt x="29" y="6"/>
                  </a:lnTo>
                  <a:lnTo>
                    <a:pt x="19" y="5"/>
                  </a:lnTo>
                  <a:lnTo>
                    <a:pt x="6" y="7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5"/>
                  </a:lnTo>
                  <a:lnTo>
                    <a:pt x="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932"/>
            <p:cNvSpPr>
              <a:spLocks/>
            </p:cNvSpPr>
            <p:nvPr/>
          </p:nvSpPr>
          <p:spPr bwMode="auto">
            <a:xfrm>
              <a:off x="-1530350" y="3905250"/>
              <a:ext cx="46038" cy="82550"/>
            </a:xfrm>
            <a:custGeom>
              <a:avLst/>
              <a:gdLst>
                <a:gd name="T0" fmla="*/ 9 w 29"/>
                <a:gd name="T1" fmla="*/ 0 h 52"/>
                <a:gd name="T2" fmla="*/ 17 w 29"/>
                <a:gd name="T3" fmla="*/ 2 h 52"/>
                <a:gd name="T4" fmla="*/ 23 w 29"/>
                <a:gd name="T5" fmla="*/ 11 h 52"/>
                <a:gd name="T6" fmla="*/ 27 w 29"/>
                <a:gd name="T7" fmla="*/ 24 h 52"/>
                <a:gd name="T8" fmla="*/ 29 w 29"/>
                <a:gd name="T9" fmla="*/ 37 h 52"/>
                <a:gd name="T10" fmla="*/ 26 w 29"/>
                <a:gd name="T11" fmla="*/ 47 h 52"/>
                <a:gd name="T12" fmla="*/ 20 w 29"/>
                <a:gd name="T13" fmla="*/ 52 h 52"/>
                <a:gd name="T14" fmla="*/ 13 w 29"/>
                <a:gd name="T15" fmla="*/ 51 h 52"/>
                <a:gd name="T16" fmla="*/ 7 w 29"/>
                <a:gd name="T17" fmla="*/ 42 h 52"/>
                <a:gd name="T18" fmla="*/ 2 w 29"/>
                <a:gd name="T19" fmla="*/ 29 h 52"/>
                <a:gd name="T20" fmla="*/ 0 w 29"/>
                <a:gd name="T21" fmla="*/ 15 h 52"/>
                <a:gd name="T22" fmla="*/ 3 w 29"/>
                <a:gd name="T23" fmla="*/ 5 h 52"/>
                <a:gd name="T24" fmla="*/ 9 w 29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52">
                  <a:moveTo>
                    <a:pt x="9" y="0"/>
                  </a:moveTo>
                  <a:lnTo>
                    <a:pt x="17" y="2"/>
                  </a:lnTo>
                  <a:lnTo>
                    <a:pt x="23" y="11"/>
                  </a:lnTo>
                  <a:lnTo>
                    <a:pt x="27" y="24"/>
                  </a:lnTo>
                  <a:lnTo>
                    <a:pt x="29" y="37"/>
                  </a:lnTo>
                  <a:lnTo>
                    <a:pt x="26" y="47"/>
                  </a:lnTo>
                  <a:lnTo>
                    <a:pt x="20" y="52"/>
                  </a:lnTo>
                  <a:lnTo>
                    <a:pt x="13" y="51"/>
                  </a:lnTo>
                  <a:lnTo>
                    <a:pt x="7" y="42"/>
                  </a:lnTo>
                  <a:lnTo>
                    <a:pt x="2" y="29"/>
                  </a:lnTo>
                  <a:lnTo>
                    <a:pt x="0" y="15"/>
                  </a:lnTo>
                  <a:lnTo>
                    <a:pt x="3" y="5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933"/>
            <p:cNvSpPr>
              <a:spLocks/>
            </p:cNvSpPr>
            <p:nvPr/>
          </p:nvSpPr>
          <p:spPr bwMode="auto">
            <a:xfrm>
              <a:off x="-1181100" y="3905250"/>
              <a:ext cx="42863" cy="82550"/>
            </a:xfrm>
            <a:custGeom>
              <a:avLst/>
              <a:gdLst>
                <a:gd name="T0" fmla="*/ 19 w 27"/>
                <a:gd name="T1" fmla="*/ 0 h 52"/>
                <a:gd name="T2" fmla="*/ 24 w 27"/>
                <a:gd name="T3" fmla="*/ 5 h 52"/>
                <a:gd name="T4" fmla="*/ 27 w 27"/>
                <a:gd name="T5" fmla="*/ 15 h 52"/>
                <a:gd name="T6" fmla="*/ 27 w 27"/>
                <a:gd name="T7" fmla="*/ 29 h 52"/>
                <a:gd name="T8" fmla="*/ 22 w 27"/>
                <a:gd name="T9" fmla="*/ 42 h 52"/>
                <a:gd name="T10" fmla="*/ 15 w 27"/>
                <a:gd name="T11" fmla="*/ 51 h 52"/>
                <a:gd name="T12" fmla="*/ 7 w 27"/>
                <a:gd name="T13" fmla="*/ 52 h 52"/>
                <a:gd name="T14" fmla="*/ 2 w 27"/>
                <a:gd name="T15" fmla="*/ 47 h 52"/>
                <a:gd name="T16" fmla="*/ 0 w 27"/>
                <a:gd name="T17" fmla="*/ 37 h 52"/>
                <a:gd name="T18" fmla="*/ 0 w 27"/>
                <a:gd name="T19" fmla="*/ 24 h 52"/>
                <a:gd name="T20" fmla="*/ 5 w 27"/>
                <a:gd name="T21" fmla="*/ 11 h 52"/>
                <a:gd name="T22" fmla="*/ 11 w 27"/>
                <a:gd name="T23" fmla="*/ 2 h 52"/>
                <a:gd name="T24" fmla="*/ 19 w 27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2">
                  <a:moveTo>
                    <a:pt x="19" y="0"/>
                  </a:moveTo>
                  <a:lnTo>
                    <a:pt x="24" y="5"/>
                  </a:lnTo>
                  <a:lnTo>
                    <a:pt x="27" y="15"/>
                  </a:lnTo>
                  <a:lnTo>
                    <a:pt x="27" y="29"/>
                  </a:lnTo>
                  <a:lnTo>
                    <a:pt x="22" y="42"/>
                  </a:lnTo>
                  <a:lnTo>
                    <a:pt x="15" y="51"/>
                  </a:lnTo>
                  <a:lnTo>
                    <a:pt x="7" y="52"/>
                  </a:lnTo>
                  <a:lnTo>
                    <a:pt x="2" y="47"/>
                  </a:lnTo>
                  <a:lnTo>
                    <a:pt x="0" y="37"/>
                  </a:lnTo>
                  <a:lnTo>
                    <a:pt x="0" y="24"/>
                  </a:lnTo>
                  <a:lnTo>
                    <a:pt x="5" y="11"/>
                  </a:lnTo>
                  <a:lnTo>
                    <a:pt x="11" y="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934"/>
            <p:cNvSpPr>
              <a:spLocks/>
            </p:cNvSpPr>
            <p:nvPr/>
          </p:nvSpPr>
          <p:spPr bwMode="auto">
            <a:xfrm>
              <a:off x="-1519238" y="3668713"/>
              <a:ext cx="363538" cy="276225"/>
            </a:xfrm>
            <a:custGeom>
              <a:avLst/>
              <a:gdLst>
                <a:gd name="T0" fmla="*/ 123 w 229"/>
                <a:gd name="T1" fmla="*/ 0 h 174"/>
                <a:gd name="T2" fmla="*/ 143 w 229"/>
                <a:gd name="T3" fmla="*/ 5 h 174"/>
                <a:gd name="T4" fmla="*/ 186 w 229"/>
                <a:gd name="T5" fmla="*/ 27 h 174"/>
                <a:gd name="T6" fmla="*/ 209 w 229"/>
                <a:gd name="T7" fmla="*/ 54 h 174"/>
                <a:gd name="T8" fmla="*/ 226 w 229"/>
                <a:gd name="T9" fmla="*/ 95 h 174"/>
                <a:gd name="T10" fmla="*/ 229 w 229"/>
                <a:gd name="T11" fmla="*/ 134 h 174"/>
                <a:gd name="T12" fmla="*/ 227 w 229"/>
                <a:gd name="T13" fmla="*/ 158 h 174"/>
                <a:gd name="T14" fmla="*/ 227 w 229"/>
                <a:gd name="T15" fmla="*/ 164 h 174"/>
                <a:gd name="T16" fmla="*/ 224 w 229"/>
                <a:gd name="T17" fmla="*/ 169 h 174"/>
                <a:gd name="T18" fmla="*/ 222 w 229"/>
                <a:gd name="T19" fmla="*/ 174 h 174"/>
                <a:gd name="T20" fmla="*/ 219 w 229"/>
                <a:gd name="T21" fmla="*/ 174 h 174"/>
                <a:gd name="T22" fmla="*/ 218 w 229"/>
                <a:gd name="T23" fmla="*/ 169 h 174"/>
                <a:gd name="T24" fmla="*/ 218 w 229"/>
                <a:gd name="T25" fmla="*/ 151 h 174"/>
                <a:gd name="T26" fmla="*/ 214 w 229"/>
                <a:gd name="T27" fmla="*/ 114 h 174"/>
                <a:gd name="T28" fmla="*/ 202 w 229"/>
                <a:gd name="T29" fmla="*/ 77 h 174"/>
                <a:gd name="T30" fmla="*/ 178 w 229"/>
                <a:gd name="T31" fmla="*/ 52 h 174"/>
                <a:gd name="T32" fmla="*/ 147 w 229"/>
                <a:gd name="T33" fmla="*/ 48 h 174"/>
                <a:gd name="T34" fmla="*/ 118 w 229"/>
                <a:gd name="T35" fmla="*/ 52 h 174"/>
                <a:gd name="T36" fmla="*/ 117 w 229"/>
                <a:gd name="T37" fmla="*/ 52 h 174"/>
                <a:gd name="T38" fmla="*/ 86 w 229"/>
                <a:gd name="T39" fmla="*/ 48 h 174"/>
                <a:gd name="T40" fmla="*/ 56 w 229"/>
                <a:gd name="T41" fmla="*/ 52 h 174"/>
                <a:gd name="T42" fmla="*/ 32 w 229"/>
                <a:gd name="T43" fmla="*/ 77 h 174"/>
                <a:gd name="T44" fmla="*/ 19 w 229"/>
                <a:gd name="T45" fmla="*/ 114 h 174"/>
                <a:gd name="T46" fmla="*/ 15 w 229"/>
                <a:gd name="T47" fmla="*/ 151 h 174"/>
                <a:gd name="T48" fmla="*/ 15 w 229"/>
                <a:gd name="T49" fmla="*/ 169 h 174"/>
                <a:gd name="T50" fmla="*/ 14 w 229"/>
                <a:gd name="T51" fmla="*/ 174 h 174"/>
                <a:gd name="T52" fmla="*/ 11 w 229"/>
                <a:gd name="T53" fmla="*/ 174 h 174"/>
                <a:gd name="T54" fmla="*/ 9 w 229"/>
                <a:gd name="T55" fmla="*/ 170 h 174"/>
                <a:gd name="T56" fmla="*/ 6 w 229"/>
                <a:gd name="T57" fmla="*/ 165 h 174"/>
                <a:gd name="T58" fmla="*/ 5 w 229"/>
                <a:gd name="T59" fmla="*/ 160 h 174"/>
                <a:gd name="T60" fmla="*/ 4 w 229"/>
                <a:gd name="T61" fmla="*/ 151 h 174"/>
                <a:gd name="T62" fmla="*/ 1 w 229"/>
                <a:gd name="T63" fmla="*/ 133 h 174"/>
                <a:gd name="T64" fmla="*/ 1 w 229"/>
                <a:gd name="T65" fmla="*/ 104 h 174"/>
                <a:gd name="T66" fmla="*/ 9 w 229"/>
                <a:gd name="T67" fmla="*/ 69 h 174"/>
                <a:gd name="T68" fmla="*/ 24 w 229"/>
                <a:gd name="T69" fmla="*/ 41 h 174"/>
                <a:gd name="T70" fmla="*/ 50 w 229"/>
                <a:gd name="T71" fmla="*/ 20 h 174"/>
                <a:gd name="T72" fmla="*/ 73 w 229"/>
                <a:gd name="T73" fmla="*/ 9 h 174"/>
                <a:gd name="T74" fmla="*/ 96 w 229"/>
                <a:gd name="T7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9" h="174">
                  <a:moveTo>
                    <a:pt x="110" y="0"/>
                  </a:moveTo>
                  <a:lnTo>
                    <a:pt x="123" y="0"/>
                  </a:lnTo>
                  <a:lnTo>
                    <a:pt x="134" y="2"/>
                  </a:lnTo>
                  <a:lnTo>
                    <a:pt x="143" y="5"/>
                  </a:lnTo>
                  <a:lnTo>
                    <a:pt x="168" y="16"/>
                  </a:lnTo>
                  <a:lnTo>
                    <a:pt x="186" y="27"/>
                  </a:lnTo>
                  <a:lnTo>
                    <a:pt x="199" y="40"/>
                  </a:lnTo>
                  <a:lnTo>
                    <a:pt x="209" y="54"/>
                  </a:lnTo>
                  <a:lnTo>
                    <a:pt x="218" y="70"/>
                  </a:lnTo>
                  <a:lnTo>
                    <a:pt x="226" y="95"/>
                  </a:lnTo>
                  <a:lnTo>
                    <a:pt x="229" y="116"/>
                  </a:lnTo>
                  <a:lnTo>
                    <a:pt x="229" y="134"/>
                  </a:lnTo>
                  <a:lnTo>
                    <a:pt x="228" y="149"/>
                  </a:lnTo>
                  <a:lnTo>
                    <a:pt x="227" y="158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6" y="167"/>
                  </a:lnTo>
                  <a:lnTo>
                    <a:pt x="224" y="169"/>
                  </a:lnTo>
                  <a:lnTo>
                    <a:pt x="223" y="172"/>
                  </a:lnTo>
                  <a:lnTo>
                    <a:pt x="222" y="174"/>
                  </a:lnTo>
                  <a:lnTo>
                    <a:pt x="220" y="174"/>
                  </a:lnTo>
                  <a:lnTo>
                    <a:pt x="219" y="174"/>
                  </a:lnTo>
                  <a:lnTo>
                    <a:pt x="219" y="173"/>
                  </a:lnTo>
                  <a:lnTo>
                    <a:pt x="218" y="169"/>
                  </a:lnTo>
                  <a:lnTo>
                    <a:pt x="218" y="164"/>
                  </a:lnTo>
                  <a:lnTo>
                    <a:pt x="218" y="151"/>
                  </a:lnTo>
                  <a:lnTo>
                    <a:pt x="217" y="133"/>
                  </a:lnTo>
                  <a:lnTo>
                    <a:pt x="214" y="114"/>
                  </a:lnTo>
                  <a:lnTo>
                    <a:pt x="210" y="95"/>
                  </a:lnTo>
                  <a:lnTo>
                    <a:pt x="202" y="77"/>
                  </a:lnTo>
                  <a:lnTo>
                    <a:pt x="192" y="63"/>
                  </a:lnTo>
                  <a:lnTo>
                    <a:pt x="178" y="52"/>
                  </a:lnTo>
                  <a:lnTo>
                    <a:pt x="163" y="48"/>
                  </a:lnTo>
                  <a:lnTo>
                    <a:pt x="147" y="48"/>
                  </a:lnTo>
                  <a:lnTo>
                    <a:pt x="132" y="51"/>
                  </a:lnTo>
                  <a:lnTo>
                    <a:pt x="118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01" y="51"/>
                  </a:lnTo>
                  <a:lnTo>
                    <a:pt x="86" y="48"/>
                  </a:lnTo>
                  <a:lnTo>
                    <a:pt x="72" y="48"/>
                  </a:lnTo>
                  <a:lnTo>
                    <a:pt x="56" y="52"/>
                  </a:lnTo>
                  <a:lnTo>
                    <a:pt x="42" y="63"/>
                  </a:lnTo>
                  <a:lnTo>
                    <a:pt x="32" y="77"/>
                  </a:lnTo>
                  <a:lnTo>
                    <a:pt x="24" y="95"/>
                  </a:lnTo>
                  <a:lnTo>
                    <a:pt x="19" y="114"/>
                  </a:lnTo>
                  <a:lnTo>
                    <a:pt x="16" y="133"/>
                  </a:lnTo>
                  <a:lnTo>
                    <a:pt x="15" y="151"/>
                  </a:lnTo>
                  <a:lnTo>
                    <a:pt x="15" y="164"/>
                  </a:lnTo>
                  <a:lnTo>
                    <a:pt x="15" y="169"/>
                  </a:lnTo>
                  <a:lnTo>
                    <a:pt x="15" y="173"/>
                  </a:lnTo>
                  <a:lnTo>
                    <a:pt x="14" y="174"/>
                  </a:lnTo>
                  <a:lnTo>
                    <a:pt x="13" y="174"/>
                  </a:lnTo>
                  <a:lnTo>
                    <a:pt x="11" y="174"/>
                  </a:lnTo>
                  <a:lnTo>
                    <a:pt x="10" y="173"/>
                  </a:lnTo>
                  <a:lnTo>
                    <a:pt x="9" y="170"/>
                  </a:lnTo>
                  <a:lnTo>
                    <a:pt x="7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5" y="160"/>
                  </a:lnTo>
                  <a:lnTo>
                    <a:pt x="5" y="158"/>
                  </a:lnTo>
                  <a:lnTo>
                    <a:pt x="4" y="151"/>
                  </a:lnTo>
                  <a:lnTo>
                    <a:pt x="2" y="143"/>
                  </a:lnTo>
                  <a:lnTo>
                    <a:pt x="1" y="133"/>
                  </a:lnTo>
                  <a:lnTo>
                    <a:pt x="0" y="120"/>
                  </a:lnTo>
                  <a:lnTo>
                    <a:pt x="1" y="104"/>
                  </a:lnTo>
                  <a:lnTo>
                    <a:pt x="5" y="83"/>
                  </a:lnTo>
                  <a:lnTo>
                    <a:pt x="9" y="69"/>
                  </a:lnTo>
                  <a:lnTo>
                    <a:pt x="15" y="55"/>
                  </a:lnTo>
                  <a:lnTo>
                    <a:pt x="24" y="41"/>
                  </a:lnTo>
                  <a:lnTo>
                    <a:pt x="36" y="28"/>
                  </a:lnTo>
                  <a:lnTo>
                    <a:pt x="50" y="20"/>
                  </a:lnTo>
                  <a:lnTo>
                    <a:pt x="66" y="16"/>
                  </a:lnTo>
                  <a:lnTo>
                    <a:pt x="73" y="9"/>
                  </a:lnTo>
                  <a:lnTo>
                    <a:pt x="83" y="2"/>
                  </a:lnTo>
                  <a:lnTo>
                    <a:pt x="96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935"/>
            <p:cNvSpPr>
              <a:spLocks/>
            </p:cNvSpPr>
            <p:nvPr/>
          </p:nvSpPr>
          <p:spPr bwMode="auto">
            <a:xfrm>
              <a:off x="-1393825" y="4037013"/>
              <a:ext cx="119063" cy="14288"/>
            </a:xfrm>
            <a:custGeom>
              <a:avLst/>
              <a:gdLst>
                <a:gd name="T0" fmla="*/ 75 w 75"/>
                <a:gd name="T1" fmla="*/ 0 h 9"/>
                <a:gd name="T2" fmla="*/ 71 w 75"/>
                <a:gd name="T3" fmla="*/ 5 h 9"/>
                <a:gd name="T4" fmla="*/ 63 w 75"/>
                <a:gd name="T5" fmla="*/ 8 h 9"/>
                <a:gd name="T6" fmla="*/ 52 w 75"/>
                <a:gd name="T7" fmla="*/ 9 h 9"/>
                <a:gd name="T8" fmla="*/ 38 w 75"/>
                <a:gd name="T9" fmla="*/ 9 h 9"/>
                <a:gd name="T10" fmla="*/ 23 w 75"/>
                <a:gd name="T11" fmla="*/ 9 h 9"/>
                <a:gd name="T12" fmla="*/ 13 w 75"/>
                <a:gd name="T13" fmla="*/ 8 h 9"/>
                <a:gd name="T14" fmla="*/ 5 w 75"/>
                <a:gd name="T15" fmla="*/ 5 h 9"/>
                <a:gd name="T16" fmla="*/ 0 w 75"/>
                <a:gd name="T17" fmla="*/ 0 h 9"/>
                <a:gd name="T18" fmla="*/ 26 w 75"/>
                <a:gd name="T19" fmla="*/ 0 h 9"/>
                <a:gd name="T20" fmla="*/ 50 w 75"/>
                <a:gd name="T21" fmla="*/ 0 h 9"/>
                <a:gd name="T22" fmla="*/ 75 w 75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9">
                  <a:moveTo>
                    <a:pt x="75" y="0"/>
                  </a:moveTo>
                  <a:lnTo>
                    <a:pt x="71" y="5"/>
                  </a:lnTo>
                  <a:lnTo>
                    <a:pt x="63" y="8"/>
                  </a:lnTo>
                  <a:lnTo>
                    <a:pt x="52" y="9"/>
                  </a:lnTo>
                  <a:lnTo>
                    <a:pt x="38" y="9"/>
                  </a:lnTo>
                  <a:lnTo>
                    <a:pt x="23" y="9"/>
                  </a:lnTo>
                  <a:lnTo>
                    <a:pt x="13" y="8"/>
                  </a:lnTo>
                  <a:lnTo>
                    <a:pt x="5" y="5"/>
                  </a:lnTo>
                  <a:lnTo>
                    <a:pt x="0" y="0"/>
                  </a:lnTo>
                  <a:lnTo>
                    <a:pt x="26" y="0"/>
                  </a:lnTo>
                  <a:lnTo>
                    <a:pt x="50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936"/>
            <p:cNvSpPr>
              <a:spLocks/>
            </p:cNvSpPr>
            <p:nvPr/>
          </p:nvSpPr>
          <p:spPr bwMode="auto">
            <a:xfrm>
              <a:off x="-1490663" y="3697288"/>
              <a:ext cx="166688" cy="168275"/>
            </a:xfrm>
            <a:custGeom>
              <a:avLst/>
              <a:gdLst>
                <a:gd name="T0" fmla="*/ 72 w 105"/>
                <a:gd name="T1" fmla="*/ 0 h 106"/>
                <a:gd name="T2" fmla="*/ 83 w 105"/>
                <a:gd name="T3" fmla="*/ 0 h 106"/>
                <a:gd name="T4" fmla="*/ 92 w 105"/>
                <a:gd name="T5" fmla="*/ 2 h 106"/>
                <a:gd name="T6" fmla="*/ 101 w 105"/>
                <a:gd name="T7" fmla="*/ 5 h 106"/>
                <a:gd name="T8" fmla="*/ 105 w 105"/>
                <a:gd name="T9" fmla="*/ 11 h 106"/>
                <a:gd name="T10" fmla="*/ 101 w 105"/>
                <a:gd name="T11" fmla="*/ 18 h 106"/>
                <a:gd name="T12" fmla="*/ 93 w 105"/>
                <a:gd name="T13" fmla="*/ 24 h 106"/>
                <a:gd name="T14" fmla="*/ 81 w 105"/>
                <a:gd name="T15" fmla="*/ 32 h 106"/>
                <a:gd name="T16" fmla="*/ 65 w 105"/>
                <a:gd name="T17" fmla="*/ 41 h 106"/>
                <a:gd name="T18" fmla="*/ 48 w 105"/>
                <a:gd name="T19" fmla="*/ 52 h 106"/>
                <a:gd name="T20" fmla="*/ 32 w 105"/>
                <a:gd name="T21" fmla="*/ 66 h 106"/>
                <a:gd name="T22" fmla="*/ 15 w 105"/>
                <a:gd name="T23" fmla="*/ 84 h 106"/>
                <a:gd name="T24" fmla="*/ 0 w 105"/>
                <a:gd name="T25" fmla="*/ 106 h 106"/>
                <a:gd name="T26" fmla="*/ 2 w 105"/>
                <a:gd name="T27" fmla="*/ 78 h 106"/>
                <a:gd name="T28" fmla="*/ 7 w 105"/>
                <a:gd name="T29" fmla="*/ 55 h 106"/>
                <a:gd name="T30" fmla="*/ 14 w 105"/>
                <a:gd name="T31" fmla="*/ 37 h 106"/>
                <a:gd name="T32" fmla="*/ 24 w 105"/>
                <a:gd name="T33" fmla="*/ 23 h 106"/>
                <a:gd name="T34" fmla="*/ 34 w 105"/>
                <a:gd name="T35" fmla="*/ 13 h 106"/>
                <a:gd name="T36" fmla="*/ 47 w 105"/>
                <a:gd name="T37" fmla="*/ 6 h 106"/>
                <a:gd name="T38" fmla="*/ 59 w 105"/>
                <a:gd name="T39" fmla="*/ 2 h 106"/>
                <a:gd name="T40" fmla="*/ 72 w 105"/>
                <a:gd name="T4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" h="106">
                  <a:moveTo>
                    <a:pt x="72" y="0"/>
                  </a:moveTo>
                  <a:lnTo>
                    <a:pt x="83" y="0"/>
                  </a:lnTo>
                  <a:lnTo>
                    <a:pt x="92" y="2"/>
                  </a:lnTo>
                  <a:lnTo>
                    <a:pt x="101" y="5"/>
                  </a:lnTo>
                  <a:lnTo>
                    <a:pt x="105" y="11"/>
                  </a:lnTo>
                  <a:lnTo>
                    <a:pt x="101" y="18"/>
                  </a:lnTo>
                  <a:lnTo>
                    <a:pt x="93" y="24"/>
                  </a:lnTo>
                  <a:lnTo>
                    <a:pt x="81" y="32"/>
                  </a:lnTo>
                  <a:lnTo>
                    <a:pt x="65" y="41"/>
                  </a:lnTo>
                  <a:lnTo>
                    <a:pt x="48" y="52"/>
                  </a:lnTo>
                  <a:lnTo>
                    <a:pt x="32" y="66"/>
                  </a:lnTo>
                  <a:lnTo>
                    <a:pt x="15" y="84"/>
                  </a:lnTo>
                  <a:lnTo>
                    <a:pt x="0" y="106"/>
                  </a:lnTo>
                  <a:lnTo>
                    <a:pt x="2" y="78"/>
                  </a:lnTo>
                  <a:lnTo>
                    <a:pt x="7" y="55"/>
                  </a:lnTo>
                  <a:lnTo>
                    <a:pt x="14" y="37"/>
                  </a:lnTo>
                  <a:lnTo>
                    <a:pt x="24" y="23"/>
                  </a:lnTo>
                  <a:lnTo>
                    <a:pt x="34" y="13"/>
                  </a:lnTo>
                  <a:lnTo>
                    <a:pt x="47" y="6"/>
                  </a:lnTo>
                  <a:lnTo>
                    <a:pt x="59" y="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937"/>
            <p:cNvSpPr>
              <a:spLocks/>
            </p:cNvSpPr>
            <p:nvPr/>
          </p:nvSpPr>
          <p:spPr bwMode="auto">
            <a:xfrm>
              <a:off x="-1444625" y="3700463"/>
              <a:ext cx="287338" cy="206375"/>
            </a:xfrm>
            <a:custGeom>
              <a:avLst/>
              <a:gdLst>
                <a:gd name="T0" fmla="*/ 72 w 181"/>
                <a:gd name="T1" fmla="*/ 0 h 130"/>
                <a:gd name="T2" fmla="*/ 90 w 181"/>
                <a:gd name="T3" fmla="*/ 0 h 130"/>
                <a:gd name="T4" fmla="*/ 108 w 181"/>
                <a:gd name="T5" fmla="*/ 4 h 130"/>
                <a:gd name="T6" fmla="*/ 125 w 181"/>
                <a:gd name="T7" fmla="*/ 13 h 130"/>
                <a:gd name="T8" fmla="*/ 141 w 181"/>
                <a:gd name="T9" fmla="*/ 25 h 130"/>
                <a:gd name="T10" fmla="*/ 154 w 181"/>
                <a:gd name="T11" fmla="*/ 43 h 130"/>
                <a:gd name="T12" fmla="*/ 166 w 181"/>
                <a:gd name="T13" fmla="*/ 66 h 130"/>
                <a:gd name="T14" fmla="*/ 175 w 181"/>
                <a:gd name="T15" fmla="*/ 94 h 130"/>
                <a:gd name="T16" fmla="*/ 181 w 181"/>
                <a:gd name="T17" fmla="*/ 129 h 130"/>
                <a:gd name="T18" fmla="*/ 162 w 181"/>
                <a:gd name="T19" fmla="*/ 130 h 130"/>
                <a:gd name="T20" fmla="*/ 141 w 181"/>
                <a:gd name="T21" fmla="*/ 127 h 130"/>
                <a:gd name="T22" fmla="*/ 120 w 181"/>
                <a:gd name="T23" fmla="*/ 121 h 130"/>
                <a:gd name="T24" fmla="*/ 98 w 181"/>
                <a:gd name="T25" fmla="*/ 112 h 130"/>
                <a:gd name="T26" fmla="*/ 77 w 181"/>
                <a:gd name="T27" fmla="*/ 102 h 130"/>
                <a:gd name="T28" fmla="*/ 57 w 181"/>
                <a:gd name="T29" fmla="*/ 89 h 130"/>
                <a:gd name="T30" fmla="*/ 39 w 181"/>
                <a:gd name="T31" fmla="*/ 76 h 130"/>
                <a:gd name="T32" fmla="*/ 23 w 181"/>
                <a:gd name="T33" fmla="*/ 63 h 130"/>
                <a:gd name="T34" fmla="*/ 10 w 181"/>
                <a:gd name="T35" fmla="*/ 50 h 130"/>
                <a:gd name="T36" fmla="*/ 3 w 181"/>
                <a:gd name="T37" fmla="*/ 39 h 130"/>
                <a:gd name="T38" fmla="*/ 0 w 181"/>
                <a:gd name="T39" fmla="*/ 30 h 130"/>
                <a:gd name="T40" fmla="*/ 2 w 181"/>
                <a:gd name="T41" fmla="*/ 23 h 130"/>
                <a:gd name="T42" fmla="*/ 18 w 181"/>
                <a:gd name="T43" fmla="*/ 14 h 130"/>
                <a:gd name="T44" fmla="*/ 36 w 181"/>
                <a:gd name="T45" fmla="*/ 7 h 130"/>
                <a:gd name="T46" fmla="*/ 54 w 181"/>
                <a:gd name="T47" fmla="*/ 2 h 130"/>
                <a:gd name="T48" fmla="*/ 72 w 181"/>
                <a:gd name="T4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1" h="130">
                  <a:moveTo>
                    <a:pt x="72" y="0"/>
                  </a:moveTo>
                  <a:lnTo>
                    <a:pt x="90" y="0"/>
                  </a:lnTo>
                  <a:lnTo>
                    <a:pt x="108" y="4"/>
                  </a:lnTo>
                  <a:lnTo>
                    <a:pt x="125" y="13"/>
                  </a:lnTo>
                  <a:lnTo>
                    <a:pt x="141" y="25"/>
                  </a:lnTo>
                  <a:lnTo>
                    <a:pt x="154" y="43"/>
                  </a:lnTo>
                  <a:lnTo>
                    <a:pt x="166" y="66"/>
                  </a:lnTo>
                  <a:lnTo>
                    <a:pt x="175" y="94"/>
                  </a:lnTo>
                  <a:lnTo>
                    <a:pt x="181" y="129"/>
                  </a:lnTo>
                  <a:lnTo>
                    <a:pt x="162" y="130"/>
                  </a:lnTo>
                  <a:lnTo>
                    <a:pt x="141" y="127"/>
                  </a:lnTo>
                  <a:lnTo>
                    <a:pt x="120" y="121"/>
                  </a:lnTo>
                  <a:lnTo>
                    <a:pt x="98" y="112"/>
                  </a:lnTo>
                  <a:lnTo>
                    <a:pt x="77" y="102"/>
                  </a:lnTo>
                  <a:lnTo>
                    <a:pt x="57" y="89"/>
                  </a:lnTo>
                  <a:lnTo>
                    <a:pt x="39" y="76"/>
                  </a:lnTo>
                  <a:lnTo>
                    <a:pt x="23" y="63"/>
                  </a:lnTo>
                  <a:lnTo>
                    <a:pt x="10" y="50"/>
                  </a:lnTo>
                  <a:lnTo>
                    <a:pt x="3" y="39"/>
                  </a:lnTo>
                  <a:lnTo>
                    <a:pt x="0" y="30"/>
                  </a:lnTo>
                  <a:lnTo>
                    <a:pt x="2" y="23"/>
                  </a:lnTo>
                  <a:lnTo>
                    <a:pt x="18" y="14"/>
                  </a:lnTo>
                  <a:lnTo>
                    <a:pt x="36" y="7"/>
                  </a:lnTo>
                  <a:lnTo>
                    <a:pt x="54" y="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938"/>
            <p:cNvSpPr>
              <a:spLocks/>
            </p:cNvSpPr>
            <p:nvPr/>
          </p:nvSpPr>
          <p:spPr bwMode="auto">
            <a:xfrm>
              <a:off x="-1431925" y="3729038"/>
              <a:ext cx="238125" cy="222250"/>
            </a:xfrm>
            <a:custGeom>
              <a:avLst/>
              <a:gdLst>
                <a:gd name="T0" fmla="*/ 18 w 150"/>
                <a:gd name="T1" fmla="*/ 0 h 140"/>
                <a:gd name="T2" fmla="*/ 33 w 150"/>
                <a:gd name="T3" fmla="*/ 4 h 140"/>
                <a:gd name="T4" fmla="*/ 45 w 150"/>
                <a:gd name="T5" fmla="*/ 12 h 140"/>
                <a:gd name="T6" fmla="*/ 56 w 150"/>
                <a:gd name="T7" fmla="*/ 23 h 140"/>
                <a:gd name="T8" fmla="*/ 67 w 150"/>
                <a:gd name="T9" fmla="*/ 39 h 140"/>
                <a:gd name="T10" fmla="*/ 77 w 150"/>
                <a:gd name="T11" fmla="*/ 54 h 140"/>
                <a:gd name="T12" fmla="*/ 87 w 150"/>
                <a:gd name="T13" fmla="*/ 72 h 140"/>
                <a:gd name="T14" fmla="*/ 100 w 150"/>
                <a:gd name="T15" fmla="*/ 90 h 140"/>
                <a:gd name="T16" fmla="*/ 114 w 150"/>
                <a:gd name="T17" fmla="*/ 108 h 140"/>
                <a:gd name="T18" fmla="*/ 131 w 150"/>
                <a:gd name="T19" fmla="*/ 126 h 140"/>
                <a:gd name="T20" fmla="*/ 150 w 150"/>
                <a:gd name="T21" fmla="*/ 140 h 140"/>
                <a:gd name="T22" fmla="*/ 123 w 150"/>
                <a:gd name="T23" fmla="*/ 134 h 140"/>
                <a:gd name="T24" fmla="*/ 96 w 150"/>
                <a:gd name="T25" fmla="*/ 122 h 140"/>
                <a:gd name="T26" fmla="*/ 69 w 150"/>
                <a:gd name="T27" fmla="*/ 107 h 140"/>
                <a:gd name="T28" fmla="*/ 46 w 150"/>
                <a:gd name="T29" fmla="*/ 87 h 140"/>
                <a:gd name="T30" fmla="*/ 26 w 150"/>
                <a:gd name="T31" fmla="*/ 67 h 140"/>
                <a:gd name="T32" fmla="*/ 11 w 150"/>
                <a:gd name="T33" fmla="*/ 45 h 140"/>
                <a:gd name="T34" fmla="*/ 2 w 150"/>
                <a:gd name="T35" fmla="*/ 23 h 140"/>
                <a:gd name="T36" fmla="*/ 0 w 150"/>
                <a:gd name="T37" fmla="*/ 2 h 140"/>
                <a:gd name="T38" fmla="*/ 18 w 150"/>
                <a:gd name="T3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0" h="140">
                  <a:moveTo>
                    <a:pt x="18" y="0"/>
                  </a:moveTo>
                  <a:lnTo>
                    <a:pt x="33" y="4"/>
                  </a:lnTo>
                  <a:lnTo>
                    <a:pt x="45" y="12"/>
                  </a:lnTo>
                  <a:lnTo>
                    <a:pt x="56" y="23"/>
                  </a:lnTo>
                  <a:lnTo>
                    <a:pt x="67" y="39"/>
                  </a:lnTo>
                  <a:lnTo>
                    <a:pt x="77" y="54"/>
                  </a:lnTo>
                  <a:lnTo>
                    <a:pt x="87" y="72"/>
                  </a:lnTo>
                  <a:lnTo>
                    <a:pt x="100" y="90"/>
                  </a:lnTo>
                  <a:lnTo>
                    <a:pt x="114" y="108"/>
                  </a:lnTo>
                  <a:lnTo>
                    <a:pt x="131" y="126"/>
                  </a:lnTo>
                  <a:lnTo>
                    <a:pt x="150" y="140"/>
                  </a:lnTo>
                  <a:lnTo>
                    <a:pt x="123" y="134"/>
                  </a:lnTo>
                  <a:lnTo>
                    <a:pt x="96" y="122"/>
                  </a:lnTo>
                  <a:lnTo>
                    <a:pt x="69" y="107"/>
                  </a:lnTo>
                  <a:lnTo>
                    <a:pt x="46" y="87"/>
                  </a:lnTo>
                  <a:lnTo>
                    <a:pt x="26" y="67"/>
                  </a:lnTo>
                  <a:lnTo>
                    <a:pt x="11" y="45"/>
                  </a:lnTo>
                  <a:lnTo>
                    <a:pt x="2" y="23"/>
                  </a:lnTo>
                  <a:lnTo>
                    <a:pt x="0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939"/>
            <p:cNvSpPr>
              <a:spLocks/>
            </p:cNvSpPr>
            <p:nvPr/>
          </p:nvSpPr>
          <p:spPr bwMode="auto">
            <a:xfrm>
              <a:off x="-1422400" y="3714750"/>
              <a:ext cx="238125" cy="158750"/>
            </a:xfrm>
            <a:custGeom>
              <a:avLst/>
              <a:gdLst>
                <a:gd name="T0" fmla="*/ 0 w 150"/>
                <a:gd name="T1" fmla="*/ 0 h 100"/>
                <a:gd name="T2" fmla="*/ 22 w 150"/>
                <a:gd name="T3" fmla="*/ 21 h 100"/>
                <a:gd name="T4" fmla="*/ 43 w 150"/>
                <a:gd name="T5" fmla="*/ 40 h 100"/>
                <a:gd name="T6" fmla="*/ 63 w 150"/>
                <a:gd name="T7" fmla="*/ 57 h 100"/>
                <a:gd name="T8" fmla="*/ 88 w 150"/>
                <a:gd name="T9" fmla="*/ 72 h 100"/>
                <a:gd name="T10" fmla="*/ 116 w 150"/>
                <a:gd name="T11" fmla="*/ 86 h 100"/>
                <a:gd name="T12" fmla="*/ 150 w 150"/>
                <a:gd name="T13" fmla="*/ 100 h 100"/>
                <a:gd name="T14" fmla="*/ 122 w 150"/>
                <a:gd name="T15" fmla="*/ 99 h 100"/>
                <a:gd name="T16" fmla="*/ 94 w 150"/>
                <a:gd name="T17" fmla="*/ 90 h 100"/>
                <a:gd name="T18" fmla="*/ 67 w 150"/>
                <a:gd name="T19" fmla="*/ 79 h 100"/>
                <a:gd name="T20" fmla="*/ 41 w 150"/>
                <a:gd name="T21" fmla="*/ 62 h 100"/>
                <a:gd name="T22" fmla="*/ 21 w 150"/>
                <a:gd name="T23" fmla="*/ 43 h 100"/>
                <a:gd name="T24" fmla="*/ 7 w 150"/>
                <a:gd name="T25" fmla="*/ 22 h 100"/>
                <a:gd name="T26" fmla="*/ 0 w 150"/>
                <a:gd name="T2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100">
                  <a:moveTo>
                    <a:pt x="0" y="0"/>
                  </a:moveTo>
                  <a:lnTo>
                    <a:pt x="22" y="21"/>
                  </a:lnTo>
                  <a:lnTo>
                    <a:pt x="43" y="40"/>
                  </a:lnTo>
                  <a:lnTo>
                    <a:pt x="63" y="57"/>
                  </a:lnTo>
                  <a:lnTo>
                    <a:pt x="88" y="72"/>
                  </a:lnTo>
                  <a:lnTo>
                    <a:pt x="116" y="86"/>
                  </a:lnTo>
                  <a:lnTo>
                    <a:pt x="150" y="100"/>
                  </a:lnTo>
                  <a:lnTo>
                    <a:pt x="122" y="99"/>
                  </a:lnTo>
                  <a:lnTo>
                    <a:pt x="94" y="90"/>
                  </a:lnTo>
                  <a:lnTo>
                    <a:pt x="67" y="79"/>
                  </a:lnTo>
                  <a:lnTo>
                    <a:pt x="41" y="62"/>
                  </a:lnTo>
                  <a:lnTo>
                    <a:pt x="21" y="43"/>
                  </a:lnTo>
                  <a:lnTo>
                    <a:pt x="7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C15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940"/>
            <p:cNvSpPr>
              <a:spLocks/>
            </p:cNvSpPr>
            <p:nvPr/>
          </p:nvSpPr>
          <p:spPr bwMode="auto">
            <a:xfrm>
              <a:off x="-1422400" y="3708400"/>
              <a:ext cx="209550" cy="88900"/>
            </a:xfrm>
            <a:custGeom>
              <a:avLst/>
              <a:gdLst>
                <a:gd name="T0" fmla="*/ 0 w 132"/>
                <a:gd name="T1" fmla="*/ 0 h 56"/>
                <a:gd name="T2" fmla="*/ 21 w 132"/>
                <a:gd name="T3" fmla="*/ 13 h 56"/>
                <a:gd name="T4" fmla="*/ 40 w 132"/>
                <a:gd name="T5" fmla="*/ 23 h 56"/>
                <a:gd name="T6" fmla="*/ 58 w 132"/>
                <a:gd name="T7" fmla="*/ 32 h 56"/>
                <a:gd name="T8" fmla="*/ 80 w 132"/>
                <a:gd name="T9" fmla="*/ 40 h 56"/>
                <a:gd name="T10" fmla="*/ 104 w 132"/>
                <a:gd name="T11" fmla="*/ 47 h 56"/>
                <a:gd name="T12" fmla="*/ 132 w 132"/>
                <a:gd name="T13" fmla="*/ 52 h 56"/>
                <a:gd name="T14" fmla="*/ 112 w 132"/>
                <a:gd name="T15" fmla="*/ 56 h 56"/>
                <a:gd name="T16" fmla="*/ 88 w 132"/>
                <a:gd name="T17" fmla="*/ 54 h 56"/>
                <a:gd name="T18" fmla="*/ 64 w 132"/>
                <a:gd name="T19" fmla="*/ 49 h 56"/>
                <a:gd name="T20" fmla="*/ 43 w 132"/>
                <a:gd name="T21" fmla="*/ 40 h 56"/>
                <a:gd name="T22" fmla="*/ 23 w 132"/>
                <a:gd name="T23" fmla="*/ 30 h 56"/>
                <a:gd name="T24" fmla="*/ 9 w 132"/>
                <a:gd name="T25" fmla="*/ 16 h 56"/>
                <a:gd name="T26" fmla="*/ 0 w 132"/>
                <a:gd name="T2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56">
                  <a:moveTo>
                    <a:pt x="0" y="0"/>
                  </a:moveTo>
                  <a:lnTo>
                    <a:pt x="21" y="13"/>
                  </a:lnTo>
                  <a:lnTo>
                    <a:pt x="40" y="23"/>
                  </a:lnTo>
                  <a:lnTo>
                    <a:pt x="58" y="32"/>
                  </a:lnTo>
                  <a:lnTo>
                    <a:pt x="80" y="40"/>
                  </a:lnTo>
                  <a:lnTo>
                    <a:pt x="104" y="47"/>
                  </a:lnTo>
                  <a:lnTo>
                    <a:pt x="132" y="52"/>
                  </a:lnTo>
                  <a:lnTo>
                    <a:pt x="112" y="56"/>
                  </a:lnTo>
                  <a:lnTo>
                    <a:pt x="88" y="54"/>
                  </a:lnTo>
                  <a:lnTo>
                    <a:pt x="64" y="49"/>
                  </a:lnTo>
                  <a:lnTo>
                    <a:pt x="43" y="40"/>
                  </a:lnTo>
                  <a:lnTo>
                    <a:pt x="23" y="30"/>
                  </a:lnTo>
                  <a:lnTo>
                    <a:pt x="9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C15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941"/>
            <p:cNvSpPr>
              <a:spLocks/>
            </p:cNvSpPr>
            <p:nvPr/>
          </p:nvSpPr>
          <p:spPr bwMode="auto">
            <a:xfrm>
              <a:off x="-1509713" y="3713163"/>
              <a:ext cx="98425" cy="158750"/>
            </a:xfrm>
            <a:custGeom>
              <a:avLst/>
              <a:gdLst>
                <a:gd name="T0" fmla="*/ 62 w 62"/>
                <a:gd name="T1" fmla="*/ 0 h 100"/>
                <a:gd name="T2" fmla="*/ 48 w 62"/>
                <a:gd name="T3" fmla="*/ 14 h 100"/>
                <a:gd name="T4" fmla="*/ 34 w 62"/>
                <a:gd name="T5" fmla="*/ 32 h 100"/>
                <a:gd name="T6" fmla="*/ 19 w 62"/>
                <a:gd name="T7" fmla="*/ 51 h 100"/>
                <a:gd name="T8" fmla="*/ 9 w 62"/>
                <a:gd name="T9" fmla="*/ 73 h 100"/>
                <a:gd name="T10" fmla="*/ 0 w 62"/>
                <a:gd name="T11" fmla="*/ 100 h 100"/>
                <a:gd name="T12" fmla="*/ 0 w 62"/>
                <a:gd name="T13" fmla="*/ 73 h 100"/>
                <a:gd name="T14" fmla="*/ 7 w 62"/>
                <a:gd name="T15" fmla="*/ 50 h 100"/>
                <a:gd name="T16" fmla="*/ 17 w 62"/>
                <a:gd name="T17" fmla="*/ 29 h 100"/>
                <a:gd name="T18" fmla="*/ 31 w 62"/>
                <a:gd name="T19" fmla="*/ 14 h 100"/>
                <a:gd name="T20" fmla="*/ 46 w 62"/>
                <a:gd name="T21" fmla="*/ 4 h 100"/>
                <a:gd name="T22" fmla="*/ 62 w 62"/>
                <a:gd name="T2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100">
                  <a:moveTo>
                    <a:pt x="62" y="0"/>
                  </a:moveTo>
                  <a:lnTo>
                    <a:pt x="48" y="14"/>
                  </a:lnTo>
                  <a:lnTo>
                    <a:pt x="34" y="32"/>
                  </a:lnTo>
                  <a:lnTo>
                    <a:pt x="19" y="51"/>
                  </a:lnTo>
                  <a:lnTo>
                    <a:pt x="9" y="73"/>
                  </a:lnTo>
                  <a:lnTo>
                    <a:pt x="0" y="100"/>
                  </a:lnTo>
                  <a:lnTo>
                    <a:pt x="0" y="73"/>
                  </a:lnTo>
                  <a:lnTo>
                    <a:pt x="7" y="50"/>
                  </a:lnTo>
                  <a:lnTo>
                    <a:pt x="17" y="29"/>
                  </a:lnTo>
                  <a:lnTo>
                    <a:pt x="31" y="14"/>
                  </a:lnTo>
                  <a:lnTo>
                    <a:pt x="46" y="4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DBC15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Freeform 942"/>
            <p:cNvSpPr>
              <a:spLocks/>
            </p:cNvSpPr>
            <p:nvPr/>
          </p:nvSpPr>
          <p:spPr bwMode="auto">
            <a:xfrm>
              <a:off x="-1409700" y="3686175"/>
              <a:ext cx="180975" cy="61913"/>
            </a:xfrm>
            <a:custGeom>
              <a:avLst/>
              <a:gdLst>
                <a:gd name="T0" fmla="*/ 44 w 114"/>
                <a:gd name="T1" fmla="*/ 0 h 39"/>
                <a:gd name="T2" fmla="*/ 62 w 114"/>
                <a:gd name="T3" fmla="*/ 4 h 39"/>
                <a:gd name="T4" fmla="*/ 81 w 114"/>
                <a:gd name="T5" fmla="*/ 11 h 39"/>
                <a:gd name="T6" fmla="*/ 99 w 114"/>
                <a:gd name="T7" fmla="*/ 22 h 39"/>
                <a:gd name="T8" fmla="*/ 114 w 114"/>
                <a:gd name="T9" fmla="*/ 39 h 39"/>
                <a:gd name="T10" fmla="*/ 85 w 114"/>
                <a:gd name="T11" fmla="*/ 23 h 39"/>
                <a:gd name="T12" fmla="*/ 54 w 114"/>
                <a:gd name="T13" fmla="*/ 17 h 39"/>
                <a:gd name="T14" fmla="*/ 26 w 114"/>
                <a:gd name="T15" fmla="*/ 13 h 39"/>
                <a:gd name="T16" fmla="*/ 0 w 114"/>
                <a:gd name="T17" fmla="*/ 13 h 39"/>
                <a:gd name="T18" fmla="*/ 12 w 114"/>
                <a:gd name="T19" fmla="*/ 5 h 39"/>
                <a:gd name="T20" fmla="*/ 26 w 114"/>
                <a:gd name="T21" fmla="*/ 2 h 39"/>
                <a:gd name="T22" fmla="*/ 44 w 114"/>
                <a:gd name="T2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39">
                  <a:moveTo>
                    <a:pt x="44" y="0"/>
                  </a:moveTo>
                  <a:lnTo>
                    <a:pt x="62" y="4"/>
                  </a:lnTo>
                  <a:lnTo>
                    <a:pt x="81" y="11"/>
                  </a:lnTo>
                  <a:lnTo>
                    <a:pt x="99" y="22"/>
                  </a:lnTo>
                  <a:lnTo>
                    <a:pt x="114" y="39"/>
                  </a:lnTo>
                  <a:lnTo>
                    <a:pt x="85" y="23"/>
                  </a:lnTo>
                  <a:lnTo>
                    <a:pt x="54" y="17"/>
                  </a:lnTo>
                  <a:lnTo>
                    <a:pt x="26" y="13"/>
                  </a:lnTo>
                  <a:lnTo>
                    <a:pt x="0" y="13"/>
                  </a:lnTo>
                  <a:lnTo>
                    <a:pt x="12" y="5"/>
                  </a:lnTo>
                  <a:lnTo>
                    <a:pt x="26" y="2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BC15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Freeform 943"/>
            <p:cNvSpPr>
              <a:spLocks/>
            </p:cNvSpPr>
            <p:nvPr/>
          </p:nvSpPr>
          <p:spPr bwMode="auto">
            <a:xfrm>
              <a:off x="-1417638" y="5108575"/>
              <a:ext cx="87313" cy="1036638"/>
            </a:xfrm>
            <a:custGeom>
              <a:avLst/>
              <a:gdLst>
                <a:gd name="T0" fmla="*/ 47 w 55"/>
                <a:gd name="T1" fmla="*/ 0 h 653"/>
                <a:gd name="T2" fmla="*/ 55 w 55"/>
                <a:gd name="T3" fmla="*/ 2 h 653"/>
                <a:gd name="T4" fmla="*/ 53 w 55"/>
                <a:gd name="T5" fmla="*/ 14 h 653"/>
                <a:gd name="T6" fmla="*/ 50 w 55"/>
                <a:gd name="T7" fmla="*/ 29 h 653"/>
                <a:gd name="T8" fmla="*/ 44 w 55"/>
                <a:gd name="T9" fmla="*/ 61 h 653"/>
                <a:gd name="T10" fmla="*/ 38 w 55"/>
                <a:gd name="T11" fmla="*/ 96 h 653"/>
                <a:gd name="T12" fmla="*/ 31 w 55"/>
                <a:gd name="T13" fmla="*/ 168 h 653"/>
                <a:gd name="T14" fmla="*/ 29 w 55"/>
                <a:gd name="T15" fmla="*/ 204 h 653"/>
                <a:gd name="T16" fmla="*/ 29 w 55"/>
                <a:gd name="T17" fmla="*/ 235 h 653"/>
                <a:gd name="T18" fmla="*/ 31 w 55"/>
                <a:gd name="T19" fmla="*/ 250 h 653"/>
                <a:gd name="T20" fmla="*/ 32 w 55"/>
                <a:gd name="T21" fmla="*/ 263 h 653"/>
                <a:gd name="T22" fmla="*/ 32 w 55"/>
                <a:gd name="T23" fmla="*/ 321 h 653"/>
                <a:gd name="T24" fmla="*/ 31 w 55"/>
                <a:gd name="T25" fmla="*/ 346 h 653"/>
                <a:gd name="T26" fmla="*/ 29 w 55"/>
                <a:gd name="T27" fmla="*/ 374 h 653"/>
                <a:gd name="T28" fmla="*/ 27 w 55"/>
                <a:gd name="T29" fmla="*/ 405 h 653"/>
                <a:gd name="T30" fmla="*/ 22 w 55"/>
                <a:gd name="T31" fmla="*/ 468 h 653"/>
                <a:gd name="T32" fmla="*/ 19 w 55"/>
                <a:gd name="T33" fmla="*/ 499 h 653"/>
                <a:gd name="T34" fmla="*/ 18 w 55"/>
                <a:gd name="T35" fmla="*/ 530 h 653"/>
                <a:gd name="T36" fmla="*/ 15 w 55"/>
                <a:gd name="T37" fmla="*/ 558 h 653"/>
                <a:gd name="T38" fmla="*/ 13 w 55"/>
                <a:gd name="T39" fmla="*/ 585 h 653"/>
                <a:gd name="T40" fmla="*/ 11 w 55"/>
                <a:gd name="T41" fmla="*/ 608 h 653"/>
                <a:gd name="T42" fmla="*/ 10 w 55"/>
                <a:gd name="T43" fmla="*/ 627 h 653"/>
                <a:gd name="T44" fmla="*/ 9 w 55"/>
                <a:gd name="T45" fmla="*/ 643 h 653"/>
                <a:gd name="T46" fmla="*/ 9 w 55"/>
                <a:gd name="T47" fmla="*/ 653 h 653"/>
                <a:gd name="T48" fmla="*/ 0 w 55"/>
                <a:gd name="T49" fmla="*/ 653 h 653"/>
                <a:gd name="T50" fmla="*/ 0 w 55"/>
                <a:gd name="T51" fmla="*/ 643 h 653"/>
                <a:gd name="T52" fmla="*/ 1 w 55"/>
                <a:gd name="T53" fmla="*/ 627 h 653"/>
                <a:gd name="T54" fmla="*/ 2 w 55"/>
                <a:gd name="T55" fmla="*/ 608 h 653"/>
                <a:gd name="T56" fmla="*/ 4 w 55"/>
                <a:gd name="T57" fmla="*/ 585 h 653"/>
                <a:gd name="T58" fmla="*/ 6 w 55"/>
                <a:gd name="T59" fmla="*/ 558 h 653"/>
                <a:gd name="T60" fmla="*/ 9 w 55"/>
                <a:gd name="T61" fmla="*/ 530 h 653"/>
                <a:gd name="T62" fmla="*/ 10 w 55"/>
                <a:gd name="T63" fmla="*/ 499 h 653"/>
                <a:gd name="T64" fmla="*/ 13 w 55"/>
                <a:gd name="T65" fmla="*/ 468 h 653"/>
                <a:gd name="T66" fmla="*/ 18 w 55"/>
                <a:gd name="T67" fmla="*/ 405 h 653"/>
                <a:gd name="T68" fmla="*/ 20 w 55"/>
                <a:gd name="T69" fmla="*/ 374 h 653"/>
                <a:gd name="T70" fmla="*/ 22 w 55"/>
                <a:gd name="T71" fmla="*/ 346 h 653"/>
                <a:gd name="T72" fmla="*/ 23 w 55"/>
                <a:gd name="T73" fmla="*/ 321 h 653"/>
                <a:gd name="T74" fmla="*/ 23 w 55"/>
                <a:gd name="T75" fmla="*/ 264 h 653"/>
                <a:gd name="T76" fmla="*/ 22 w 55"/>
                <a:gd name="T77" fmla="*/ 250 h 653"/>
                <a:gd name="T78" fmla="*/ 20 w 55"/>
                <a:gd name="T79" fmla="*/ 235 h 653"/>
                <a:gd name="T80" fmla="*/ 20 w 55"/>
                <a:gd name="T81" fmla="*/ 204 h 653"/>
                <a:gd name="T82" fmla="*/ 22 w 55"/>
                <a:gd name="T83" fmla="*/ 168 h 653"/>
                <a:gd name="T84" fmla="*/ 29 w 55"/>
                <a:gd name="T85" fmla="*/ 96 h 653"/>
                <a:gd name="T86" fmla="*/ 35 w 55"/>
                <a:gd name="T87" fmla="*/ 61 h 653"/>
                <a:gd name="T88" fmla="*/ 41 w 55"/>
                <a:gd name="T89" fmla="*/ 29 h 653"/>
                <a:gd name="T90" fmla="*/ 44 w 55"/>
                <a:gd name="T91" fmla="*/ 14 h 653"/>
                <a:gd name="T92" fmla="*/ 47 w 55"/>
                <a:gd name="T93" fmla="*/ 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653">
                  <a:moveTo>
                    <a:pt x="47" y="0"/>
                  </a:moveTo>
                  <a:lnTo>
                    <a:pt x="55" y="2"/>
                  </a:lnTo>
                  <a:lnTo>
                    <a:pt x="53" y="14"/>
                  </a:lnTo>
                  <a:lnTo>
                    <a:pt x="50" y="29"/>
                  </a:lnTo>
                  <a:lnTo>
                    <a:pt x="44" y="61"/>
                  </a:lnTo>
                  <a:lnTo>
                    <a:pt x="38" y="96"/>
                  </a:lnTo>
                  <a:lnTo>
                    <a:pt x="31" y="168"/>
                  </a:lnTo>
                  <a:lnTo>
                    <a:pt x="29" y="204"/>
                  </a:lnTo>
                  <a:lnTo>
                    <a:pt x="29" y="235"/>
                  </a:lnTo>
                  <a:lnTo>
                    <a:pt x="31" y="250"/>
                  </a:lnTo>
                  <a:lnTo>
                    <a:pt x="32" y="263"/>
                  </a:lnTo>
                  <a:lnTo>
                    <a:pt x="32" y="321"/>
                  </a:lnTo>
                  <a:lnTo>
                    <a:pt x="31" y="346"/>
                  </a:lnTo>
                  <a:lnTo>
                    <a:pt x="29" y="374"/>
                  </a:lnTo>
                  <a:lnTo>
                    <a:pt x="27" y="405"/>
                  </a:lnTo>
                  <a:lnTo>
                    <a:pt x="22" y="468"/>
                  </a:lnTo>
                  <a:lnTo>
                    <a:pt x="19" y="499"/>
                  </a:lnTo>
                  <a:lnTo>
                    <a:pt x="18" y="530"/>
                  </a:lnTo>
                  <a:lnTo>
                    <a:pt x="15" y="558"/>
                  </a:lnTo>
                  <a:lnTo>
                    <a:pt x="13" y="585"/>
                  </a:lnTo>
                  <a:lnTo>
                    <a:pt x="11" y="608"/>
                  </a:lnTo>
                  <a:lnTo>
                    <a:pt x="10" y="627"/>
                  </a:lnTo>
                  <a:lnTo>
                    <a:pt x="9" y="643"/>
                  </a:lnTo>
                  <a:lnTo>
                    <a:pt x="9" y="653"/>
                  </a:lnTo>
                  <a:lnTo>
                    <a:pt x="0" y="653"/>
                  </a:lnTo>
                  <a:lnTo>
                    <a:pt x="0" y="643"/>
                  </a:lnTo>
                  <a:lnTo>
                    <a:pt x="1" y="627"/>
                  </a:lnTo>
                  <a:lnTo>
                    <a:pt x="2" y="608"/>
                  </a:lnTo>
                  <a:lnTo>
                    <a:pt x="4" y="585"/>
                  </a:lnTo>
                  <a:lnTo>
                    <a:pt x="6" y="558"/>
                  </a:lnTo>
                  <a:lnTo>
                    <a:pt x="9" y="530"/>
                  </a:lnTo>
                  <a:lnTo>
                    <a:pt x="10" y="499"/>
                  </a:lnTo>
                  <a:lnTo>
                    <a:pt x="13" y="468"/>
                  </a:lnTo>
                  <a:lnTo>
                    <a:pt x="18" y="405"/>
                  </a:lnTo>
                  <a:lnTo>
                    <a:pt x="20" y="374"/>
                  </a:lnTo>
                  <a:lnTo>
                    <a:pt x="22" y="346"/>
                  </a:lnTo>
                  <a:lnTo>
                    <a:pt x="23" y="321"/>
                  </a:lnTo>
                  <a:lnTo>
                    <a:pt x="23" y="264"/>
                  </a:lnTo>
                  <a:lnTo>
                    <a:pt x="22" y="250"/>
                  </a:lnTo>
                  <a:lnTo>
                    <a:pt x="20" y="235"/>
                  </a:lnTo>
                  <a:lnTo>
                    <a:pt x="20" y="204"/>
                  </a:lnTo>
                  <a:lnTo>
                    <a:pt x="22" y="168"/>
                  </a:lnTo>
                  <a:lnTo>
                    <a:pt x="29" y="96"/>
                  </a:lnTo>
                  <a:lnTo>
                    <a:pt x="35" y="61"/>
                  </a:lnTo>
                  <a:lnTo>
                    <a:pt x="41" y="29"/>
                  </a:lnTo>
                  <a:lnTo>
                    <a:pt x="44" y="14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98" name="Group 2297"/>
          <p:cNvGrpSpPr/>
          <p:nvPr/>
        </p:nvGrpSpPr>
        <p:grpSpPr>
          <a:xfrm>
            <a:off x="7423647" y="5157432"/>
            <a:ext cx="153450" cy="436464"/>
            <a:chOff x="8330521" y="-98437"/>
            <a:chExt cx="1971675" cy="5664201"/>
          </a:xfrm>
        </p:grpSpPr>
        <p:sp>
          <p:nvSpPr>
            <p:cNvPr id="2239" name="Freeform 2229"/>
            <p:cNvSpPr>
              <a:spLocks/>
            </p:cNvSpPr>
            <p:nvPr/>
          </p:nvSpPr>
          <p:spPr bwMode="auto">
            <a:xfrm>
              <a:off x="8643258" y="5330814"/>
              <a:ext cx="320675" cy="234950"/>
            </a:xfrm>
            <a:custGeom>
              <a:avLst/>
              <a:gdLst>
                <a:gd name="T0" fmla="*/ 293 w 403"/>
                <a:gd name="T1" fmla="*/ 0 h 296"/>
                <a:gd name="T2" fmla="*/ 313 w 403"/>
                <a:gd name="T3" fmla="*/ 1 h 296"/>
                <a:gd name="T4" fmla="*/ 330 w 403"/>
                <a:gd name="T5" fmla="*/ 5 h 296"/>
                <a:gd name="T6" fmla="*/ 344 w 403"/>
                <a:gd name="T7" fmla="*/ 8 h 296"/>
                <a:gd name="T8" fmla="*/ 354 w 403"/>
                <a:gd name="T9" fmla="*/ 13 h 296"/>
                <a:gd name="T10" fmla="*/ 357 w 403"/>
                <a:gd name="T11" fmla="*/ 18 h 296"/>
                <a:gd name="T12" fmla="*/ 357 w 403"/>
                <a:gd name="T13" fmla="*/ 25 h 296"/>
                <a:gd name="T14" fmla="*/ 357 w 403"/>
                <a:gd name="T15" fmla="*/ 33 h 296"/>
                <a:gd name="T16" fmla="*/ 361 w 403"/>
                <a:gd name="T17" fmla="*/ 47 h 296"/>
                <a:gd name="T18" fmla="*/ 366 w 403"/>
                <a:gd name="T19" fmla="*/ 64 h 296"/>
                <a:gd name="T20" fmla="*/ 372 w 403"/>
                <a:gd name="T21" fmla="*/ 88 h 296"/>
                <a:gd name="T22" fmla="*/ 381 w 403"/>
                <a:gd name="T23" fmla="*/ 120 h 296"/>
                <a:gd name="T24" fmla="*/ 393 w 403"/>
                <a:gd name="T25" fmla="*/ 160 h 296"/>
                <a:gd name="T26" fmla="*/ 400 w 403"/>
                <a:gd name="T27" fmla="*/ 191 h 296"/>
                <a:gd name="T28" fmla="*/ 403 w 403"/>
                <a:gd name="T29" fmla="*/ 216 h 296"/>
                <a:gd name="T30" fmla="*/ 401 w 403"/>
                <a:gd name="T31" fmla="*/ 237 h 296"/>
                <a:gd name="T32" fmla="*/ 398 w 403"/>
                <a:gd name="T33" fmla="*/ 252 h 296"/>
                <a:gd name="T34" fmla="*/ 393 w 403"/>
                <a:gd name="T35" fmla="*/ 262 h 296"/>
                <a:gd name="T36" fmla="*/ 386 w 403"/>
                <a:gd name="T37" fmla="*/ 269 h 296"/>
                <a:gd name="T38" fmla="*/ 381 w 403"/>
                <a:gd name="T39" fmla="*/ 272 h 296"/>
                <a:gd name="T40" fmla="*/ 377 w 403"/>
                <a:gd name="T41" fmla="*/ 274 h 296"/>
                <a:gd name="T42" fmla="*/ 376 w 403"/>
                <a:gd name="T43" fmla="*/ 274 h 296"/>
                <a:gd name="T44" fmla="*/ 371 w 403"/>
                <a:gd name="T45" fmla="*/ 276 h 296"/>
                <a:gd name="T46" fmla="*/ 357 w 403"/>
                <a:gd name="T47" fmla="*/ 277 h 296"/>
                <a:gd name="T48" fmla="*/ 335 w 403"/>
                <a:gd name="T49" fmla="*/ 279 h 296"/>
                <a:gd name="T50" fmla="*/ 308 w 403"/>
                <a:gd name="T51" fmla="*/ 284 h 296"/>
                <a:gd name="T52" fmla="*/ 276 w 403"/>
                <a:gd name="T53" fmla="*/ 287 h 296"/>
                <a:gd name="T54" fmla="*/ 240 w 403"/>
                <a:gd name="T55" fmla="*/ 291 h 296"/>
                <a:gd name="T56" fmla="*/ 203 w 403"/>
                <a:gd name="T57" fmla="*/ 293 h 296"/>
                <a:gd name="T58" fmla="*/ 164 w 403"/>
                <a:gd name="T59" fmla="*/ 296 h 296"/>
                <a:gd name="T60" fmla="*/ 129 w 403"/>
                <a:gd name="T61" fmla="*/ 296 h 296"/>
                <a:gd name="T62" fmla="*/ 93 w 403"/>
                <a:gd name="T63" fmla="*/ 296 h 296"/>
                <a:gd name="T64" fmla="*/ 61 w 403"/>
                <a:gd name="T65" fmla="*/ 293 h 296"/>
                <a:gd name="T66" fmla="*/ 35 w 403"/>
                <a:gd name="T67" fmla="*/ 287 h 296"/>
                <a:gd name="T68" fmla="*/ 15 w 403"/>
                <a:gd name="T69" fmla="*/ 279 h 296"/>
                <a:gd name="T70" fmla="*/ 3 w 403"/>
                <a:gd name="T71" fmla="*/ 269 h 296"/>
                <a:gd name="T72" fmla="*/ 0 w 403"/>
                <a:gd name="T73" fmla="*/ 255 h 296"/>
                <a:gd name="T74" fmla="*/ 3 w 403"/>
                <a:gd name="T75" fmla="*/ 238 h 296"/>
                <a:gd name="T76" fmla="*/ 12 w 403"/>
                <a:gd name="T77" fmla="*/ 220 h 296"/>
                <a:gd name="T78" fmla="*/ 25 w 403"/>
                <a:gd name="T79" fmla="*/ 199 h 296"/>
                <a:gd name="T80" fmla="*/ 42 w 403"/>
                <a:gd name="T81" fmla="*/ 179 h 296"/>
                <a:gd name="T82" fmla="*/ 62 w 403"/>
                <a:gd name="T83" fmla="*/ 159 h 296"/>
                <a:gd name="T84" fmla="*/ 84 w 403"/>
                <a:gd name="T85" fmla="*/ 138 h 296"/>
                <a:gd name="T86" fmla="*/ 108 w 403"/>
                <a:gd name="T87" fmla="*/ 118 h 296"/>
                <a:gd name="T88" fmla="*/ 129 w 403"/>
                <a:gd name="T89" fmla="*/ 99 h 296"/>
                <a:gd name="T90" fmla="*/ 149 w 403"/>
                <a:gd name="T91" fmla="*/ 84 h 296"/>
                <a:gd name="T92" fmla="*/ 167 w 403"/>
                <a:gd name="T93" fmla="*/ 71 h 296"/>
                <a:gd name="T94" fmla="*/ 181 w 403"/>
                <a:gd name="T95" fmla="*/ 61 h 296"/>
                <a:gd name="T96" fmla="*/ 191 w 403"/>
                <a:gd name="T97" fmla="*/ 54 h 296"/>
                <a:gd name="T98" fmla="*/ 193 w 403"/>
                <a:gd name="T99" fmla="*/ 50 h 296"/>
                <a:gd name="T100" fmla="*/ 201 w 403"/>
                <a:gd name="T101" fmla="*/ 32 h 296"/>
                <a:gd name="T102" fmla="*/ 215 w 403"/>
                <a:gd name="T103" fmla="*/ 18 h 296"/>
                <a:gd name="T104" fmla="*/ 232 w 403"/>
                <a:gd name="T105" fmla="*/ 8 h 296"/>
                <a:gd name="T106" fmla="*/ 250 w 403"/>
                <a:gd name="T107" fmla="*/ 3 h 296"/>
                <a:gd name="T108" fmla="*/ 272 w 403"/>
                <a:gd name="T109" fmla="*/ 0 h 296"/>
                <a:gd name="T110" fmla="*/ 293 w 403"/>
                <a:gd name="T111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3" h="296">
                  <a:moveTo>
                    <a:pt x="293" y="0"/>
                  </a:moveTo>
                  <a:lnTo>
                    <a:pt x="313" y="1"/>
                  </a:lnTo>
                  <a:lnTo>
                    <a:pt x="330" y="5"/>
                  </a:lnTo>
                  <a:lnTo>
                    <a:pt x="344" y="8"/>
                  </a:lnTo>
                  <a:lnTo>
                    <a:pt x="354" y="13"/>
                  </a:lnTo>
                  <a:lnTo>
                    <a:pt x="357" y="18"/>
                  </a:lnTo>
                  <a:lnTo>
                    <a:pt x="357" y="25"/>
                  </a:lnTo>
                  <a:lnTo>
                    <a:pt x="357" y="33"/>
                  </a:lnTo>
                  <a:lnTo>
                    <a:pt x="361" y="47"/>
                  </a:lnTo>
                  <a:lnTo>
                    <a:pt x="366" y="64"/>
                  </a:lnTo>
                  <a:lnTo>
                    <a:pt x="372" y="88"/>
                  </a:lnTo>
                  <a:lnTo>
                    <a:pt x="381" y="120"/>
                  </a:lnTo>
                  <a:lnTo>
                    <a:pt x="393" y="160"/>
                  </a:lnTo>
                  <a:lnTo>
                    <a:pt x="400" y="191"/>
                  </a:lnTo>
                  <a:lnTo>
                    <a:pt x="403" y="216"/>
                  </a:lnTo>
                  <a:lnTo>
                    <a:pt x="401" y="237"/>
                  </a:lnTo>
                  <a:lnTo>
                    <a:pt x="398" y="252"/>
                  </a:lnTo>
                  <a:lnTo>
                    <a:pt x="393" y="262"/>
                  </a:lnTo>
                  <a:lnTo>
                    <a:pt x="386" y="269"/>
                  </a:lnTo>
                  <a:lnTo>
                    <a:pt x="381" y="272"/>
                  </a:lnTo>
                  <a:lnTo>
                    <a:pt x="377" y="274"/>
                  </a:lnTo>
                  <a:lnTo>
                    <a:pt x="376" y="274"/>
                  </a:lnTo>
                  <a:lnTo>
                    <a:pt x="371" y="276"/>
                  </a:lnTo>
                  <a:lnTo>
                    <a:pt x="357" y="277"/>
                  </a:lnTo>
                  <a:lnTo>
                    <a:pt x="335" y="279"/>
                  </a:lnTo>
                  <a:lnTo>
                    <a:pt x="308" y="284"/>
                  </a:lnTo>
                  <a:lnTo>
                    <a:pt x="276" y="287"/>
                  </a:lnTo>
                  <a:lnTo>
                    <a:pt x="240" y="291"/>
                  </a:lnTo>
                  <a:lnTo>
                    <a:pt x="203" y="293"/>
                  </a:lnTo>
                  <a:lnTo>
                    <a:pt x="164" y="296"/>
                  </a:lnTo>
                  <a:lnTo>
                    <a:pt x="129" y="296"/>
                  </a:lnTo>
                  <a:lnTo>
                    <a:pt x="93" y="296"/>
                  </a:lnTo>
                  <a:lnTo>
                    <a:pt x="61" y="293"/>
                  </a:lnTo>
                  <a:lnTo>
                    <a:pt x="35" y="287"/>
                  </a:lnTo>
                  <a:lnTo>
                    <a:pt x="15" y="279"/>
                  </a:lnTo>
                  <a:lnTo>
                    <a:pt x="3" y="269"/>
                  </a:lnTo>
                  <a:lnTo>
                    <a:pt x="0" y="255"/>
                  </a:lnTo>
                  <a:lnTo>
                    <a:pt x="3" y="238"/>
                  </a:lnTo>
                  <a:lnTo>
                    <a:pt x="12" y="220"/>
                  </a:lnTo>
                  <a:lnTo>
                    <a:pt x="25" y="199"/>
                  </a:lnTo>
                  <a:lnTo>
                    <a:pt x="42" y="179"/>
                  </a:lnTo>
                  <a:lnTo>
                    <a:pt x="62" y="159"/>
                  </a:lnTo>
                  <a:lnTo>
                    <a:pt x="84" y="138"/>
                  </a:lnTo>
                  <a:lnTo>
                    <a:pt x="108" y="118"/>
                  </a:lnTo>
                  <a:lnTo>
                    <a:pt x="129" y="99"/>
                  </a:lnTo>
                  <a:lnTo>
                    <a:pt x="149" y="84"/>
                  </a:lnTo>
                  <a:lnTo>
                    <a:pt x="167" y="71"/>
                  </a:lnTo>
                  <a:lnTo>
                    <a:pt x="181" y="61"/>
                  </a:lnTo>
                  <a:lnTo>
                    <a:pt x="191" y="54"/>
                  </a:lnTo>
                  <a:lnTo>
                    <a:pt x="193" y="50"/>
                  </a:lnTo>
                  <a:lnTo>
                    <a:pt x="201" y="32"/>
                  </a:lnTo>
                  <a:lnTo>
                    <a:pt x="215" y="18"/>
                  </a:lnTo>
                  <a:lnTo>
                    <a:pt x="232" y="8"/>
                  </a:lnTo>
                  <a:lnTo>
                    <a:pt x="250" y="3"/>
                  </a:lnTo>
                  <a:lnTo>
                    <a:pt x="272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0" name="Freeform 2230"/>
            <p:cNvSpPr>
              <a:spLocks/>
            </p:cNvSpPr>
            <p:nvPr/>
          </p:nvSpPr>
          <p:spPr bwMode="auto">
            <a:xfrm>
              <a:off x="9319533" y="5348276"/>
              <a:ext cx="481013" cy="198438"/>
            </a:xfrm>
            <a:custGeom>
              <a:avLst/>
              <a:gdLst>
                <a:gd name="T0" fmla="*/ 191 w 604"/>
                <a:gd name="T1" fmla="*/ 1 h 250"/>
                <a:gd name="T2" fmla="*/ 210 w 604"/>
                <a:gd name="T3" fmla="*/ 6 h 250"/>
                <a:gd name="T4" fmla="*/ 220 w 604"/>
                <a:gd name="T5" fmla="*/ 32 h 250"/>
                <a:gd name="T6" fmla="*/ 233 w 604"/>
                <a:gd name="T7" fmla="*/ 61 h 250"/>
                <a:gd name="T8" fmla="*/ 242 w 604"/>
                <a:gd name="T9" fmla="*/ 74 h 250"/>
                <a:gd name="T10" fmla="*/ 257 w 604"/>
                <a:gd name="T11" fmla="*/ 79 h 250"/>
                <a:gd name="T12" fmla="*/ 299 w 604"/>
                <a:gd name="T13" fmla="*/ 91 h 250"/>
                <a:gd name="T14" fmla="*/ 359 w 604"/>
                <a:gd name="T15" fmla="*/ 110 h 250"/>
                <a:gd name="T16" fmla="*/ 425 w 604"/>
                <a:gd name="T17" fmla="*/ 132 h 250"/>
                <a:gd name="T18" fmla="*/ 489 w 604"/>
                <a:gd name="T19" fmla="*/ 152 h 250"/>
                <a:gd name="T20" fmla="*/ 540 w 604"/>
                <a:gd name="T21" fmla="*/ 169 h 250"/>
                <a:gd name="T22" fmla="*/ 581 w 604"/>
                <a:gd name="T23" fmla="*/ 188 h 250"/>
                <a:gd name="T24" fmla="*/ 601 w 604"/>
                <a:gd name="T25" fmla="*/ 211 h 250"/>
                <a:gd name="T26" fmla="*/ 603 w 604"/>
                <a:gd name="T27" fmla="*/ 233 h 250"/>
                <a:gd name="T28" fmla="*/ 599 w 604"/>
                <a:gd name="T29" fmla="*/ 249 h 250"/>
                <a:gd name="T30" fmla="*/ 592 w 604"/>
                <a:gd name="T31" fmla="*/ 250 h 250"/>
                <a:gd name="T32" fmla="*/ 550 w 604"/>
                <a:gd name="T33" fmla="*/ 249 h 250"/>
                <a:gd name="T34" fmla="*/ 477 w 604"/>
                <a:gd name="T35" fmla="*/ 249 h 250"/>
                <a:gd name="T36" fmla="*/ 382 w 604"/>
                <a:gd name="T37" fmla="*/ 247 h 250"/>
                <a:gd name="T38" fmla="*/ 281 w 604"/>
                <a:gd name="T39" fmla="*/ 243 h 250"/>
                <a:gd name="T40" fmla="*/ 181 w 604"/>
                <a:gd name="T41" fmla="*/ 242 h 250"/>
                <a:gd name="T42" fmla="*/ 93 w 604"/>
                <a:gd name="T43" fmla="*/ 238 h 250"/>
                <a:gd name="T44" fmla="*/ 30 w 604"/>
                <a:gd name="T45" fmla="*/ 235 h 250"/>
                <a:gd name="T46" fmla="*/ 5 w 604"/>
                <a:gd name="T47" fmla="*/ 232 h 250"/>
                <a:gd name="T48" fmla="*/ 0 w 604"/>
                <a:gd name="T49" fmla="*/ 210 h 250"/>
                <a:gd name="T50" fmla="*/ 0 w 604"/>
                <a:gd name="T51" fmla="*/ 162 h 250"/>
                <a:gd name="T52" fmla="*/ 3 w 604"/>
                <a:gd name="T53" fmla="*/ 105 h 250"/>
                <a:gd name="T54" fmla="*/ 6 w 604"/>
                <a:gd name="T55" fmla="*/ 52 h 250"/>
                <a:gd name="T56" fmla="*/ 8 w 604"/>
                <a:gd name="T57" fmla="*/ 18 h 250"/>
                <a:gd name="T58" fmla="*/ 13 w 604"/>
                <a:gd name="T59" fmla="*/ 13 h 250"/>
                <a:gd name="T60" fmla="*/ 45 w 604"/>
                <a:gd name="T61" fmla="*/ 10 h 250"/>
                <a:gd name="T62" fmla="*/ 95 w 604"/>
                <a:gd name="T63" fmla="*/ 5 h 250"/>
                <a:gd name="T64" fmla="*/ 149 w 604"/>
                <a:gd name="T65" fmla="*/ 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4" h="250">
                  <a:moveTo>
                    <a:pt x="172" y="0"/>
                  </a:moveTo>
                  <a:lnTo>
                    <a:pt x="191" y="1"/>
                  </a:lnTo>
                  <a:lnTo>
                    <a:pt x="205" y="3"/>
                  </a:lnTo>
                  <a:lnTo>
                    <a:pt x="210" y="6"/>
                  </a:lnTo>
                  <a:lnTo>
                    <a:pt x="213" y="18"/>
                  </a:lnTo>
                  <a:lnTo>
                    <a:pt x="220" y="32"/>
                  </a:lnTo>
                  <a:lnTo>
                    <a:pt x="227" y="47"/>
                  </a:lnTo>
                  <a:lnTo>
                    <a:pt x="233" y="61"/>
                  </a:lnTo>
                  <a:lnTo>
                    <a:pt x="240" y="69"/>
                  </a:lnTo>
                  <a:lnTo>
                    <a:pt x="242" y="74"/>
                  </a:lnTo>
                  <a:lnTo>
                    <a:pt x="245" y="74"/>
                  </a:lnTo>
                  <a:lnTo>
                    <a:pt x="257" y="79"/>
                  </a:lnTo>
                  <a:lnTo>
                    <a:pt x="276" y="84"/>
                  </a:lnTo>
                  <a:lnTo>
                    <a:pt x="299" y="91"/>
                  </a:lnTo>
                  <a:lnTo>
                    <a:pt x="328" y="101"/>
                  </a:lnTo>
                  <a:lnTo>
                    <a:pt x="359" y="110"/>
                  </a:lnTo>
                  <a:lnTo>
                    <a:pt x="391" y="120"/>
                  </a:lnTo>
                  <a:lnTo>
                    <a:pt x="425" y="132"/>
                  </a:lnTo>
                  <a:lnTo>
                    <a:pt x="457" y="142"/>
                  </a:lnTo>
                  <a:lnTo>
                    <a:pt x="489" y="152"/>
                  </a:lnTo>
                  <a:lnTo>
                    <a:pt x="516" y="162"/>
                  </a:lnTo>
                  <a:lnTo>
                    <a:pt x="540" y="169"/>
                  </a:lnTo>
                  <a:lnTo>
                    <a:pt x="559" y="176"/>
                  </a:lnTo>
                  <a:lnTo>
                    <a:pt x="581" y="188"/>
                  </a:lnTo>
                  <a:lnTo>
                    <a:pt x="592" y="198"/>
                  </a:lnTo>
                  <a:lnTo>
                    <a:pt x="601" y="211"/>
                  </a:lnTo>
                  <a:lnTo>
                    <a:pt x="604" y="223"/>
                  </a:lnTo>
                  <a:lnTo>
                    <a:pt x="603" y="233"/>
                  </a:lnTo>
                  <a:lnTo>
                    <a:pt x="601" y="242"/>
                  </a:lnTo>
                  <a:lnTo>
                    <a:pt x="599" y="249"/>
                  </a:lnTo>
                  <a:lnTo>
                    <a:pt x="598" y="250"/>
                  </a:lnTo>
                  <a:lnTo>
                    <a:pt x="592" y="250"/>
                  </a:lnTo>
                  <a:lnTo>
                    <a:pt x="576" y="250"/>
                  </a:lnTo>
                  <a:lnTo>
                    <a:pt x="550" y="249"/>
                  </a:lnTo>
                  <a:lnTo>
                    <a:pt x="516" y="249"/>
                  </a:lnTo>
                  <a:lnTo>
                    <a:pt x="477" y="249"/>
                  </a:lnTo>
                  <a:lnTo>
                    <a:pt x="432" y="247"/>
                  </a:lnTo>
                  <a:lnTo>
                    <a:pt x="382" y="247"/>
                  </a:lnTo>
                  <a:lnTo>
                    <a:pt x="332" y="245"/>
                  </a:lnTo>
                  <a:lnTo>
                    <a:pt x="281" y="243"/>
                  </a:lnTo>
                  <a:lnTo>
                    <a:pt x="230" y="242"/>
                  </a:lnTo>
                  <a:lnTo>
                    <a:pt x="181" y="242"/>
                  </a:lnTo>
                  <a:lnTo>
                    <a:pt x="133" y="240"/>
                  </a:lnTo>
                  <a:lnTo>
                    <a:pt x="93" y="238"/>
                  </a:lnTo>
                  <a:lnTo>
                    <a:pt x="59" y="237"/>
                  </a:lnTo>
                  <a:lnTo>
                    <a:pt x="30" y="235"/>
                  </a:lnTo>
                  <a:lnTo>
                    <a:pt x="12" y="233"/>
                  </a:lnTo>
                  <a:lnTo>
                    <a:pt x="5" y="232"/>
                  </a:lnTo>
                  <a:lnTo>
                    <a:pt x="1" y="225"/>
                  </a:lnTo>
                  <a:lnTo>
                    <a:pt x="0" y="210"/>
                  </a:lnTo>
                  <a:lnTo>
                    <a:pt x="0" y="188"/>
                  </a:lnTo>
                  <a:lnTo>
                    <a:pt x="0" y="162"/>
                  </a:lnTo>
                  <a:lnTo>
                    <a:pt x="1" y="133"/>
                  </a:lnTo>
                  <a:lnTo>
                    <a:pt x="3" y="105"/>
                  </a:lnTo>
                  <a:lnTo>
                    <a:pt x="5" y="77"/>
                  </a:lnTo>
                  <a:lnTo>
                    <a:pt x="6" y="52"/>
                  </a:lnTo>
                  <a:lnTo>
                    <a:pt x="8" y="32"/>
                  </a:lnTo>
                  <a:lnTo>
                    <a:pt x="8" y="18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27" y="11"/>
                  </a:lnTo>
                  <a:lnTo>
                    <a:pt x="45" y="10"/>
                  </a:lnTo>
                  <a:lnTo>
                    <a:pt x="69" y="6"/>
                  </a:lnTo>
                  <a:lnTo>
                    <a:pt x="95" y="5"/>
                  </a:lnTo>
                  <a:lnTo>
                    <a:pt x="122" y="3"/>
                  </a:lnTo>
                  <a:lnTo>
                    <a:pt x="149" y="1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1" name="Freeform 2231"/>
            <p:cNvSpPr>
              <a:spLocks/>
            </p:cNvSpPr>
            <p:nvPr/>
          </p:nvSpPr>
          <p:spPr bwMode="auto">
            <a:xfrm>
              <a:off x="8697233" y="2947976"/>
              <a:ext cx="884238" cy="2422525"/>
            </a:xfrm>
            <a:custGeom>
              <a:avLst/>
              <a:gdLst>
                <a:gd name="T0" fmla="*/ 0 w 1114"/>
                <a:gd name="T1" fmla="*/ 0 h 3052"/>
                <a:gd name="T2" fmla="*/ 1114 w 1114"/>
                <a:gd name="T3" fmla="*/ 0 h 3052"/>
                <a:gd name="T4" fmla="*/ 1099 w 1114"/>
                <a:gd name="T5" fmla="*/ 1023 h 3052"/>
                <a:gd name="T6" fmla="*/ 1007 w 1114"/>
                <a:gd name="T7" fmla="*/ 3052 h 3052"/>
                <a:gd name="T8" fmla="*/ 787 w 1114"/>
                <a:gd name="T9" fmla="*/ 3052 h 3052"/>
                <a:gd name="T10" fmla="*/ 677 w 1114"/>
                <a:gd name="T11" fmla="*/ 1764 h 3052"/>
                <a:gd name="T12" fmla="*/ 675 w 1114"/>
                <a:gd name="T13" fmla="*/ 1757 h 3052"/>
                <a:gd name="T14" fmla="*/ 675 w 1114"/>
                <a:gd name="T15" fmla="*/ 1740 h 3052"/>
                <a:gd name="T16" fmla="*/ 674 w 1114"/>
                <a:gd name="T17" fmla="*/ 1711 h 3052"/>
                <a:gd name="T18" fmla="*/ 672 w 1114"/>
                <a:gd name="T19" fmla="*/ 1674 h 3052"/>
                <a:gd name="T20" fmla="*/ 669 w 1114"/>
                <a:gd name="T21" fmla="*/ 1628 h 3052"/>
                <a:gd name="T22" fmla="*/ 663 w 1114"/>
                <a:gd name="T23" fmla="*/ 1574 h 3052"/>
                <a:gd name="T24" fmla="*/ 660 w 1114"/>
                <a:gd name="T25" fmla="*/ 1513 h 3052"/>
                <a:gd name="T26" fmla="*/ 655 w 1114"/>
                <a:gd name="T27" fmla="*/ 1447 h 3052"/>
                <a:gd name="T28" fmla="*/ 650 w 1114"/>
                <a:gd name="T29" fmla="*/ 1377 h 3052"/>
                <a:gd name="T30" fmla="*/ 643 w 1114"/>
                <a:gd name="T31" fmla="*/ 1303 h 3052"/>
                <a:gd name="T32" fmla="*/ 638 w 1114"/>
                <a:gd name="T33" fmla="*/ 1227 h 3052"/>
                <a:gd name="T34" fmla="*/ 631 w 1114"/>
                <a:gd name="T35" fmla="*/ 1147 h 3052"/>
                <a:gd name="T36" fmla="*/ 626 w 1114"/>
                <a:gd name="T37" fmla="*/ 1069 h 3052"/>
                <a:gd name="T38" fmla="*/ 619 w 1114"/>
                <a:gd name="T39" fmla="*/ 990 h 3052"/>
                <a:gd name="T40" fmla="*/ 613 w 1114"/>
                <a:gd name="T41" fmla="*/ 913 h 3052"/>
                <a:gd name="T42" fmla="*/ 606 w 1114"/>
                <a:gd name="T43" fmla="*/ 837 h 3052"/>
                <a:gd name="T44" fmla="*/ 599 w 1114"/>
                <a:gd name="T45" fmla="*/ 766 h 3052"/>
                <a:gd name="T46" fmla="*/ 592 w 1114"/>
                <a:gd name="T47" fmla="*/ 698 h 3052"/>
                <a:gd name="T48" fmla="*/ 586 w 1114"/>
                <a:gd name="T49" fmla="*/ 637 h 3052"/>
                <a:gd name="T50" fmla="*/ 579 w 1114"/>
                <a:gd name="T51" fmla="*/ 581 h 3052"/>
                <a:gd name="T52" fmla="*/ 574 w 1114"/>
                <a:gd name="T53" fmla="*/ 532 h 3052"/>
                <a:gd name="T54" fmla="*/ 567 w 1114"/>
                <a:gd name="T55" fmla="*/ 492 h 3052"/>
                <a:gd name="T56" fmla="*/ 562 w 1114"/>
                <a:gd name="T57" fmla="*/ 461 h 3052"/>
                <a:gd name="T58" fmla="*/ 557 w 1114"/>
                <a:gd name="T59" fmla="*/ 441 h 3052"/>
                <a:gd name="T60" fmla="*/ 552 w 1114"/>
                <a:gd name="T61" fmla="*/ 461 h 3052"/>
                <a:gd name="T62" fmla="*/ 547 w 1114"/>
                <a:gd name="T63" fmla="*/ 492 h 3052"/>
                <a:gd name="T64" fmla="*/ 540 w 1114"/>
                <a:gd name="T65" fmla="*/ 532 h 3052"/>
                <a:gd name="T66" fmla="*/ 535 w 1114"/>
                <a:gd name="T67" fmla="*/ 581 h 3052"/>
                <a:gd name="T68" fmla="*/ 528 w 1114"/>
                <a:gd name="T69" fmla="*/ 637 h 3052"/>
                <a:gd name="T70" fmla="*/ 521 w 1114"/>
                <a:gd name="T71" fmla="*/ 698 h 3052"/>
                <a:gd name="T72" fmla="*/ 514 w 1114"/>
                <a:gd name="T73" fmla="*/ 766 h 3052"/>
                <a:gd name="T74" fmla="*/ 508 w 1114"/>
                <a:gd name="T75" fmla="*/ 837 h 3052"/>
                <a:gd name="T76" fmla="*/ 501 w 1114"/>
                <a:gd name="T77" fmla="*/ 913 h 3052"/>
                <a:gd name="T78" fmla="*/ 494 w 1114"/>
                <a:gd name="T79" fmla="*/ 990 h 3052"/>
                <a:gd name="T80" fmla="*/ 487 w 1114"/>
                <a:gd name="T81" fmla="*/ 1069 h 3052"/>
                <a:gd name="T82" fmla="*/ 482 w 1114"/>
                <a:gd name="T83" fmla="*/ 1147 h 3052"/>
                <a:gd name="T84" fmla="*/ 475 w 1114"/>
                <a:gd name="T85" fmla="*/ 1227 h 3052"/>
                <a:gd name="T86" fmla="*/ 469 w 1114"/>
                <a:gd name="T87" fmla="*/ 1303 h 3052"/>
                <a:gd name="T88" fmla="*/ 464 w 1114"/>
                <a:gd name="T89" fmla="*/ 1377 h 3052"/>
                <a:gd name="T90" fmla="*/ 459 w 1114"/>
                <a:gd name="T91" fmla="*/ 1447 h 3052"/>
                <a:gd name="T92" fmla="*/ 453 w 1114"/>
                <a:gd name="T93" fmla="*/ 1513 h 3052"/>
                <a:gd name="T94" fmla="*/ 450 w 1114"/>
                <a:gd name="T95" fmla="*/ 1574 h 3052"/>
                <a:gd name="T96" fmla="*/ 445 w 1114"/>
                <a:gd name="T97" fmla="*/ 1628 h 3052"/>
                <a:gd name="T98" fmla="*/ 442 w 1114"/>
                <a:gd name="T99" fmla="*/ 1674 h 3052"/>
                <a:gd name="T100" fmla="*/ 440 w 1114"/>
                <a:gd name="T101" fmla="*/ 1711 h 3052"/>
                <a:gd name="T102" fmla="*/ 438 w 1114"/>
                <a:gd name="T103" fmla="*/ 1740 h 3052"/>
                <a:gd name="T104" fmla="*/ 437 w 1114"/>
                <a:gd name="T105" fmla="*/ 1757 h 3052"/>
                <a:gd name="T106" fmla="*/ 437 w 1114"/>
                <a:gd name="T107" fmla="*/ 1764 h 3052"/>
                <a:gd name="T108" fmla="*/ 326 w 1114"/>
                <a:gd name="T109" fmla="*/ 3052 h 3052"/>
                <a:gd name="T110" fmla="*/ 106 w 1114"/>
                <a:gd name="T111" fmla="*/ 3052 h 3052"/>
                <a:gd name="T112" fmla="*/ 15 w 1114"/>
                <a:gd name="T113" fmla="*/ 1023 h 3052"/>
                <a:gd name="T114" fmla="*/ 0 w 1114"/>
                <a:gd name="T115" fmla="*/ 0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4" h="3052">
                  <a:moveTo>
                    <a:pt x="0" y="0"/>
                  </a:moveTo>
                  <a:lnTo>
                    <a:pt x="1114" y="0"/>
                  </a:lnTo>
                  <a:lnTo>
                    <a:pt x="1099" y="1023"/>
                  </a:lnTo>
                  <a:lnTo>
                    <a:pt x="1007" y="3052"/>
                  </a:lnTo>
                  <a:lnTo>
                    <a:pt x="787" y="3052"/>
                  </a:lnTo>
                  <a:lnTo>
                    <a:pt x="677" y="1764"/>
                  </a:lnTo>
                  <a:lnTo>
                    <a:pt x="675" y="1757"/>
                  </a:lnTo>
                  <a:lnTo>
                    <a:pt x="675" y="1740"/>
                  </a:lnTo>
                  <a:lnTo>
                    <a:pt x="674" y="1711"/>
                  </a:lnTo>
                  <a:lnTo>
                    <a:pt x="672" y="1674"/>
                  </a:lnTo>
                  <a:lnTo>
                    <a:pt x="669" y="1628"/>
                  </a:lnTo>
                  <a:lnTo>
                    <a:pt x="663" y="1574"/>
                  </a:lnTo>
                  <a:lnTo>
                    <a:pt x="660" y="1513"/>
                  </a:lnTo>
                  <a:lnTo>
                    <a:pt x="655" y="1447"/>
                  </a:lnTo>
                  <a:lnTo>
                    <a:pt x="650" y="1377"/>
                  </a:lnTo>
                  <a:lnTo>
                    <a:pt x="643" y="1303"/>
                  </a:lnTo>
                  <a:lnTo>
                    <a:pt x="638" y="1227"/>
                  </a:lnTo>
                  <a:lnTo>
                    <a:pt x="631" y="1147"/>
                  </a:lnTo>
                  <a:lnTo>
                    <a:pt x="626" y="1069"/>
                  </a:lnTo>
                  <a:lnTo>
                    <a:pt x="619" y="990"/>
                  </a:lnTo>
                  <a:lnTo>
                    <a:pt x="613" y="913"/>
                  </a:lnTo>
                  <a:lnTo>
                    <a:pt x="606" y="837"/>
                  </a:lnTo>
                  <a:lnTo>
                    <a:pt x="599" y="766"/>
                  </a:lnTo>
                  <a:lnTo>
                    <a:pt x="592" y="698"/>
                  </a:lnTo>
                  <a:lnTo>
                    <a:pt x="586" y="637"/>
                  </a:lnTo>
                  <a:lnTo>
                    <a:pt x="579" y="581"/>
                  </a:lnTo>
                  <a:lnTo>
                    <a:pt x="574" y="532"/>
                  </a:lnTo>
                  <a:lnTo>
                    <a:pt x="567" y="492"/>
                  </a:lnTo>
                  <a:lnTo>
                    <a:pt x="562" y="461"/>
                  </a:lnTo>
                  <a:lnTo>
                    <a:pt x="557" y="441"/>
                  </a:lnTo>
                  <a:lnTo>
                    <a:pt x="552" y="461"/>
                  </a:lnTo>
                  <a:lnTo>
                    <a:pt x="547" y="492"/>
                  </a:lnTo>
                  <a:lnTo>
                    <a:pt x="540" y="532"/>
                  </a:lnTo>
                  <a:lnTo>
                    <a:pt x="535" y="581"/>
                  </a:lnTo>
                  <a:lnTo>
                    <a:pt x="528" y="637"/>
                  </a:lnTo>
                  <a:lnTo>
                    <a:pt x="521" y="698"/>
                  </a:lnTo>
                  <a:lnTo>
                    <a:pt x="514" y="766"/>
                  </a:lnTo>
                  <a:lnTo>
                    <a:pt x="508" y="837"/>
                  </a:lnTo>
                  <a:lnTo>
                    <a:pt x="501" y="913"/>
                  </a:lnTo>
                  <a:lnTo>
                    <a:pt x="494" y="990"/>
                  </a:lnTo>
                  <a:lnTo>
                    <a:pt x="487" y="1069"/>
                  </a:lnTo>
                  <a:lnTo>
                    <a:pt x="482" y="1147"/>
                  </a:lnTo>
                  <a:lnTo>
                    <a:pt x="475" y="1227"/>
                  </a:lnTo>
                  <a:lnTo>
                    <a:pt x="469" y="1303"/>
                  </a:lnTo>
                  <a:lnTo>
                    <a:pt x="464" y="1377"/>
                  </a:lnTo>
                  <a:lnTo>
                    <a:pt x="459" y="1447"/>
                  </a:lnTo>
                  <a:lnTo>
                    <a:pt x="453" y="1513"/>
                  </a:lnTo>
                  <a:lnTo>
                    <a:pt x="450" y="1574"/>
                  </a:lnTo>
                  <a:lnTo>
                    <a:pt x="445" y="1628"/>
                  </a:lnTo>
                  <a:lnTo>
                    <a:pt x="442" y="1674"/>
                  </a:lnTo>
                  <a:lnTo>
                    <a:pt x="440" y="1711"/>
                  </a:lnTo>
                  <a:lnTo>
                    <a:pt x="438" y="1740"/>
                  </a:lnTo>
                  <a:lnTo>
                    <a:pt x="437" y="1757"/>
                  </a:lnTo>
                  <a:lnTo>
                    <a:pt x="437" y="1764"/>
                  </a:lnTo>
                  <a:lnTo>
                    <a:pt x="326" y="3052"/>
                  </a:lnTo>
                  <a:lnTo>
                    <a:pt x="106" y="3052"/>
                  </a:lnTo>
                  <a:lnTo>
                    <a:pt x="15" y="1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2" name="Freeform 2232"/>
            <p:cNvSpPr>
              <a:spLocks/>
            </p:cNvSpPr>
            <p:nvPr/>
          </p:nvSpPr>
          <p:spPr bwMode="auto">
            <a:xfrm>
              <a:off x="8698821" y="3065451"/>
              <a:ext cx="177800" cy="139700"/>
            </a:xfrm>
            <a:custGeom>
              <a:avLst/>
              <a:gdLst>
                <a:gd name="T0" fmla="*/ 146 w 224"/>
                <a:gd name="T1" fmla="*/ 0 h 176"/>
                <a:gd name="T2" fmla="*/ 148 w 224"/>
                <a:gd name="T3" fmla="*/ 3 h 176"/>
                <a:gd name="T4" fmla="*/ 153 w 224"/>
                <a:gd name="T5" fmla="*/ 10 h 176"/>
                <a:gd name="T6" fmla="*/ 161 w 224"/>
                <a:gd name="T7" fmla="*/ 18 h 176"/>
                <a:gd name="T8" fmla="*/ 171 w 224"/>
                <a:gd name="T9" fmla="*/ 27 h 176"/>
                <a:gd name="T10" fmla="*/ 183 w 224"/>
                <a:gd name="T11" fmla="*/ 32 h 176"/>
                <a:gd name="T12" fmla="*/ 195 w 224"/>
                <a:gd name="T13" fmla="*/ 39 h 176"/>
                <a:gd name="T14" fmla="*/ 207 w 224"/>
                <a:gd name="T15" fmla="*/ 47 h 176"/>
                <a:gd name="T16" fmla="*/ 215 w 224"/>
                <a:gd name="T17" fmla="*/ 56 h 176"/>
                <a:gd name="T18" fmla="*/ 220 w 224"/>
                <a:gd name="T19" fmla="*/ 62 h 176"/>
                <a:gd name="T20" fmla="*/ 224 w 224"/>
                <a:gd name="T21" fmla="*/ 66 h 176"/>
                <a:gd name="T22" fmla="*/ 19 w 224"/>
                <a:gd name="T23" fmla="*/ 176 h 176"/>
                <a:gd name="T24" fmla="*/ 15 w 224"/>
                <a:gd name="T25" fmla="*/ 167 h 176"/>
                <a:gd name="T26" fmla="*/ 15 w 224"/>
                <a:gd name="T27" fmla="*/ 152 h 176"/>
                <a:gd name="T28" fmla="*/ 17 w 224"/>
                <a:gd name="T29" fmla="*/ 137 h 176"/>
                <a:gd name="T30" fmla="*/ 17 w 224"/>
                <a:gd name="T31" fmla="*/ 125 h 176"/>
                <a:gd name="T32" fmla="*/ 19 w 224"/>
                <a:gd name="T33" fmla="*/ 120 h 176"/>
                <a:gd name="T34" fmla="*/ 0 w 224"/>
                <a:gd name="T35" fmla="*/ 73 h 176"/>
                <a:gd name="T36" fmla="*/ 146 w 224"/>
                <a:gd name="T3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4" h="176">
                  <a:moveTo>
                    <a:pt x="146" y="0"/>
                  </a:moveTo>
                  <a:lnTo>
                    <a:pt x="148" y="3"/>
                  </a:lnTo>
                  <a:lnTo>
                    <a:pt x="153" y="10"/>
                  </a:lnTo>
                  <a:lnTo>
                    <a:pt x="161" y="18"/>
                  </a:lnTo>
                  <a:lnTo>
                    <a:pt x="171" y="27"/>
                  </a:lnTo>
                  <a:lnTo>
                    <a:pt x="183" y="32"/>
                  </a:lnTo>
                  <a:lnTo>
                    <a:pt x="195" y="39"/>
                  </a:lnTo>
                  <a:lnTo>
                    <a:pt x="207" y="47"/>
                  </a:lnTo>
                  <a:lnTo>
                    <a:pt x="215" y="56"/>
                  </a:lnTo>
                  <a:lnTo>
                    <a:pt x="220" y="62"/>
                  </a:lnTo>
                  <a:lnTo>
                    <a:pt x="224" y="66"/>
                  </a:lnTo>
                  <a:lnTo>
                    <a:pt x="19" y="176"/>
                  </a:lnTo>
                  <a:lnTo>
                    <a:pt x="15" y="167"/>
                  </a:lnTo>
                  <a:lnTo>
                    <a:pt x="15" y="152"/>
                  </a:lnTo>
                  <a:lnTo>
                    <a:pt x="17" y="137"/>
                  </a:lnTo>
                  <a:lnTo>
                    <a:pt x="17" y="125"/>
                  </a:lnTo>
                  <a:lnTo>
                    <a:pt x="19" y="120"/>
                  </a:lnTo>
                  <a:lnTo>
                    <a:pt x="0" y="73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3" name="Freeform 2233"/>
            <p:cNvSpPr>
              <a:spLocks/>
            </p:cNvSpPr>
            <p:nvPr/>
          </p:nvSpPr>
          <p:spPr bwMode="auto">
            <a:xfrm>
              <a:off x="8941708" y="1181089"/>
              <a:ext cx="406400" cy="1712913"/>
            </a:xfrm>
            <a:custGeom>
              <a:avLst/>
              <a:gdLst>
                <a:gd name="T0" fmla="*/ 44 w 513"/>
                <a:gd name="T1" fmla="*/ 0 h 2158"/>
                <a:gd name="T2" fmla="*/ 217 w 513"/>
                <a:gd name="T3" fmla="*/ 53 h 2158"/>
                <a:gd name="T4" fmla="*/ 241 w 513"/>
                <a:gd name="T5" fmla="*/ 53 h 2158"/>
                <a:gd name="T6" fmla="*/ 390 w 513"/>
                <a:gd name="T7" fmla="*/ 0 h 2158"/>
                <a:gd name="T8" fmla="*/ 407 w 513"/>
                <a:gd name="T9" fmla="*/ 0 h 2158"/>
                <a:gd name="T10" fmla="*/ 513 w 513"/>
                <a:gd name="T11" fmla="*/ 100 h 2158"/>
                <a:gd name="T12" fmla="*/ 464 w 513"/>
                <a:gd name="T13" fmla="*/ 2158 h 2158"/>
                <a:gd name="T14" fmla="*/ 10 w 513"/>
                <a:gd name="T15" fmla="*/ 2158 h 2158"/>
                <a:gd name="T16" fmla="*/ 0 w 513"/>
                <a:gd name="T17" fmla="*/ 34 h 2158"/>
                <a:gd name="T18" fmla="*/ 44 w 513"/>
                <a:gd name="T19" fmla="*/ 0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2158">
                  <a:moveTo>
                    <a:pt x="44" y="0"/>
                  </a:moveTo>
                  <a:lnTo>
                    <a:pt x="217" y="53"/>
                  </a:lnTo>
                  <a:lnTo>
                    <a:pt x="241" y="53"/>
                  </a:lnTo>
                  <a:lnTo>
                    <a:pt x="390" y="0"/>
                  </a:lnTo>
                  <a:lnTo>
                    <a:pt x="407" y="0"/>
                  </a:lnTo>
                  <a:lnTo>
                    <a:pt x="513" y="100"/>
                  </a:lnTo>
                  <a:lnTo>
                    <a:pt x="464" y="2158"/>
                  </a:lnTo>
                  <a:lnTo>
                    <a:pt x="10" y="2158"/>
                  </a:lnTo>
                  <a:lnTo>
                    <a:pt x="0" y="3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BFFF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4" name="Freeform 2234"/>
            <p:cNvSpPr>
              <a:spLocks/>
            </p:cNvSpPr>
            <p:nvPr/>
          </p:nvSpPr>
          <p:spPr bwMode="auto">
            <a:xfrm>
              <a:off x="9036958" y="1320789"/>
              <a:ext cx="163513" cy="1066800"/>
            </a:xfrm>
            <a:custGeom>
              <a:avLst/>
              <a:gdLst>
                <a:gd name="T0" fmla="*/ 104 w 207"/>
                <a:gd name="T1" fmla="*/ 0 h 1344"/>
                <a:gd name="T2" fmla="*/ 104 w 207"/>
                <a:gd name="T3" fmla="*/ 0 h 1344"/>
                <a:gd name="T4" fmla="*/ 104 w 207"/>
                <a:gd name="T5" fmla="*/ 0 h 1344"/>
                <a:gd name="T6" fmla="*/ 104 w 207"/>
                <a:gd name="T7" fmla="*/ 0 h 1344"/>
                <a:gd name="T8" fmla="*/ 146 w 207"/>
                <a:gd name="T9" fmla="*/ 22 h 1344"/>
                <a:gd name="T10" fmla="*/ 207 w 207"/>
                <a:gd name="T11" fmla="*/ 1175 h 1344"/>
                <a:gd name="T12" fmla="*/ 104 w 207"/>
                <a:gd name="T13" fmla="*/ 1344 h 1344"/>
                <a:gd name="T14" fmla="*/ 0 w 207"/>
                <a:gd name="T15" fmla="*/ 1175 h 1344"/>
                <a:gd name="T16" fmla="*/ 61 w 207"/>
                <a:gd name="T17" fmla="*/ 22 h 1344"/>
                <a:gd name="T18" fmla="*/ 104 w 207"/>
                <a:gd name="T19" fmla="*/ 0 h 1344"/>
                <a:gd name="T20" fmla="*/ 104 w 207"/>
                <a:gd name="T21" fmla="*/ 0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" h="1344">
                  <a:moveTo>
                    <a:pt x="104" y="0"/>
                  </a:move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46" y="22"/>
                  </a:lnTo>
                  <a:lnTo>
                    <a:pt x="207" y="1175"/>
                  </a:lnTo>
                  <a:lnTo>
                    <a:pt x="104" y="1344"/>
                  </a:lnTo>
                  <a:lnTo>
                    <a:pt x="0" y="1175"/>
                  </a:lnTo>
                  <a:lnTo>
                    <a:pt x="61" y="22"/>
                  </a:lnTo>
                  <a:lnTo>
                    <a:pt x="104" y="0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98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5" name="Rectangle 2235"/>
            <p:cNvSpPr>
              <a:spLocks noChangeArrowheads="1"/>
            </p:cNvSpPr>
            <p:nvPr/>
          </p:nvSpPr>
          <p:spPr bwMode="auto">
            <a:xfrm>
              <a:off x="9014733" y="995351"/>
              <a:ext cx="207963" cy="238125"/>
            </a:xfrm>
            <a:prstGeom prst="rect">
              <a:avLst/>
            </a:prstGeom>
            <a:solidFill>
              <a:srgbClr val="DFBD9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6" name="Rectangle 2236"/>
            <p:cNvSpPr>
              <a:spLocks noChangeArrowheads="1"/>
            </p:cNvSpPr>
            <p:nvPr/>
          </p:nvSpPr>
          <p:spPr bwMode="auto">
            <a:xfrm>
              <a:off x="8859158" y="2890826"/>
              <a:ext cx="542925" cy="115888"/>
            </a:xfrm>
            <a:prstGeom prst="rect">
              <a:avLst/>
            </a:prstGeom>
            <a:solidFill>
              <a:srgbClr val="24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7" name="Freeform 2237"/>
            <p:cNvSpPr>
              <a:spLocks/>
            </p:cNvSpPr>
            <p:nvPr/>
          </p:nvSpPr>
          <p:spPr bwMode="auto">
            <a:xfrm>
              <a:off x="9025846" y="2876539"/>
              <a:ext cx="209550" cy="144463"/>
            </a:xfrm>
            <a:custGeom>
              <a:avLst/>
              <a:gdLst>
                <a:gd name="T0" fmla="*/ 47 w 264"/>
                <a:gd name="T1" fmla="*/ 0 h 181"/>
                <a:gd name="T2" fmla="*/ 217 w 264"/>
                <a:gd name="T3" fmla="*/ 0 h 181"/>
                <a:gd name="T4" fmla="*/ 235 w 264"/>
                <a:gd name="T5" fmla="*/ 3 h 181"/>
                <a:gd name="T6" fmla="*/ 250 w 264"/>
                <a:gd name="T7" fmla="*/ 13 h 181"/>
                <a:gd name="T8" fmla="*/ 261 w 264"/>
                <a:gd name="T9" fmla="*/ 29 h 181"/>
                <a:gd name="T10" fmla="*/ 264 w 264"/>
                <a:gd name="T11" fmla="*/ 47 h 181"/>
                <a:gd name="T12" fmla="*/ 264 w 264"/>
                <a:gd name="T13" fmla="*/ 134 h 181"/>
                <a:gd name="T14" fmla="*/ 261 w 264"/>
                <a:gd name="T15" fmla="*/ 152 h 181"/>
                <a:gd name="T16" fmla="*/ 250 w 264"/>
                <a:gd name="T17" fmla="*/ 167 h 181"/>
                <a:gd name="T18" fmla="*/ 235 w 264"/>
                <a:gd name="T19" fmla="*/ 178 h 181"/>
                <a:gd name="T20" fmla="*/ 217 w 264"/>
                <a:gd name="T21" fmla="*/ 181 h 181"/>
                <a:gd name="T22" fmla="*/ 47 w 264"/>
                <a:gd name="T23" fmla="*/ 181 h 181"/>
                <a:gd name="T24" fmla="*/ 29 w 264"/>
                <a:gd name="T25" fmla="*/ 178 h 181"/>
                <a:gd name="T26" fmla="*/ 13 w 264"/>
                <a:gd name="T27" fmla="*/ 167 h 181"/>
                <a:gd name="T28" fmla="*/ 3 w 264"/>
                <a:gd name="T29" fmla="*/ 152 h 181"/>
                <a:gd name="T30" fmla="*/ 0 w 264"/>
                <a:gd name="T31" fmla="*/ 134 h 181"/>
                <a:gd name="T32" fmla="*/ 0 w 264"/>
                <a:gd name="T33" fmla="*/ 47 h 181"/>
                <a:gd name="T34" fmla="*/ 3 w 264"/>
                <a:gd name="T35" fmla="*/ 29 h 181"/>
                <a:gd name="T36" fmla="*/ 13 w 264"/>
                <a:gd name="T37" fmla="*/ 13 h 181"/>
                <a:gd name="T38" fmla="*/ 29 w 264"/>
                <a:gd name="T39" fmla="*/ 3 h 181"/>
                <a:gd name="T40" fmla="*/ 47 w 264"/>
                <a:gd name="T4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4" h="181">
                  <a:moveTo>
                    <a:pt x="47" y="0"/>
                  </a:moveTo>
                  <a:lnTo>
                    <a:pt x="217" y="0"/>
                  </a:lnTo>
                  <a:lnTo>
                    <a:pt x="235" y="3"/>
                  </a:lnTo>
                  <a:lnTo>
                    <a:pt x="250" y="13"/>
                  </a:lnTo>
                  <a:lnTo>
                    <a:pt x="261" y="29"/>
                  </a:lnTo>
                  <a:lnTo>
                    <a:pt x="264" y="47"/>
                  </a:lnTo>
                  <a:lnTo>
                    <a:pt x="264" y="134"/>
                  </a:lnTo>
                  <a:lnTo>
                    <a:pt x="261" y="152"/>
                  </a:lnTo>
                  <a:lnTo>
                    <a:pt x="250" y="167"/>
                  </a:lnTo>
                  <a:lnTo>
                    <a:pt x="235" y="178"/>
                  </a:lnTo>
                  <a:lnTo>
                    <a:pt x="217" y="181"/>
                  </a:lnTo>
                  <a:lnTo>
                    <a:pt x="47" y="181"/>
                  </a:lnTo>
                  <a:lnTo>
                    <a:pt x="29" y="178"/>
                  </a:lnTo>
                  <a:lnTo>
                    <a:pt x="13" y="167"/>
                  </a:lnTo>
                  <a:lnTo>
                    <a:pt x="3" y="152"/>
                  </a:lnTo>
                  <a:lnTo>
                    <a:pt x="0" y="134"/>
                  </a:lnTo>
                  <a:lnTo>
                    <a:pt x="0" y="47"/>
                  </a:lnTo>
                  <a:lnTo>
                    <a:pt x="3" y="29"/>
                  </a:lnTo>
                  <a:lnTo>
                    <a:pt x="13" y="13"/>
                  </a:lnTo>
                  <a:lnTo>
                    <a:pt x="29" y="3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0C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8" name="Freeform 2238"/>
            <p:cNvSpPr>
              <a:spLocks/>
            </p:cNvSpPr>
            <p:nvPr/>
          </p:nvSpPr>
          <p:spPr bwMode="auto">
            <a:xfrm>
              <a:off x="9051246" y="2892414"/>
              <a:ext cx="158750" cy="114300"/>
            </a:xfrm>
            <a:custGeom>
              <a:avLst/>
              <a:gdLst>
                <a:gd name="T0" fmla="*/ 47 w 200"/>
                <a:gd name="T1" fmla="*/ 0 h 144"/>
                <a:gd name="T2" fmla="*/ 152 w 200"/>
                <a:gd name="T3" fmla="*/ 0 h 144"/>
                <a:gd name="T4" fmla="*/ 171 w 200"/>
                <a:gd name="T5" fmla="*/ 4 h 144"/>
                <a:gd name="T6" fmla="*/ 186 w 200"/>
                <a:gd name="T7" fmla="*/ 14 h 144"/>
                <a:gd name="T8" fmla="*/ 196 w 200"/>
                <a:gd name="T9" fmla="*/ 29 h 144"/>
                <a:gd name="T10" fmla="*/ 200 w 200"/>
                <a:gd name="T11" fmla="*/ 48 h 144"/>
                <a:gd name="T12" fmla="*/ 200 w 200"/>
                <a:gd name="T13" fmla="*/ 97 h 144"/>
                <a:gd name="T14" fmla="*/ 196 w 200"/>
                <a:gd name="T15" fmla="*/ 114 h 144"/>
                <a:gd name="T16" fmla="*/ 186 w 200"/>
                <a:gd name="T17" fmla="*/ 129 h 144"/>
                <a:gd name="T18" fmla="*/ 171 w 200"/>
                <a:gd name="T19" fmla="*/ 141 h 144"/>
                <a:gd name="T20" fmla="*/ 152 w 200"/>
                <a:gd name="T21" fmla="*/ 144 h 144"/>
                <a:gd name="T22" fmla="*/ 47 w 200"/>
                <a:gd name="T23" fmla="*/ 144 h 144"/>
                <a:gd name="T24" fmla="*/ 29 w 200"/>
                <a:gd name="T25" fmla="*/ 141 h 144"/>
                <a:gd name="T26" fmla="*/ 14 w 200"/>
                <a:gd name="T27" fmla="*/ 129 h 144"/>
                <a:gd name="T28" fmla="*/ 3 w 200"/>
                <a:gd name="T29" fmla="*/ 114 h 144"/>
                <a:gd name="T30" fmla="*/ 0 w 200"/>
                <a:gd name="T31" fmla="*/ 97 h 144"/>
                <a:gd name="T32" fmla="*/ 0 w 200"/>
                <a:gd name="T33" fmla="*/ 48 h 144"/>
                <a:gd name="T34" fmla="*/ 3 w 200"/>
                <a:gd name="T35" fmla="*/ 29 h 144"/>
                <a:gd name="T36" fmla="*/ 14 w 200"/>
                <a:gd name="T37" fmla="*/ 14 h 144"/>
                <a:gd name="T38" fmla="*/ 29 w 200"/>
                <a:gd name="T39" fmla="*/ 4 h 144"/>
                <a:gd name="T40" fmla="*/ 47 w 200"/>
                <a:gd name="T4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0" h="144">
                  <a:moveTo>
                    <a:pt x="47" y="0"/>
                  </a:moveTo>
                  <a:lnTo>
                    <a:pt x="152" y="0"/>
                  </a:lnTo>
                  <a:lnTo>
                    <a:pt x="171" y="4"/>
                  </a:lnTo>
                  <a:lnTo>
                    <a:pt x="186" y="14"/>
                  </a:lnTo>
                  <a:lnTo>
                    <a:pt x="196" y="29"/>
                  </a:lnTo>
                  <a:lnTo>
                    <a:pt x="200" y="48"/>
                  </a:lnTo>
                  <a:lnTo>
                    <a:pt x="200" y="97"/>
                  </a:lnTo>
                  <a:lnTo>
                    <a:pt x="196" y="114"/>
                  </a:lnTo>
                  <a:lnTo>
                    <a:pt x="186" y="129"/>
                  </a:lnTo>
                  <a:lnTo>
                    <a:pt x="171" y="141"/>
                  </a:lnTo>
                  <a:lnTo>
                    <a:pt x="152" y="144"/>
                  </a:lnTo>
                  <a:lnTo>
                    <a:pt x="47" y="144"/>
                  </a:lnTo>
                  <a:lnTo>
                    <a:pt x="29" y="141"/>
                  </a:lnTo>
                  <a:lnTo>
                    <a:pt x="14" y="129"/>
                  </a:lnTo>
                  <a:lnTo>
                    <a:pt x="3" y="114"/>
                  </a:lnTo>
                  <a:lnTo>
                    <a:pt x="0" y="97"/>
                  </a:lnTo>
                  <a:lnTo>
                    <a:pt x="0" y="48"/>
                  </a:lnTo>
                  <a:lnTo>
                    <a:pt x="3" y="29"/>
                  </a:lnTo>
                  <a:lnTo>
                    <a:pt x="14" y="14"/>
                  </a:lnTo>
                  <a:lnTo>
                    <a:pt x="29" y="4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6DD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9" name="Freeform 2239"/>
            <p:cNvSpPr>
              <a:spLocks/>
            </p:cNvSpPr>
            <p:nvPr/>
          </p:nvSpPr>
          <p:spPr bwMode="auto">
            <a:xfrm>
              <a:off x="9211583" y="3690926"/>
              <a:ext cx="1090613" cy="611188"/>
            </a:xfrm>
            <a:custGeom>
              <a:avLst/>
              <a:gdLst>
                <a:gd name="T0" fmla="*/ 0 w 1375"/>
                <a:gd name="T1" fmla="*/ 0 h 771"/>
                <a:gd name="T2" fmla="*/ 38 w 1375"/>
                <a:gd name="T3" fmla="*/ 44 h 771"/>
                <a:gd name="T4" fmla="*/ 86 w 1375"/>
                <a:gd name="T5" fmla="*/ 85 h 771"/>
                <a:gd name="T6" fmla="*/ 140 w 1375"/>
                <a:gd name="T7" fmla="*/ 122 h 771"/>
                <a:gd name="T8" fmla="*/ 203 w 1375"/>
                <a:gd name="T9" fmla="*/ 156 h 771"/>
                <a:gd name="T10" fmla="*/ 270 w 1375"/>
                <a:gd name="T11" fmla="*/ 185 h 771"/>
                <a:gd name="T12" fmla="*/ 345 w 1375"/>
                <a:gd name="T13" fmla="*/ 210 h 771"/>
                <a:gd name="T14" fmla="*/ 425 w 1375"/>
                <a:gd name="T15" fmla="*/ 231 h 771"/>
                <a:gd name="T16" fmla="*/ 508 w 1375"/>
                <a:gd name="T17" fmla="*/ 244 h 771"/>
                <a:gd name="T18" fmla="*/ 596 w 1375"/>
                <a:gd name="T19" fmla="*/ 254 h 771"/>
                <a:gd name="T20" fmla="*/ 687 w 1375"/>
                <a:gd name="T21" fmla="*/ 258 h 771"/>
                <a:gd name="T22" fmla="*/ 779 w 1375"/>
                <a:gd name="T23" fmla="*/ 254 h 771"/>
                <a:gd name="T24" fmla="*/ 867 w 1375"/>
                <a:gd name="T25" fmla="*/ 246 h 771"/>
                <a:gd name="T26" fmla="*/ 950 w 1375"/>
                <a:gd name="T27" fmla="*/ 234 h 771"/>
                <a:gd name="T28" fmla="*/ 1029 w 1375"/>
                <a:gd name="T29" fmla="*/ 217 h 771"/>
                <a:gd name="T30" fmla="*/ 1104 w 1375"/>
                <a:gd name="T31" fmla="*/ 195 h 771"/>
                <a:gd name="T32" fmla="*/ 1171 w 1375"/>
                <a:gd name="T33" fmla="*/ 168 h 771"/>
                <a:gd name="T34" fmla="*/ 1234 w 1375"/>
                <a:gd name="T35" fmla="*/ 136 h 771"/>
                <a:gd name="T36" fmla="*/ 1288 w 1375"/>
                <a:gd name="T37" fmla="*/ 102 h 771"/>
                <a:gd name="T38" fmla="*/ 1336 w 1375"/>
                <a:gd name="T39" fmla="*/ 61 h 771"/>
                <a:gd name="T40" fmla="*/ 1375 w 1375"/>
                <a:gd name="T41" fmla="*/ 19 h 771"/>
                <a:gd name="T42" fmla="*/ 1375 w 1375"/>
                <a:gd name="T43" fmla="*/ 686 h 771"/>
                <a:gd name="T44" fmla="*/ 1370 w 1375"/>
                <a:gd name="T45" fmla="*/ 713 h 771"/>
                <a:gd name="T46" fmla="*/ 1358 w 1375"/>
                <a:gd name="T47" fmla="*/ 737 h 771"/>
                <a:gd name="T48" fmla="*/ 1339 w 1375"/>
                <a:gd name="T49" fmla="*/ 754 h 771"/>
                <a:gd name="T50" fmla="*/ 1317 w 1375"/>
                <a:gd name="T51" fmla="*/ 766 h 771"/>
                <a:gd name="T52" fmla="*/ 1290 w 1375"/>
                <a:gd name="T53" fmla="*/ 771 h 771"/>
                <a:gd name="T54" fmla="*/ 84 w 1375"/>
                <a:gd name="T55" fmla="*/ 771 h 771"/>
                <a:gd name="T56" fmla="*/ 57 w 1375"/>
                <a:gd name="T57" fmla="*/ 766 h 771"/>
                <a:gd name="T58" fmla="*/ 33 w 1375"/>
                <a:gd name="T59" fmla="*/ 754 h 771"/>
                <a:gd name="T60" fmla="*/ 16 w 1375"/>
                <a:gd name="T61" fmla="*/ 737 h 771"/>
                <a:gd name="T62" fmla="*/ 5 w 1375"/>
                <a:gd name="T63" fmla="*/ 713 h 771"/>
                <a:gd name="T64" fmla="*/ 0 w 1375"/>
                <a:gd name="T65" fmla="*/ 686 h 771"/>
                <a:gd name="T66" fmla="*/ 0 w 1375"/>
                <a:gd name="T67" fmla="*/ 0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5" h="771">
                  <a:moveTo>
                    <a:pt x="0" y="0"/>
                  </a:moveTo>
                  <a:lnTo>
                    <a:pt x="38" y="44"/>
                  </a:lnTo>
                  <a:lnTo>
                    <a:pt x="86" y="85"/>
                  </a:lnTo>
                  <a:lnTo>
                    <a:pt x="140" y="122"/>
                  </a:lnTo>
                  <a:lnTo>
                    <a:pt x="203" y="156"/>
                  </a:lnTo>
                  <a:lnTo>
                    <a:pt x="270" y="185"/>
                  </a:lnTo>
                  <a:lnTo>
                    <a:pt x="345" y="210"/>
                  </a:lnTo>
                  <a:lnTo>
                    <a:pt x="425" y="231"/>
                  </a:lnTo>
                  <a:lnTo>
                    <a:pt x="508" y="244"/>
                  </a:lnTo>
                  <a:lnTo>
                    <a:pt x="596" y="254"/>
                  </a:lnTo>
                  <a:lnTo>
                    <a:pt x="687" y="258"/>
                  </a:lnTo>
                  <a:lnTo>
                    <a:pt x="779" y="254"/>
                  </a:lnTo>
                  <a:lnTo>
                    <a:pt x="867" y="246"/>
                  </a:lnTo>
                  <a:lnTo>
                    <a:pt x="950" y="234"/>
                  </a:lnTo>
                  <a:lnTo>
                    <a:pt x="1029" y="217"/>
                  </a:lnTo>
                  <a:lnTo>
                    <a:pt x="1104" y="195"/>
                  </a:lnTo>
                  <a:lnTo>
                    <a:pt x="1171" y="168"/>
                  </a:lnTo>
                  <a:lnTo>
                    <a:pt x="1234" y="136"/>
                  </a:lnTo>
                  <a:lnTo>
                    <a:pt x="1288" y="102"/>
                  </a:lnTo>
                  <a:lnTo>
                    <a:pt x="1336" y="61"/>
                  </a:lnTo>
                  <a:lnTo>
                    <a:pt x="1375" y="19"/>
                  </a:lnTo>
                  <a:lnTo>
                    <a:pt x="1375" y="686"/>
                  </a:lnTo>
                  <a:lnTo>
                    <a:pt x="1370" y="713"/>
                  </a:lnTo>
                  <a:lnTo>
                    <a:pt x="1358" y="737"/>
                  </a:lnTo>
                  <a:lnTo>
                    <a:pt x="1339" y="754"/>
                  </a:lnTo>
                  <a:lnTo>
                    <a:pt x="1317" y="766"/>
                  </a:lnTo>
                  <a:lnTo>
                    <a:pt x="1290" y="771"/>
                  </a:lnTo>
                  <a:lnTo>
                    <a:pt x="84" y="771"/>
                  </a:lnTo>
                  <a:lnTo>
                    <a:pt x="57" y="766"/>
                  </a:lnTo>
                  <a:lnTo>
                    <a:pt x="33" y="754"/>
                  </a:lnTo>
                  <a:lnTo>
                    <a:pt x="16" y="737"/>
                  </a:lnTo>
                  <a:lnTo>
                    <a:pt x="5" y="713"/>
                  </a:lnTo>
                  <a:lnTo>
                    <a:pt x="0" y="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4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0" name="Freeform 2240"/>
            <p:cNvSpPr>
              <a:spLocks/>
            </p:cNvSpPr>
            <p:nvPr/>
          </p:nvSpPr>
          <p:spPr bwMode="auto">
            <a:xfrm>
              <a:off x="9211583" y="3805226"/>
              <a:ext cx="1090613" cy="238125"/>
            </a:xfrm>
            <a:custGeom>
              <a:avLst/>
              <a:gdLst>
                <a:gd name="T0" fmla="*/ 0 w 1375"/>
                <a:gd name="T1" fmla="*/ 0 h 300"/>
                <a:gd name="T2" fmla="*/ 38 w 1375"/>
                <a:gd name="T3" fmla="*/ 44 h 300"/>
                <a:gd name="T4" fmla="*/ 86 w 1375"/>
                <a:gd name="T5" fmla="*/ 85 h 300"/>
                <a:gd name="T6" fmla="*/ 140 w 1375"/>
                <a:gd name="T7" fmla="*/ 122 h 300"/>
                <a:gd name="T8" fmla="*/ 203 w 1375"/>
                <a:gd name="T9" fmla="*/ 156 h 300"/>
                <a:gd name="T10" fmla="*/ 270 w 1375"/>
                <a:gd name="T11" fmla="*/ 185 h 300"/>
                <a:gd name="T12" fmla="*/ 345 w 1375"/>
                <a:gd name="T13" fmla="*/ 210 h 300"/>
                <a:gd name="T14" fmla="*/ 425 w 1375"/>
                <a:gd name="T15" fmla="*/ 231 h 300"/>
                <a:gd name="T16" fmla="*/ 508 w 1375"/>
                <a:gd name="T17" fmla="*/ 244 h 300"/>
                <a:gd name="T18" fmla="*/ 596 w 1375"/>
                <a:gd name="T19" fmla="*/ 254 h 300"/>
                <a:gd name="T20" fmla="*/ 687 w 1375"/>
                <a:gd name="T21" fmla="*/ 256 h 300"/>
                <a:gd name="T22" fmla="*/ 779 w 1375"/>
                <a:gd name="T23" fmla="*/ 254 h 300"/>
                <a:gd name="T24" fmla="*/ 867 w 1375"/>
                <a:gd name="T25" fmla="*/ 244 h 300"/>
                <a:gd name="T26" fmla="*/ 950 w 1375"/>
                <a:gd name="T27" fmla="*/ 231 h 300"/>
                <a:gd name="T28" fmla="*/ 1029 w 1375"/>
                <a:gd name="T29" fmla="*/ 210 h 300"/>
                <a:gd name="T30" fmla="*/ 1104 w 1375"/>
                <a:gd name="T31" fmla="*/ 185 h 300"/>
                <a:gd name="T32" fmla="*/ 1171 w 1375"/>
                <a:gd name="T33" fmla="*/ 156 h 300"/>
                <a:gd name="T34" fmla="*/ 1234 w 1375"/>
                <a:gd name="T35" fmla="*/ 122 h 300"/>
                <a:gd name="T36" fmla="*/ 1288 w 1375"/>
                <a:gd name="T37" fmla="*/ 85 h 300"/>
                <a:gd name="T38" fmla="*/ 1336 w 1375"/>
                <a:gd name="T39" fmla="*/ 44 h 300"/>
                <a:gd name="T40" fmla="*/ 1375 w 1375"/>
                <a:gd name="T41" fmla="*/ 0 h 300"/>
                <a:gd name="T42" fmla="*/ 1375 w 1375"/>
                <a:gd name="T43" fmla="*/ 44 h 300"/>
                <a:gd name="T44" fmla="*/ 1336 w 1375"/>
                <a:gd name="T45" fmla="*/ 88 h 300"/>
                <a:gd name="T46" fmla="*/ 1288 w 1375"/>
                <a:gd name="T47" fmla="*/ 129 h 300"/>
                <a:gd name="T48" fmla="*/ 1234 w 1375"/>
                <a:gd name="T49" fmla="*/ 166 h 300"/>
                <a:gd name="T50" fmla="*/ 1171 w 1375"/>
                <a:gd name="T51" fmla="*/ 200 h 300"/>
                <a:gd name="T52" fmla="*/ 1104 w 1375"/>
                <a:gd name="T53" fmla="*/ 229 h 300"/>
                <a:gd name="T54" fmla="*/ 1029 w 1375"/>
                <a:gd name="T55" fmla="*/ 254 h 300"/>
                <a:gd name="T56" fmla="*/ 950 w 1375"/>
                <a:gd name="T57" fmla="*/ 273 h 300"/>
                <a:gd name="T58" fmla="*/ 867 w 1375"/>
                <a:gd name="T59" fmla="*/ 288 h 300"/>
                <a:gd name="T60" fmla="*/ 779 w 1375"/>
                <a:gd name="T61" fmla="*/ 297 h 300"/>
                <a:gd name="T62" fmla="*/ 687 w 1375"/>
                <a:gd name="T63" fmla="*/ 300 h 300"/>
                <a:gd name="T64" fmla="*/ 596 w 1375"/>
                <a:gd name="T65" fmla="*/ 297 h 300"/>
                <a:gd name="T66" fmla="*/ 508 w 1375"/>
                <a:gd name="T67" fmla="*/ 288 h 300"/>
                <a:gd name="T68" fmla="*/ 425 w 1375"/>
                <a:gd name="T69" fmla="*/ 273 h 300"/>
                <a:gd name="T70" fmla="*/ 345 w 1375"/>
                <a:gd name="T71" fmla="*/ 254 h 300"/>
                <a:gd name="T72" fmla="*/ 270 w 1375"/>
                <a:gd name="T73" fmla="*/ 229 h 300"/>
                <a:gd name="T74" fmla="*/ 203 w 1375"/>
                <a:gd name="T75" fmla="*/ 200 h 300"/>
                <a:gd name="T76" fmla="*/ 140 w 1375"/>
                <a:gd name="T77" fmla="*/ 166 h 300"/>
                <a:gd name="T78" fmla="*/ 86 w 1375"/>
                <a:gd name="T79" fmla="*/ 129 h 300"/>
                <a:gd name="T80" fmla="*/ 38 w 1375"/>
                <a:gd name="T81" fmla="*/ 88 h 300"/>
                <a:gd name="T82" fmla="*/ 0 w 1375"/>
                <a:gd name="T83" fmla="*/ 44 h 300"/>
                <a:gd name="T84" fmla="*/ 0 w 1375"/>
                <a:gd name="T8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75" h="300">
                  <a:moveTo>
                    <a:pt x="0" y="0"/>
                  </a:moveTo>
                  <a:lnTo>
                    <a:pt x="38" y="44"/>
                  </a:lnTo>
                  <a:lnTo>
                    <a:pt x="86" y="85"/>
                  </a:lnTo>
                  <a:lnTo>
                    <a:pt x="140" y="122"/>
                  </a:lnTo>
                  <a:lnTo>
                    <a:pt x="203" y="156"/>
                  </a:lnTo>
                  <a:lnTo>
                    <a:pt x="270" y="185"/>
                  </a:lnTo>
                  <a:lnTo>
                    <a:pt x="345" y="210"/>
                  </a:lnTo>
                  <a:lnTo>
                    <a:pt x="425" y="231"/>
                  </a:lnTo>
                  <a:lnTo>
                    <a:pt x="508" y="244"/>
                  </a:lnTo>
                  <a:lnTo>
                    <a:pt x="596" y="254"/>
                  </a:lnTo>
                  <a:lnTo>
                    <a:pt x="687" y="256"/>
                  </a:lnTo>
                  <a:lnTo>
                    <a:pt x="779" y="254"/>
                  </a:lnTo>
                  <a:lnTo>
                    <a:pt x="867" y="244"/>
                  </a:lnTo>
                  <a:lnTo>
                    <a:pt x="950" y="231"/>
                  </a:lnTo>
                  <a:lnTo>
                    <a:pt x="1029" y="210"/>
                  </a:lnTo>
                  <a:lnTo>
                    <a:pt x="1104" y="185"/>
                  </a:lnTo>
                  <a:lnTo>
                    <a:pt x="1171" y="156"/>
                  </a:lnTo>
                  <a:lnTo>
                    <a:pt x="1234" y="122"/>
                  </a:lnTo>
                  <a:lnTo>
                    <a:pt x="1288" y="85"/>
                  </a:lnTo>
                  <a:lnTo>
                    <a:pt x="1336" y="44"/>
                  </a:lnTo>
                  <a:lnTo>
                    <a:pt x="1375" y="0"/>
                  </a:lnTo>
                  <a:lnTo>
                    <a:pt x="1375" y="44"/>
                  </a:lnTo>
                  <a:lnTo>
                    <a:pt x="1336" y="88"/>
                  </a:lnTo>
                  <a:lnTo>
                    <a:pt x="1288" y="129"/>
                  </a:lnTo>
                  <a:lnTo>
                    <a:pt x="1234" y="166"/>
                  </a:lnTo>
                  <a:lnTo>
                    <a:pt x="1171" y="200"/>
                  </a:lnTo>
                  <a:lnTo>
                    <a:pt x="1104" y="229"/>
                  </a:lnTo>
                  <a:lnTo>
                    <a:pt x="1029" y="254"/>
                  </a:lnTo>
                  <a:lnTo>
                    <a:pt x="950" y="273"/>
                  </a:lnTo>
                  <a:lnTo>
                    <a:pt x="867" y="288"/>
                  </a:lnTo>
                  <a:lnTo>
                    <a:pt x="779" y="297"/>
                  </a:lnTo>
                  <a:lnTo>
                    <a:pt x="687" y="300"/>
                  </a:lnTo>
                  <a:lnTo>
                    <a:pt x="596" y="297"/>
                  </a:lnTo>
                  <a:lnTo>
                    <a:pt x="508" y="288"/>
                  </a:lnTo>
                  <a:lnTo>
                    <a:pt x="425" y="273"/>
                  </a:lnTo>
                  <a:lnTo>
                    <a:pt x="345" y="254"/>
                  </a:lnTo>
                  <a:lnTo>
                    <a:pt x="270" y="229"/>
                  </a:lnTo>
                  <a:lnTo>
                    <a:pt x="203" y="200"/>
                  </a:lnTo>
                  <a:lnTo>
                    <a:pt x="140" y="166"/>
                  </a:lnTo>
                  <a:lnTo>
                    <a:pt x="86" y="129"/>
                  </a:lnTo>
                  <a:lnTo>
                    <a:pt x="38" y="88"/>
                  </a:lnTo>
                  <a:lnTo>
                    <a:pt x="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8F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1" name="Freeform 2241"/>
            <p:cNvSpPr>
              <a:spLocks/>
            </p:cNvSpPr>
            <p:nvPr/>
          </p:nvSpPr>
          <p:spPr bwMode="auto">
            <a:xfrm>
              <a:off x="9211583" y="3563926"/>
              <a:ext cx="1090613" cy="433388"/>
            </a:xfrm>
            <a:custGeom>
              <a:avLst/>
              <a:gdLst>
                <a:gd name="T0" fmla="*/ 84 w 1375"/>
                <a:gd name="T1" fmla="*/ 0 h 545"/>
                <a:gd name="T2" fmla="*/ 1290 w 1375"/>
                <a:gd name="T3" fmla="*/ 0 h 545"/>
                <a:gd name="T4" fmla="*/ 1317 w 1375"/>
                <a:gd name="T5" fmla="*/ 4 h 545"/>
                <a:gd name="T6" fmla="*/ 1339 w 1375"/>
                <a:gd name="T7" fmla="*/ 15 h 545"/>
                <a:gd name="T8" fmla="*/ 1358 w 1375"/>
                <a:gd name="T9" fmla="*/ 34 h 545"/>
                <a:gd name="T10" fmla="*/ 1370 w 1375"/>
                <a:gd name="T11" fmla="*/ 58 h 545"/>
                <a:gd name="T12" fmla="*/ 1375 w 1375"/>
                <a:gd name="T13" fmla="*/ 83 h 545"/>
                <a:gd name="T14" fmla="*/ 1375 w 1375"/>
                <a:gd name="T15" fmla="*/ 290 h 545"/>
                <a:gd name="T16" fmla="*/ 1336 w 1375"/>
                <a:gd name="T17" fmla="*/ 334 h 545"/>
                <a:gd name="T18" fmla="*/ 1288 w 1375"/>
                <a:gd name="T19" fmla="*/ 374 h 545"/>
                <a:gd name="T20" fmla="*/ 1234 w 1375"/>
                <a:gd name="T21" fmla="*/ 412 h 545"/>
                <a:gd name="T22" fmla="*/ 1171 w 1375"/>
                <a:gd name="T23" fmla="*/ 446 h 545"/>
                <a:gd name="T24" fmla="*/ 1104 w 1375"/>
                <a:gd name="T25" fmla="*/ 474 h 545"/>
                <a:gd name="T26" fmla="*/ 1029 w 1375"/>
                <a:gd name="T27" fmla="*/ 500 h 545"/>
                <a:gd name="T28" fmla="*/ 950 w 1375"/>
                <a:gd name="T29" fmla="*/ 518 h 545"/>
                <a:gd name="T30" fmla="*/ 867 w 1375"/>
                <a:gd name="T31" fmla="*/ 534 h 545"/>
                <a:gd name="T32" fmla="*/ 779 w 1375"/>
                <a:gd name="T33" fmla="*/ 542 h 545"/>
                <a:gd name="T34" fmla="*/ 687 w 1375"/>
                <a:gd name="T35" fmla="*/ 545 h 545"/>
                <a:gd name="T36" fmla="*/ 596 w 1375"/>
                <a:gd name="T37" fmla="*/ 542 h 545"/>
                <a:gd name="T38" fmla="*/ 508 w 1375"/>
                <a:gd name="T39" fmla="*/ 534 h 545"/>
                <a:gd name="T40" fmla="*/ 425 w 1375"/>
                <a:gd name="T41" fmla="*/ 518 h 545"/>
                <a:gd name="T42" fmla="*/ 345 w 1375"/>
                <a:gd name="T43" fmla="*/ 500 h 545"/>
                <a:gd name="T44" fmla="*/ 270 w 1375"/>
                <a:gd name="T45" fmla="*/ 474 h 545"/>
                <a:gd name="T46" fmla="*/ 203 w 1375"/>
                <a:gd name="T47" fmla="*/ 446 h 545"/>
                <a:gd name="T48" fmla="*/ 140 w 1375"/>
                <a:gd name="T49" fmla="*/ 412 h 545"/>
                <a:gd name="T50" fmla="*/ 86 w 1375"/>
                <a:gd name="T51" fmla="*/ 374 h 545"/>
                <a:gd name="T52" fmla="*/ 38 w 1375"/>
                <a:gd name="T53" fmla="*/ 334 h 545"/>
                <a:gd name="T54" fmla="*/ 0 w 1375"/>
                <a:gd name="T55" fmla="*/ 290 h 545"/>
                <a:gd name="T56" fmla="*/ 0 w 1375"/>
                <a:gd name="T57" fmla="*/ 83 h 545"/>
                <a:gd name="T58" fmla="*/ 5 w 1375"/>
                <a:gd name="T59" fmla="*/ 58 h 545"/>
                <a:gd name="T60" fmla="*/ 16 w 1375"/>
                <a:gd name="T61" fmla="*/ 34 h 545"/>
                <a:gd name="T62" fmla="*/ 33 w 1375"/>
                <a:gd name="T63" fmla="*/ 15 h 545"/>
                <a:gd name="T64" fmla="*/ 57 w 1375"/>
                <a:gd name="T65" fmla="*/ 4 h 545"/>
                <a:gd name="T66" fmla="*/ 84 w 1375"/>
                <a:gd name="T67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5" h="545">
                  <a:moveTo>
                    <a:pt x="84" y="0"/>
                  </a:moveTo>
                  <a:lnTo>
                    <a:pt x="1290" y="0"/>
                  </a:lnTo>
                  <a:lnTo>
                    <a:pt x="1317" y="4"/>
                  </a:lnTo>
                  <a:lnTo>
                    <a:pt x="1339" y="15"/>
                  </a:lnTo>
                  <a:lnTo>
                    <a:pt x="1358" y="34"/>
                  </a:lnTo>
                  <a:lnTo>
                    <a:pt x="1370" y="58"/>
                  </a:lnTo>
                  <a:lnTo>
                    <a:pt x="1375" y="83"/>
                  </a:lnTo>
                  <a:lnTo>
                    <a:pt x="1375" y="290"/>
                  </a:lnTo>
                  <a:lnTo>
                    <a:pt x="1336" y="334"/>
                  </a:lnTo>
                  <a:lnTo>
                    <a:pt x="1288" y="374"/>
                  </a:lnTo>
                  <a:lnTo>
                    <a:pt x="1234" y="412"/>
                  </a:lnTo>
                  <a:lnTo>
                    <a:pt x="1171" y="446"/>
                  </a:lnTo>
                  <a:lnTo>
                    <a:pt x="1104" y="474"/>
                  </a:lnTo>
                  <a:lnTo>
                    <a:pt x="1029" y="500"/>
                  </a:lnTo>
                  <a:lnTo>
                    <a:pt x="950" y="518"/>
                  </a:lnTo>
                  <a:lnTo>
                    <a:pt x="867" y="534"/>
                  </a:lnTo>
                  <a:lnTo>
                    <a:pt x="779" y="542"/>
                  </a:lnTo>
                  <a:lnTo>
                    <a:pt x="687" y="545"/>
                  </a:lnTo>
                  <a:lnTo>
                    <a:pt x="596" y="542"/>
                  </a:lnTo>
                  <a:lnTo>
                    <a:pt x="508" y="534"/>
                  </a:lnTo>
                  <a:lnTo>
                    <a:pt x="425" y="518"/>
                  </a:lnTo>
                  <a:lnTo>
                    <a:pt x="345" y="500"/>
                  </a:lnTo>
                  <a:lnTo>
                    <a:pt x="270" y="474"/>
                  </a:lnTo>
                  <a:lnTo>
                    <a:pt x="203" y="446"/>
                  </a:lnTo>
                  <a:lnTo>
                    <a:pt x="140" y="412"/>
                  </a:lnTo>
                  <a:lnTo>
                    <a:pt x="86" y="374"/>
                  </a:lnTo>
                  <a:lnTo>
                    <a:pt x="38" y="334"/>
                  </a:lnTo>
                  <a:lnTo>
                    <a:pt x="0" y="290"/>
                  </a:lnTo>
                  <a:lnTo>
                    <a:pt x="0" y="83"/>
                  </a:lnTo>
                  <a:lnTo>
                    <a:pt x="5" y="58"/>
                  </a:lnTo>
                  <a:lnTo>
                    <a:pt x="16" y="34"/>
                  </a:lnTo>
                  <a:lnTo>
                    <a:pt x="33" y="15"/>
                  </a:lnTo>
                  <a:lnTo>
                    <a:pt x="57" y="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D98F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2" name="Rectangle 2242"/>
            <p:cNvSpPr>
              <a:spLocks noChangeArrowheads="1"/>
            </p:cNvSpPr>
            <p:nvPr/>
          </p:nvSpPr>
          <p:spPr bwMode="auto">
            <a:xfrm>
              <a:off x="9679896" y="3563926"/>
              <a:ext cx="153988" cy="417513"/>
            </a:xfrm>
            <a:prstGeom prst="rect">
              <a:avLst/>
            </a:prstGeom>
            <a:solidFill>
              <a:srgbClr val="A047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3" name="Freeform 2243"/>
            <p:cNvSpPr>
              <a:spLocks/>
            </p:cNvSpPr>
            <p:nvPr/>
          </p:nvSpPr>
          <p:spPr bwMode="auto">
            <a:xfrm>
              <a:off x="9676721" y="3981439"/>
              <a:ext cx="160338" cy="100013"/>
            </a:xfrm>
            <a:custGeom>
              <a:avLst/>
              <a:gdLst>
                <a:gd name="T0" fmla="*/ 0 w 203"/>
                <a:gd name="T1" fmla="*/ 0 h 125"/>
                <a:gd name="T2" fmla="*/ 203 w 203"/>
                <a:gd name="T3" fmla="*/ 0 h 125"/>
                <a:gd name="T4" fmla="*/ 199 w 203"/>
                <a:gd name="T5" fmla="*/ 34 h 125"/>
                <a:gd name="T6" fmla="*/ 189 w 203"/>
                <a:gd name="T7" fmla="*/ 64 h 125"/>
                <a:gd name="T8" fmla="*/ 172 w 203"/>
                <a:gd name="T9" fmla="*/ 90 h 125"/>
                <a:gd name="T10" fmla="*/ 152 w 203"/>
                <a:gd name="T11" fmla="*/ 108 h 125"/>
                <a:gd name="T12" fmla="*/ 128 w 203"/>
                <a:gd name="T13" fmla="*/ 122 h 125"/>
                <a:gd name="T14" fmla="*/ 101 w 203"/>
                <a:gd name="T15" fmla="*/ 125 h 125"/>
                <a:gd name="T16" fmla="*/ 74 w 203"/>
                <a:gd name="T17" fmla="*/ 122 h 125"/>
                <a:gd name="T18" fmla="*/ 50 w 203"/>
                <a:gd name="T19" fmla="*/ 108 h 125"/>
                <a:gd name="T20" fmla="*/ 28 w 203"/>
                <a:gd name="T21" fmla="*/ 90 h 125"/>
                <a:gd name="T22" fmla="*/ 13 w 203"/>
                <a:gd name="T23" fmla="*/ 64 h 125"/>
                <a:gd name="T24" fmla="*/ 3 w 203"/>
                <a:gd name="T25" fmla="*/ 34 h 125"/>
                <a:gd name="T26" fmla="*/ 0 w 203"/>
                <a:gd name="T27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125">
                  <a:moveTo>
                    <a:pt x="0" y="0"/>
                  </a:moveTo>
                  <a:lnTo>
                    <a:pt x="203" y="0"/>
                  </a:lnTo>
                  <a:lnTo>
                    <a:pt x="199" y="34"/>
                  </a:lnTo>
                  <a:lnTo>
                    <a:pt x="189" y="64"/>
                  </a:lnTo>
                  <a:lnTo>
                    <a:pt x="172" y="90"/>
                  </a:lnTo>
                  <a:lnTo>
                    <a:pt x="152" y="108"/>
                  </a:lnTo>
                  <a:lnTo>
                    <a:pt x="128" y="122"/>
                  </a:lnTo>
                  <a:lnTo>
                    <a:pt x="101" y="125"/>
                  </a:lnTo>
                  <a:lnTo>
                    <a:pt x="74" y="122"/>
                  </a:lnTo>
                  <a:lnTo>
                    <a:pt x="50" y="108"/>
                  </a:lnTo>
                  <a:lnTo>
                    <a:pt x="28" y="90"/>
                  </a:lnTo>
                  <a:lnTo>
                    <a:pt x="13" y="64"/>
                  </a:lnTo>
                  <a:lnTo>
                    <a:pt x="3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4" name="Freeform 2244"/>
            <p:cNvSpPr>
              <a:spLocks/>
            </p:cNvSpPr>
            <p:nvPr/>
          </p:nvSpPr>
          <p:spPr bwMode="auto">
            <a:xfrm>
              <a:off x="9695771" y="3994139"/>
              <a:ext cx="123825" cy="76200"/>
            </a:xfrm>
            <a:custGeom>
              <a:avLst/>
              <a:gdLst>
                <a:gd name="T0" fmla="*/ 0 w 156"/>
                <a:gd name="T1" fmla="*/ 0 h 97"/>
                <a:gd name="T2" fmla="*/ 156 w 156"/>
                <a:gd name="T3" fmla="*/ 0 h 97"/>
                <a:gd name="T4" fmla="*/ 153 w 156"/>
                <a:gd name="T5" fmla="*/ 31 h 97"/>
                <a:gd name="T6" fmla="*/ 141 w 156"/>
                <a:gd name="T7" fmla="*/ 56 h 97"/>
                <a:gd name="T8" fmla="*/ 124 w 156"/>
                <a:gd name="T9" fmla="*/ 78 h 97"/>
                <a:gd name="T10" fmla="*/ 102 w 156"/>
                <a:gd name="T11" fmla="*/ 92 h 97"/>
                <a:gd name="T12" fmla="*/ 78 w 156"/>
                <a:gd name="T13" fmla="*/ 97 h 97"/>
                <a:gd name="T14" fmla="*/ 53 w 156"/>
                <a:gd name="T15" fmla="*/ 92 h 97"/>
                <a:gd name="T16" fmla="*/ 32 w 156"/>
                <a:gd name="T17" fmla="*/ 78 h 97"/>
                <a:gd name="T18" fmla="*/ 15 w 156"/>
                <a:gd name="T19" fmla="*/ 56 h 97"/>
                <a:gd name="T20" fmla="*/ 4 w 156"/>
                <a:gd name="T21" fmla="*/ 31 h 97"/>
                <a:gd name="T22" fmla="*/ 0 w 156"/>
                <a:gd name="T2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6" h="97">
                  <a:moveTo>
                    <a:pt x="0" y="0"/>
                  </a:moveTo>
                  <a:lnTo>
                    <a:pt x="156" y="0"/>
                  </a:lnTo>
                  <a:lnTo>
                    <a:pt x="153" y="31"/>
                  </a:lnTo>
                  <a:lnTo>
                    <a:pt x="141" y="56"/>
                  </a:lnTo>
                  <a:lnTo>
                    <a:pt x="124" y="78"/>
                  </a:lnTo>
                  <a:lnTo>
                    <a:pt x="102" y="92"/>
                  </a:lnTo>
                  <a:lnTo>
                    <a:pt x="78" y="97"/>
                  </a:lnTo>
                  <a:lnTo>
                    <a:pt x="53" y="92"/>
                  </a:lnTo>
                  <a:lnTo>
                    <a:pt x="32" y="78"/>
                  </a:lnTo>
                  <a:lnTo>
                    <a:pt x="15" y="56"/>
                  </a:lnTo>
                  <a:lnTo>
                    <a:pt x="4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5" name="Freeform 2245"/>
            <p:cNvSpPr>
              <a:spLocks/>
            </p:cNvSpPr>
            <p:nvPr/>
          </p:nvSpPr>
          <p:spPr bwMode="auto">
            <a:xfrm>
              <a:off x="9590996" y="3541701"/>
              <a:ext cx="68263" cy="22225"/>
            </a:xfrm>
            <a:custGeom>
              <a:avLst/>
              <a:gdLst>
                <a:gd name="T0" fmla="*/ 13 w 84"/>
                <a:gd name="T1" fmla="*/ 0 h 29"/>
                <a:gd name="T2" fmla="*/ 71 w 84"/>
                <a:gd name="T3" fmla="*/ 0 h 29"/>
                <a:gd name="T4" fmla="*/ 76 w 84"/>
                <a:gd name="T5" fmla="*/ 0 h 29"/>
                <a:gd name="T6" fmla="*/ 81 w 84"/>
                <a:gd name="T7" fmla="*/ 4 h 29"/>
                <a:gd name="T8" fmla="*/ 84 w 84"/>
                <a:gd name="T9" fmla="*/ 9 h 29"/>
                <a:gd name="T10" fmla="*/ 84 w 84"/>
                <a:gd name="T11" fmla="*/ 14 h 29"/>
                <a:gd name="T12" fmla="*/ 84 w 84"/>
                <a:gd name="T13" fmla="*/ 21 h 29"/>
                <a:gd name="T14" fmla="*/ 81 w 84"/>
                <a:gd name="T15" fmla="*/ 24 h 29"/>
                <a:gd name="T16" fmla="*/ 76 w 84"/>
                <a:gd name="T17" fmla="*/ 27 h 29"/>
                <a:gd name="T18" fmla="*/ 71 w 84"/>
                <a:gd name="T19" fmla="*/ 29 h 29"/>
                <a:gd name="T20" fmla="*/ 13 w 84"/>
                <a:gd name="T21" fmla="*/ 29 h 29"/>
                <a:gd name="T22" fmla="*/ 8 w 84"/>
                <a:gd name="T23" fmla="*/ 27 h 29"/>
                <a:gd name="T24" fmla="*/ 3 w 84"/>
                <a:gd name="T25" fmla="*/ 24 h 29"/>
                <a:gd name="T26" fmla="*/ 1 w 84"/>
                <a:gd name="T27" fmla="*/ 21 h 29"/>
                <a:gd name="T28" fmla="*/ 0 w 84"/>
                <a:gd name="T29" fmla="*/ 14 h 29"/>
                <a:gd name="T30" fmla="*/ 1 w 84"/>
                <a:gd name="T31" fmla="*/ 9 h 29"/>
                <a:gd name="T32" fmla="*/ 3 w 84"/>
                <a:gd name="T33" fmla="*/ 4 h 29"/>
                <a:gd name="T34" fmla="*/ 8 w 84"/>
                <a:gd name="T35" fmla="*/ 0 h 29"/>
                <a:gd name="T36" fmla="*/ 13 w 84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29">
                  <a:moveTo>
                    <a:pt x="13" y="0"/>
                  </a:moveTo>
                  <a:lnTo>
                    <a:pt x="71" y="0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84" y="9"/>
                  </a:lnTo>
                  <a:lnTo>
                    <a:pt x="84" y="14"/>
                  </a:lnTo>
                  <a:lnTo>
                    <a:pt x="84" y="21"/>
                  </a:lnTo>
                  <a:lnTo>
                    <a:pt x="81" y="24"/>
                  </a:lnTo>
                  <a:lnTo>
                    <a:pt x="76" y="27"/>
                  </a:lnTo>
                  <a:lnTo>
                    <a:pt x="71" y="29"/>
                  </a:lnTo>
                  <a:lnTo>
                    <a:pt x="13" y="29"/>
                  </a:lnTo>
                  <a:lnTo>
                    <a:pt x="8" y="27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4"/>
                  </a:lnTo>
                  <a:lnTo>
                    <a:pt x="1" y="9"/>
                  </a:lnTo>
                  <a:lnTo>
                    <a:pt x="3" y="4"/>
                  </a:lnTo>
                  <a:lnTo>
                    <a:pt x="8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6" name="Freeform 2246"/>
            <p:cNvSpPr>
              <a:spLocks/>
            </p:cNvSpPr>
            <p:nvPr/>
          </p:nvSpPr>
          <p:spPr bwMode="auto">
            <a:xfrm>
              <a:off x="9854521" y="3541701"/>
              <a:ext cx="68263" cy="22225"/>
            </a:xfrm>
            <a:custGeom>
              <a:avLst/>
              <a:gdLst>
                <a:gd name="T0" fmla="*/ 15 w 86"/>
                <a:gd name="T1" fmla="*/ 0 h 29"/>
                <a:gd name="T2" fmla="*/ 71 w 86"/>
                <a:gd name="T3" fmla="*/ 0 h 29"/>
                <a:gd name="T4" fmla="*/ 78 w 86"/>
                <a:gd name="T5" fmla="*/ 0 h 29"/>
                <a:gd name="T6" fmla="*/ 81 w 86"/>
                <a:gd name="T7" fmla="*/ 4 h 29"/>
                <a:gd name="T8" fmla="*/ 85 w 86"/>
                <a:gd name="T9" fmla="*/ 9 h 29"/>
                <a:gd name="T10" fmla="*/ 86 w 86"/>
                <a:gd name="T11" fmla="*/ 14 h 29"/>
                <a:gd name="T12" fmla="*/ 85 w 86"/>
                <a:gd name="T13" fmla="*/ 21 h 29"/>
                <a:gd name="T14" fmla="*/ 81 w 86"/>
                <a:gd name="T15" fmla="*/ 24 h 29"/>
                <a:gd name="T16" fmla="*/ 78 w 86"/>
                <a:gd name="T17" fmla="*/ 27 h 29"/>
                <a:gd name="T18" fmla="*/ 71 w 86"/>
                <a:gd name="T19" fmla="*/ 29 h 29"/>
                <a:gd name="T20" fmla="*/ 15 w 86"/>
                <a:gd name="T21" fmla="*/ 29 h 29"/>
                <a:gd name="T22" fmla="*/ 10 w 86"/>
                <a:gd name="T23" fmla="*/ 27 h 29"/>
                <a:gd name="T24" fmla="*/ 5 w 86"/>
                <a:gd name="T25" fmla="*/ 24 h 29"/>
                <a:gd name="T26" fmla="*/ 2 w 86"/>
                <a:gd name="T27" fmla="*/ 21 h 29"/>
                <a:gd name="T28" fmla="*/ 0 w 86"/>
                <a:gd name="T29" fmla="*/ 14 h 29"/>
                <a:gd name="T30" fmla="*/ 2 w 86"/>
                <a:gd name="T31" fmla="*/ 9 h 29"/>
                <a:gd name="T32" fmla="*/ 5 w 86"/>
                <a:gd name="T33" fmla="*/ 4 h 29"/>
                <a:gd name="T34" fmla="*/ 10 w 86"/>
                <a:gd name="T35" fmla="*/ 0 h 29"/>
                <a:gd name="T36" fmla="*/ 15 w 86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29">
                  <a:moveTo>
                    <a:pt x="15" y="0"/>
                  </a:moveTo>
                  <a:lnTo>
                    <a:pt x="71" y="0"/>
                  </a:lnTo>
                  <a:lnTo>
                    <a:pt x="78" y="0"/>
                  </a:lnTo>
                  <a:lnTo>
                    <a:pt x="81" y="4"/>
                  </a:lnTo>
                  <a:lnTo>
                    <a:pt x="85" y="9"/>
                  </a:lnTo>
                  <a:lnTo>
                    <a:pt x="86" y="14"/>
                  </a:lnTo>
                  <a:lnTo>
                    <a:pt x="85" y="21"/>
                  </a:lnTo>
                  <a:lnTo>
                    <a:pt x="81" y="24"/>
                  </a:lnTo>
                  <a:lnTo>
                    <a:pt x="78" y="27"/>
                  </a:lnTo>
                  <a:lnTo>
                    <a:pt x="71" y="29"/>
                  </a:lnTo>
                  <a:lnTo>
                    <a:pt x="15" y="29"/>
                  </a:lnTo>
                  <a:lnTo>
                    <a:pt x="10" y="27"/>
                  </a:lnTo>
                  <a:lnTo>
                    <a:pt x="5" y="24"/>
                  </a:lnTo>
                  <a:lnTo>
                    <a:pt x="2" y="21"/>
                  </a:lnTo>
                  <a:lnTo>
                    <a:pt x="0" y="14"/>
                  </a:lnTo>
                  <a:lnTo>
                    <a:pt x="2" y="9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5B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7" name="Rectangle 2247"/>
            <p:cNvSpPr>
              <a:spLocks noChangeArrowheads="1"/>
            </p:cNvSpPr>
            <p:nvPr/>
          </p:nvSpPr>
          <p:spPr bwMode="auto">
            <a:xfrm>
              <a:off x="9613221" y="3497251"/>
              <a:ext cx="23813" cy="50800"/>
            </a:xfrm>
            <a:prstGeom prst="rect">
              <a:avLst/>
            </a:prstGeom>
            <a:solidFill>
              <a:srgbClr val="E5B3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8" name="Rectangle 2248"/>
            <p:cNvSpPr>
              <a:spLocks noChangeArrowheads="1"/>
            </p:cNvSpPr>
            <p:nvPr/>
          </p:nvSpPr>
          <p:spPr bwMode="auto">
            <a:xfrm>
              <a:off x="9876746" y="3497251"/>
              <a:ext cx="22225" cy="50800"/>
            </a:xfrm>
            <a:prstGeom prst="rect">
              <a:avLst/>
            </a:prstGeom>
            <a:solidFill>
              <a:srgbClr val="E5B3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9" name="Freeform 2249"/>
            <p:cNvSpPr>
              <a:spLocks/>
            </p:cNvSpPr>
            <p:nvPr/>
          </p:nvSpPr>
          <p:spPr bwMode="auto">
            <a:xfrm>
              <a:off x="9603696" y="3422639"/>
              <a:ext cx="309563" cy="74613"/>
            </a:xfrm>
            <a:custGeom>
              <a:avLst/>
              <a:gdLst>
                <a:gd name="T0" fmla="*/ 193 w 390"/>
                <a:gd name="T1" fmla="*/ 0 h 93"/>
                <a:gd name="T2" fmla="*/ 237 w 390"/>
                <a:gd name="T3" fmla="*/ 2 h 93"/>
                <a:gd name="T4" fmla="*/ 274 w 390"/>
                <a:gd name="T5" fmla="*/ 7 h 93"/>
                <a:gd name="T6" fmla="*/ 305 w 390"/>
                <a:gd name="T7" fmla="*/ 17 h 93"/>
                <a:gd name="T8" fmla="*/ 329 w 390"/>
                <a:gd name="T9" fmla="*/ 27 h 93"/>
                <a:gd name="T10" fmla="*/ 349 w 390"/>
                <a:gd name="T11" fmla="*/ 41 h 93"/>
                <a:gd name="T12" fmla="*/ 364 w 390"/>
                <a:gd name="T13" fmla="*/ 53 h 93"/>
                <a:gd name="T14" fmla="*/ 374 w 390"/>
                <a:gd name="T15" fmla="*/ 65 h 93"/>
                <a:gd name="T16" fmla="*/ 381 w 390"/>
                <a:gd name="T17" fmla="*/ 77 h 93"/>
                <a:gd name="T18" fmla="*/ 386 w 390"/>
                <a:gd name="T19" fmla="*/ 85 h 93"/>
                <a:gd name="T20" fmla="*/ 388 w 390"/>
                <a:gd name="T21" fmla="*/ 92 h 93"/>
                <a:gd name="T22" fmla="*/ 390 w 390"/>
                <a:gd name="T23" fmla="*/ 93 h 93"/>
                <a:gd name="T24" fmla="*/ 327 w 390"/>
                <a:gd name="T25" fmla="*/ 93 h 93"/>
                <a:gd name="T26" fmla="*/ 327 w 390"/>
                <a:gd name="T27" fmla="*/ 92 h 93"/>
                <a:gd name="T28" fmla="*/ 325 w 390"/>
                <a:gd name="T29" fmla="*/ 87 h 93"/>
                <a:gd name="T30" fmla="*/ 320 w 390"/>
                <a:gd name="T31" fmla="*/ 80 h 93"/>
                <a:gd name="T32" fmla="*/ 312 w 390"/>
                <a:gd name="T33" fmla="*/ 70 h 93"/>
                <a:gd name="T34" fmla="*/ 302 w 390"/>
                <a:gd name="T35" fmla="*/ 61 h 93"/>
                <a:gd name="T36" fmla="*/ 285 w 390"/>
                <a:gd name="T37" fmla="*/ 53 h 93"/>
                <a:gd name="T38" fmla="*/ 261 w 390"/>
                <a:gd name="T39" fmla="*/ 44 h 93"/>
                <a:gd name="T40" fmla="*/ 232 w 390"/>
                <a:gd name="T41" fmla="*/ 39 h 93"/>
                <a:gd name="T42" fmla="*/ 195 w 390"/>
                <a:gd name="T43" fmla="*/ 38 h 93"/>
                <a:gd name="T44" fmla="*/ 158 w 390"/>
                <a:gd name="T45" fmla="*/ 39 h 93"/>
                <a:gd name="T46" fmla="*/ 129 w 390"/>
                <a:gd name="T47" fmla="*/ 44 h 93"/>
                <a:gd name="T48" fmla="*/ 105 w 390"/>
                <a:gd name="T49" fmla="*/ 53 h 93"/>
                <a:gd name="T50" fmla="*/ 88 w 390"/>
                <a:gd name="T51" fmla="*/ 61 h 93"/>
                <a:gd name="T52" fmla="*/ 76 w 390"/>
                <a:gd name="T53" fmla="*/ 70 h 93"/>
                <a:gd name="T54" fmla="*/ 69 w 390"/>
                <a:gd name="T55" fmla="*/ 80 h 93"/>
                <a:gd name="T56" fmla="*/ 64 w 390"/>
                <a:gd name="T57" fmla="*/ 87 h 93"/>
                <a:gd name="T58" fmla="*/ 63 w 390"/>
                <a:gd name="T59" fmla="*/ 92 h 93"/>
                <a:gd name="T60" fmla="*/ 63 w 390"/>
                <a:gd name="T61" fmla="*/ 93 h 93"/>
                <a:gd name="T62" fmla="*/ 0 w 390"/>
                <a:gd name="T63" fmla="*/ 93 h 93"/>
                <a:gd name="T64" fmla="*/ 0 w 390"/>
                <a:gd name="T65" fmla="*/ 92 h 93"/>
                <a:gd name="T66" fmla="*/ 3 w 390"/>
                <a:gd name="T67" fmla="*/ 85 h 93"/>
                <a:gd name="T68" fmla="*/ 7 w 390"/>
                <a:gd name="T69" fmla="*/ 77 h 93"/>
                <a:gd name="T70" fmla="*/ 14 w 390"/>
                <a:gd name="T71" fmla="*/ 65 h 93"/>
                <a:gd name="T72" fmla="*/ 24 w 390"/>
                <a:gd name="T73" fmla="*/ 53 h 93"/>
                <a:gd name="T74" fmla="*/ 39 w 390"/>
                <a:gd name="T75" fmla="*/ 41 h 93"/>
                <a:gd name="T76" fmla="*/ 58 w 390"/>
                <a:gd name="T77" fmla="*/ 27 h 93"/>
                <a:gd name="T78" fmla="*/ 81 w 390"/>
                <a:gd name="T79" fmla="*/ 17 h 93"/>
                <a:gd name="T80" fmla="*/ 112 w 390"/>
                <a:gd name="T81" fmla="*/ 7 h 93"/>
                <a:gd name="T82" fmla="*/ 149 w 390"/>
                <a:gd name="T83" fmla="*/ 2 h 93"/>
                <a:gd name="T84" fmla="*/ 193 w 390"/>
                <a:gd name="T8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0" h="93">
                  <a:moveTo>
                    <a:pt x="193" y="0"/>
                  </a:moveTo>
                  <a:lnTo>
                    <a:pt x="237" y="2"/>
                  </a:lnTo>
                  <a:lnTo>
                    <a:pt x="274" y="7"/>
                  </a:lnTo>
                  <a:lnTo>
                    <a:pt x="305" y="17"/>
                  </a:lnTo>
                  <a:lnTo>
                    <a:pt x="329" y="27"/>
                  </a:lnTo>
                  <a:lnTo>
                    <a:pt x="349" y="41"/>
                  </a:lnTo>
                  <a:lnTo>
                    <a:pt x="364" y="53"/>
                  </a:lnTo>
                  <a:lnTo>
                    <a:pt x="374" y="65"/>
                  </a:lnTo>
                  <a:lnTo>
                    <a:pt x="381" y="77"/>
                  </a:lnTo>
                  <a:lnTo>
                    <a:pt x="386" y="85"/>
                  </a:lnTo>
                  <a:lnTo>
                    <a:pt x="388" y="92"/>
                  </a:lnTo>
                  <a:lnTo>
                    <a:pt x="390" y="93"/>
                  </a:lnTo>
                  <a:lnTo>
                    <a:pt x="327" y="93"/>
                  </a:lnTo>
                  <a:lnTo>
                    <a:pt x="327" y="92"/>
                  </a:lnTo>
                  <a:lnTo>
                    <a:pt x="325" y="87"/>
                  </a:lnTo>
                  <a:lnTo>
                    <a:pt x="320" y="80"/>
                  </a:lnTo>
                  <a:lnTo>
                    <a:pt x="312" y="70"/>
                  </a:lnTo>
                  <a:lnTo>
                    <a:pt x="302" y="61"/>
                  </a:lnTo>
                  <a:lnTo>
                    <a:pt x="285" y="53"/>
                  </a:lnTo>
                  <a:lnTo>
                    <a:pt x="261" y="44"/>
                  </a:lnTo>
                  <a:lnTo>
                    <a:pt x="232" y="39"/>
                  </a:lnTo>
                  <a:lnTo>
                    <a:pt x="195" y="38"/>
                  </a:lnTo>
                  <a:lnTo>
                    <a:pt x="158" y="39"/>
                  </a:lnTo>
                  <a:lnTo>
                    <a:pt x="129" y="44"/>
                  </a:lnTo>
                  <a:lnTo>
                    <a:pt x="105" y="53"/>
                  </a:lnTo>
                  <a:lnTo>
                    <a:pt x="88" y="61"/>
                  </a:lnTo>
                  <a:lnTo>
                    <a:pt x="76" y="70"/>
                  </a:lnTo>
                  <a:lnTo>
                    <a:pt x="69" y="80"/>
                  </a:lnTo>
                  <a:lnTo>
                    <a:pt x="64" y="87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0" y="93"/>
                  </a:lnTo>
                  <a:lnTo>
                    <a:pt x="0" y="92"/>
                  </a:lnTo>
                  <a:lnTo>
                    <a:pt x="3" y="85"/>
                  </a:lnTo>
                  <a:lnTo>
                    <a:pt x="7" y="77"/>
                  </a:lnTo>
                  <a:lnTo>
                    <a:pt x="14" y="65"/>
                  </a:lnTo>
                  <a:lnTo>
                    <a:pt x="24" y="53"/>
                  </a:lnTo>
                  <a:lnTo>
                    <a:pt x="39" y="41"/>
                  </a:lnTo>
                  <a:lnTo>
                    <a:pt x="58" y="27"/>
                  </a:lnTo>
                  <a:lnTo>
                    <a:pt x="81" y="17"/>
                  </a:lnTo>
                  <a:lnTo>
                    <a:pt x="112" y="7"/>
                  </a:lnTo>
                  <a:lnTo>
                    <a:pt x="149" y="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A04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0" name="Rectangle 2250"/>
            <p:cNvSpPr>
              <a:spLocks noChangeArrowheads="1"/>
            </p:cNvSpPr>
            <p:nvPr/>
          </p:nvSpPr>
          <p:spPr bwMode="auto">
            <a:xfrm>
              <a:off x="9697358" y="3563926"/>
              <a:ext cx="11113" cy="417513"/>
            </a:xfrm>
            <a:prstGeom prst="rect">
              <a:avLst/>
            </a:prstGeom>
            <a:solidFill>
              <a:srgbClr val="D98F4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1" name="Rectangle 2251"/>
            <p:cNvSpPr>
              <a:spLocks noChangeArrowheads="1"/>
            </p:cNvSpPr>
            <p:nvPr/>
          </p:nvSpPr>
          <p:spPr bwMode="auto">
            <a:xfrm>
              <a:off x="9805308" y="3563926"/>
              <a:ext cx="11113" cy="417513"/>
            </a:xfrm>
            <a:prstGeom prst="rect">
              <a:avLst/>
            </a:prstGeom>
            <a:solidFill>
              <a:srgbClr val="D98F4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2" name="Freeform 2252"/>
            <p:cNvSpPr>
              <a:spLocks/>
            </p:cNvSpPr>
            <p:nvPr/>
          </p:nvSpPr>
          <p:spPr bwMode="auto">
            <a:xfrm>
              <a:off x="9468758" y="427026"/>
              <a:ext cx="106363" cy="220663"/>
            </a:xfrm>
            <a:custGeom>
              <a:avLst/>
              <a:gdLst>
                <a:gd name="T0" fmla="*/ 86 w 133"/>
                <a:gd name="T1" fmla="*/ 0 h 276"/>
                <a:gd name="T2" fmla="*/ 101 w 133"/>
                <a:gd name="T3" fmla="*/ 7 h 276"/>
                <a:gd name="T4" fmla="*/ 115 w 133"/>
                <a:gd name="T5" fmla="*/ 24 h 276"/>
                <a:gd name="T6" fmla="*/ 125 w 133"/>
                <a:gd name="T7" fmla="*/ 47 h 276"/>
                <a:gd name="T8" fmla="*/ 132 w 133"/>
                <a:gd name="T9" fmla="*/ 78 h 276"/>
                <a:gd name="T10" fmla="*/ 133 w 133"/>
                <a:gd name="T11" fmla="*/ 112 h 276"/>
                <a:gd name="T12" fmla="*/ 130 w 133"/>
                <a:gd name="T13" fmla="*/ 149 h 276"/>
                <a:gd name="T14" fmla="*/ 123 w 133"/>
                <a:gd name="T15" fmla="*/ 185 h 276"/>
                <a:gd name="T16" fmla="*/ 111 w 133"/>
                <a:gd name="T17" fmla="*/ 217 h 276"/>
                <a:gd name="T18" fmla="*/ 98 w 133"/>
                <a:gd name="T19" fmla="*/ 244 h 276"/>
                <a:gd name="T20" fmla="*/ 83 w 133"/>
                <a:gd name="T21" fmla="*/ 262 h 276"/>
                <a:gd name="T22" fmla="*/ 66 w 133"/>
                <a:gd name="T23" fmla="*/ 274 h 276"/>
                <a:gd name="T24" fmla="*/ 47 w 133"/>
                <a:gd name="T25" fmla="*/ 276 h 276"/>
                <a:gd name="T26" fmla="*/ 30 w 133"/>
                <a:gd name="T27" fmla="*/ 269 h 276"/>
                <a:gd name="T28" fmla="*/ 17 w 133"/>
                <a:gd name="T29" fmla="*/ 252 h 276"/>
                <a:gd name="T30" fmla="*/ 8 w 133"/>
                <a:gd name="T31" fmla="*/ 229 h 276"/>
                <a:gd name="T32" fmla="*/ 1 w 133"/>
                <a:gd name="T33" fmla="*/ 200 h 276"/>
                <a:gd name="T34" fmla="*/ 0 w 133"/>
                <a:gd name="T35" fmla="*/ 166 h 276"/>
                <a:gd name="T36" fmla="*/ 1 w 133"/>
                <a:gd name="T37" fmla="*/ 129 h 276"/>
                <a:gd name="T38" fmla="*/ 10 w 133"/>
                <a:gd name="T39" fmla="*/ 91 h 276"/>
                <a:gd name="T40" fmla="*/ 20 w 133"/>
                <a:gd name="T41" fmla="*/ 59 h 276"/>
                <a:gd name="T42" fmla="*/ 34 w 133"/>
                <a:gd name="T43" fmla="*/ 34 h 276"/>
                <a:gd name="T44" fmla="*/ 50 w 133"/>
                <a:gd name="T45" fmla="*/ 14 h 276"/>
                <a:gd name="T46" fmla="*/ 67 w 133"/>
                <a:gd name="T47" fmla="*/ 2 h 276"/>
                <a:gd name="T48" fmla="*/ 86 w 133"/>
                <a:gd name="T4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3" h="276">
                  <a:moveTo>
                    <a:pt x="86" y="0"/>
                  </a:moveTo>
                  <a:lnTo>
                    <a:pt x="101" y="7"/>
                  </a:lnTo>
                  <a:lnTo>
                    <a:pt x="115" y="24"/>
                  </a:lnTo>
                  <a:lnTo>
                    <a:pt x="125" y="47"/>
                  </a:lnTo>
                  <a:lnTo>
                    <a:pt x="132" y="78"/>
                  </a:lnTo>
                  <a:lnTo>
                    <a:pt x="133" y="112"/>
                  </a:lnTo>
                  <a:lnTo>
                    <a:pt x="130" y="149"/>
                  </a:lnTo>
                  <a:lnTo>
                    <a:pt x="123" y="185"/>
                  </a:lnTo>
                  <a:lnTo>
                    <a:pt x="111" y="217"/>
                  </a:lnTo>
                  <a:lnTo>
                    <a:pt x="98" y="244"/>
                  </a:lnTo>
                  <a:lnTo>
                    <a:pt x="83" y="262"/>
                  </a:lnTo>
                  <a:lnTo>
                    <a:pt x="66" y="274"/>
                  </a:lnTo>
                  <a:lnTo>
                    <a:pt x="47" y="276"/>
                  </a:lnTo>
                  <a:lnTo>
                    <a:pt x="30" y="269"/>
                  </a:lnTo>
                  <a:lnTo>
                    <a:pt x="17" y="252"/>
                  </a:lnTo>
                  <a:lnTo>
                    <a:pt x="8" y="229"/>
                  </a:lnTo>
                  <a:lnTo>
                    <a:pt x="1" y="200"/>
                  </a:lnTo>
                  <a:lnTo>
                    <a:pt x="0" y="166"/>
                  </a:lnTo>
                  <a:lnTo>
                    <a:pt x="1" y="129"/>
                  </a:lnTo>
                  <a:lnTo>
                    <a:pt x="10" y="91"/>
                  </a:lnTo>
                  <a:lnTo>
                    <a:pt x="20" y="59"/>
                  </a:lnTo>
                  <a:lnTo>
                    <a:pt x="34" y="34"/>
                  </a:lnTo>
                  <a:lnTo>
                    <a:pt x="50" y="14"/>
                  </a:lnTo>
                  <a:lnTo>
                    <a:pt x="67" y="2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3" name="Freeform 2253"/>
            <p:cNvSpPr>
              <a:spLocks/>
            </p:cNvSpPr>
            <p:nvPr/>
          </p:nvSpPr>
          <p:spPr bwMode="auto">
            <a:xfrm>
              <a:off x="8675008" y="420676"/>
              <a:ext cx="95250" cy="217488"/>
            </a:xfrm>
            <a:custGeom>
              <a:avLst/>
              <a:gdLst>
                <a:gd name="T0" fmla="*/ 47 w 120"/>
                <a:gd name="T1" fmla="*/ 0 h 272"/>
                <a:gd name="T2" fmla="*/ 64 w 120"/>
                <a:gd name="T3" fmla="*/ 3 h 272"/>
                <a:gd name="T4" fmla="*/ 79 w 120"/>
                <a:gd name="T5" fmla="*/ 15 h 272"/>
                <a:gd name="T6" fmla="*/ 93 w 120"/>
                <a:gd name="T7" fmla="*/ 35 h 272"/>
                <a:gd name="T8" fmla="*/ 105 w 120"/>
                <a:gd name="T9" fmla="*/ 62 h 272"/>
                <a:gd name="T10" fmla="*/ 113 w 120"/>
                <a:gd name="T11" fmla="*/ 94 h 272"/>
                <a:gd name="T12" fmla="*/ 120 w 120"/>
                <a:gd name="T13" fmla="*/ 130 h 272"/>
                <a:gd name="T14" fmla="*/ 120 w 120"/>
                <a:gd name="T15" fmla="*/ 167 h 272"/>
                <a:gd name="T16" fmla="*/ 117 w 120"/>
                <a:gd name="T17" fmla="*/ 199 h 272"/>
                <a:gd name="T18" fmla="*/ 112 w 120"/>
                <a:gd name="T19" fmla="*/ 228 h 272"/>
                <a:gd name="T20" fmla="*/ 101 w 120"/>
                <a:gd name="T21" fmla="*/ 250 h 272"/>
                <a:gd name="T22" fmla="*/ 88 w 120"/>
                <a:gd name="T23" fmla="*/ 265 h 272"/>
                <a:gd name="T24" fmla="*/ 73 w 120"/>
                <a:gd name="T25" fmla="*/ 272 h 272"/>
                <a:gd name="T26" fmla="*/ 57 w 120"/>
                <a:gd name="T27" fmla="*/ 269 h 272"/>
                <a:gd name="T28" fmla="*/ 42 w 120"/>
                <a:gd name="T29" fmla="*/ 257 h 272"/>
                <a:gd name="T30" fmla="*/ 27 w 120"/>
                <a:gd name="T31" fmla="*/ 237 h 272"/>
                <a:gd name="T32" fmla="*/ 15 w 120"/>
                <a:gd name="T33" fmla="*/ 210 h 272"/>
                <a:gd name="T34" fmla="*/ 7 w 120"/>
                <a:gd name="T35" fmla="*/ 179 h 272"/>
                <a:gd name="T36" fmla="*/ 1 w 120"/>
                <a:gd name="T37" fmla="*/ 142 h 272"/>
                <a:gd name="T38" fmla="*/ 0 w 120"/>
                <a:gd name="T39" fmla="*/ 106 h 272"/>
                <a:gd name="T40" fmla="*/ 3 w 120"/>
                <a:gd name="T41" fmla="*/ 72 h 272"/>
                <a:gd name="T42" fmla="*/ 10 w 120"/>
                <a:gd name="T43" fmla="*/ 44 h 272"/>
                <a:gd name="T44" fmla="*/ 20 w 120"/>
                <a:gd name="T45" fmla="*/ 22 h 272"/>
                <a:gd name="T46" fmla="*/ 32 w 120"/>
                <a:gd name="T47" fmla="*/ 6 h 272"/>
                <a:gd name="T48" fmla="*/ 47 w 120"/>
                <a:gd name="T4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0" h="272">
                  <a:moveTo>
                    <a:pt x="47" y="0"/>
                  </a:moveTo>
                  <a:lnTo>
                    <a:pt x="64" y="3"/>
                  </a:lnTo>
                  <a:lnTo>
                    <a:pt x="79" y="15"/>
                  </a:lnTo>
                  <a:lnTo>
                    <a:pt x="93" y="35"/>
                  </a:lnTo>
                  <a:lnTo>
                    <a:pt x="105" y="62"/>
                  </a:lnTo>
                  <a:lnTo>
                    <a:pt x="113" y="94"/>
                  </a:lnTo>
                  <a:lnTo>
                    <a:pt x="120" y="130"/>
                  </a:lnTo>
                  <a:lnTo>
                    <a:pt x="120" y="167"/>
                  </a:lnTo>
                  <a:lnTo>
                    <a:pt x="117" y="199"/>
                  </a:lnTo>
                  <a:lnTo>
                    <a:pt x="112" y="228"/>
                  </a:lnTo>
                  <a:lnTo>
                    <a:pt x="101" y="250"/>
                  </a:lnTo>
                  <a:lnTo>
                    <a:pt x="88" y="265"/>
                  </a:lnTo>
                  <a:lnTo>
                    <a:pt x="73" y="272"/>
                  </a:lnTo>
                  <a:lnTo>
                    <a:pt x="57" y="269"/>
                  </a:lnTo>
                  <a:lnTo>
                    <a:pt x="42" y="257"/>
                  </a:lnTo>
                  <a:lnTo>
                    <a:pt x="27" y="237"/>
                  </a:lnTo>
                  <a:lnTo>
                    <a:pt x="15" y="210"/>
                  </a:lnTo>
                  <a:lnTo>
                    <a:pt x="7" y="179"/>
                  </a:lnTo>
                  <a:lnTo>
                    <a:pt x="1" y="142"/>
                  </a:lnTo>
                  <a:lnTo>
                    <a:pt x="0" y="106"/>
                  </a:lnTo>
                  <a:lnTo>
                    <a:pt x="3" y="72"/>
                  </a:lnTo>
                  <a:lnTo>
                    <a:pt x="10" y="44"/>
                  </a:lnTo>
                  <a:lnTo>
                    <a:pt x="20" y="22"/>
                  </a:lnTo>
                  <a:lnTo>
                    <a:pt x="32" y="6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4" name="Freeform 2254"/>
            <p:cNvSpPr>
              <a:spLocks/>
            </p:cNvSpPr>
            <p:nvPr/>
          </p:nvSpPr>
          <p:spPr bwMode="auto">
            <a:xfrm>
              <a:off x="8738508" y="74601"/>
              <a:ext cx="388938" cy="949325"/>
            </a:xfrm>
            <a:custGeom>
              <a:avLst/>
              <a:gdLst>
                <a:gd name="T0" fmla="*/ 492 w 492"/>
                <a:gd name="T1" fmla="*/ 0 h 1195"/>
                <a:gd name="T2" fmla="*/ 492 w 492"/>
                <a:gd name="T3" fmla="*/ 1195 h 1195"/>
                <a:gd name="T4" fmla="*/ 492 w 492"/>
                <a:gd name="T5" fmla="*/ 1195 h 1195"/>
                <a:gd name="T6" fmla="*/ 480 w 492"/>
                <a:gd name="T7" fmla="*/ 1194 h 1195"/>
                <a:gd name="T8" fmla="*/ 419 w 492"/>
                <a:gd name="T9" fmla="*/ 1187 h 1195"/>
                <a:gd name="T10" fmla="*/ 361 w 492"/>
                <a:gd name="T11" fmla="*/ 1172 h 1195"/>
                <a:gd name="T12" fmla="*/ 307 w 492"/>
                <a:gd name="T13" fmla="*/ 1146 h 1195"/>
                <a:gd name="T14" fmla="*/ 254 w 492"/>
                <a:gd name="T15" fmla="*/ 1112 h 1195"/>
                <a:gd name="T16" fmla="*/ 205 w 492"/>
                <a:gd name="T17" fmla="*/ 1070 h 1195"/>
                <a:gd name="T18" fmla="*/ 161 w 492"/>
                <a:gd name="T19" fmla="*/ 1022 h 1195"/>
                <a:gd name="T20" fmla="*/ 122 w 492"/>
                <a:gd name="T21" fmla="*/ 967 h 1195"/>
                <a:gd name="T22" fmla="*/ 87 w 492"/>
                <a:gd name="T23" fmla="*/ 906 h 1195"/>
                <a:gd name="T24" fmla="*/ 56 w 492"/>
                <a:gd name="T25" fmla="*/ 840 h 1195"/>
                <a:gd name="T26" fmla="*/ 33 w 492"/>
                <a:gd name="T27" fmla="*/ 768 h 1195"/>
                <a:gd name="T28" fmla="*/ 16 w 492"/>
                <a:gd name="T29" fmla="*/ 692 h 1195"/>
                <a:gd name="T30" fmla="*/ 5 w 492"/>
                <a:gd name="T31" fmla="*/ 614 h 1195"/>
                <a:gd name="T32" fmla="*/ 0 w 492"/>
                <a:gd name="T33" fmla="*/ 531 h 1195"/>
                <a:gd name="T34" fmla="*/ 2 w 492"/>
                <a:gd name="T35" fmla="*/ 470 h 1195"/>
                <a:gd name="T36" fmla="*/ 4 w 492"/>
                <a:gd name="T37" fmla="*/ 413 h 1195"/>
                <a:gd name="T38" fmla="*/ 7 w 492"/>
                <a:gd name="T39" fmla="*/ 359 h 1195"/>
                <a:gd name="T40" fmla="*/ 14 w 492"/>
                <a:gd name="T41" fmla="*/ 308 h 1195"/>
                <a:gd name="T42" fmla="*/ 22 w 492"/>
                <a:gd name="T43" fmla="*/ 262 h 1195"/>
                <a:gd name="T44" fmla="*/ 34 w 492"/>
                <a:gd name="T45" fmla="*/ 218 h 1195"/>
                <a:gd name="T46" fmla="*/ 49 w 492"/>
                <a:gd name="T47" fmla="*/ 179 h 1195"/>
                <a:gd name="T48" fmla="*/ 68 w 492"/>
                <a:gd name="T49" fmla="*/ 144 h 1195"/>
                <a:gd name="T50" fmla="*/ 92 w 492"/>
                <a:gd name="T51" fmla="*/ 111 h 1195"/>
                <a:gd name="T52" fmla="*/ 119 w 492"/>
                <a:gd name="T53" fmla="*/ 84 h 1195"/>
                <a:gd name="T54" fmla="*/ 153 w 492"/>
                <a:gd name="T55" fmla="*/ 61 h 1195"/>
                <a:gd name="T56" fmla="*/ 190 w 492"/>
                <a:gd name="T57" fmla="*/ 40 h 1195"/>
                <a:gd name="T58" fmla="*/ 236 w 492"/>
                <a:gd name="T59" fmla="*/ 23 h 1195"/>
                <a:gd name="T60" fmla="*/ 285 w 492"/>
                <a:gd name="T61" fmla="*/ 11 h 1195"/>
                <a:gd name="T62" fmla="*/ 342 w 492"/>
                <a:gd name="T63" fmla="*/ 3 h 1195"/>
                <a:gd name="T64" fmla="*/ 407 w 492"/>
                <a:gd name="T65" fmla="*/ 0 h 1195"/>
                <a:gd name="T66" fmla="*/ 480 w 492"/>
                <a:gd name="T67" fmla="*/ 0 h 1195"/>
                <a:gd name="T68" fmla="*/ 492 w 492"/>
                <a:gd name="T69" fmla="*/ 0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2" h="1195">
                  <a:moveTo>
                    <a:pt x="492" y="0"/>
                  </a:moveTo>
                  <a:lnTo>
                    <a:pt x="492" y="1195"/>
                  </a:lnTo>
                  <a:lnTo>
                    <a:pt x="492" y="1195"/>
                  </a:lnTo>
                  <a:lnTo>
                    <a:pt x="480" y="1194"/>
                  </a:lnTo>
                  <a:lnTo>
                    <a:pt x="419" y="1187"/>
                  </a:lnTo>
                  <a:lnTo>
                    <a:pt x="361" y="1172"/>
                  </a:lnTo>
                  <a:lnTo>
                    <a:pt x="307" y="1146"/>
                  </a:lnTo>
                  <a:lnTo>
                    <a:pt x="254" y="1112"/>
                  </a:lnTo>
                  <a:lnTo>
                    <a:pt x="205" y="1070"/>
                  </a:lnTo>
                  <a:lnTo>
                    <a:pt x="161" y="1022"/>
                  </a:lnTo>
                  <a:lnTo>
                    <a:pt x="122" y="967"/>
                  </a:lnTo>
                  <a:lnTo>
                    <a:pt x="87" y="906"/>
                  </a:lnTo>
                  <a:lnTo>
                    <a:pt x="56" y="840"/>
                  </a:lnTo>
                  <a:lnTo>
                    <a:pt x="33" y="768"/>
                  </a:lnTo>
                  <a:lnTo>
                    <a:pt x="16" y="692"/>
                  </a:lnTo>
                  <a:lnTo>
                    <a:pt x="5" y="614"/>
                  </a:lnTo>
                  <a:lnTo>
                    <a:pt x="0" y="531"/>
                  </a:lnTo>
                  <a:lnTo>
                    <a:pt x="2" y="470"/>
                  </a:lnTo>
                  <a:lnTo>
                    <a:pt x="4" y="413"/>
                  </a:lnTo>
                  <a:lnTo>
                    <a:pt x="7" y="359"/>
                  </a:lnTo>
                  <a:lnTo>
                    <a:pt x="14" y="308"/>
                  </a:lnTo>
                  <a:lnTo>
                    <a:pt x="22" y="262"/>
                  </a:lnTo>
                  <a:lnTo>
                    <a:pt x="34" y="218"/>
                  </a:lnTo>
                  <a:lnTo>
                    <a:pt x="49" y="179"/>
                  </a:lnTo>
                  <a:lnTo>
                    <a:pt x="68" y="144"/>
                  </a:lnTo>
                  <a:lnTo>
                    <a:pt x="92" y="111"/>
                  </a:lnTo>
                  <a:lnTo>
                    <a:pt x="119" y="84"/>
                  </a:lnTo>
                  <a:lnTo>
                    <a:pt x="153" y="61"/>
                  </a:lnTo>
                  <a:lnTo>
                    <a:pt x="190" y="40"/>
                  </a:lnTo>
                  <a:lnTo>
                    <a:pt x="236" y="23"/>
                  </a:lnTo>
                  <a:lnTo>
                    <a:pt x="285" y="11"/>
                  </a:lnTo>
                  <a:lnTo>
                    <a:pt x="342" y="3"/>
                  </a:lnTo>
                  <a:lnTo>
                    <a:pt x="407" y="0"/>
                  </a:lnTo>
                  <a:lnTo>
                    <a:pt x="480" y="0"/>
                  </a:lnTo>
                  <a:lnTo>
                    <a:pt x="492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5" name="Freeform 2255"/>
            <p:cNvSpPr>
              <a:spLocks/>
            </p:cNvSpPr>
            <p:nvPr/>
          </p:nvSpPr>
          <p:spPr bwMode="auto">
            <a:xfrm>
              <a:off x="9127446" y="74601"/>
              <a:ext cx="388938" cy="949325"/>
            </a:xfrm>
            <a:custGeom>
              <a:avLst/>
              <a:gdLst>
                <a:gd name="T0" fmla="*/ 10 w 489"/>
                <a:gd name="T1" fmla="*/ 0 h 1195"/>
                <a:gd name="T2" fmla="*/ 67 w 489"/>
                <a:gd name="T3" fmla="*/ 1 h 1195"/>
                <a:gd name="T4" fmla="*/ 121 w 489"/>
                <a:gd name="T5" fmla="*/ 10 h 1195"/>
                <a:gd name="T6" fmla="*/ 174 w 489"/>
                <a:gd name="T7" fmla="*/ 22 h 1195"/>
                <a:gd name="T8" fmla="*/ 223 w 489"/>
                <a:gd name="T9" fmla="*/ 40 h 1195"/>
                <a:gd name="T10" fmla="*/ 269 w 489"/>
                <a:gd name="T11" fmla="*/ 64 h 1195"/>
                <a:gd name="T12" fmla="*/ 311 w 489"/>
                <a:gd name="T13" fmla="*/ 93 h 1195"/>
                <a:gd name="T14" fmla="*/ 350 w 489"/>
                <a:gd name="T15" fmla="*/ 128 h 1195"/>
                <a:gd name="T16" fmla="*/ 386 w 489"/>
                <a:gd name="T17" fmla="*/ 169 h 1195"/>
                <a:gd name="T18" fmla="*/ 416 w 489"/>
                <a:gd name="T19" fmla="*/ 215 h 1195"/>
                <a:gd name="T20" fmla="*/ 442 w 489"/>
                <a:gd name="T21" fmla="*/ 265 h 1195"/>
                <a:gd name="T22" fmla="*/ 462 w 489"/>
                <a:gd name="T23" fmla="*/ 323 h 1195"/>
                <a:gd name="T24" fmla="*/ 477 w 489"/>
                <a:gd name="T25" fmla="*/ 387 h 1195"/>
                <a:gd name="T26" fmla="*/ 486 w 489"/>
                <a:gd name="T27" fmla="*/ 457 h 1195"/>
                <a:gd name="T28" fmla="*/ 489 w 489"/>
                <a:gd name="T29" fmla="*/ 531 h 1195"/>
                <a:gd name="T30" fmla="*/ 486 w 489"/>
                <a:gd name="T31" fmla="*/ 614 h 1195"/>
                <a:gd name="T32" fmla="*/ 474 w 489"/>
                <a:gd name="T33" fmla="*/ 696 h 1195"/>
                <a:gd name="T34" fmla="*/ 455 w 489"/>
                <a:gd name="T35" fmla="*/ 772 h 1195"/>
                <a:gd name="T36" fmla="*/ 431 w 489"/>
                <a:gd name="T37" fmla="*/ 843 h 1195"/>
                <a:gd name="T38" fmla="*/ 401 w 489"/>
                <a:gd name="T39" fmla="*/ 911 h 1195"/>
                <a:gd name="T40" fmla="*/ 365 w 489"/>
                <a:gd name="T41" fmla="*/ 972 h 1195"/>
                <a:gd name="T42" fmla="*/ 325 w 489"/>
                <a:gd name="T43" fmla="*/ 1028 h 1195"/>
                <a:gd name="T44" fmla="*/ 279 w 489"/>
                <a:gd name="T45" fmla="*/ 1077 h 1195"/>
                <a:gd name="T46" fmla="*/ 230 w 489"/>
                <a:gd name="T47" fmla="*/ 1117 h 1195"/>
                <a:gd name="T48" fmla="*/ 176 w 489"/>
                <a:gd name="T49" fmla="*/ 1150 h 1195"/>
                <a:gd name="T50" fmla="*/ 120 w 489"/>
                <a:gd name="T51" fmla="*/ 1175 h 1195"/>
                <a:gd name="T52" fmla="*/ 60 w 489"/>
                <a:gd name="T53" fmla="*/ 1190 h 1195"/>
                <a:gd name="T54" fmla="*/ 0 w 489"/>
                <a:gd name="T55" fmla="*/ 1195 h 1195"/>
                <a:gd name="T56" fmla="*/ 0 w 489"/>
                <a:gd name="T57" fmla="*/ 0 h 1195"/>
                <a:gd name="T58" fmla="*/ 10 w 489"/>
                <a:gd name="T59" fmla="*/ 0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9" h="1195">
                  <a:moveTo>
                    <a:pt x="10" y="0"/>
                  </a:moveTo>
                  <a:lnTo>
                    <a:pt x="67" y="1"/>
                  </a:lnTo>
                  <a:lnTo>
                    <a:pt x="121" y="10"/>
                  </a:lnTo>
                  <a:lnTo>
                    <a:pt x="174" y="22"/>
                  </a:lnTo>
                  <a:lnTo>
                    <a:pt x="223" y="40"/>
                  </a:lnTo>
                  <a:lnTo>
                    <a:pt x="269" y="64"/>
                  </a:lnTo>
                  <a:lnTo>
                    <a:pt x="311" y="93"/>
                  </a:lnTo>
                  <a:lnTo>
                    <a:pt x="350" y="128"/>
                  </a:lnTo>
                  <a:lnTo>
                    <a:pt x="386" y="169"/>
                  </a:lnTo>
                  <a:lnTo>
                    <a:pt x="416" y="215"/>
                  </a:lnTo>
                  <a:lnTo>
                    <a:pt x="442" y="265"/>
                  </a:lnTo>
                  <a:lnTo>
                    <a:pt x="462" y="323"/>
                  </a:lnTo>
                  <a:lnTo>
                    <a:pt x="477" y="387"/>
                  </a:lnTo>
                  <a:lnTo>
                    <a:pt x="486" y="457"/>
                  </a:lnTo>
                  <a:lnTo>
                    <a:pt x="489" y="531"/>
                  </a:lnTo>
                  <a:lnTo>
                    <a:pt x="486" y="614"/>
                  </a:lnTo>
                  <a:lnTo>
                    <a:pt x="474" y="696"/>
                  </a:lnTo>
                  <a:lnTo>
                    <a:pt x="455" y="772"/>
                  </a:lnTo>
                  <a:lnTo>
                    <a:pt x="431" y="843"/>
                  </a:lnTo>
                  <a:lnTo>
                    <a:pt x="401" y="911"/>
                  </a:lnTo>
                  <a:lnTo>
                    <a:pt x="365" y="972"/>
                  </a:lnTo>
                  <a:lnTo>
                    <a:pt x="325" y="1028"/>
                  </a:lnTo>
                  <a:lnTo>
                    <a:pt x="279" y="1077"/>
                  </a:lnTo>
                  <a:lnTo>
                    <a:pt x="230" y="1117"/>
                  </a:lnTo>
                  <a:lnTo>
                    <a:pt x="176" y="1150"/>
                  </a:lnTo>
                  <a:lnTo>
                    <a:pt x="120" y="1175"/>
                  </a:lnTo>
                  <a:lnTo>
                    <a:pt x="60" y="1190"/>
                  </a:lnTo>
                  <a:lnTo>
                    <a:pt x="0" y="1195"/>
                  </a:lnTo>
                  <a:lnTo>
                    <a:pt x="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6" name="Freeform 2256"/>
            <p:cNvSpPr>
              <a:spLocks/>
            </p:cNvSpPr>
            <p:nvPr/>
          </p:nvSpPr>
          <p:spPr bwMode="auto">
            <a:xfrm>
              <a:off x="8716283" y="-98437"/>
              <a:ext cx="812800" cy="657225"/>
            </a:xfrm>
            <a:custGeom>
              <a:avLst/>
              <a:gdLst>
                <a:gd name="T0" fmla="*/ 525 w 1025"/>
                <a:gd name="T1" fmla="*/ 0 h 828"/>
                <a:gd name="T2" fmla="*/ 662 w 1025"/>
                <a:gd name="T3" fmla="*/ 19 h 828"/>
                <a:gd name="T4" fmla="*/ 771 w 1025"/>
                <a:gd name="T5" fmla="*/ 59 h 828"/>
                <a:gd name="T6" fmla="*/ 856 w 1025"/>
                <a:gd name="T7" fmla="*/ 115 h 828"/>
                <a:gd name="T8" fmla="*/ 918 w 1025"/>
                <a:gd name="T9" fmla="*/ 183 h 828"/>
                <a:gd name="T10" fmla="*/ 964 w 1025"/>
                <a:gd name="T11" fmla="*/ 254 h 828"/>
                <a:gd name="T12" fmla="*/ 994 w 1025"/>
                <a:gd name="T13" fmla="*/ 322 h 828"/>
                <a:gd name="T14" fmla="*/ 1013 w 1025"/>
                <a:gd name="T15" fmla="*/ 383 h 828"/>
                <a:gd name="T16" fmla="*/ 1022 w 1025"/>
                <a:gd name="T17" fmla="*/ 430 h 828"/>
                <a:gd name="T18" fmla="*/ 1025 w 1025"/>
                <a:gd name="T19" fmla="*/ 456 h 828"/>
                <a:gd name="T20" fmla="*/ 1025 w 1025"/>
                <a:gd name="T21" fmla="*/ 466 h 828"/>
                <a:gd name="T22" fmla="*/ 1023 w 1025"/>
                <a:gd name="T23" fmla="*/ 510 h 828"/>
                <a:gd name="T24" fmla="*/ 1020 w 1025"/>
                <a:gd name="T25" fmla="*/ 581 h 828"/>
                <a:gd name="T26" fmla="*/ 1016 w 1025"/>
                <a:gd name="T27" fmla="*/ 666 h 828"/>
                <a:gd name="T28" fmla="*/ 1011 w 1025"/>
                <a:gd name="T29" fmla="*/ 747 h 828"/>
                <a:gd name="T30" fmla="*/ 1005 w 1025"/>
                <a:gd name="T31" fmla="*/ 810 h 828"/>
                <a:gd name="T32" fmla="*/ 981 w 1025"/>
                <a:gd name="T33" fmla="*/ 825 h 828"/>
                <a:gd name="T34" fmla="*/ 935 w 1025"/>
                <a:gd name="T35" fmla="*/ 449 h 828"/>
                <a:gd name="T36" fmla="*/ 925 w 1025"/>
                <a:gd name="T37" fmla="*/ 462 h 828"/>
                <a:gd name="T38" fmla="*/ 901 w 1025"/>
                <a:gd name="T39" fmla="*/ 481 h 828"/>
                <a:gd name="T40" fmla="*/ 862 w 1025"/>
                <a:gd name="T41" fmla="*/ 498 h 828"/>
                <a:gd name="T42" fmla="*/ 808 w 1025"/>
                <a:gd name="T43" fmla="*/ 503 h 828"/>
                <a:gd name="T44" fmla="*/ 735 w 1025"/>
                <a:gd name="T45" fmla="*/ 486 h 828"/>
                <a:gd name="T46" fmla="*/ 678 w 1025"/>
                <a:gd name="T47" fmla="*/ 457 h 828"/>
                <a:gd name="T48" fmla="*/ 615 w 1025"/>
                <a:gd name="T49" fmla="*/ 417 h 828"/>
                <a:gd name="T50" fmla="*/ 549 w 1025"/>
                <a:gd name="T51" fmla="*/ 373 h 828"/>
                <a:gd name="T52" fmla="*/ 478 w 1025"/>
                <a:gd name="T53" fmla="*/ 332 h 828"/>
                <a:gd name="T54" fmla="*/ 400 w 1025"/>
                <a:gd name="T55" fmla="*/ 302 h 828"/>
                <a:gd name="T56" fmla="*/ 315 w 1025"/>
                <a:gd name="T57" fmla="*/ 290 h 828"/>
                <a:gd name="T58" fmla="*/ 224 w 1025"/>
                <a:gd name="T59" fmla="*/ 303 h 828"/>
                <a:gd name="T60" fmla="*/ 122 w 1025"/>
                <a:gd name="T61" fmla="*/ 349 h 828"/>
                <a:gd name="T62" fmla="*/ 114 w 1025"/>
                <a:gd name="T63" fmla="*/ 361 h 828"/>
                <a:gd name="T64" fmla="*/ 97 w 1025"/>
                <a:gd name="T65" fmla="*/ 390 h 828"/>
                <a:gd name="T66" fmla="*/ 82 w 1025"/>
                <a:gd name="T67" fmla="*/ 420 h 828"/>
                <a:gd name="T68" fmla="*/ 76 w 1025"/>
                <a:gd name="T69" fmla="*/ 446 h 828"/>
                <a:gd name="T70" fmla="*/ 70 w 1025"/>
                <a:gd name="T71" fmla="*/ 495 h 828"/>
                <a:gd name="T72" fmla="*/ 61 w 1025"/>
                <a:gd name="T73" fmla="*/ 566 h 828"/>
                <a:gd name="T74" fmla="*/ 53 w 1025"/>
                <a:gd name="T75" fmla="*/ 649 h 828"/>
                <a:gd name="T76" fmla="*/ 46 w 1025"/>
                <a:gd name="T77" fmla="*/ 730 h 828"/>
                <a:gd name="T78" fmla="*/ 46 w 1025"/>
                <a:gd name="T79" fmla="*/ 794 h 828"/>
                <a:gd name="T80" fmla="*/ 26 w 1025"/>
                <a:gd name="T81" fmla="*/ 793 h 828"/>
                <a:gd name="T82" fmla="*/ 24 w 1025"/>
                <a:gd name="T83" fmla="*/ 771 h 828"/>
                <a:gd name="T84" fmla="*/ 17 w 1025"/>
                <a:gd name="T85" fmla="*/ 716 h 828"/>
                <a:gd name="T86" fmla="*/ 10 w 1025"/>
                <a:gd name="T87" fmla="*/ 639 h 828"/>
                <a:gd name="T88" fmla="*/ 4 w 1025"/>
                <a:gd name="T89" fmla="*/ 554 h 828"/>
                <a:gd name="T90" fmla="*/ 0 w 1025"/>
                <a:gd name="T91" fmla="*/ 473 h 828"/>
                <a:gd name="T92" fmla="*/ 4 w 1025"/>
                <a:gd name="T93" fmla="*/ 407 h 828"/>
                <a:gd name="T94" fmla="*/ 14 w 1025"/>
                <a:gd name="T95" fmla="*/ 371 h 828"/>
                <a:gd name="T96" fmla="*/ 46 w 1025"/>
                <a:gd name="T97" fmla="*/ 346 h 828"/>
                <a:gd name="T98" fmla="*/ 65 w 1025"/>
                <a:gd name="T99" fmla="*/ 340 h 828"/>
                <a:gd name="T100" fmla="*/ 71 w 1025"/>
                <a:gd name="T101" fmla="*/ 342 h 828"/>
                <a:gd name="T102" fmla="*/ 65 w 1025"/>
                <a:gd name="T103" fmla="*/ 330 h 828"/>
                <a:gd name="T104" fmla="*/ 51 w 1025"/>
                <a:gd name="T105" fmla="*/ 300 h 828"/>
                <a:gd name="T106" fmla="*/ 39 w 1025"/>
                <a:gd name="T107" fmla="*/ 264 h 828"/>
                <a:gd name="T108" fmla="*/ 41 w 1025"/>
                <a:gd name="T109" fmla="*/ 232 h 828"/>
                <a:gd name="T110" fmla="*/ 53 w 1025"/>
                <a:gd name="T111" fmla="*/ 210 h 828"/>
                <a:gd name="T112" fmla="*/ 76 w 1025"/>
                <a:gd name="T113" fmla="*/ 175 h 828"/>
                <a:gd name="T114" fmla="*/ 117 w 1025"/>
                <a:gd name="T115" fmla="*/ 132 h 828"/>
                <a:gd name="T116" fmla="*/ 173 w 1025"/>
                <a:gd name="T117" fmla="*/ 86 h 828"/>
                <a:gd name="T118" fmla="*/ 248 w 1025"/>
                <a:gd name="T119" fmla="*/ 46 h 828"/>
                <a:gd name="T120" fmla="*/ 341 w 1025"/>
                <a:gd name="T121" fmla="*/ 14 h 828"/>
                <a:gd name="T122" fmla="*/ 458 w 1025"/>
                <a:gd name="T123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25" h="828">
                  <a:moveTo>
                    <a:pt x="458" y="0"/>
                  </a:moveTo>
                  <a:lnTo>
                    <a:pt x="525" y="0"/>
                  </a:lnTo>
                  <a:lnTo>
                    <a:pt x="598" y="7"/>
                  </a:lnTo>
                  <a:lnTo>
                    <a:pt x="662" y="19"/>
                  </a:lnTo>
                  <a:lnTo>
                    <a:pt x="720" y="37"/>
                  </a:lnTo>
                  <a:lnTo>
                    <a:pt x="771" y="59"/>
                  </a:lnTo>
                  <a:lnTo>
                    <a:pt x="815" y="86"/>
                  </a:lnTo>
                  <a:lnTo>
                    <a:pt x="856" y="115"/>
                  </a:lnTo>
                  <a:lnTo>
                    <a:pt x="889" y="149"/>
                  </a:lnTo>
                  <a:lnTo>
                    <a:pt x="918" y="183"/>
                  </a:lnTo>
                  <a:lnTo>
                    <a:pt x="944" y="219"/>
                  </a:lnTo>
                  <a:lnTo>
                    <a:pt x="964" y="254"/>
                  </a:lnTo>
                  <a:lnTo>
                    <a:pt x="981" y="288"/>
                  </a:lnTo>
                  <a:lnTo>
                    <a:pt x="994" y="322"/>
                  </a:lnTo>
                  <a:lnTo>
                    <a:pt x="1005" y="354"/>
                  </a:lnTo>
                  <a:lnTo>
                    <a:pt x="1013" y="383"/>
                  </a:lnTo>
                  <a:lnTo>
                    <a:pt x="1018" y="408"/>
                  </a:lnTo>
                  <a:lnTo>
                    <a:pt x="1022" y="430"/>
                  </a:lnTo>
                  <a:lnTo>
                    <a:pt x="1025" y="446"/>
                  </a:lnTo>
                  <a:lnTo>
                    <a:pt x="1025" y="456"/>
                  </a:lnTo>
                  <a:lnTo>
                    <a:pt x="1025" y="459"/>
                  </a:lnTo>
                  <a:lnTo>
                    <a:pt x="1025" y="466"/>
                  </a:lnTo>
                  <a:lnTo>
                    <a:pt x="1025" y="483"/>
                  </a:lnTo>
                  <a:lnTo>
                    <a:pt x="1023" y="510"/>
                  </a:lnTo>
                  <a:lnTo>
                    <a:pt x="1022" y="542"/>
                  </a:lnTo>
                  <a:lnTo>
                    <a:pt x="1020" y="581"/>
                  </a:lnTo>
                  <a:lnTo>
                    <a:pt x="1018" y="622"/>
                  </a:lnTo>
                  <a:lnTo>
                    <a:pt x="1016" y="666"/>
                  </a:lnTo>
                  <a:lnTo>
                    <a:pt x="1013" y="706"/>
                  </a:lnTo>
                  <a:lnTo>
                    <a:pt x="1011" y="747"/>
                  </a:lnTo>
                  <a:lnTo>
                    <a:pt x="1008" y="781"/>
                  </a:lnTo>
                  <a:lnTo>
                    <a:pt x="1005" y="810"/>
                  </a:lnTo>
                  <a:lnTo>
                    <a:pt x="1003" y="828"/>
                  </a:lnTo>
                  <a:lnTo>
                    <a:pt x="981" y="825"/>
                  </a:lnTo>
                  <a:lnTo>
                    <a:pt x="937" y="447"/>
                  </a:lnTo>
                  <a:lnTo>
                    <a:pt x="935" y="449"/>
                  </a:lnTo>
                  <a:lnTo>
                    <a:pt x="932" y="454"/>
                  </a:lnTo>
                  <a:lnTo>
                    <a:pt x="925" y="462"/>
                  </a:lnTo>
                  <a:lnTo>
                    <a:pt x="915" y="473"/>
                  </a:lnTo>
                  <a:lnTo>
                    <a:pt x="901" y="481"/>
                  </a:lnTo>
                  <a:lnTo>
                    <a:pt x="884" y="491"/>
                  </a:lnTo>
                  <a:lnTo>
                    <a:pt x="862" y="498"/>
                  </a:lnTo>
                  <a:lnTo>
                    <a:pt x="839" y="501"/>
                  </a:lnTo>
                  <a:lnTo>
                    <a:pt x="808" y="503"/>
                  </a:lnTo>
                  <a:lnTo>
                    <a:pt x="774" y="498"/>
                  </a:lnTo>
                  <a:lnTo>
                    <a:pt x="735" y="486"/>
                  </a:lnTo>
                  <a:lnTo>
                    <a:pt x="708" y="474"/>
                  </a:lnTo>
                  <a:lnTo>
                    <a:pt x="678" y="457"/>
                  </a:lnTo>
                  <a:lnTo>
                    <a:pt x="647" y="439"/>
                  </a:lnTo>
                  <a:lnTo>
                    <a:pt x="615" y="417"/>
                  </a:lnTo>
                  <a:lnTo>
                    <a:pt x="583" y="395"/>
                  </a:lnTo>
                  <a:lnTo>
                    <a:pt x="549" y="373"/>
                  </a:lnTo>
                  <a:lnTo>
                    <a:pt x="513" y="351"/>
                  </a:lnTo>
                  <a:lnTo>
                    <a:pt x="478" y="332"/>
                  </a:lnTo>
                  <a:lnTo>
                    <a:pt x="439" y="315"/>
                  </a:lnTo>
                  <a:lnTo>
                    <a:pt x="400" y="302"/>
                  </a:lnTo>
                  <a:lnTo>
                    <a:pt x="358" y="293"/>
                  </a:lnTo>
                  <a:lnTo>
                    <a:pt x="315" y="290"/>
                  </a:lnTo>
                  <a:lnTo>
                    <a:pt x="270" y="293"/>
                  </a:lnTo>
                  <a:lnTo>
                    <a:pt x="224" y="303"/>
                  </a:lnTo>
                  <a:lnTo>
                    <a:pt x="175" y="322"/>
                  </a:lnTo>
                  <a:lnTo>
                    <a:pt x="122" y="349"/>
                  </a:lnTo>
                  <a:lnTo>
                    <a:pt x="121" y="352"/>
                  </a:lnTo>
                  <a:lnTo>
                    <a:pt x="114" y="361"/>
                  </a:lnTo>
                  <a:lnTo>
                    <a:pt x="105" y="374"/>
                  </a:lnTo>
                  <a:lnTo>
                    <a:pt x="97" y="390"/>
                  </a:lnTo>
                  <a:lnTo>
                    <a:pt x="88" y="405"/>
                  </a:lnTo>
                  <a:lnTo>
                    <a:pt x="82" y="420"/>
                  </a:lnTo>
                  <a:lnTo>
                    <a:pt x="78" y="434"/>
                  </a:lnTo>
                  <a:lnTo>
                    <a:pt x="76" y="446"/>
                  </a:lnTo>
                  <a:lnTo>
                    <a:pt x="75" y="466"/>
                  </a:lnTo>
                  <a:lnTo>
                    <a:pt x="70" y="495"/>
                  </a:lnTo>
                  <a:lnTo>
                    <a:pt x="66" y="528"/>
                  </a:lnTo>
                  <a:lnTo>
                    <a:pt x="61" y="566"/>
                  </a:lnTo>
                  <a:lnTo>
                    <a:pt x="56" y="606"/>
                  </a:lnTo>
                  <a:lnTo>
                    <a:pt x="53" y="649"/>
                  </a:lnTo>
                  <a:lnTo>
                    <a:pt x="48" y="691"/>
                  </a:lnTo>
                  <a:lnTo>
                    <a:pt x="46" y="730"/>
                  </a:lnTo>
                  <a:lnTo>
                    <a:pt x="46" y="764"/>
                  </a:lnTo>
                  <a:lnTo>
                    <a:pt x="46" y="794"/>
                  </a:lnTo>
                  <a:lnTo>
                    <a:pt x="49" y="816"/>
                  </a:lnTo>
                  <a:lnTo>
                    <a:pt x="26" y="793"/>
                  </a:lnTo>
                  <a:lnTo>
                    <a:pt x="26" y="786"/>
                  </a:lnTo>
                  <a:lnTo>
                    <a:pt x="24" y="771"/>
                  </a:lnTo>
                  <a:lnTo>
                    <a:pt x="21" y="747"/>
                  </a:lnTo>
                  <a:lnTo>
                    <a:pt x="17" y="716"/>
                  </a:lnTo>
                  <a:lnTo>
                    <a:pt x="14" y="679"/>
                  </a:lnTo>
                  <a:lnTo>
                    <a:pt x="10" y="639"/>
                  </a:lnTo>
                  <a:lnTo>
                    <a:pt x="5" y="596"/>
                  </a:lnTo>
                  <a:lnTo>
                    <a:pt x="4" y="554"/>
                  </a:lnTo>
                  <a:lnTo>
                    <a:pt x="0" y="512"/>
                  </a:lnTo>
                  <a:lnTo>
                    <a:pt x="0" y="473"/>
                  </a:lnTo>
                  <a:lnTo>
                    <a:pt x="0" y="437"/>
                  </a:lnTo>
                  <a:lnTo>
                    <a:pt x="4" y="407"/>
                  </a:lnTo>
                  <a:lnTo>
                    <a:pt x="7" y="385"/>
                  </a:lnTo>
                  <a:lnTo>
                    <a:pt x="14" y="371"/>
                  </a:lnTo>
                  <a:lnTo>
                    <a:pt x="31" y="354"/>
                  </a:lnTo>
                  <a:lnTo>
                    <a:pt x="46" y="346"/>
                  </a:lnTo>
                  <a:lnTo>
                    <a:pt x="56" y="340"/>
                  </a:lnTo>
                  <a:lnTo>
                    <a:pt x="65" y="340"/>
                  </a:lnTo>
                  <a:lnTo>
                    <a:pt x="70" y="342"/>
                  </a:lnTo>
                  <a:lnTo>
                    <a:pt x="71" y="342"/>
                  </a:lnTo>
                  <a:lnTo>
                    <a:pt x="70" y="339"/>
                  </a:lnTo>
                  <a:lnTo>
                    <a:pt x="65" y="330"/>
                  </a:lnTo>
                  <a:lnTo>
                    <a:pt x="58" y="317"/>
                  </a:lnTo>
                  <a:lnTo>
                    <a:pt x="51" y="300"/>
                  </a:lnTo>
                  <a:lnTo>
                    <a:pt x="44" y="283"/>
                  </a:lnTo>
                  <a:lnTo>
                    <a:pt x="39" y="264"/>
                  </a:lnTo>
                  <a:lnTo>
                    <a:pt x="38" y="247"/>
                  </a:lnTo>
                  <a:lnTo>
                    <a:pt x="41" y="232"/>
                  </a:lnTo>
                  <a:lnTo>
                    <a:pt x="44" y="224"/>
                  </a:lnTo>
                  <a:lnTo>
                    <a:pt x="53" y="210"/>
                  </a:lnTo>
                  <a:lnTo>
                    <a:pt x="63" y="195"/>
                  </a:lnTo>
                  <a:lnTo>
                    <a:pt x="76" y="175"/>
                  </a:lnTo>
                  <a:lnTo>
                    <a:pt x="95" y="154"/>
                  </a:lnTo>
                  <a:lnTo>
                    <a:pt x="117" y="132"/>
                  </a:lnTo>
                  <a:lnTo>
                    <a:pt x="143" y="108"/>
                  </a:lnTo>
                  <a:lnTo>
                    <a:pt x="173" y="86"/>
                  </a:lnTo>
                  <a:lnTo>
                    <a:pt x="207" y="64"/>
                  </a:lnTo>
                  <a:lnTo>
                    <a:pt x="248" y="46"/>
                  </a:lnTo>
                  <a:lnTo>
                    <a:pt x="292" y="29"/>
                  </a:lnTo>
                  <a:lnTo>
                    <a:pt x="341" y="14"/>
                  </a:lnTo>
                  <a:lnTo>
                    <a:pt x="397" y="5"/>
                  </a:lnTo>
                  <a:lnTo>
                    <a:pt x="45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7" name="Freeform 2257"/>
            <p:cNvSpPr>
              <a:spLocks/>
            </p:cNvSpPr>
            <p:nvPr/>
          </p:nvSpPr>
          <p:spPr bwMode="auto">
            <a:xfrm>
              <a:off x="8800421" y="339714"/>
              <a:ext cx="254000" cy="57150"/>
            </a:xfrm>
            <a:custGeom>
              <a:avLst/>
              <a:gdLst>
                <a:gd name="T0" fmla="*/ 164 w 318"/>
                <a:gd name="T1" fmla="*/ 0 h 71"/>
                <a:gd name="T2" fmla="*/ 207 w 318"/>
                <a:gd name="T3" fmla="*/ 2 h 71"/>
                <a:gd name="T4" fmla="*/ 252 w 318"/>
                <a:gd name="T5" fmla="*/ 7 h 71"/>
                <a:gd name="T6" fmla="*/ 303 w 318"/>
                <a:gd name="T7" fmla="*/ 20 h 71"/>
                <a:gd name="T8" fmla="*/ 310 w 318"/>
                <a:gd name="T9" fmla="*/ 22 h 71"/>
                <a:gd name="T10" fmla="*/ 313 w 318"/>
                <a:gd name="T11" fmla="*/ 27 h 71"/>
                <a:gd name="T12" fmla="*/ 317 w 318"/>
                <a:gd name="T13" fmla="*/ 32 h 71"/>
                <a:gd name="T14" fmla="*/ 318 w 318"/>
                <a:gd name="T15" fmla="*/ 39 h 71"/>
                <a:gd name="T16" fmla="*/ 317 w 318"/>
                <a:gd name="T17" fmla="*/ 46 h 71"/>
                <a:gd name="T18" fmla="*/ 315 w 318"/>
                <a:gd name="T19" fmla="*/ 51 h 71"/>
                <a:gd name="T20" fmla="*/ 310 w 318"/>
                <a:gd name="T21" fmla="*/ 56 h 71"/>
                <a:gd name="T22" fmla="*/ 305 w 318"/>
                <a:gd name="T23" fmla="*/ 59 h 71"/>
                <a:gd name="T24" fmla="*/ 300 w 318"/>
                <a:gd name="T25" fmla="*/ 61 h 71"/>
                <a:gd name="T26" fmla="*/ 293 w 318"/>
                <a:gd name="T27" fmla="*/ 59 h 71"/>
                <a:gd name="T28" fmla="*/ 244 w 318"/>
                <a:gd name="T29" fmla="*/ 47 h 71"/>
                <a:gd name="T30" fmla="*/ 198 w 318"/>
                <a:gd name="T31" fmla="*/ 42 h 71"/>
                <a:gd name="T32" fmla="*/ 156 w 318"/>
                <a:gd name="T33" fmla="*/ 41 h 71"/>
                <a:gd name="T34" fmla="*/ 120 w 318"/>
                <a:gd name="T35" fmla="*/ 44 h 71"/>
                <a:gd name="T36" fmla="*/ 88 w 318"/>
                <a:gd name="T37" fmla="*/ 49 h 71"/>
                <a:gd name="T38" fmla="*/ 63 w 318"/>
                <a:gd name="T39" fmla="*/ 56 h 71"/>
                <a:gd name="T40" fmla="*/ 44 w 318"/>
                <a:gd name="T41" fmla="*/ 63 h 71"/>
                <a:gd name="T42" fmla="*/ 32 w 318"/>
                <a:gd name="T43" fmla="*/ 66 h 71"/>
                <a:gd name="T44" fmla="*/ 27 w 318"/>
                <a:gd name="T45" fmla="*/ 69 h 71"/>
                <a:gd name="T46" fmla="*/ 24 w 318"/>
                <a:gd name="T47" fmla="*/ 71 h 71"/>
                <a:gd name="T48" fmla="*/ 19 w 318"/>
                <a:gd name="T49" fmla="*/ 71 h 71"/>
                <a:gd name="T50" fmla="*/ 14 w 318"/>
                <a:gd name="T51" fmla="*/ 69 h 71"/>
                <a:gd name="T52" fmla="*/ 8 w 318"/>
                <a:gd name="T53" fmla="*/ 68 h 71"/>
                <a:gd name="T54" fmla="*/ 5 w 318"/>
                <a:gd name="T55" fmla="*/ 64 h 71"/>
                <a:gd name="T56" fmla="*/ 2 w 318"/>
                <a:gd name="T57" fmla="*/ 59 h 71"/>
                <a:gd name="T58" fmla="*/ 0 w 318"/>
                <a:gd name="T59" fmla="*/ 49 h 71"/>
                <a:gd name="T60" fmla="*/ 3 w 318"/>
                <a:gd name="T61" fmla="*/ 39 h 71"/>
                <a:gd name="T62" fmla="*/ 10 w 318"/>
                <a:gd name="T63" fmla="*/ 32 h 71"/>
                <a:gd name="T64" fmla="*/ 15 w 318"/>
                <a:gd name="T65" fmla="*/ 30 h 71"/>
                <a:gd name="T66" fmla="*/ 25 w 318"/>
                <a:gd name="T67" fmla="*/ 25 h 71"/>
                <a:gd name="T68" fmla="*/ 42 w 318"/>
                <a:gd name="T69" fmla="*/ 19 h 71"/>
                <a:gd name="T70" fmla="*/ 66 w 318"/>
                <a:gd name="T71" fmla="*/ 12 h 71"/>
                <a:gd name="T72" fmla="*/ 95 w 318"/>
                <a:gd name="T73" fmla="*/ 5 h 71"/>
                <a:gd name="T74" fmla="*/ 125 w 318"/>
                <a:gd name="T75" fmla="*/ 2 h 71"/>
                <a:gd name="T76" fmla="*/ 164 w 318"/>
                <a:gd name="T7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8" h="71">
                  <a:moveTo>
                    <a:pt x="164" y="0"/>
                  </a:moveTo>
                  <a:lnTo>
                    <a:pt x="207" y="2"/>
                  </a:lnTo>
                  <a:lnTo>
                    <a:pt x="252" y="7"/>
                  </a:lnTo>
                  <a:lnTo>
                    <a:pt x="303" y="20"/>
                  </a:lnTo>
                  <a:lnTo>
                    <a:pt x="310" y="22"/>
                  </a:lnTo>
                  <a:lnTo>
                    <a:pt x="313" y="27"/>
                  </a:lnTo>
                  <a:lnTo>
                    <a:pt x="317" y="32"/>
                  </a:lnTo>
                  <a:lnTo>
                    <a:pt x="318" y="39"/>
                  </a:lnTo>
                  <a:lnTo>
                    <a:pt x="317" y="46"/>
                  </a:lnTo>
                  <a:lnTo>
                    <a:pt x="315" y="51"/>
                  </a:lnTo>
                  <a:lnTo>
                    <a:pt x="310" y="56"/>
                  </a:lnTo>
                  <a:lnTo>
                    <a:pt x="305" y="59"/>
                  </a:lnTo>
                  <a:lnTo>
                    <a:pt x="300" y="61"/>
                  </a:lnTo>
                  <a:lnTo>
                    <a:pt x="293" y="59"/>
                  </a:lnTo>
                  <a:lnTo>
                    <a:pt x="244" y="47"/>
                  </a:lnTo>
                  <a:lnTo>
                    <a:pt x="198" y="42"/>
                  </a:lnTo>
                  <a:lnTo>
                    <a:pt x="156" y="41"/>
                  </a:lnTo>
                  <a:lnTo>
                    <a:pt x="120" y="44"/>
                  </a:lnTo>
                  <a:lnTo>
                    <a:pt x="88" y="49"/>
                  </a:lnTo>
                  <a:lnTo>
                    <a:pt x="63" y="56"/>
                  </a:lnTo>
                  <a:lnTo>
                    <a:pt x="44" y="63"/>
                  </a:lnTo>
                  <a:lnTo>
                    <a:pt x="32" y="66"/>
                  </a:lnTo>
                  <a:lnTo>
                    <a:pt x="27" y="69"/>
                  </a:lnTo>
                  <a:lnTo>
                    <a:pt x="24" y="71"/>
                  </a:lnTo>
                  <a:lnTo>
                    <a:pt x="19" y="71"/>
                  </a:lnTo>
                  <a:lnTo>
                    <a:pt x="14" y="69"/>
                  </a:lnTo>
                  <a:lnTo>
                    <a:pt x="8" y="68"/>
                  </a:lnTo>
                  <a:lnTo>
                    <a:pt x="5" y="64"/>
                  </a:lnTo>
                  <a:lnTo>
                    <a:pt x="2" y="59"/>
                  </a:lnTo>
                  <a:lnTo>
                    <a:pt x="0" y="49"/>
                  </a:lnTo>
                  <a:lnTo>
                    <a:pt x="3" y="39"/>
                  </a:lnTo>
                  <a:lnTo>
                    <a:pt x="10" y="32"/>
                  </a:lnTo>
                  <a:lnTo>
                    <a:pt x="15" y="30"/>
                  </a:lnTo>
                  <a:lnTo>
                    <a:pt x="25" y="25"/>
                  </a:lnTo>
                  <a:lnTo>
                    <a:pt x="42" y="19"/>
                  </a:lnTo>
                  <a:lnTo>
                    <a:pt x="66" y="12"/>
                  </a:lnTo>
                  <a:lnTo>
                    <a:pt x="95" y="5"/>
                  </a:lnTo>
                  <a:lnTo>
                    <a:pt x="125" y="2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8" name="Freeform 2258"/>
            <p:cNvSpPr>
              <a:spLocks/>
            </p:cNvSpPr>
            <p:nvPr/>
          </p:nvSpPr>
          <p:spPr bwMode="auto">
            <a:xfrm>
              <a:off x="9170308" y="339714"/>
              <a:ext cx="250825" cy="57150"/>
            </a:xfrm>
            <a:custGeom>
              <a:avLst/>
              <a:gdLst>
                <a:gd name="T0" fmla="*/ 154 w 317"/>
                <a:gd name="T1" fmla="*/ 0 h 71"/>
                <a:gd name="T2" fmla="*/ 191 w 317"/>
                <a:gd name="T3" fmla="*/ 2 h 71"/>
                <a:gd name="T4" fmla="*/ 222 w 317"/>
                <a:gd name="T5" fmla="*/ 5 h 71"/>
                <a:gd name="T6" fmla="*/ 251 w 317"/>
                <a:gd name="T7" fmla="*/ 12 h 71"/>
                <a:gd name="T8" fmla="*/ 274 w 317"/>
                <a:gd name="T9" fmla="*/ 19 h 71"/>
                <a:gd name="T10" fmla="*/ 291 w 317"/>
                <a:gd name="T11" fmla="*/ 25 h 71"/>
                <a:gd name="T12" fmla="*/ 303 w 317"/>
                <a:gd name="T13" fmla="*/ 30 h 71"/>
                <a:gd name="T14" fmla="*/ 307 w 317"/>
                <a:gd name="T15" fmla="*/ 32 h 71"/>
                <a:gd name="T16" fmla="*/ 315 w 317"/>
                <a:gd name="T17" fmla="*/ 39 h 71"/>
                <a:gd name="T18" fmla="*/ 317 w 317"/>
                <a:gd name="T19" fmla="*/ 49 h 71"/>
                <a:gd name="T20" fmla="*/ 315 w 317"/>
                <a:gd name="T21" fmla="*/ 59 h 71"/>
                <a:gd name="T22" fmla="*/ 312 w 317"/>
                <a:gd name="T23" fmla="*/ 64 h 71"/>
                <a:gd name="T24" fmla="*/ 308 w 317"/>
                <a:gd name="T25" fmla="*/ 68 h 71"/>
                <a:gd name="T26" fmla="*/ 303 w 317"/>
                <a:gd name="T27" fmla="*/ 69 h 71"/>
                <a:gd name="T28" fmla="*/ 298 w 317"/>
                <a:gd name="T29" fmla="*/ 71 h 71"/>
                <a:gd name="T30" fmla="*/ 293 w 317"/>
                <a:gd name="T31" fmla="*/ 71 h 71"/>
                <a:gd name="T32" fmla="*/ 290 w 317"/>
                <a:gd name="T33" fmla="*/ 69 h 71"/>
                <a:gd name="T34" fmla="*/ 286 w 317"/>
                <a:gd name="T35" fmla="*/ 68 h 71"/>
                <a:gd name="T36" fmla="*/ 276 w 317"/>
                <a:gd name="T37" fmla="*/ 63 h 71"/>
                <a:gd name="T38" fmla="*/ 261 w 317"/>
                <a:gd name="T39" fmla="*/ 57 h 71"/>
                <a:gd name="T40" fmla="*/ 241 w 317"/>
                <a:gd name="T41" fmla="*/ 52 h 71"/>
                <a:gd name="T42" fmla="*/ 215 w 317"/>
                <a:gd name="T43" fmla="*/ 46 h 71"/>
                <a:gd name="T44" fmla="*/ 186 w 317"/>
                <a:gd name="T45" fmla="*/ 42 h 71"/>
                <a:gd name="T46" fmla="*/ 152 w 317"/>
                <a:gd name="T47" fmla="*/ 41 h 71"/>
                <a:gd name="T48" fmla="*/ 113 w 317"/>
                <a:gd name="T49" fmla="*/ 42 h 71"/>
                <a:gd name="T50" fmla="*/ 71 w 317"/>
                <a:gd name="T51" fmla="*/ 47 h 71"/>
                <a:gd name="T52" fmla="*/ 24 w 317"/>
                <a:gd name="T53" fmla="*/ 59 h 71"/>
                <a:gd name="T54" fmla="*/ 19 w 317"/>
                <a:gd name="T55" fmla="*/ 61 h 71"/>
                <a:gd name="T56" fmla="*/ 12 w 317"/>
                <a:gd name="T57" fmla="*/ 59 h 71"/>
                <a:gd name="T58" fmla="*/ 7 w 317"/>
                <a:gd name="T59" fmla="*/ 56 h 71"/>
                <a:gd name="T60" fmla="*/ 3 w 317"/>
                <a:gd name="T61" fmla="*/ 51 h 71"/>
                <a:gd name="T62" fmla="*/ 0 w 317"/>
                <a:gd name="T63" fmla="*/ 46 h 71"/>
                <a:gd name="T64" fmla="*/ 0 w 317"/>
                <a:gd name="T65" fmla="*/ 39 h 71"/>
                <a:gd name="T66" fmla="*/ 0 w 317"/>
                <a:gd name="T67" fmla="*/ 32 h 71"/>
                <a:gd name="T68" fmla="*/ 3 w 317"/>
                <a:gd name="T69" fmla="*/ 27 h 71"/>
                <a:gd name="T70" fmla="*/ 7 w 317"/>
                <a:gd name="T71" fmla="*/ 22 h 71"/>
                <a:gd name="T72" fmla="*/ 14 w 317"/>
                <a:gd name="T73" fmla="*/ 20 h 71"/>
                <a:gd name="T74" fmla="*/ 64 w 317"/>
                <a:gd name="T75" fmla="*/ 7 h 71"/>
                <a:gd name="T76" fmla="*/ 112 w 317"/>
                <a:gd name="T77" fmla="*/ 2 h 71"/>
                <a:gd name="T78" fmla="*/ 154 w 317"/>
                <a:gd name="T7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7" h="71">
                  <a:moveTo>
                    <a:pt x="154" y="0"/>
                  </a:moveTo>
                  <a:lnTo>
                    <a:pt x="191" y="2"/>
                  </a:lnTo>
                  <a:lnTo>
                    <a:pt x="222" y="5"/>
                  </a:lnTo>
                  <a:lnTo>
                    <a:pt x="251" y="12"/>
                  </a:lnTo>
                  <a:lnTo>
                    <a:pt x="274" y="19"/>
                  </a:lnTo>
                  <a:lnTo>
                    <a:pt x="291" y="25"/>
                  </a:lnTo>
                  <a:lnTo>
                    <a:pt x="303" y="30"/>
                  </a:lnTo>
                  <a:lnTo>
                    <a:pt x="307" y="32"/>
                  </a:lnTo>
                  <a:lnTo>
                    <a:pt x="315" y="39"/>
                  </a:lnTo>
                  <a:lnTo>
                    <a:pt x="317" y="49"/>
                  </a:lnTo>
                  <a:lnTo>
                    <a:pt x="315" y="59"/>
                  </a:lnTo>
                  <a:lnTo>
                    <a:pt x="312" y="64"/>
                  </a:lnTo>
                  <a:lnTo>
                    <a:pt x="308" y="68"/>
                  </a:lnTo>
                  <a:lnTo>
                    <a:pt x="303" y="69"/>
                  </a:lnTo>
                  <a:lnTo>
                    <a:pt x="298" y="71"/>
                  </a:lnTo>
                  <a:lnTo>
                    <a:pt x="293" y="71"/>
                  </a:lnTo>
                  <a:lnTo>
                    <a:pt x="290" y="69"/>
                  </a:lnTo>
                  <a:lnTo>
                    <a:pt x="286" y="68"/>
                  </a:lnTo>
                  <a:lnTo>
                    <a:pt x="276" y="63"/>
                  </a:lnTo>
                  <a:lnTo>
                    <a:pt x="261" y="57"/>
                  </a:lnTo>
                  <a:lnTo>
                    <a:pt x="241" y="52"/>
                  </a:lnTo>
                  <a:lnTo>
                    <a:pt x="215" y="46"/>
                  </a:lnTo>
                  <a:lnTo>
                    <a:pt x="186" y="42"/>
                  </a:lnTo>
                  <a:lnTo>
                    <a:pt x="152" y="41"/>
                  </a:lnTo>
                  <a:lnTo>
                    <a:pt x="113" y="42"/>
                  </a:lnTo>
                  <a:lnTo>
                    <a:pt x="71" y="47"/>
                  </a:lnTo>
                  <a:lnTo>
                    <a:pt x="24" y="59"/>
                  </a:lnTo>
                  <a:lnTo>
                    <a:pt x="19" y="61"/>
                  </a:lnTo>
                  <a:lnTo>
                    <a:pt x="12" y="59"/>
                  </a:lnTo>
                  <a:lnTo>
                    <a:pt x="7" y="56"/>
                  </a:lnTo>
                  <a:lnTo>
                    <a:pt x="3" y="51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3" y="27"/>
                  </a:lnTo>
                  <a:lnTo>
                    <a:pt x="7" y="22"/>
                  </a:lnTo>
                  <a:lnTo>
                    <a:pt x="14" y="20"/>
                  </a:lnTo>
                  <a:lnTo>
                    <a:pt x="64" y="7"/>
                  </a:lnTo>
                  <a:lnTo>
                    <a:pt x="112" y="2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9" name="Freeform 2259"/>
            <p:cNvSpPr>
              <a:spLocks/>
            </p:cNvSpPr>
            <p:nvPr/>
          </p:nvSpPr>
          <p:spPr bwMode="auto">
            <a:xfrm>
              <a:off x="8736921" y="530214"/>
              <a:ext cx="779463" cy="512763"/>
            </a:xfrm>
            <a:custGeom>
              <a:avLst/>
              <a:gdLst>
                <a:gd name="T0" fmla="*/ 22 w 982"/>
                <a:gd name="T1" fmla="*/ 10 h 647"/>
                <a:gd name="T2" fmla="*/ 62 w 982"/>
                <a:gd name="T3" fmla="*/ 122 h 647"/>
                <a:gd name="T4" fmla="*/ 110 w 982"/>
                <a:gd name="T5" fmla="*/ 203 h 647"/>
                <a:gd name="T6" fmla="*/ 161 w 982"/>
                <a:gd name="T7" fmla="*/ 259 h 647"/>
                <a:gd name="T8" fmla="*/ 208 w 982"/>
                <a:gd name="T9" fmla="*/ 294 h 647"/>
                <a:gd name="T10" fmla="*/ 250 w 982"/>
                <a:gd name="T11" fmla="*/ 315 h 647"/>
                <a:gd name="T12" fmla="*/ 269 w 982"/>
                <a:gd name="T13" fmla="*/ 313 h 647"/>
                <a:gd name="T14" fmla="*/ 283 w 982"/>
                <a:gd name="T15" fmla="*/ 291 h 647"/>
                <a:gd name="T16" fmla="*/ 311 w 982"/>
                <a:gd name="T17" fmla="*/ 264 h 647"/>
                <a:gd name="T18" fmla="*/ 362 w 982"/>
                <a:gd name="T19" fmla="*/ 244 h 647"/>
                <a:gd name="T20" fmla="*/ 423 w 982"/>
                <a:gd name="T21" fmla="*/ 230 h 647"/>
                <a:gd name="T22" fmla="*/ 464 w 982"/>
                <a:gd name="T23" fmla="*/ 228 h 647"/>
                <a:gd name="T24" fmla="*/ 506 w 982"/>
                <a:gd name="T25" fmla="*/ 227 h 647"/>
                <a:gd name="T26" fmla="*/ 530 w 982"/>
                <a:gd name="T27" fmla="*/ 228 h 647"/>
                <a:gd name="T28" fmla="*/ 591 w 982"/>
                <a:gd name="T29" fmla="*/ 237 h 647"/>
                <a:gd name="T30" fmla="*/ 650 w 982"/>
                <a:gd name="T31" fmla="*/ 254 h 647"/>
                <a:gd name="T32" fmla="*/ 687 w 982"/>
                <a:gd name="T33" fmla="*/ 277 h 647"/>
                <a:gd name="T34" fmla="*/ 708 w 982"/>
                <a:gd name="T35" fmla="*/ 303 h 647"/>
                <a:gd name="T36" fmla="*/ 716 w 982"/>
                <a:gd name="T37" fmla="*/ 320 h 647"/>
                <a:gd name="T38" fmla="*/ 752 w 982"/>
                <a:gd name="T39" fmla="*/ 306 h 647"/>
                <a:gd name="T40" fmla="*/ 797 w 982"/>
                <a:gd name="T41" fmla="*/ 279 h 647"/>
                <a:gd name="T42" fmla="*/ 846 w 982"/>
                <a:gd name="T43" fmla="*/ 235 h 647"/>
                <a:gd name="T44" fmla="*/ 897 w 982"/>
                <a:gd name="T45" fmla="*/ 166 h 647"/>
                <a:gd name="T46" fmla="*/ 941 w 982"/>
                <a:gd name="T47" fmla="*/ 69 h 647"/>
                <a:gd name="T48" fmla="*/ 982 w 982"/>
                <a:gd name="T49" fmla="*/ 0 h 647"/>
                <a:gd name="T50" fmla="*/ 980 w 982"/>
                <a:gd name="T51" fmla="*/ 13 h 647"/>
                <a:gd name="T52" fmla="*/ 975 w 982"/>
                <a:gd name="T53" fmla="*/ 52 h 647"/>
                <a:gd name="T54" fmla="*/ 965 w 982"/>
                <a:gd name="T55" fmla="*/ 111 h 647"/>
                <a:gd name="T56" fmla="*/ 948 w 982"/>
                <a:gd name="T57" fmla="*/ 184 h 647"/>
                <a:gd name="T58" fmla="*/ 923 w 982"/>
                <a:gd name="T59" fmla="*/ 266 h 647"/>
                <a:gd name="T60" fmla="*/ 887 w 982"/>
                <a:gd name="T61" fmla="*/ 350 h 647"/>
                <a:gd name="T62" fmla="*/ 838 w 982"/>
                <a:gd name="T63" fmla="*/ 432 h 647"/>
                <a:gd name="T64" fmla="*/ 777 w 982"/>
                <a:gd name="T65" fmla="*/ 504 h 647"/>
                <a:gd name="T66" fmla="*/ 699 w 982"/>
                <a:gd name="T67" fmla="*/ 564 h 647"/>
                <a:gd name="T68" fmla="*/ 604 w 982"/>
                <a:gd name="T69" fmla="*/ 604 h 647"/>
                <a:gd name="T70" fmla="*/ 493 w 982"/>
                <a:gd name="T71" fmla="*/ 621 h 647"/>
                <a:gd name="T72" fmla="*/ 491 w 982"/>
                <a:gd name="T73" fmla="*/ 625 h 647"/>
                <a:gd name="T74" fmla="*/ 487 w 982"/>
                <a:gd name="T75" fmla="*/ 631 h 647"/>
                <a:gd name="T76" fmla="*/ 482 w 982"/>
                <a:gd name="T77" fmla="*/ 640 h 647"/>
                <a:gd name="T78" fmla="*/ 479 w 982"/>
                <a:gd name="T79" fmla="*/ 647 h 647"/>
                <a:gd name="T80" fmla="*/ 477 w 982"/>
                <a:gd name="T81" fmla="*/ 635 h 647"/>
                <a:gd name="T82" fmla="*/ 476 w 982"/>
                <a:gd name="T83" fmla="*/ 618 h 647"/>
                <a:gd name="T84" fmla="*/ 382 w 982"/>
                <a:gd name="T85" fmla="*/ 594 h 647"/>
                <a:gd name="T86" fmla="*/ 281 w 982"/>
                <a:gd name="T87" fmla="*/ 567 h 647"/>
                <a:gd name="T88" fmla="*/ 200 w 982"/>
                <a:gd name="T89" fmla="*/ 518 h 647"/>
                <a:gd name="T90" fmla="*/ 135 w 982"/>
                <a:gd name="T91" fmla="*/ 454 h 647"/>
                <a:gd name="T92" fmla="*/ 86 w 982"/>
                <a:gd name="T93" fmla="*/ 377 h 647"/>
                <a:gd name="T94" fmla="*/ 50 w 982"/>
                <a:gd name="T95" fmla="*/ 298 h 647"/>
                <a:gd name="T96" fmla="*/ 27 w 982"/>
                <a:gd name="T97" fmla="*/ 216 h 647"/>
                <a:gd name="T98" fmla="*/ 12 w 982"/>
                <a:gd name="T99" fmla="*/ 142 h 647"/>
                <a:gd name="T100" fmla="*/ 5 w 982"/>
                <a:gd name="T101" fmla="*/ 78 h 647"/>
                <a:gd name="T102" fmla="*/ 1 w 982"/>
                <a:gd name="T103" fmla="*/ 28 h 647"/>
                <a:gd name="T104" fmla="*/ 0 w 982"/>
                <a:gd name="T105" fmla="*/ 3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2" h="647">
                  <a:moveTo>
                    <a:pt x="0" y="0"/>
                  </a:moveTo>
                  <a:lnTo>
                    <a:pt x="22" y="10"/>
                  </a:lnTo>
                  <a:lnTo>
                    <a:pt x="40" y="69"/>
                  </a:lnTo>
                  <a:lnTo>
                    <a:pt x="62" y="122"/>
                  </a:lnTo>
                  <a:lnTo>
                    <a:pt x="86" y="166"/>
                  </a:lnTo>
                  <a:lnTo>
                    <a:pt x="110" y="203"/>
                  </a:lnTo>
                  <a:lnTo>
                    <a:pt x="135" y="233"/>
                  </a:lnTo>
                  <a:lnTo>
                    <a:pt x="161" y="259"/>
                  </a:lnTo>
                  <a:lnTo>
                    <a:pt x="184" y="279"/>
                  </a:lnTo>
                  <a:lnTo>
                    <a:pt x="208" y="294"/>
                  </a:lnTo>
                  <a:lnTo>
                    <a:pt x="230" y="306"/>
                  </a:lnTo>
                  <a:lnTo>
                    <a:pt x="250" y="315"/>
                  </a:lnTo>
                  <a:lnTo>
                    <a:pt x="267" y="320"/>
                  </a:lnTo>
                  <a:lnTo>
                    <a:pt x="269" y="313"/>
                  </a:lnTo>
                  <a:lnTo>
                    <a:pt x="274" y="303"/>
                  </a:lnTo>
                  <a:lnTo>
                    <a:pt x="283" y="291"/>
                  </a:lnTo>
                  <a:lnTo>
                    <a:pt x="294" y="277"/>
                  </a:lnTo>
                  <a:lnTo>
                    <a:pt x="311" y="264"/>
                  </a:lnTo>
                  <a:lnTo>
                    <a:pt x="333" y="254"/>
                  </a:lnTo>
                  <a:lnTo>
                    <a:pt x="362" y="244"/>
                  </a:lnTo>
                  <a:lnTo>
                    <a:pt x="393" y="235"/>
                  </a:lnTo>
                  <a:lnTo>
                    <a:pt x="423" y="230"/>
                  </a:lnTo>
                  <a:lnTo>
                    <a:pt x="452" y="228"/>
                  </a:lnTo>
                  <a:lnTo>
                    <a:pt x="464" y="228"/>
                  </a:lnTo>
                  <a:lnTo>
                    <a:pt x="476" y="227"/>
                  </a:lnTo>
                  <a:lnTo>
                    <a:pt x="506" y="227"/>
                  </a:lnTo>
                  <a:lnTo>
                    <a:pt x="518" y="228"/>
                  </a:lnTo>
                  <a:lnTo>
                    <a:pt x="530" y="228"/>
                  </a:lnTo>
                  <a:lnTo>
                    <a:pt x="559" y="230"/>
                  </a:lnTo>
                  <a:lnTo>
                    <a:pt x="591" y="237"/>
                  </a:lnTo>
                  <a:lnTo>
                    <a:pt x="621" y="244"/>
                  </a:lnTo>
                  <a:lnTo>
                    <a:pt x="650" y="254"/>
                  </a:lnTo>
                  <a:lnTo>
                    <a:pt x="672" y="266"/>
                  </a:lnTo>
                  <a:lnTo>
                    <a:pt x="687" y="277"/>
                  </a:lnTo>
                  <a:lnTo>
                    <a:pt x="699" y="291"/>
                  </a:lnTo>
                  <a:lnTo>
                    <a:pt x="708" y="303"/>
                  </a:lnTo>
                  <a:lnTo>
                    <a:pt x="713" y="313"/>
                  </a:lnTo>
                  <a:lnTo>
                    <a:pt x="716" y="320"/>
                  </a:lnTo>
                  <a:lnTo>
                    <a:pt x="731" y="315"/>
                  </a:lnTo>
                  <a:lnTo>
                    <a:pt x="752" y="306"/>
                  </a:lnTo>
                  <a:lnTo>
                    <a:pt x="774" y="296"/>
                  </a:lnTo>
                  <a:lnTo>
                    <a:pt x="797" y="279"/>
                  </a:lnTo>
                  <a:lnTo>
                    <a:pt x="821" y="261"/>
                  </a:lnTo>
                  <a:lnTo>
                    <a:pt x="846" y="235"/>
                  </a:lnTo>
                  <a:lnTo>
                    <a:pt x="872" y="203"/>
                  </a:lnTo>
                  <a:lnTo>
                    <a:pt x="897" y="166"/>
                  </a:lnTo>
                  <a:lnTo>
                    <a:pt x="919" y="122"/>
                  </a:lnTo>
                  <a:lnTo>
                    <a:pt x="941" y="69"/>
                  </a:lnTo>
                  <a:lnTo>
                    <a:pt x="962" y="10"/>
                  </a:lnTo>
                  <a:lnTo>
                    <a:pt x="982" y="0"/>
                  </a:lnTo>
                  <a:lnTo>
                    <a:pt x="982" y="3"/>
                  </a:lnTo>
                  <a:lnTo>
                    <a:pt x="980" y="13"/>
                  </a:lnTo>
                  <a:lnTo>
                    <a:pt x="979" y="30"/>
                  </a:lnTo>
                  <a:lnTo>
                    <a:pt x="975" y="52"/>
                  </a:lnTo>
                  <a:lnTo>
                    <a:pt x="972" y="81"/>
                  </a:lnTo>
                  <a:lnTo>
                    <a:pt x="965" y="111"/>
                  </a:lnTo>
                  <a:lnTo>
                    <a:pt x="958" y="147"/>
                  </a:lnTo>
                  <a:lnTo>
                    <a:pt x="948" y="184"/>
                  </a:lnTo>
                  <a:lnTo>
                    <a:pt x="936" y="225"/>
                  </a:lnTo>
                  <a:lnTo>
                    <a:pt x="923" y="266"/>
                  </a:lnTo>
                  <a:lnTo>
                    <a:pt x="906" y="308"/>
                  </a:lnTo>
                  <a:lnTo>
                    <a:pt x="887" y="350"/>
                  </a:lnTo>
                  <a:lnTo>
                    <a:pt x="863" y="391"/>
                  </a:lnTo>
                  <a:lnTo>
                    <a:pt x="838" y="432"/>
                  </a:lnTo>
                  <a:lnTo>
                    <a:pt x="809" y="469"/>
                  </a:lnTo>
                  <a:lnTo>
                    <a:pt x="777" y="504"/>
                  </a:lnTo>
                  <a:lnTo>
                    <a:pt x="740" y="537"/>
                  </a:lnTo>
                  <a:lnTo>
                    <a:pt x="699" y="564"/>
                  </a:lnTo>
                  <a:lnTo>
                    <a:pt x="655" y="587"/>
                  </a:lnTo>
                  <a:lnTo>
                    <a:pt x="604" y="604"/>
                  </a:lnTo>
                  <a:lnTo>
                    <a:pt x="550" y="616"/>
                  </a:lnTo>
                  <a:lnTo>
                    <a:pt x="493" y="621"/>
                  </a:lnTo>
                  <a:lnTo>
                    <a:pt x="491" y="621"/>
                  </a:lnTo>
                  <a:lnTo>
                    <a:pt x="491" y="625"/>
                  </a:lnTo>
                  <a:lnTo>
                    <a:pt x="489" y="628"/>
                  </a:lnTo>
                  <a:lnTo>
                    <a:pt x="487" y="631"/>
                  </a:lnTo>
                  <a:lnTo>
                    <a:pt x="484" y="636"/>
                  </a:lnTo>
                  <a:lnTo>
                    <a:pt x="482" y="640"/>
                  </a:lnTo>
                  <a:lnTo>
                    <a:pt x="481" y="643"/>
                  </a:lnTo>
                  <a:lnTo>
                    <a:pt x="479" y="647"/>
                  </a:lnTo>
                  <a:lnTo>
                    <a:pt x="479" y="647"/>
                  </a:lnTo>
                  <a:lnTo>
                    <a:pt x="477" y="635"/>
                  </a:lnTo>
                  <a:lnTo>
                    <a:pt x="477" y="623"/>
                  </a:lnTo>
                  <a:lnTo>
                    <a:pt x="476" y="618"/>
                  </a:lnTo>
                  <a:lnTo>
                    <a:pt x="440" y="599"/>
                  </a:lnTo>
                  <a:lnTo>
                    <a:pt x="382" y="594"/>
                  </a:lnTo>
                  <a:lnTo>
                    <a:pt x="328" y="584"/>
                  </a:lnTo>
                  <a:lnTo>
                    <a:pt x="281" y="567"/>
                  </a:lnTo>
                  <a:lnTo>
                    <a:pt x="237" y="545"/>
                  </a:lnTo>
                  <a:lnTo>
                    <a:pt x="200" y="518"/>
                  </a:lnTo>
                  <a:lnTo>
                    <a:pt x="164" y="487"/>
                  </a:lnTo>
                  <a:lnTo>
                    <a:pt x="135" y="454"/>
                  </a:lnTo>
                  <a:lnTo>
                    <a:pt x="108" y="416"/>
                  </a:lnTo>
                  <a:lnTo>
                    <a:pt x="86" y="377"/>
                  </a:lnTo>
                  <a:lnTo>
                    <a:pt x="67" y="338"/>
                  </a:lnTo>
                  <a:lnTo>
                    <a:pt x="50" y="298"/>
                  </a:lnTo>
                  <a:lnTo>
                    <a:pt x="39" y="257"/>
                  </a:lnTo>
                  <a:lnTo>
                    <a:pt x="27" y="216"/>
                  </a:lnTo>
                  <a:lnTo>
                    <a:pt x="18" y="178"/>
                  </a:lnTo>
                  <a:lnTo>
                    <a:pt x="12" y="142"/>
                  </a:lnTo>
                  <a:lnTo>
                    <a:pt x="8" y="108"/>
                  </a:lnTo>
                  <a:lnTo>
                    <a:pt x="5" y="78"/>
                  </a:lnTo>
                  <a:lnTo>
                    <a:pt x="1" y="50"/>
                  </a:lnTo>
                  <a:lnTo>
                    <a:pt x="1" y="28"/>
                  </a:lnTo>
                  <a:lnTo>
                    <a:pt x="1" y="1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0" name="Freeform 2260"/>
            <p:cNvSpPr>
              <a:spLocks/>
            </p:cNvSpPr>
            <p:nvPr/>
          </p:nvSpPr>
          <p:spPr bwMode="auto">
            <a:xfrm>
              <a:off x="9032196" y="638164"/>
              <a:ext cx="84138" cy="61913"/>
            </a:xfrm>
            <a:custGeom>
              <a:avLst/>
              <a:gdLst>
                <a:gd name="T0" fmla="*/ 54 w 107"/>
                <a:gd name="T1" fmla="*/ 0 h 78"/>
                <a:gd name="T2" fmla="*/ 75 w 107"/>
                <a:gd name="T3" fmla="*/ 2 h 78"/>
                <a:gd name="T4" fmla="*/ 92 w 107"/>
                <a:gd name="T5" fmla="*/ 10 h 78"/>
                <a:gd name="T6" fmla="*/ 104 w 107"/>
                <a:gd name="T7" fmla="*/ 24 h 78"/>
                <a:gd name="T8" fmla="*/ 107 w 107"/>
                <a:gd name="T9" fmla="*/ 39 h 78"/>
                <a:gd name="T10" fmla="*/ 104 w 107"/>
                <a:gd name="T11" fmla="*/ 54 h 78"/>
                <a:gd name="T12" fmla="*/ 92 w 107"/>
                <a:gd name="T13" fmla="*/ 66 h 78"/>
                <a:gd name="T14" fmla="*/ 75 w 107"/>
                <a:gd name="T15" fmla="*/ 74 h 78"/>
                <a:gd name="T16" fmla="*/ 54 w 107"/>
                <a:gd name="T17" fmla="*/ 78 h 78"/>
                <a:gd name="T18" fmla="*/ 34 w 107"/>
                <a:gd name="T19" fmla="*/ 74 h 78"/>
                <a:gd name="T20" fmla="*/ 17 w 107"/>
                <a:gd name="T21" fmla="*/ 66 h 78"/>
                <a:gd name="T22" fmla="*/ 5 w 107"/>
                <a:gd name="T23" fmla="*/ 54 h 78"/>
                <a:gd name="T24" fmla="*/ 0 w 107"/>
                <a:gd name="T25" fmla="*/ 39 h 78"/>
                <a:gd name="T26" fmla="*/ 5 w 107"/>
                <a:gd name="T27" fmla="*/ 24 h 78"/>
                <a:gd name="T28" fmla="*/ 17 w 107"/>
                <a:gd name="T29" fmla="*/ 10 h 78"/>
                <a:gd name="T30" fmla="*/ 34 w 107"/>
                <a:gd name="T31" fmla="*/ 2 h 78"/>
                <a:gd name="T32" fmla="*/ 54 w 107"/>
                <a:gd name="T3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78">
                  <a:moveTo>
                    <a:pt x="54" y="0"/>
                  </a:moveTo>
                  <a:lnTo>
                    <a:pt x="75" y="2"/>
                  </a:lnTo>
                  <a:lnTo>
                    <a:pt x="92" y="10"/>
                  </a:lnTo>
                  <a:lnTo>
                    <a:pt x="104" y="24"/>
                  </a:lnTo>
                  <a:lnTo>
                    <a:pt x="107" y="39"/>
                  </a:lnTo>
                  <a:lnTo>
                    <a:pt x="104" y="54"/>
                  </a:lnTo>
                  <a:lnTo>
                    <a:pt x="92" y="66"/>
                  </a:lnTo>
                  <a:lnTo>
                    <a:pt x="75" y="74"/>
                  </a:lnTo>
                  <a:lnTo>
                    <a:pt x="54" y="78"/>
                  </a:lnTo>
                  <a:lnTo>
                    <a:pt x="34" y="74"/>
                  </a:lnTo>
                  <a:lnTo>
                    <a:pt x="17" y="66"/>
                  </a:lnTo>
                  <a:lnTo>
                    <a:pt x="5" y="54"/>
                  </a:lnTo>
                  <a:lnTo>
                    <a:pt x="0" y="39"/>
                  </a:lnTo>
                  <a:lnTo>
                    <a:pt x="5" y="24"/>
                  </a:lnTo>
                  <a:lnTo>
                    <a:pt x="17" y="10"/>
                  </a:lnTo>
                  <a:lnTo>
                    <a:pt x="34" y="2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1" name="Freeform 2261"/>
            <p:cNvSpPr>
              <a:spLocks/>
            </p:cNvSpPr>
            <p:nvPr/>
          </p:nvSpPr>
          <p:spPr bwMode="auto">
            <a:xfrm>
              <a:off x="9143321" y="638164"/>
              <a:ext cx="84138" cy="61913"/>
            </a:xfrm>
            <a:custGeom>
              <a:avLst/>
              <a:gdLst>
                <a:gd name="T0" fmla="*/ 53 w 107"/>
                <a:gd name="T1" fmla="*/ 0 h 78"/>
                <a:gd name="T2" fmla="*/ 73 w 107"/>
                <a:gd name="T3" fmla="*/ 2 h 78"/>
                <a:gd name="T4" fmla="*/ 90 w 107"/>
                <a:gd name="T5" fmla="*/ 10 h 78"/>
                <a:gd name="T6" fmla="*/ 102 w 107"/>
                <a:gd name="T7" fmla="*/ 24 h 78"/>
                <a:gd name="T8" fmla="*/ 107 w 107"/>
                <a:gd name="T9" fmla="*/ 39 h 78"/>
                <a:gd name="T10" fmla="*/ 102 w 107"/>
                <a:gd name="T11" fmla="*/ 54 h 78"/>
                <a:gd name="T12" fmla="*/ 90 w 107"/>
                <a:gd name="T13" fmla="*/ 66 h 78"/>
                <a:gd name="T14" fmla="*/ 73 w 107"/>
                <a:gd name="T15" fmla="*/ 74 h 78"/>
                <a:gd name="T16" fmla="*/ 53 w 107"/>
                <a:gd name="T17" fmla="*/ 78 h 78"/>
                <a:gd name="T18" fmla="*/ 32 w 107"/>
                <a:gd name="T19" fmla="*/ 74 h 78"/>
                <a:gd name="T20" fmla="*/ 15 w 107"/>
                <a:gd name="T21" fmla="*/ 66 h 78"/>
                <a:gd name="T22" fmla="*/ 4 w 107"/>
                <a:gd name="T23" fmla="*/ 54 h 78"/>
                <a:gd name="T24" fmla="*/ 0 w 107"/>
                <a:gd name="T25" fmla="*/ 39 h 78"/>
                <a:gd name="T26" fmla="*/ 4 w 107"/>
                <a:gd name="T27" fmla="*/ 24 h 78"/>
                <a:gd name="T28" fmla="*/ 15 w 107"/>
                <a:gd name="T29" fmla="*/ 10 h 78"/>
                <a:gd name="T30" fmla="*/ 32 w 107"/>
                <a:gd name="T31" fmla="*/ 2 h 78"/>
                <a:gd name="T32" fmla="*/ 53 w 107"/>
                <a:gd name="T3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78">
                  <a:moveTo>
                    <a:pt x="53" y="0"/>
                  </a:moveTo>
                  <a:lnTo>
                    <a:pt x="73" y="2"/>
                  </a:lnTo>
                  <a:lnTo>
                    <a:pt x="90" y="10"/>
                  </a:lnTo>
                  <a:lnTo>
                    <a:pt x="102" y="24"/>
                  </a:lnTo>
                  <a:lnTo>
                    <a:pt x="107" y="39"/>
                  </a:lnTo>
                  <a:lnTo>
                    <a:pt x="102" y="54"/>
                  </a:lnTo>
                  <a:lnTo>
                    <a:pt x="90" y="66"/>
                  </a:lnTo>
                  <a:lnTo>
                    <a:pt x="73" y="74"/>
                  </a:lnTo>
                  <a:lnTo>
                    <a:pt x="53" y="78"/>
                  </a:lnTo>
                  <a:lnTo>
                    <a:pt x="32" y="74"/>
                  </a:lnTo>
                  <a:lnTo>
                    <a:pt x="15" y="66"/>
                  </a:lnTo>
                  <a:lnTo>
                    <a:pt x="4" y="54"/>
                  </a:lnTo>
                  <a:lnTo>
                    <a:pt x="0" y="39"/>
                  </a:lnTo>
                  <a:lnTo>
                    <a:pt x="4" y="24"/>
                  </a:lnTo>
                  <a:lnTo>
                    <a:pt x="15" y="10"/>
                  </a:lnTo>
                  <a:lnTo>
                    <a:pt x="32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2" name="Freeform 2262"/>
            <p:cNvSpPr>
              <a:spLocks/>
            </p:cNvSpPr>
            <p:nvPr/>
          </p:nvSpPr>
          <p:spPr bwMode="auto">
            <a:xfrm>
              <a:off x="9086171" y="655626"/>
              <a:ext cx="41275" cy="61913"/>
            </a:xfrm>
            <a:custGeom>
              <a:avLst/>
              <a:gdLst>
                <a:gd name="T0" fmla="*/ 53 w 53"/>
                <a:gd name="T1" fmla="*/ 0 h 78"/>
                <a:gd name="T2" fmla="*/ 53 w 53"/>
                <a:gd name="T3" fmla="*/ 78 h 78"/>
                <a:gd name="T4" fmla="*/ 32 w 53"/>
                <a:gd name="T5" fmla="*/ 75 h 78"/>
                <a:gd name="T6" fmla="*/ 15 w 53"/>
                <a:gd name="T7" fmla="*/ 66 h 78"/>
                <a:gd name="T8" fmla="*/ 5 w 53"/>
                <a:gd name="T9" fmla="*/ 54 h 78"/>
                <a:gd name="T10" fmla="*/ 0 w 53"/>
                <a:gd name="T11" fmla="*/ 39 h 78"/>
                <a:gd name="T12" fmla="*/ 5 w 53"/>
                <a:gd name="T13" fmla="*/ 24 h 78"/>
                <a:gd name="T14" fmla="*/ 15 w 53"/>
                <a:gd name="T15" fmla="*/ 12 h 78"/>
                <a:gd name="T16" fmla="*/ 32 w 53"/>
                <a:gd name="T17" fmla="*/ 4 h 78"/>
                <a:gd name="T18" fmla="*/ 53 w 53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78">
                  <a:moveTo>
                    <a:pt x="53" y="0"/>
                  </a:moveTo>
                  <a:lnTo>
                    <a:pt x="53" y="78"/>
                  </a:lnTo>
                  <a:lnTo>
                    <a:pt x="32" y="75"/>
                  </a:lnTo>
                  <a:lnTo>
                    <a:pt x="15" y="66"/>
                  </a:lnTo>
                  <a:lnTo>
                    <a:pt x="5" y="54"/>
                  </a:lnTo>
                  <a:lnTo>
                    <a:pt x="0" y="39"/>
                  </a:lnTo>
                  <a:lnTo>
                    <a:pt x="5" y="24"/>
                  </a:lnTo>
                  <a:lnTo>
                    <a:pt x="15" y="12"/>
                  </a:lnTo>
                  <a:lnTo>
                    <a:pt x="32" y="4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3" name="Freeform 2263"/>
            <p:cNvSpPr>
              <a:spLocks/>
            </p:cNvSpPr>
            <p:nvPr/>
          </p:nvSpPr>
          <p:spPr bwMode="auto">
            <a:xfrm>
              <a:off x="9127446" y="655626"/>
              <a:ext cx="42863" cy="61913"/>
            </a:xfrm>
            <a:custGeom>
              <a:avLst/>
              <a:gdLst>
                <a:gd name="T0" fmla="*/ 1 w 54"/>
                <a:gd name="T1" fmla="*/ 0 h 78"/>
                <a:gd name="T2" fmla="*/ 22 w 54"/>
                <a:gd name="T3" fmla="*/ 4 h 78"/>
                <a:gd name="T4" fmla="*/ 38 w 54"/>
                <a:gd name="T5" fmla="*/ 10 h 78"/>
                <a:gd name="T6" fmla="*/ 50 w 54"/>
                <a:gd name="T7" fmla="*/ 24 h 78"/>
                <a:gd name="T8" fmla="*/ 54 w 54"/>
                <a:gd name="T9" fmla="*/ 39 h 78"/>
                <a:gd name="T10" fmla="*/ 50 w 54"/>
                <a:gd name="T11" fmla="*/ 54 h 78"/>
                <a:gd name="T12" fmla="*/ 38 w 54"/>
                <a:gd name="T13" fmla="*/ 66 h 78"/>
                <a:gd name="T14" fmla="*/ 22 w 54"/>
                <a:gd name="T15" fmla="*/ 75 h 78"/>
                <a:gd name="T16" fmla="*/ 1 w 54"/>
                <a:gd name="T17" fmla="*/ 78 h 78"/>
                <a:gd name="T18" fmla="*/ 0 w 54"/>
                <a:gd name="T19" fmla="*/ 78 h 78"/>
                <a:gd name="T20" fmla="*/ 0 w 54"/>
                <a:gd name="T21" fmla="*/ 0 h 78"/>
                <a:gd name="T22" fmla="*/ 1 w 54"/>
                <a:gd name="T2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78">
                  <a:moveTo>
                    <a:pt x="1" y="0"/>
                  </a:moveTo>
                  <a:lnTo>
                    <a:pt x="22" y="4"/>
                  </a:lnTo>
                  <a:lnTo>
                    <a:pt x="38" y="10"/>
                  </a:lnTo>
                  <a:lnTo>
                    <a:pt x="50" y="24"/>
                  </a:lnTo>
                  <a:lnTo>
                    <a:pt x="54" y="39"/>
                  </a:lnTo>
                  <a:lnTo>
                    <a:pt x="50" y="54"/>
                  </a:lnTo>
                  <a:lnTo>
                    <a:pt x="38" y="66"/>
                  </a:lnTo>
                  <a:lnTo>
                    <a:pt x="22" y="75"/>
                  </a:lnTo>
                  <a:lnTo>
                    <a:pt x="1" y="78"/>
                  </a:lnTo>
                  <a:lnTo>
                    <a:pt x="0" y="78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4" name="Freeform 2264"/>
            <p:cNvSpPr>
              <a:spLocks/>
            </p:cNvSpPr>
            <p:nvPr/>
          </p:nvSpPr>
          <p:spPr bwMode="auto">
            <a:xfrm>
              <a:off x="8855983" y="442901"/>
              <a:ext cx="158750" cy="73025"/>
            </a:xfrm>
            <a:custGeom>
              <a:avLst/>
              <a:gdLst>
                <a:gd name="T0" fmla="*/ 100 w 200"/>
                <a:gd name="T1" fmla="*/ 0 h 91"/>
                <a:gd name="T2" fmla="*/ 124 w 200"/>
                <a:gd name="T3" fmla="*/ 3 h 91"/>
                <a:gd name="T4" fmla="*/ 144 w 200"/>
                <a:gd name="T5" fmla="*/ 10 h 91"/>
                <a:gd name="T6" fmla="*/ 163 w 200"/>
                <a:gd name="T7" fmla="*/ 18 h 91"/>
                <a:gd name="T8" fmla="*/ 178 w 200"/>
                <a:gd name="T9" fmla="*/ 27 h 91"/>
                <a:gd name="T10" fmla="*/ 190 w 200"/>
                <a:gd name="T11" fmla="*/ 37 h 91"/>
                <a:gd name="T12" fmla="*/ 199 w 200"/>
                <a:gd name="T13" fmla="*/ 44 h 91"/>
                <a:gd name="T14" fmla="*/ 200 w 200"/>
                <a:gd name="T15" fmla="*/ 45 h 91"/>
                <a:gd name="T16" fmla="*/ 199 w 200"/>
                <a:gd name="T17" fmla="*/ 47 h 91"/>
                <a:gd name="T18" fmla="*/ 190 w 200"/>
                <a:gd name="T19" fmla="*/ 54 h 91"/>
                <a:gd name="T20" fmla="*/ 178 w 200"/>
                <a:gd name="T21" fmla="*/ 64 h 91"/>
                <a:gd name="T22" fmla="*/ 163 w 200"/>
                <a:gd name="T23" fmla="*/ 72 h 91"/>
                <a:gd name="T24" fmla="*/ 144 w 200"/>
                <a:gd name="T25" fmla="*/ 81 h 91"/>
                <a:gd name="T26" fmla="*/ 124 w 200"/>
                <a:gd name="T27" fmla="*/ 88 h 91"/>
                <a:gd name="T28" fmla="*/ 100 w 200"/>
                <a:gd name="T29" fmla="*/ 91 h 91"/>
                <a:gd name="T30" fmla="*/ 78 w 200"/>
                <a:gd name="T31" fmla="*/ 88 h 91"/>
                <a:gd name="T32" fmla="*/ 56 w 200"/>
                <a:gd name="T33" fmla="*/ 81 h 91"/>
                <a:gd name="T34" fmla="*/ 38 w 200"/>
                <a:gd name="T35" fmla="*/ 72 h 91"/>
                <a:gd name="T36" fmla="*/ 22 w 200"/>
                <a:gd name="T37" fmla="*/ 64 h 91"/>
                <a:gd name="T38" fmla="*/ 11 w 200"/>
                <a:gd name="T39" fmla="*/ 54 h 91"/>
                <a:gd name="T40" fmla="*/ 2 w 200"/>
                <a:gd name="T41" fmla="*/ 47 h 91"/>
                <a:gd name="T42" fmla="*/ 0 w 200"/>
                <a:gd name="T43" fmla="*/ 45 h 91"/>
                <a:gd name="T44" fmla="*/ 2 w 200"/>
                <a:gd name="T45" fmla="*/ 44 h 91"/>
                <a:gd name="T46" fmla="*/ 11 w 200"/>
                <a:gd name="T47" fmla="*/ 37 h 91"/>
                <a:gd name="T48" fmla="*/ 22 w 200"/>
                <a:gd name="T49" fmla="*/ 27 h 91"/>
                <a:gd name="T50" fmla="*/ 38 w 200"/>
                <a:gd name="T51" fmla="*/ 18 h 91"/>
                <a:gd name="T52" fmla="*/ 56 w 200"/>
                <a:gd name="T53" fmla="*/ 10 h 91"/>
                <a:gd name="T54" fmla="*/ 78 w 200"/>
                <a:gd name="T55" fmla="*/ 3 h 91"/>
                <a:gd name="T56" fmla="*/ 100 w 200"/>
                <a:gd name="T5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0" h="91">
                  <a:moveTo>
                    <a:pt x="100" y="0"/>
                  </a:moveTo>
                  <a:lnTo>
                    <a:pt x="124" y="3"/>
                  </a:lnTo>
                  <a:lnTo>
                    <a:pt x="144" y="10"/>
                  </a:lnTo>
                  <a:lnTo>
                    <a:pt x="163" y="18"/>
                  </a:lnTo>
                  <a:lnTo>
                    <a:pt x="178" y="27"/>
                  </a:lnTo>
                  <a:lnTo>
                    <a:pt x="190" y="37"/>
                  </a:lnTo>
                  <a:lnTo>
                    <a:pt x="199" y="44"/>
                  </a:lnTo>
                  <a:lnTo>
                    <a:pt x="200" y="45"/>
                  </a:lnTo>
                  <a:lnTo>
                    <a:pt x="199" y="47"/>
                  </a:lnTo>
                  <a:lnTo>
                    <a:pt x="190" y="54"/>
                  </a:lnTo>
                  <a:lnTo>
                    <a:pt x="178" y="64"/>
                  </a:lnTo>
                  <a:lnTo>
                    <a:pt x="163" y="72"/>
                  </a:lnTo>
                  <a:lnTo>
                    <a:pt x="144" y="81"/>
                  </a:lnTo>
                  <a:lnTo>
                    <a:pt x="124" y="88"/>
                  </a:lnTo>
                  <a:lnTo>
                    <a:pt x="100" y="91"/>
                  </a:lnTo>
                  <a:lnTo>
                    <a:pt x="78" y="88"/>
                  </a:lnTo>
                  <a:lnTo>
                    <a:pt x="56" y="81"/>
                  </a:lnTo>
                  <a:lnTo>
                    <a:pt x="38" y="72"/>
                  </a:lnTo>
                  <a:lnTo>
                    <a:pt x="22" y="64"/>
                  </a:lnTo>
                  <a:lnTo>
                    <a:pt x="11" y="54"/>
                  </a:lnTo>
                  <a:lnTo>
                    <a:pt x="2" y="47"/>
                  </a:lnTo>
                  <a:lnTo>
                    <a:pt x="0" y="45"/>
                  </a:lnTo>
                  <a:lnTo>
                    <a:pt x="2" y="44"/>
                  </a:lnTo>
                  <a:lnTo>
                    <a:pt x="11" y="37"/>
                  </a:lnTo>
                  <a:lnTo>
                    <a:pt x="22" y="27"/>
                  </a:lnTo>
                  <a:lnTo>
                    <a:pt x="38" y="18"/>
                  </a:lnTo>
                  <a:lnTo>
                    <a:pt x="56" y="10"/>
                  </a:lnTo>
                  <a:lnTo>
                    <a:pt x="78" y="3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5" name="Freeform 2265"/>
            <p:cNvSpPr>
              <a:spLocks/>
            </p:cNvSpPr>
            <p:nvPr/>
          </p:nvSpPr>
          <p:spPr bwMode="auto">
            <a:xfrm>
              <a:off x="8900433" y="444489"/>
              <a:ext cx="66675" cy="69850"/>
            </a:xfrm>
            <a:custGeom>
              <a:avLst/>
              <a:gdLst>
                <a:gd name="T0" fmla="*/ 41 w 83"/>
                <a:gd name="T1" fmla="*/ 0 h 86"/>
                <a:gd name="T2" fmla="*/ 58 w 83"/>
                <a:gd name="T3" fmla="*/ 3 h 86"/>
                <a:gd name="T4" fmla="*/ 71 w 83"/>
                <a:gd name="T5" fmla="*/ 12 h 86"/>
                <a:gd name="T6" fmla="*/ 80 w 83"/>
                <a:gd name="T7" fmla="*/ 27 h 86"/>
                <a:gd name="T8" fmla="*/ 83 w 83"/>
                <a:gd name="T9" fmla="*/ 44 h 86"/>
                <a:gd name="T10" fmla="*/ 80 w 83"/>
                <a:gd name="T11" fmla="*/ 61 h 86"/>
                <a:gd name="T12" fmla="*/ 71 w 83"/>
                <a:gd name="T13" fmla="*/ 75 h 86"/>
                <a:gd name="T14" fmla="*/ 58 w 83"/>
                <a:gd name="T15" fmla="*/ 83 h 86"/>
                <a:gd name="T16" fmla="*/ 41 w 83"/>
                <a:gd name="T17" fmla="*/ 86 h 86"/>
                <a:gd name="T18" fmla="*/ 26 w 83"/>
                <a:gd name="T19" fmla="*/ 83 h 86"/>
                <a:gd name="T20" fmla="*/ 12 w 83"/>
                <a:gd name="T21" fmla="*/ 75 h 86"/>
                <a:gd name="T22" fmla="*/ 4 w 83"/>
                <a:gd name="T23" fmla="*/ 61 h 86"/>
                <a:gd name="T24" fmla="*/ 0 w 83"/>
                <a:gd name="T25" fmla="*/ 44 h 86"/>
                <a:gd name="T26" fmla="*/ 4 w 83"/>
                <a:gd name="T27" fmla="*/ 27 h 86"/>
                <a:gd name="T28" fmla="*/ 12 w 83"/>
                <a:gd name="T29" fmla="*/ 12 h 86"/>
                <a:gd name="T30" fmla="*/ 26 w 83"/>
                <a:gd name="T31" fmla="*/ 3 h 86"/>
                <a:gd name="T32" fmla="*/ 41 w 83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86">
                  <a:moveTo>
                    <a:pt x="41" y="0"/>
                  </a:moveTo>
                  <a:lnTo>
                    <a:pt x="58" y="3"/>
                  </a:lnTo>
                  <a:lnTo>
                    <a:pt x="71" y="12"/>
                  </a:lnTo>
                  <a:lnTo>
                    <a:pt x="80" y="27"/>
                  </a:lnTo>
                  <a:lnTo>
                    <a:pt x="83" y="44"/>
                  </a:lnTo>
                  <a:lnTo>
                    <a:pt x="80" y="61"/>
                  </a:lnTo>
                  <a:lnTo>
                    <a:pt x="71" y="75"/>
                  </a:lnTo>
                  <a:lnTo>
                    <a:pt x="58" y="83"/>
                  </a:lnTo>
                  <a:lnTo>
                    <a:pt x="41" y="86"/>
                  </a:lnTo>
                  <a:lnTo>
                    <a:pt x="26" y="83"/>
                  </a:lnTo>
                  <a:lnTo>
                    <a:pt x="12" y="75"/>
                  </a:lnTo>
                  <a:lnTo>
                    <a:pt x="4" y="61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2"/>
                  </a:lnTo>
                  <a:lnTo>
                    <a:pt x="26" y="3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6" name="Freeform 2266"/>
            <p:cNvSpPr>
              <a:spLocks/>
            </p:cNvSpPr>
            <p:nvPr/>
          </p:nvSpPr>
          <p:spPr bwMode="auto">
            <a:xfrm>
              <a:off x="8930596" y="458776"/>
              <a:ext cx="20638" cy="22225"/>
            </a:xfrm>
            <a:custGeom>
              <a:avLst/>
              <a:gdLst>
                <a:gd name="T0" fmla="*/ 13 w 27"/>
                <a:gd name="T1" fmla="*/ 0 h 29"/>
                <a:gd name="T2" fmla="*/ 18 w 27"/>
                <a:gd name="T3" fmla="*/ 2 h 29"/>
                <a:gd name="T4" fmla="*/ 23 w 27"/>
                <a:gd name="T5" fmla="*/ 5 h 29"/>
                <a:gd name="T6" fmla="*/ 27 w 27"/>
                <a:gd name="T7" fmla="*/ 8 h 29"/>
                <a:gd name="T8" fmla="*/ 27 w 27"/>
                <a:gd name="T9" fmla="*/ 15 h 29"/>
                <a:gd name="T10" fmla="*/ 27 w 27"/>
                <a:gd name="T11" fmla="*/ 20 h 29"/>
                <a:gd name="T12" fmla="*/ 23 w 27"/>
                <a:gd name="T13" fmla="*/ 25 h 29"/>
                <a:gd name="T14" fmla="*/ 18 w 27"/>
                <a:gd name="T15" fmla="*/ 29 h 29"/>
                <a:gd name="T16" fmla="*/ 13 w 27"/>
                <a:gd name="T17" fmla="*/ 29 h 29"/>
                <a:gd name="T18" fmla="*/ 8 w 27"/>
                <a:gd name="T19" fmla="*/ 29 h 29"/>
                <a:gd name="T20" fmla="*/ 3 w 27"/>
                <a:gd name="T21" fmla="*/ 25 h 29"/>
                <a:gd name="T22" fmla="*/ 1 w 27"/>
                <a:gd name="T23" fmla="*/ 20 h 29"/>
                <a:gd name="T24" fmla="*/ 0 w 27"/>
                <a:gd name="T25" fmla="*/ 15 h 29"/>
                <a:gd name="T26" fmla="*/ 1 w 27"/>
                <a:gd name="T27" fmla="*/ 8 h 29"/>
                <a:gd name="T28" fmla="*/ 3 w 27"/>
                <a:gd name="T29" fmla="*/ 5 h 29"/>
                <a:gd name="T30" fmla="*/ 8 w 27"/>
                <a:gd name="T31" fmla="*/ 2 h 29"/>
                <a:gd name="T32" fmla="*/ 13 w 27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9">
                  <a:moveTo>
                    <a:pt x="13" y="0"/>
                  </a:moveTo>
                  <a:lnTo>
                    <a:pt x="18" y="2"/>
                  </a:lnTo>
                  <a:lnTo>
                    <a:pt x="23" y="5"/>
                  </a:lnTo>
                  <a:lnTo>
                    <a:pt x="27" y="8"/>
                  </a:lnTo>
                  <a:lnTo>
                    <a:pt x="27" y="15"/>
                  </a:lnTo>
                  <a:lnTo>
                    <a:pt x="27" y="20"/>
                  </a:lnTo>
                  <a:lnTo>
                    <a:pt x="23" y="25"/>
                  </a:lnTo>
                  <a:lnTo>
                    <a:pt x="18" y="29"/>
                  </a:lnTo>
                  <a:lnTo>
                    <a:pt x="13" y="29"/>
                  </a:lnTo>
                  <a:lnTo>
                    <a:pt x="8" y="29"/>
                  </a:lnTo>
                  <a:lnTo>
                    <a:pt x="3" y="25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1" y="8"/>
                  </a:lnTo>
                  <a:lnTo>
                    <a:pt x="3" y="5"/>
                  </a:lnTo>
                  <a:lnTo>
                    <a:pt x="8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7" name="Freeform 2267"/>
            <p:cNvSpPr>
              <a:spLocks/>
            </p:cNvSpPr>
            <p:nvPr/>
          </p:nvSpPr>
          <p:spPr bwMode="auto">
            <a:xfrm>
              <a:off x="9240158" y="442901"/>
              <a:ext cx="160338" cy="73025"/>
            </a:xfrm>
            <a:custGeom>
              <a:avLst/>
              <a:gdLst>
                <a:gd name="T0" fmla="*/ 100 w 201"/>
                <a:gd name="T1" fmla="*/ 0 h 91"/>
                <a:gd name="T2" fmla="*/ 123 w 201"/>
                <a:gd name="T3" fmla="*/ 3 h 91"/>
                <a:gd name="T4" fmla="*/ 145 w 201"/>
                <a:gd name="T5" fmla="*/ 10 h 91"/>
                <a:gd name="T6" fmla="*/ 164 w 201"/>
                <a:gd name="T7" fmla="*/ 18 h 91"/>
                <a:gd name="T8" fmla="*/ 179 w 201"/>
                <a:gd name="T9" fmla="*/ 27 h 91"/>
                <a:gd name="T10" fmla="*/ 191 w 201"/>
                <a:gd name="T11" fmla="*/ 37 h 91"/>
                <a:gd name="T12" fmla="*/ 198 w 201"/>
                <a:gd name="T13" fmla="*/ 44 h 91"/>
                <a:gd name="T14" fmla="*/ 201 w 201"/>
                <a:gd name="T15" fmla="*/ 45 h 91"/>
                <a:gd name="T16" fmla="*/ 198 w 201"/>
                <a:gd name="T17" fmla="*/ 47 h 91"/>
                <a:gd name="T18" fmla="*/ 191 w 201"/>
                <a:gd name="T19" fmla="*/ 54 h 91"/>
                <a:gd name="T20" fmla="*/ 179 w 201"/>
                <a:gd name="T21" fmla="*/ 64 h 91"/>
                <a:gd name="T22" fmla="*/ 164 w 201"/>
                <a:gd name="T23" fmla="*/ 72 h 91"/>
                <a:gd name="T24" fmla="*/ 145 w 201"/>
                <a:gd name="T25" fmla="*/ 81 h 91"/>
                <a:gd name="T26" fmla="*/ 123 w 201"/>
                <a:gd name="T27" fmla="*/ 88 h 91"/>
                <a:gd name="T28" fmla="*/ 100 w 201"/>
                <a:gd name="T29" fmla="*/ 91 h 91"/>
                <a:gd name="T30" fmla="*/ 78 w 201"/>
                <a:gd name="T31" fmla="*/ 88 h 91"/>
                <a:gd name="T32" fmla="*/ 56 w 201"/>
                <a:gd name="T33" fmla="*/ 81 h 91"/>
                <a:gd name="T34" fmla="*/ 37 w 201"/>
                <a:gd name="T35" fmla="*/ 72 h 91"/>
                <a:gd name="T36" fmla="*/ 22 w 201"/>
                <a:gd name="T37" fmla="*/ 64 h 91"/>
                <a:gd name="T38" fmla="*/ 10 w 201"/>
                <a:gd name="T39" fmla="*/ 54 h 91"/>
                <a:gd name="T40" fmla="*/ 3 w 201"/>
                <a:gd name="T41" fmla="*/ 47 h 91"/>
                <a:gd name="T42" fmla="*/ 0 w 201"/>
                <a:gd name="T43" fmla="*/ 45 h 91"/>
                <a:gd name="T44" fmla="*/ 3 w 201"/>
                <a:gd name="T45" fmla="*/ 44 h 91"/>
                <a:gd name="T46" fmla="*/ 10 w 201"/>
                <a:gd name="T47" fmla="*/ 37 h 91"/>
                <a:gd name="T48" fmla="*/ 22 w 201"/>
                <a:gd name="T49" fmla="*/ 27 h 91"/>
                <a:gd name="T50" fmla="*/ 37 w 201"/>
                <a:gd name="T51" fmla="*/ 18 h 91"/>
                <a:gd name="T52" fmla="*/ 56 w 201"/>
                <a:gd name="T53" fmla="*/ 10 h 91"/>
                <a:gd name="T54" fmla="*/ 78 w 201"/>
                <a:gd name="T55" fmla="*/ 3 h 91"/>
                <a:gd name="T56" fmla="*/ 100 w 201"/>
                <a:gd name="T5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1" h="91">
                  <a:moveTo>
                    <a:pt x="100" y="0"/>
                  </a:moveTo>
                  <a:lnTo>
                    <a:pt x="123" y="3"/>
                  </a:lnTo>
                  <a:lnTo>
                    <a:pt x="145" y="10"/>
                  </a:lnTo>
                  <a:lnTo>
                    <a:pt x="164" y="18"/>
                  </a:lnTo>
                  <a:lnTo>
                    <a:pt x="179" y="27"/>
                  </a:lnTo>
                  <a:lnTo>
                    <a:pt x="191" y="37"/>
                  </a:lnTo>
                  <a:lnTo>
                    <a:pt x="198" y="44"/>
                  </a:lnTo>
                  <a:lnTo>
                    <a:pt x="201" y="45"/>
                  </a:lnTo>
                  <a:lnTo>
                    <a:pt x="198" y="47"/>
                  </a:lnTo>
                  <a:lnTo>
                    <a:pt x="191" y="54"/>
                  </a:lnTo>
                  <a:lnTo>
                    <a:pt x="179" y="64"/>
                  </a:lnTo>
                  <a:lnTo>
                    <a:pt x="164" y="72"/>
                  </a:lnTo>
                  <a:lnTo>
                    <a:pt x="145" y="81"/>
                  </a:lnTo>
                  <a:lnTo>
                    <a:pt x="123" y="88"/>
                  </a:lnTo>
                  <a:lnTo>
                    <a:pt x="100" y="91"/>
                  </a:lnTo>
                  <a:lnTo>
                    <a:pt x="78" y="88"/>
                  </a:lnTo>
                  <a:lnTo>
                    <a:pt x="56" y="81"/>
                  </a:lnTo>
                  <a:lnTo>
                    <a:pt x="37" y="72"/>
                  </a:lnTo>
                  <a:lnTo>
                    <a:pt x="22" y="64"/>
                  </a:lnTo>
                  <a:lnTo>
                    <a:pt x="10" y="54"/>
                  </a:lnTo>
                  <a:lnTo>
                    <a:pt x="3" y="47"/>
                  </a:lnTo>
                  <a:lnTo>
                    <a:pt x="0" y="45"/>
                  </a:lnTo>
                  <a:lnTo>
                    <a:pt x="3" y="44"/>
                  </a:lnTo>
                  <a:lnTo>
                    <a:pt x="10" y="37"/>
                  </a:lnTo>
                  <a:lnTo>
                    <a:pt x="22" y="27"/>
                  </a:lnTo>
                  <a:lnTo>
                    <a:pt x="37" y="18"/>
                  </a:lnTo>
                  <a:lnTo>
                    <a:pt x="56" y="10"/>
                  </a:lnTo>
                  <a:lnTo>
                    <a:pt x="78" y="3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8" name="Freeform 2268"/>
            <p:cNvSpPr>
              <a:spLocks/>
            </p:cNvSpPr>
            <p:nvPr/>
          </p:nvSpPr>
          <p:spPr bwMode="auto">
            <a:xfrm>
              <a:off x="9289371" y="444489"/>
              <a:ext cx="65088" cy="69850"/>
            </a:xfrm>
            <a:custGeom>
              <a:avLst/>
              <a:gdLst>
                <a:gd name="T0" fmla="*/ 40 w 81"/>
                <a:gd name="T1" fmla="*/ 0 h 86"/>
                <a:gd name="T2" fmla="*/ 56 w 81"/>
                <a:gd name="T3" fmla="*/ 3 h 86"/>
                <a:gd name="T4" fmla="*/ 69 w 81"/>
                <a:gd name="T5" fmla="*/ 12 h 86"/>
                <a:gd name="T6" fmla="*/ 78 w 81"/>
                <a:gd name="T7" fmla="*/ 27 h 86"/>
                <a:gd name="T8" fmla="*/ 81 w 81"/>
                <a:gd name="T9" fmla="*/ 44 h 86"/>
                <a:gd name="T10" fmla="*/ 78 w 81"/>
                <a:gd name="T11" fmla="*/ 61 h 86"/>
                <a:gd name="T12" fmla="*/ 69 w 81"/>
                <a:gd name="T13" fmla="*/ 75 h 86"/>
                <a:gd name="T14" fmla="*/ 56 w 81"/>
                <a:gd name="T15" fmla="*/ 83 h 86"/>
                <a:gd name="T16" fmla="*/ 40 w 81"/>
                <a:gd name="T17" fmla="*/ 86 h 86"/>
                <a:gd name="T18" fmla="*/ 25 w 81"/>
                <a:gd name="T19" fmla="*/ 83 h 86"/>
                <a:gd name="T20" fmla="*/ 12 w 81"/>
                <a:gd name="T21" fmla="*/ 75 h 86"/>
                <a:gd name="T22" fmla="*/ 3 w 81"/>
                <a:gd name="T23" fmla="*/ 61 h 86"/>
                <a:gd name="T24" fmla="*/ 0 w 81"/>
                <a:gd name="T25" fmla="*/ 44 h 86"/>
                <a:gd name="T26" fmla="*/ 3 w 81"/>
                <a:gd name="T27" fmla="*/ 27 h 86"/>
                <a:gd name="T28" fmla="*/ 12 w 81"/>
                <a:gd name="T29" fmla="*/ 12 h 86"/>
                <a:gd name="T30" fmla="*/ 25 w 81"/>
                <a:gd name="T31" fmla="*/ 3 h 86"/>
                <a:gd name="T32" fmla="*/ 40 w 81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86">
                  <a:moveTo>
                    <a:pt x="40" y="0"/>
                  </a:moveTo>
                  <a:lnTo>
                    <a:pt x="56" y="3"/>
                  </a:lnTo>
                  <a:lnTo>
                    <a:pt x="69" y="12"/>
                  </a:lnTo>
                  <a:lnTo>
                    <a:pt x="78" y="27"/>
                  </a:lnTo>
                  <a:lnTo>
                    <a:pt x="81" y="44"/>
                  </a:lnTo>
                  <a:lnTo>
                    <a:pt x="78" y="61"/>
                  </a:lnTo>
                  <a:lnTo>
                    <a:pt x="69" y="75"/>
                  </a:lnTo>
                  <a:lnTo>
                    <a:pt x="56" y="83"/>
                  </a:lnTo>
                  <a:lnTo>
                    <a:pt x="40" y="86"/>
                  </a:lnTo>
                  <a:lnTo>
                    <a:pt x="25" y="83"/>
                  </a:lnTo>
                  <a:lnTo>
                    <a:pt x="12" y="75"/>
                  </a:lnTo>
                  <a:lnTo>
                    <a:pt x="3" y="61"/>
                  </a:lnTo>
                  <a:lnTo>
                    <a:pt x="0" y="44"/>
                  </a:lnTo>
                  <a:lnTo>
                    <a:pt x="3" y="27"/>
                  </a:lnTo>
                  <a:lnTo>
                    <a:pt x="12" y="12"/>
                  </a:lnTo>
                  <a:lnTo>
                    <a:pt x="25" y="3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9" name="Freeform 2269"/>
            <p:cNvSpPr>
              <a:spLocks/>
            </p:cNvSpPr>
            <p:nvPr/>
          </p:nvSpPr>
          <p:spPr bwMode="auto">
            <a:xfrm>
              <a:off x="9319533" y="458776"/>
              <a:ext cx="20638" cy="22225"/>
            </a:xfrm>
            <a:custGeom>
              <a:avLst/>
              <a:gdLst>
                <a:gd name="T0" fmla="*/ 14 w 27"/>
                <a:gd name="T1" fmla="*/ 0 h 29"/>
                <a:gd name="T2" fmla="*/ 19 w 27"/>
                <a:gd name="T3" fmla="*/ 2 h 29"/>
                <a:gd name="T4" fmla="*/ 22 w 27"/>
                <a:gd name="T5" fmla="*/ 5 h 29"/>
                <a:gd name="T6" fmla="*/ 25 w 27"/>
                <a:gd name="T7" fmla="*/ 8 h 29"/>
                <a:gd name="T8" fmla="*/ 27 w 27"/>
                <a:gd name="T9" fmla="*/ 15 h 29"/>
                <a:gd name="T10" fmla="*/ 25 w 27"/>
                <a:gd name="T11" fmla="*/ 20 h 29"/>
                <a:gd name="T12" fmla="*/ 22 w 27"/>
                <a:gd name="T13" fmla="*/ 25 h 29"/>
                <a:gd name="T14" fmla="*/ 19 w 27"/>
                <a:gd name="T15" fmla="*/ 29 h 29"/>
                <a:gd name="T16" fmla="*/ 14 w 27"/>
                <a:gd name="T17" fmla="*/ 29 h 29"/>
                <a:gd name="T18" fmla="*/ 8 w 27"/>
                <a:gd name="T19" fmla="*/ 29 h 29"/>
                <a:gd name="T20" fmla="*/ 3 w 27"/>
                <a:gd name="T21" fmla="*/ 25 h 29"/>
                <a:gd name="T22" fmla="*/ 0 w 27"/>
                <a:gd name="T23" fmla="*/ 20 h 29"/>
                <a:gd name="T24" fmla="*/ 0 w 27"/>
                <a:gd name="T25" fmla="*/ 15 h 29"/>
                <a:gd name="T26" fmla="*/ 0 w 27"/>
                <a:gd name="T27" fmla="*/ 8 h 29"/>
                <a:gd name="T28" fmla="*/ 3 w 27"/>
                <a:gd name="T29" fmla="*/ 5 h 29"/>
                <a:gd name="T30" fmla="*/ 8 w 27"/>
                <a:gd name="T31" fmla="*/ 2 h 29"/>
                <a:gd name="T32" fmla="*/ 14 w 27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9">
                  <a:moveTo>
                    <a:pt x="14" y="0"/>
                  </a:moveTo>
                  <a:lnTo>
                    <a:pt x="19" y="2"/>
                  </a:lnTo>
                  <a:lnTo>
                    <a:pt x="22" y="5"/>
                  </a:lnTo>
                  <a:lnTo>
                    <a:pt x="25" y="8"/>
                  </a:lnTo>
                  <a:lnTo>
                    <a:pt x="27" y="15"/>
                  </a:lnTo>
                  <a:lnTo>
                    <a:pt x="25" y="20"/>
                  </a:lnTo>
                  <a:lnTo>
                    <a:pt x="22" y="25"/>
                  </a:lnTo>
                  <a:lnTo>
                    <a:pt x="19" y="29"/>
                  </a:lnTo>
                  <a:lnTo>
                    <a:pt x="14" y="29"/>
                  </a:lnTo>
                  <a:lnTo>
                    <a:pt x="8" y="29"/>
                  </a:lnTo>
                  <a:lnTo>
                    <a:pt x="3" y="25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5"/>
                  </a:lnTo>
                  <a:lnTo>
                    <a:pt x="8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0" name="Freeform 2270"/>
            <p:cNvSpPr>
              <a:spLocks/>
            </p:cNvSpPr>
            <p:nvPr/>
          </p:nvSpPr>
          <p:spPr bwMode="auto">
            <a:xfrm>
              <a:off x="9027433" y="809614"/>
              <a:ext cx="203200" cy="92075"/>
            </a:xfrm>
            <a:custGeom>
              <a:avLst/>
              <a:gdLst>
                <a:gd name="T0" fmla="*/ 0 w 256"/>
                <a:gd name="T1" fmla="*/ 0 h 117"/>
                <a:gd name="T2" fmla="*/ 256 w 256"/>
                <a:gd name="T3" fmla="*/ 0 h 117"/>
                <a:gd name="T4" fmla="*/ 256 w 256"/>
                <a:gd name="T5" fmla="*/ 2 h 117"/>
                <a:gd name="T6" fmla="*/ 256 w 256"/>
                <a:gd name="T7" fmla="*/ 5 h 117"/>
                <a:gd name="T8" fmla="*/ 255 w 256"/>
                <a:gd name="T9" fmla="*/ 8 h 117"/>
                <a:gd name="T10" fmla="*/ 253 w 256"/>
                <a:gd name="T11" fmla="*/ 15 h 117"/>
                <a:gd name="T12" fmla="*/ 244 w 256"/>
                <a:gd name="T13" fmla="*/ 32 h 117"/>
                <a:gd name="T14" fmla="*/ 234 w 256"/>
                <a:gd name="T15" fmla="*/ 52 h 117"/>
                <a:gd name="T16" fmla="*/ 217 w 256"/>
                <a:gd name="T17" fmla="*/ 74 h 117"/>
                <a:gd name="T18" fmla="*/ 195 w 256"/>
                <a:gd name="T19" fmla="*/ 93 h 117"/>
                <a:gd name="T20" fmla="*/ 177 w 256"/>
                <a:gd name="T21" fmla="*/ 105 h 117"/>
                <a:gd name="T22" fmla="*/ 155 w 256"/>
                <a:gd name="T23" fmla="*/ 113 h 117"/>
                <a:gd name="T24" fmla="*/ 129 w 256"/>
                <a:gd name="T25" fmla="*/ 117 h 117"/>
                <a:gd name="T26" fmla="*/ 102 w 256"/>
                <a:gd name="T27" fmla="*/ 113 h 117"/>
                <a:gd name="T28" fmla="*/ 80 w 256"/>
                <a:gd name="T29" fmla="*/ 105 h 117"/>
                <a:gd name="T30" fmla="*/ 61 w 256"/>
                <a:gd name="T31" fmla="*/ 93 h 117"/>
                <a:gd name="T32" fmla="*/ 39 w 256"/>
                <a:gd name="T33" fmla="*/ 73 h 117"/>
                <a:gd name="T34" fmla="*/ 24 w 256"/>
                <a:gd name="T35" fmla="*/ 52 h 117"/>
                <a:gd name="T36" fmla="*/ 12 w 256"/>
                <a:gd name="T37" fmla="*/ 32 h 117"/>
                <a:gd name="T38" fmla="*/ 6 w 256"/>
                <a:gd name="T39" fmla="*/ 15 h 117"/>
                <a:gd name="T40" fmla="*/ 4 w 256"/>
                <a:gd name="T41" fmla="*/ 8 h 117"/>
                <a:gd name="T42" fmla="*/ 2 w 256"/>
                <a:gd name="T43" fmla="*/ 5 h 117"/>
                <a:gd name="T44" fmla="*/ 0 w 256"/>
                <a:gd name="T45" fmla="*/ 2 h 117"/>
                <a:gd name="T46" fmla="*/ 0 w 256"/>
                <a:gd name="T4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6" h="117">
                  <a:moveTo>
                    <a:pt x="0" y="0"/>
                  </a:moveTo>
                  <a:lnTo>
                    <a:pt x="256" y="0"/>
                  </a:lnTo>
                  <a:lnTo>
                    <a:pt x="256" y="2"/>
                  </a:lnTo>
                  <a:lnTo>
                    <a:pt x="256" y="5"/>
                  </a:lnTo>
                  <a:lnTo>
                    <a:pt x="255" y="8"/>
                  </a:lnTo>
                  <a:lnTo>
                    <a:pt x="253" y="15"/>
                  </a:lnTo>
                  <a:lnTo>
                    <a:pt x="244" y="32"/>
                  </a:lnTo>
                  <a:lnTo>
                    <a:pt x="234" y="52"/>
                  </a:lnTo>
                  <a:lnTo>
                    <a:pt x="217" y="74"/>
                  </a:lnTo>
                  <a:lnTo>
                    <a:pt x="195" y="93"/>
                  </a:lnTo>
                  <a:lnTo>
                    <a:pt x="177" y="105"/>
                  </a:lnTo>
                  <a:lnTo>
                    <a:pt x="155" y="113"/>
                  </a:lnTo>
                  <a:lnTo>
                    <a:pt x="129" y="117"/>
                  </a:lnTo>
                  <a:lnTo>
                    <a:pt x="102" y="113"/>
                  </a:lnTo>
                  <a:lnTo>
                    <a:pt x="80" y="105"/>
                  </a:lnTo>
                  <a:lnTo>
                    <a:pt x="61" y="93"/>
                  </a:lnTo>
                  <a:lnTo>
                    <a:pt x="39" y="73"/>
                  </a:lnTo>
                  <a:lnTo>
                    <a:pt x="24" y="52"/>
                  </a:lnTo>
                  <a:lnTo>
                    <a:pt x="12" y="32"/>
                  </a:lnTo>
                  <a:lnTo>
                    <a:pt x="6" y="15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5B9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1" name="Freeform 2271"/>
            <p:cNvSpPr>
              <a:spLocks noEditPoints="1"/>
            </p:cNvSpPr>
            <p:nvPr/>
          </p:nvSpPr>
          <p:spPr bwMode="auto">
            <a:xfrm>
              <a:off x="9021083" y="803264"/>
              <a:ext cx="217488" cy="107950"/>
            </a:xfrm>
            <a:custGeom>
              <a:avLst/>
              <a:gdLst>
                <a:gd name="T0" fmla="*/ 22 w 274"/>
                <a:gd name="T1" fmla="*/ 21 h 138"/>
                <a:gd name="T2" fmla="*/ 29 w 274"/>
                <a:gd name="T3" fmla="*/ 36 h 138"/>
                <a:gd name="T4" fmla="*/ 39 w 274"/>
                <a:gd name="T5" fmla="*/ 56 h 138"/>
                <a:gd name="T6" fmla="*/ 54 w 274"/>
                <a:gd name="T7" fmla="*/ 75 h 138"/>
                <a:gd name="T8" fmla="*/ 75 w 274"/>
                <a:gd name="T9" fmla="*/ 94 h 138"/>
                <a:gd name="T10" fmla="*/ 103 w 274"/>
                <a:gd name="T11" fmla="*/ 109 h 138"/>
                <a:gd name="T12" fmla="*/ 137 w 274"/>
                <a:gd name="T13" fmla="*/ 116 h 138"/>
                <a:gd name="T14" fmla="*/ 169 w 274"/>
                <a:gd name="T15" fmla="*/ 109 h 138"/>
                <a:gd name="T16" fmla="*/ 198 w 274"/>
                <a:gd name="T17" fmla="*/ 94 h 138"/>
                <a:gd name="T18" fmla="*/ 218 w 274"/>
                <a:gd name="T19" fmla="*/ 75 h 138"/>
                <a:gd name="T20" fmla="*/ 234 w 274"/>
                <a:gd name="T21" fmla="*/ 56 h 138"/>
                <a:gd name="T22" fmla="*/ 244 w 274"/>
                <a:gd name="T23" fmla="*/ 36 h 138"/>
                <a:gd name="T24" fmla="*/ 251 w 274"/>
                <a:gd name="T25" fmla="*/ 21 h 138"/>
                <a:gd name="T26" fmla="*/ 22 w 274"/>
                <a:gd name="T27" fmla="*/ 21 h 138"/>
                <a:gd name="T28" fmla="*/ 8 w 274"/>
                <a:gd name="T29" fmla="*/ 0 h 138"/>
                <a:gd name="T30" fmla="*/ 264 w 274"/>
                <a:gd name="T31" fmla="*/ 0 h 138"/>
                <a:gd name="T32" fmla="*/ 268 w 274"/>
                <a:gd name="T33" fmla="*/ 0 h 138"/>
                <a:gd name="T34" fmla="*/ 269 w 274"/>
                <a:gd name="T35" fmla="*/ 2 h 138"/>
                <a:gd name="T36" fmla="*/ 273 w 274"/>
                <a:gd name="T37" fmla="*/ 4 h 138"/>
                <a:gd name="T38" fmla="*/ 274 w 274"/>
                <a:gd name="T39" fmla="*/ 7 h 138"/>
                <a:gd name="T40" fmla="*/ 274 w 274"/>
                <a:gd name="T41" fmla="*/ 12 h 138"/>
                <a:gd name="T42" fmla="*/ 274 w 274"/>
                <a:gd name="T43" fmla="*/ 14 h 138"/>
                <a:gd name="T44" fmla="*/ 273 w 274"/>
                <a:gd name="T45" fmla="*/ 17 h 138"/>
                <a:gd name="T46" fmla="*/ 271 w 274"/>
                <a:gd name="T47" fmla="*/ 23 h 138"/>
                <a:gd name="T48" fmla="*/ 269 w 274"/>
                <a:gd name="T49" fmla="*/ 28 h 138"/>
                <a:gd name="T50" fmla="*/ 263 w 274"/>
                <a:gd name="T51" fmla="*/ 46 h 138"/>
                <a:gd name="T52" fmla="*/ 249 w 274"/>
                <a:gd name="T53" fmla="*/ 67 h 138"/>
                <a:gd name="T54" fmla="*/ 232 w 274"/>
                <a:gd name="T55" fmla="*/ 90 h 138"/>
                <a:gd name="T56" fmla="*/ 210 w 274"/>
                <a:gd name="T57" fmla="*/ 111 h 138"/>
                <a:gd name="T58" fmla="*/ 188 w 274"/>
                <a:gd name="T59" fmla="*/ 124 h 138"/>
                <a:gd name="T60" fmla="*/ 163 w 274"/>
                <a:gd name="T61" fmla="*/ 133 h 138"/>
                <a:gd name="T62" fmla="*/ 137 w 274"/>
                <a:gd name="T63" fmla="*/ 138 h 138"/>
                <a:gd name="T64" fmla="*/ 137 w 274"/>
                <a:gd name="T65" fmla="*/ 138 h 138"/>
                <a:gd name="T66" fmla="*/ 136 w 274"/>
                <a:gd name="T67" fmla="*/ 138 h 138"/>
                <a:gd name="T68" fmla="*/ 110 w 274"/>
                <a:gd name="T69" fmla="*/ 133 h 138"/>
                <a:gd name="T70" fmla="*/ 86 w 274"/>
                <a:gd name="T71" fmla="*/ 124 h 138"/>
                <a:gd name="T72" fmla="*/ 64 w 274"/>
                <a:gd name="T73" fmla="*/ 111 h 138"/>
                <a:gd name="T74" fmla="*/ 41 w 274"/>
                <a:gd name="T75" fmla="*/ 90 h 138"/>
                <a:gd name="T76" fmla="*/ 24 w 274"/>
                <a:gd name="T77" fmla="*/ 67 h 138"/>
                <a:gd name="T78" fmla="*/ 12 w 274"/>
                <a:gd name="T79" fmla="*/ 46 h 138"/>
                <a:gd name="T80" fmla="*/ 5 w 274"/>
                <a:gd name="T81" fmla="*/ 28 h 138"/>
                <a:gd name="T82" fmla="*/ 2 w 274"/>
                <a:gd name="T83" fmla="*/ 21 h 138"/>
                <a:gd name="T84" fmla="*/ 0 w 274"/>
                <a:gd name="T85" fmla="*/ 17 h 138"/>
                <a:gd name="T86" fmla="*/ 0 w 274"/>
                <a:gd name="T87" fmla="*/ 14 h 138"/>
                <a:gd name="T88" fmla="*/ 0 w 274"/>
                <a:gd name="T89" fmla="*/ 12 h 138"/>
                <a:gd name="T90" fmla="*/ 0 w 274"/>
                <a:gd name="T91" fmla="*/ 7 h 138"/>
                <a:gd name="T92" fmla="*/ 2 w 274"/>
                <a:gd name="T93" fmla="*/ 4 h 138"/>
                <a:gd name="T94" fmla="*/ 3 w 274"/>
                <a:gd name="T95" fmla="*/ 2 h 138"/>
                <a:gd name="T96" fmla="*/ 7 w 274"/>
                <a:gd name="T97" fmla="*/ 0 h 138"/>
                <a:gd name="T98" fmla="*/ 8 w 274"/>
                <a:gd name="T9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4" h="138">
                  <a:moveTo>
                    <a:pt x="22" y="21"/>
                  </a:moveTo>
                  <a:lnTo>
                    <a:pt x="29" y="36"/>
                  </a:lnTo>
                  <a:lnTo>
                    <a:pt x="39" y="56"/>
                  </a:lnTo>
                  <a:lnTo>
                    <a:pt x="54" y="75"/>
                  </a:lnTo>
                  <a:lnTo>
                    <a:pt x="75" y="94"/>
                  </a:lnTo>
                  <a:lnTo>
                    <a:pt x="103" y="109"/>
                  </a:lnTo>
                  <a:lnTo>
                    <a:pt x="137" y="116"/>
                  </a:lnTo>
                  <a:lnTo>
                    <a:pt x="169" y="109"/>
                  </a:lnTo>
                  <a:lnTo>
                    <a:pt x="198" y="94"/>
                  </a:lnTo>
                  <a:lnTo>
                    <a:pt x="218" y="75"/>
                  </a:lnTo>
                  <a:lnTo>
                    <a:pt x="234" y="56"/>
                  </a:lnTo>
                  <a:lnTo>
                    <a:pt x="244" y="36"/>
                  </a:lnTo>
                  <a:lnTo>
                    <a:pt x="251" y="21"/>
                  </a:lnTo>
                  <a:lnTo>
                    <a:pt x="22" y="21"/>
                  </a:lnTo>
                  <a:close/>
                  <a:moveTo>
                    <a:pt x="8" y="0"/>
                  </a:moveTo>
                  <a:lnTo>
                    <a:pt x="264" y="0"/>
                  </a:lnTo>
                  <a:lnTo>
                    <a:pt x="268" y="0"/>
                  </a:lnTo>
                  <a:lnTo>
                    <a:pt x="269" y="2"/>
                  </a:lnTo>
                  <a:lnTo>
                    <a:pt x="273" y="4"/>
                  </a:lnTo>
                  <a:lnTo>
                    <a:pt x="274" y="7"/>
                  </a:lnTo>
                  <a:lnTo>
                    <a:pt x="274" y="12"/>
                  </a:lnTo>
                  <a:lnTo>
                    <a:pt x="274" y="14"/>
                  </a:lnTo>
                  <a:lnTo>
                    <a:pt x="273" y="17"/>
                  </a:lnTo>
                  <a:lnTo>
                    <a:pt x="271" y="23"/>
                  </a:lnTo>
                  <a:lnTo>
                    <a:pt x="269" y="28"/>
                  </a:lnTo>
                  <a:lnTo>
                    <a:pt x="263" y="46"/>
                  </a:lnTo>
                  <a:lnTo>
                    <a:pt x="249" y="67"/>
                  </a:lnTo>
                  <a:lnTo>
                    <a:pt x="232" y="90"/>
                  </a:lnTo>
                  <a:lnTo>
                    <a:pt x="210" y="111"/>
                  </a:lnTo>
                  <a:lnTo>
                    <a:pt x="188" y="124"/>
                  </a:lnTo>
                  <a:lnTo>
                    <a:pt x="163" y="133"/>
                  </a:lnTo>
                  <a:lnTo>
                    <a:pt x="137" y="138"/>
                  </a:lnTo>
                  <a:lnTo>
                    <a:pt x="137" y="138"/>
                  </a:lnTo>
                  <a:lnTo>
                    <a:pt x="136" y="138"/>
                  </a:lnTo>
                  <a:lnTo>
                    <a:pt x="110" y="133"/>
                  </a:lnTo>
                  <a:lnTo>
                    <a:pt x="86" y="124"/>
                  </a:lnTo>
                  <a:lnTo>
                    <a:pt x="64" y="111"/>
                  </a:lnTo>
                  <a:lnTo>
                    <a:pt x="41" y="90"/>
                  </a:lnTo>
                  <a:lnTo>
                    <a:pt x="24" y="67"/>
                  </a:lnTo>
                  <a:lnTo>
                    <a:pt x="12" y="46"/>
                  </a:lnTo>
                  <a:lnTo>
                    <a:pt x="5" y="28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3" y="2"/>
                  </a:lnTo>
                  <a:lnTo>
                    <a:pt x="7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2D6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2" name="Freeform 2272"/>
            <p:cNvSpPr>
              <a:spLocks/>
            </p:cNvSpPr>
            <p:nvPr/>
          </p:nvSpPr>
          <p:spPr bwMode="auto">
            <a:xfrm>
              <a:off x="9075058" y="884226"/>
              <a:ext cx="106363" cy="17463"/>
            </a:xfrm>
            <a:custGeom>
              <a:avLst/>
              <a:gdLst>
                <a:gd name="T0" fmla="*/ 0 w 134"/>
                <a:gd name="T1" fmla="*/ 0 h 24"/>
                <a:gd name="T2" fmla="*/ 134 w 134"/>
                <a:gd name="T3" fmla="*/ 0 h 24"/>
                <a:gd name="T4" fmla="*/ 116 w 134"/>
                <a:gd name="T5" fmla="*/ 12 h 24"/>
                <a:gd name="T6" fmla="*/ 94 w 134"/>
                <a:gd name="T7" fmla="*/ 20 h 24"/>
                <a:gd name="T8" fmla="*/ 68 w 134"/>
                <a:gd name="T9" fmla="*/ 24 h 24"/>
                <a:gd name="T10" fmla="*/ 41 w 134"/>
                <a:gd name="T11" fmla="*/ 20 h 24"/>
                <a:gd name="T12" fmla="*/ 19 w 134"/>
                <a:gd name="T13" fmla="*/ 12 h 24"/>
                <a:gd name="T14" fmla="*/ 0 w 13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" h="24">
                  <a:moveTo>
                    <a:pt x="0" y="0"/>
                  </a:moveTo>
                  <a:lnTo>
                    <a:pt x="134" y="0"/>
                  </a:lnTo>
                  <a:lnTo>
                    <a:pt x="116" y="12"/>
                  </a:lnTo>
                  <a:lnTo>
                    <a:pt x="94" y="20"/>
                  </a:lnTo>
                  <a:lnTo>
                    <a:pt x="68" y="24"/>
                  </a:lnTo>
                  <a:lnTo>
                    <a:pt x="41" y="20"/>
                  </a:lnTo>
                  <a:lnTo>
                    <a:pt x="19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3" name="Freeform 2273"/>
            <p:cNvSpPr>
              <a:spLocks/>
            </p:cNvSpPr>
            <p:nvPr/>
          </p:nvSpPr>
          <p:spPr bwMode="auto">
            <a:xfrm>
              <a:off x="9027433" y="811201"/>
              <a:ext cx="203200" cy="17463"/>
            </a:xfrm>
            <a:custGeom>
              <a:avLst/>
              <a:gdLst>
                <a:gd name="T0" fmla="*/ 0 w 256"/>
                <a:gd name="T1" fmla="*/ 0 h 22"/>
                <a:gd name="T2" fmla="*/ 256 w 256"/>
                <a:gd name="T3" fmla="*/ 0 h 22"/>
                <a:gd name="T4" fmla="*/ 256 w 256"/>
                <a:gd name="T5" fmla="*/ 0 h 22"/>
                <a:gd name="T6" fmla="*/ 256 w 256"/>
                <a:gd name="T7" fmla="*/ 3 h 22"/>
                <a:gd name="T8" fmla="*/ 255 w 256"/>
                <a:gd name="T9" fmla="*/ 8 h 22"/>
                <a:gd name="T10" fmla="*/ 253 w 256"/>
                <a:gd name="T11" fmla="*/ 13 h 22"/>
                <a:gd name="T12" fmla="*/ 248 w 256"/>
                <a:gd name="T13" fmla="*/ 22 h 22"/>
                <a:gd name="T14" fmla="*/ 9 w 256"/>
                <a:gd name="T15" fmla="*/ 22 h 22"/>
                <a:gd name="T16" fmla="*/ 6 w 256"/>
                <a:gd name="T17" fmla="*/ 13 h 22"/>
                <a:gd name="T18" fmla="*/ 4 w 256"/>
                <a:gd name="T19" fmla="*/ 8 h 22"/>
                <a:gd name="T20" fmla="*/ 2 w 256"/>
                <a:gd name="T21" fmla="*/ 3 h 22"/>
                <a:gd name="T22" fmla="*/ 0 w 256"/>
                <a:gd name="T23" fmla="*/ 0 h 22"/>
                <a:gd name="T24" fmla="*/ 0 w 256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2">
                  <a:moveTo>
                    <a:pt x="0" y="0"/>
                  </a:moveTo>
                  <a:lnTo>
                    <a:pt x="256" y="0"/>
                  </a:lnTo>
                  <a:lnTo>
                    <a:pt x="256" y="0"/>
                  </a:lnTo>
                  <a:lnTo>
                    <a:pt x="256" y="3"/>
                  </a:lnTo>
                  <a:lnTo>
                    <a:pt x="255" y="8"/>
                  </a:lnTo>
                  <a:lnTo>
                    <a:pt x="253" y="13"/>
                  </a:lnTo>
                  <a:lnTo>
                    <a:pt x="248" y="22"/>
                  </a:lnTo>
                  <a:lnTo>
                    <a:pt x="9" y="22"/>
                  </a:lnTo>
                  <a:lnTo>
                    <a:pt x="6" y="13"/>
                  </a:lnTo>
                  <a:lnTo>
                    <a:pt x="4" y="8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4" name="Freeform 2274"/>
            <p:cNvSpPr>
              <a:spLocks/>
            </p:cNvSpPr>
            <p:nvPr/>
          </p:nvSpPr>
          <p:spPr bwMode="auto">
            <a:xfrm>
              <a:off x="9033783" y="828664"/>
              <a:ext cx="188913" cy="55563"/>
            </a:xfrm>
            <a:custGeom>
              <a:avLst/>
              <a:gdLst>
                <a:gd name="T0" fmla="*/ 0 w 239"/>
                <a:gd name="T1" fmla="*/ 0 h 69"/>
                <a:gd name="T2" fmla="*/ 239 w 239"/>
                <a:gd name="T3" fmla="*/ 0 h 69"/>
                <a:gd name="T4" fmla="*/ 229 w 239"/>
                <a:gd name="T5" fmla="*/ 22 h 69"/>
                <a:gd name="T6" fmla="*/ 212 w 239"/>
                <a:gd name="T7" fmla="*/ 47 h 69"/>
                <a:gd name="T8" fmla="*/ 186 w 239"/>
                <a:gd name="T9" fmla="*/ 69 h 69"/>
                <a:gd name="T10" fmla="*/ 52 w 239"/>
                <a:gd name="T11" fmla="*/ 69 h 69"/>
                <a:gd name="T12" fmla="*/ 29 w 239"/>
                <a:gd name="T13" fmla="*/ 47 h 69"/>
                <a:gd name="T14" fmla="*/ 12 w 239"/>
                <a:gd name="T15" fmla="*/ 22 h 69"/>
                <a:gd name="T16" fmla="*/ 0 w 239"/>
                <a:gd name="T1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69">
                  <a:moveTo>
                    <a:pt x="0" y="0"/>
                  </a:moveTo>
                  <a:lnTo>
                    <a:pt x="239" y="0"/>
                  </a:lnTo>
                  <a:lnTo>
                    <a:pt x="229" y="22"/>
                  </a:lnTo>
                  <a:lnTo>
                    <a:pt x="212" y="47"/>
                  </a:lnTo>
                  <a:lnTo>
                    <a:pt x="186" y="69"/>
                  </a:lnTo>
                  <a:lnTo>
                    <a:pt x="52" y="69"/>
                  </a:lnTo>
                  <a:lnTo>
                    <a:pt x="29" y="47"/>
                  </a:lnTo>
                  <a:lnTo>
                    <a:pt x="12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5B9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5" name="Freeform 2275"/>
            <p:cNvSpPr>
              <a:spLocks/>
            </p:cNvSpPr>
            <p:nvPr/>
          </p:nvSpPr>
          <p:spPr bwMode="auto">
            <a:xfrm>
              <a:off x="9263971" y="1214426"/>
              <a:ext cx="606425" cy="2122488"/>
            </a:xfrm>
            <a:custGeom>
              <a:avLst/>
              <a:gdLst>
                <a:gd name="T0" fmla="*/ 533 w 763"/>
                <a:gd name="T1" fmla="*/ 137 h 2674"/>
                <a:gd name="T2" fmla="*/ 547 w 763"/>
                <a:gd name="T3" fmla="*/ 144 h 2674"/>
                <a:gd name="T4" fmla="*/ 582 w 763"/>
                <a:gd name="T5" fmla="*/ 162 h 2674"/>
                <a:gd name="T6" fmla="*/ 628 w 763"/>
                <a:gd name="T7" fmla="*/ 198 h 2674"/>
                <a:gd name="T8" fmla="*/ 677 w 763"/>
                <a:gd name="T9" fmla="*/ 250 h 2674"/>
                <a:gd name="T10" fmla="*/ 719 w 763"/>
                <a:gd name="T11" fmla="*/ 323 h 2674"/>
                <a:gd name="T12" fmla="*/ 745 w 763"/>
                <a:gd name="T13" fmla="*/ 420 h 2674"/>
                <a:gd name="T14" fmla="*/ 750 w 763"/>
                <a:gd name="T15" fmla="*/ 491 h 2674"/>
                <a:gd name="T16" fmla="*/ 755 w 763"/>
                <a:gd name="T17" fmla="*/ 598 h 2674"/>
                <a:gd name="T18" fmla="*/ 758 w 763"/>
                <a:gd name="T19" fmla="*/ 731 h 2674"/>
                <a:gd name="T20" fmla="*/ 762 w 763"/>
                <a:gd name="T21" fmla="*/ 885 h 2674"/>
                <a:gd name="T22" fmla="*/ 762 w 763"/>
                <a:gd name="T23" fmla="*/ 1051 h 2674"/>
                <a:gd name="T24" fmla="*/ 763 w 763"/>
                <a:gd name="T25" fmla="*/ 1224 h 2674"/>
                <a:gd name="T26" fmla="*/ 763 w 763"/>
                <a:gd name="T27" fmla="*/ 1394 h 2674"/>
                <a:gd name="T28" fmla="*/ 763 w 763"/>
                <a:gd name="T29" fmla="*/ 1553 h 2674"/>
                <a:gd name="T30" fmla="*/ 762 w 763"/>
                <a:gd name="T31" fmla="*/ 1695 h 2674"/>
                <a:gd name="T32" fmla="*/ 762 w 763"/>
                <a:gd name="T33" fmla="*/ 1814 h 2674"/>
                <a:gd name="T34" fmla="*/ 762 w 763"/>
                <a:gd name="T35" fmla="*/ 1900 h 2674"/>
                <a:gd name="T36" fmla="*/ 760 w 763"/>
                <a:gd name="T37" fmla="*/ 1946 h 2674"/>
                <a:gd name="T38" fmla="*/ 741 w 763"/>
                <a:gd name="T39" fmla="*/ 2674 h 2674"/>
                <a:gd name="T40" fmla="*/ 482 w 763"/>
                <a:gd name="T41" fmla="*/ 1742 h 2674"/>
                <a:gd name="T42" fmla="*/ 411 w 763"/>
                <a:gd name="T43" fmla="*/ 2234 h 2674"/>
                <a:gd name="T44" fmla="*/ 0 w 763"/>
                <a:gd name="T45" fmla="*/ 823 h 2674"/>
                <a:gd name="T46" fmla="*/ 1 w 763"/>
                <a:gd name="T47" fmla="*/ 799 h 2674"/>
                <a:gd name="T48" fmla="*/ 3 w 763"/>
                <a:gd name="T49" fmla="*/ 736 h 2674"/>
                <a:gd name="T50" fmla="*/ 8 w 763"/>
                <a:gd name="T51" fmla="*/ 645 h 2674"/>
                <a:gd name="T52" fmla="*/ 15 w 763"/>
                <a:gd name="T53" fmla="*/ 538 h 2674"/>
                <a:gd name="T54" fmla="*/ 25 w 763"/>
                <a:gd name="T55" fmla="*/ 428 h 2674"/>
                <a:gd name="T56" fmla="*/ 39 w 763"/>
                <a:gd name="T57" fmla="*/ 325 h 2674"/>
                <a:gd name="T58" fmla="*/ 55 w 763"/>
                <a:gd name="T59" fmla="*/ 240 h 2674"/>
                <a:gd name="T60" fmla="*/ 77 w 763"/>
                <a:gd name="T61" fmla="*/ 188 h 2674"/>
                <a:gd name="T62" fmla="*/ 120 w 763"/>
                <a:gd name="T63" fmla="*/ 0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63" h="2674">
                  <a:moveTo>
                    <a:pt x="120" y="0"/>
                  </a:moveTo>
                  <a:lnTo>
                    <a:pt x="533" y="137"/>
                  </a:lnTo>
                  <a:lnTo>
                    <a:pt x="536" y="139"/>
                  </a:lnTo>
                  <a:lnTo>
                    <a:pt x="547" y="144"/>
                  </a:lnTo>
                  <a:lnTo>
                    <a:pt x="562" y="150"/>
                  </a:lnTo>
                  <a:lnTo>
                    <a:pt x="582" y="162"/>
                  </a:lnTo>
                  <a:lnTo>
                    <a:pt x="604" y="178"/>
                  </a:lnTo>
                  <a:lnTo>
                    <a:pt x="628" y="198"/>
                  </a:lnTo>
                  <a:lnTo>
                    <a:pt x="653" y="222"/>
                  </a:lnTo>
                  <a:lnTo>
                    <a:pt x="677" y="250"/>
                  </a:lnTo>
                  <a:lnTo>
                    <a:pt x="699" y="284"/>
                  </a:lnTo>
                  <a:lnTo>
                    <a:pt x="719" y="323"/>
                  </a:lnTo>
                  <a:lnTo>
                    <a:pt x="735" y="369"/>
                  </a:lnTo>
                  <a:lnTo>
                    <a:pt x="745" y="420"/>
                  </a:lnTo>
                  <a:lnTo>
                    <a:pt x="748" y="450"/>
                  </a:lnTo>
                  <a:lnTo>
                    <a:pt x="750" y="491"/>
                  </a:lnTo>
                  <a:lnTo>
                    <a:pt x="753" y="540"/>
                  </a:lnTo>
                  <a:lnTo>
                    <a:pt x="755" y="598"/>
                  </a:lnTo>
                  <a:lnTo>
                    <a:pt x="757" y="662"/>
                  </a:lnTo>
                  <a:lnTo>
                    <a:pt x="758" y="731"/>
                  </a:lnTo>
                  <a:lnTo>
                    <a:pt x="760" y="806"/>
                  </a:lnTo>
                  <a:lnTo>
                    <a:pt x="762" y="885"/>
                  </a:lnTo>
                  <a:lnTo>
                    <a:pt x="762" y="968"/>
                  </a:lnTo>
                  <a:lnTo>
                    <a:pt x="762" y="1051"/>
                  </a:lnTo>
                  <a:lnTo>
                    <a:pt x="763" y="1138"/>
                  </a:lnTo>
                  <a:lnTo>
                    <a:pt x="763" y="1224"/>
                  </a:lnTo>
                  <a:lnTo>
                    <a:pt x="763" y="1309"/>
                  </a:lnTo>
                  <a:lnTo>
                    <a:pt x="763" y="1394"/>
                  </a:lnTo>
                  <a:lnTo>
                    <a:pt x="763" y="1475"/>
                  </a:lnTo>
                  <a:lnTo>
                    <a:pt x="763" y="1553"/>
                  </a:lnTo>
                  <a:lnTo>
                    <a:pt x="763" y="1627"/>
                  </a:lnTo>
                  <a:lnTo>
                    <a:pt x="762" y="1695"/>
                  </a:lnTo>
                  <a:lnTo>
                    <a:pt x="762" y="1758"/>
                  </a:lnTo>
                  <a:lnTo>
                    <a:pt x="762" y="1814"/>
                  </a:lnTo>
                  <a:lnTo>
                    <a:pt x="762" y="1861"/>
                  </a:lnTo>
                  <a:lnTo>
                    <a:pt x="762" y="1900"/>
                  </a:lnTo>
                  <a:lnTo>
                    <a:pt x="760" y="1929"/>
                  </a:lnTo>
                  <a:lnTo>
                    <a:pt x="760" y="1946"/>
                  </a:lnTo>
                  <a:lnTo>
                    <a:pt x="760" y="1952"/>
                  </a:lnTo>
                  <a:lnTo>
                    <a:pt x="741" y="2674"/>
                  </a:lnTo>
                  <a:lnTo>
                    <a:pt x="526" y="2674"/>
                  </a:lnTo>
                  <a:lnTo>
                    <a:pt x="482" y="1742"/>
                  </a:lnTo>
                  <a:lnTo>
                    <a:pt x="442" y="1211"/>
                  </a:lnTo>
                  <a:lnTo>
                    <a:pt x="411" y="2234"/>
                  </a:lnTo>
                  <a:lnTo>
                    <a:pt x="0" y="2340"/>
                  </a:lnTo>
                  <a:lnTo>
                    <a:pt x="0" y="823"/>
                  </a:lnTo>
                  <a:lnTo>
                    <a:pt x="0" y="818"/>
                  </a:lnTo>
                  <a:lnTo>
                    <a:pt x="1" y="799"/>
                  </a:lnTo>
                  <a:lnTo>
                    <a:pt x="1" y="772"/>
                  </a:lnTo>
                  <a:lnTo>
                    <a:pt x="3" y="736"/>
                  </a:lnTo>
                  <a:lnTo>
                    <a:pt x="5" y="694"/>
                  </a:lnTo>
                  <a:lnTo>
                    <a:pt x="8" y="645"/>
                  </a:lnTo>
                  <a:lnTo>
                    <a:pt x="11" y="594"/>
                  </a:lnTo>
                  <a:lnTo>
                    <a:pt x="15" y="538"/>
                  </a:lnTo>
                  <a:lnTo>
                    <a:pt x="20" y="484"/>
                  </a:lnTo>
                  <a:lnTo>
                    <a:pt x="25" y="428"/>
                  </a:lnTo>
                  <a:lnTo>
                    <a:pt x="32" y="374"/>
                  </a:lnTo>
                  <a:lnTo>
                    <a:pt x="39" y="325"/>
                  </a:lnTo>
                  <a:lnTo>
                    <a:pt x="47" y="279"/>
                  </a:lnTo>
                  <a:lnTo>
                    <a:pt x="55" y="240"/>
                  </a:lnTo>
                  <a:lnTo>
                    <a:pt x="66" y="210"/>
                  </a:lnTo>
                  <a:lnTo>
                    <a:pt x="77" y="188"/>
                  </a:lnTo>
                  <a:lnTo>
                    <a:pt x="89" y="178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6" name="Freeform 2276"/>
            <p:cNvSpPr>
              <a:spLocks/>
            </p:cNvSpPr>
            <p:nvPr/>
          </p:nvSpPr>
          <p:spPr bwMode="auto">
            <a:xfrm>
              <a:off x="9263971" y="1181089"/>
              <a:ext cx="188913" cy="1268413"/>
            </a:xfrm>
            <a:custGeom>
              <a:avLst/>
              <a:gdLst>
                <a:gd name="T0" fmla="*/ 0 w 238"/>
                <a:gd name="T1" fmla="*/ 0 h 1599"/>
                <a:gd name="T2" fmla="*/ 238 w 238"/>
                <a:gd name="T3" fmla="*/ 87 h 1599"/>
                <a:gd name="T4" fmla="*/ 120 w 238"/>
                <a:gd name="T5" fmla="*/ 507 h 1599"/>
                <a:gd name="T6" fmla="*/ 39 w 238"/>
                <a:gd name="T7" fmla="*/ 559 h 1599"/>
                <a:gd name="T8" fmla="*/ 120 w 238"/>
                <a:gd name="T9" fmla="*/ 642 h 1599"/>
                <a:gd name="T10" fmla="*/ 0 w 238"/>
                <a:gd name="T11" fmla="*/ 1599 h 1599"/>
                <a:gd name="T12" fmla="*/ 0 w 238"/>
                <a:gd name="T13" fmla="*/ 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1599">
                  <a:moveTo>
                    <a:pt x="0" y="0"/>
                  </a:moveTo>
                  <a:lnTo>
                    <a:pt x="238" y="87"/>
                  </a:lnTo>
                  <a:lnTo>
                    <a:pt x="120" y="507"/>
                  </a:lnTo>
                  <a:lnTo>
                    <a:pt x="39" y="559"/>
                  </a:lnTo>
                  <a:lnTo>
                    <a:pt x="120" y="642"/>
                  </a:lnTo>
                  <a:lnTo>
                    <a:pt x="0" y="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6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7" name="Freeform 2277"/>
            <p:cNvSpPr>
              <a:spLocks/>
            </p:cNvSpPr>
            <p:nvPr/>
          </p:nvSpPr>
          <p:spPr bwMode="auto">
            <a:xfrm>
              <a:off x="8641671" y="1422389"/>
              <a:ext cx="334963" cy="1649413"/>
            </a:xfrm>
            <a:custGeom>
              <a:avLst/>
              <a:gdLst>
                <a:gd name="T0" fmla="*/ 363 w 422"/>
                <a:gd name="T1" fmla="*/ 0 h 2078"/>
                <a:gd name="T2" fmla="*/ 422 w 422"/>
                <a:gd name="T3" fmla="*/ 495 h 2078"/>
                <a:gd name="T4" fmla="*/ 422 w 422"/>
                <a:gd name="T5" fmla="*/ 2078 h 2078"/>
                <a:gd name="T6" fmla="*/ 68 w 422"/>
                <a:gd name="T7" fmla="*/ 1904 h 2078"/>
                <a:gd name="T8" fmla="*/ 0 w 422"/>
                <a:gd name="T9" fmla="*/ 1546 h 2078"/>
                <a:gd name="T10" fmla="*/ 0 w 422"/>
                <a:gd name="T11" fmla="*/ 600 h 2078"/>
                <a:gd name="T12" fmla="*/ 6 w 422"/>
                <a:gd name="T13" fmla="*/ 557 h 2078"/>
                <a:gd name="T14" fmla="*/ 16 w 422"/>
                <a:gd name="T15" fmla="*/ 513 h 2078"/>
                <a:gd name="T16" fmla="*/ 31 w 422"/>
                <a:gd name="T17" fmla="*/ 468 h 2078"/>
                <a:gd name="T18" fmla="*/ 50 w 422"/>
                <a:gd name="T19" fmla="*/ 422 h 2078"/>
                <a:gd name="T20" fmla="*/ 73 w 422"/>
                <a:gd name="T21" fmla="*/ 378 h 2078"/>
                <a:gd name="T22" fmla="*/ 99 w 422"/>
                <a:gd name="T23" fmla="*/ 332 h 2078"/>
                <a:gd name="T24" fmla="*/ 127 w 422"/>
                <a:gd name="T25" fmla="*/ 288 h 2078"/>
                <a:gd name="T26" fmla="*/ 156 w 422"/>
                <a:gd name="T27" fmla="*/ 246 h 2078"/>
                <a:gd name="T28" fmla="*/ 185 w 422"/>
                <a:gd name="T29" fmla="*/ 205 h 2078"/>
                <a:gd name="T30" fmla="*/ 216 w 422"/>
                <a:gd name="T31" fmla="*/ 168 h 2078"/>
                <a:gd name="T32" fmla="*/ 244 w 422"/>
                <a:gd name="T33" fmla="*/ 132 h 2078"/>
                <a:gd name="T34" fmla="*/ 271 w 422"/>
                <a:gd name="T35" fmla="*/ 100 h 2078"/>
                <a:gd name="T36" fmla="*/ 297 w 422"/>
                <a:gd name="T37" fmla="*/ 71 h 2078"/>
                <a:gd name="T38" fmla="*/ 319 w 422"/>
                <a:gd name="T39" fmla="*/ 48 h 2078"/>
                <a:gd name="T40" fmla="*/ 337 w 422"/>
                <a:gd name="T41" fmla="*/ 27 h 2078"/>
                <a:gd name="T42" fmla="*/ 351 w 422"/>
                <a:gd name="T43" fmla="*/ 12 h 2078"/>
                <a:gd name="T44" fmla="*/ 359 w 422"/>
                <a:gd name="T45" fmla="*/ 4 h 2078"/>
                <a:gd name="T46" fmla="*/ 363 w 422"/>
                <a:gd name="T47" fmla="*/ 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2" h="2078">
                  <a:moveTo>
                    <a:pt x="363" y="0"/>
                  </a:moveTo>
                  <a:lnTo>
                    <a:pt x="422" y="495"/>
                  </a:lnTo>
                  <a:lnTo>
                    <a:pt x="422" y="2078"/>
                  </a:lnTo>
                  <a:lnTo>
                    <a:pt x="68" y="1904"/>
                  </a:lnTo>
                  <a:lnTo>
                    <a:pt x="0" y="1546"/>
                  </a:lnTo>
                  <a:lnTo>
                    <a:pt x="0" y="600"/>
                  </a:lnTo>
                  <a:lnTo>
                    <a:pt x="6" y="557"/>
                  </a:lnTo>
                  <a:lnTo>
                    <a:pt x="16" y="513"/>
                  </a:lnTo>
                  <a:lnTo>
                    <a:pt x="31" y="468"/>
                  </a:lnTo>
                  <a:lnTo>
                    <a:pt x="50" y="422"/>
                  </a:lnTo>
                  <a:lnTo>
                    <a:pt x="73" y="378"/>
                  </a:lnTo>
                  <a:lnTo>
                    <a:pt x="99" y="332"/>
                  </a:lnTo>
                  <a:lnTo>
                    <a:pt x="127" y="288"/>
                  </a:lnTo>
                  <a:lnTo>
                    <a:pt x="156" y="246"/>
                  </a:lnTo>
                  <a:lnTo>
                    <a:pt x="185" y="205"/>
                  </a:lnTo>
                  <a:lnTo>
                    <a:pt x="216" y="168"/>
                  </a:lnTo>
                  <a:lnTo>
                    <a:pt x="244" y="132"/>
                  </a:lnTo>
                  <a:lnTo>
                    <a:pt x="271" y="100"/>
                  </a:lnTo>
                  <a:lnTo>
                    <a:pt x="297" y="71"/>
                  </a:lnTo>
                  <a:lnTo>
                    <a:pt x="319" y="48"/>
                  </a:lnTo>
                  <a:lnTo>
                    <a:pt x="337" y="27"/>
                  </a:lnTo>
                  <a:lnTo>
                    <a:pt x="351" y="12"/>
                  </a:lnTo>
                  <a:lnTo>
                    <a:pt x="359" y="4"/>
                  </a:lnTo>
                  <a:lnTo>
                    <a:pt x="363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8" name="Freeform 2278"/>
            <p:cNvSpPr>
              <a:spLocks/>
            </p:cNvSpPr>
            <p:nvPr/>
          </p:nvSpPr>
          <p:spPr bwMode="auto">
            <a:xfrm>
              <a:off x="9062358" y="1222364"/>
              <a:ext cx="115888" cy="115888"/>
            </a:xfrm>
            <a:custGeom>
              <a:avLst/>
              <a:gdLst>
                <a:gd name="T0" fmla="*/ 72 w 145"/>
                <a:gd name="T1" fmla="*/ 0 h 146"/>
                <a:gd name="T2" fmla="*/ 72 w 145"/>
                <a:gd name="T3" fmla="*/ 0 h 146"/>
                <a:gd name="T4" fmla="*/ 72 w 145"/>
                <a:gd name="T5" fmla="*/ 0 h 146"/>
                <a:gd name="T6" fmla="*/ 72 w 145"/>
                <a:gd name="T7" fmla="*/ 0 h 146"/>
                <a:gd name="T8" fmla="*/ 145 w 145"/>
                <a:gd name="T9" fmla="*/ 42 h 146"/>
                <a:gd name="T10" fmla="*/ 142 w 145"/>
                <a:gd name="T11" fmla="*/ 107 h 146"/>
                <a:gd name="T12" fmla="*/ 116 w 145"/>
                <a:gd name="T13" fmla="*/ 146 h 146"/>
                <a:gd name="T14" fmla="*/ 28 w 145"/>
                <a:gd name="T15" fmla="*/ 146 h 146"/>
                <a:gd name="T16" fmla="*/ 3 w 145"/>
                <a:gd name="T17" fmla="*/ 107 h 146"/>
                <a:gd name="T18" fmla="*/ 0 w 145"/>
                <a:gd name="T19" fmla="*/ 42 h 146"/>
                <a:gd name="T20" fmla="*/ 72 w 145"/>
                <a:gd name="T21" fmla="*/ 0 h 146"/>
                <a:gd name="T22" fmla="*/ 72 w 145"/>
                <a:gd name="T2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146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145" y="42"/>
                  </a:lnTo>
                  <a:lnTo>
                    <a:pt x="142" y="107"/>
                  </a:lnTo>
                  <a:lnTo>
                    <a:pt x="116" y="146"/>
                  </a:lnTo>
                  <a:lnTo>
                    <a:pt x="28" y="146"/>
                  </a:lnTo>
                  <a:lnTo>
                    <a:pt x="3" y="107"/>
                  </a:lnTo>
                  <a:lnTo>
                    <a:pt x="0" y="42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B24F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9" name="Freeform 2279"/>
            <p:cNvSpPr>
              <a:spLocks/>
            </p:cNvSpPr>
            <p:nvPr/>
          </p:nvSpPr>
          <p:spPr bwMode="auto">
            <a:xfrm>
              <a:off x="8976633" y="1116001"/>
              <a:ext cx="142875" cy="198438"/>
            </a:xfrm>
            <a:custGeom>
              <a:avLst/>
              <a:gdLst>
                <a:gd name="T0" fmla="*/ 51 w 181"/>
                <a:gd name="T1" fmla="*/ 0 h 249"/>
                <a:gd name="T2" fmla="*/ 181 w 181"/>
                <a:gd name="T3" fmla="*/ 134 h 249"/>
                <a:gd name="T4" fmla="*/ 107 w 181"/>
                <a:gd name="T5" fmla="*/ 249 h 249"/>
                <a:gd name="T6" fmla="*/ 0 w 181"/>
                <a:gd name="T7" fmla="*/ 81 h 249"/>
                <a:gd name="T8" fmla="*/ 51 w 181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249">
                  <a:moveTo>
                    <a:pt x="51" y="0"/>
                  </a:moveTo>
                  <a:lnTo>
                    <a:pt x="181" y="134"/>
                  </a:lnTo>
                  <a:lnTo>
                    <a:pt x="107" y="249"/>
                  </a:lnTo>
                  <a:lnTo>
                    <a:pt x="0" y="8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B5EB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0" name="Freeform 2280"/>
            <p:cNvSpPr>
              <a:spLocks/>
            </p:cNvSpPr>
            <p:nvPr/>
          </p:nvSpPr>
          <p:spPr bwMode="auto">
            <a:xfrm>
              <a:off x="9119508" y="1116001"/>
              <a:ext cx="144463" cy="198438"/>
            </a:xfrm>
            <a:custGeom>
              <a:avLst/>
              <a:gdLst>
                <a:gd name="T0" fmla="*/ 131 w 182"/>
                <a:gd name="T1" fmla="*/ 0 h 249"/>
                <a:gd name="T2" fmla="*/ 182 w 182"/>
                <a:gd name="T3" fmla="*/ 81 h 249"/>
                <a:gd name="T4" fmla="*/ 75 w 182"/>
                <a:gd name="T5" fmla="*/ 249 h 249"/>
                <a:gd name="T6" fmla="*/ 0 w 182"/>
                <a:gd name="T7" fmla="*/ 134 h 249"/>
                <a:gd name="T8" fmla="*/ 131 w 182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249">
                  <a:moveTo>
                    <a:pt x="131" y="0"/>
                  </a:moveTo>
                  <a:lnTo>
                    <a:pt x="182" y="81"/>
                  </a:lnTo>
                  <a:lnTo>
                    <a:pt x="75" y="249"/>
                  </a:lnTo>
                  <a:lnTo>
                    <a:pt x="0" y="134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B5EB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1" name="Freeform 2281"/>
            <p:cNvSpPr>
              <a:spLocks/>
            </p:cNvSpPr>
            <p:nvPr/>
          </p:nvSpPr>
          <p:spPr bwMode="auto">
            <a:xfrm>
              <a:off x="8746446" y="558789"/>
              <a:ext cx="381000" cy="539750"/>
            </a:xfrm>
            <a:custGeom>
              <a:avLst/>
              <a:gdLst>
                <a:gd name="T0" fmla="*/ 0 w 481"/>
                <a:gd name="T1" fmla="*/ 0 h 679"/>
                <a:gd name="T2" fmla="*/ 15 w 481"/>
                <a:gd name="T3" fmla="*/ 15 h 679"/>
                <a:gd name="T4" fmla="*/ 155 w 481"/>
                <a:gd name="T5" fmla="*/ 339 h 679"/>
                <a:gd name="T6" fmla="*/ 257 w 481"/>
                <a:gd name="T7" fmla="*/ 398 h 679"/>
                <a:gd name="T8" fmla="*/ 481 w 481"/>
                <a:gd name="T9" fmla="*/ 545 h 679"/>
                <a:gd name="T10" fmla="*/ 481 w 481"/>
                <a:gd name="T11" fmla="*/ 679 h 679"/>
                <a:gd name="T12" fmla="*/ 401 w 481"/>
                <a:gd name="T13" fmla="*/ 645 h 679"/>
                <a:gd name="T14" fmla="*/ 330 w 481"/>
                <a:gd name="T15" fmla="*/ 608 h 679"/>
                <a:gd name="T16" fmla="*/ 267 w 481"/>
                <a:gd name="T17" fmla="*/ 571 h 679"/>
                <a:gd name="T18" fmla="*/ 215 w 481"/>
                <a:gd name="T19" fmla="*/ 532 h 679"/>
                <a:gd name="T20" fmla="*/ 169 w 481"/>
                <a:gd name="T21" fmla="*/ 494 h 679"/>
                <a:gd name="T22" fmla="*/ 130 w 481"/>
                <a:gd name="T23" fmla="*/ 457 h 679"/>
                <a:gd name="T24" fmla="*/ 99 w 481"/>
                <a:gd name="T25" fmla="*/ 425 h 679"/>
                <a:gd name="T26" fmla="*/ 74 w 481"/>
                <a:gd name="T27" fmla="*/ 395 h 679"/>
                <a:gd name="T28" fmla="*/ 57 w 481"/>
                <a:gd name="T29" fmla="*/ 369 h 679"/>
                <a:gd name="T30" fmla="*/ 44 w 481"/>
                <a:gd name="T31" fmla="*/ 351 h 679"/>
                <a:gd name="T32" fmla="*/ 37 w 481"/>
                <a:gd name="T33" fmla="*/ 337 h 679"/>
                <a:gd name="T34" fmla="*/ 35 w 481"/>
                <a:gd name="T35" fmla="*/ 334 h 679"/>
                <a:gd name="T36" fmla="*/ 33 w 481"/>
                <a:gd name="T37" fmla="*/ 329 h 679"/>
                <a:gd name="T38" fmla="*/ 32 w 481"/>
                <a:gd name="T39" fmla="*/ 313 h 679"/>
                <a:gd name="T40" fmla="*/ 30 w 481"/>
                <a:gd name="T41" fmla="*/ 290 h 679"/>
                <a:gd name="T42" fmla="*/ 27 w 481"/>
                <a:gd name="T43" fmla="*/ 261 h 679"/>
                <a:gd name="T44" fmla="*/ 23 w 481"/>
                <a:gd name="T45" fmla="*/ 227 h 679"/>
                <a:gd name="T46" fmla="*/ 20 w 481"/>
                <a:gd name="T47" fmla="*/ 190 h 679"/>
                <a:gd name="T48" fmla="*/ 15 w 481"/>
                <a:gd name="T49" fmla="*/ 152 h 679"/>
                <a:gd name="T50" fmla="*/ 11 w 481"/>
                <a:gd name="T51" fmla="*/ 115 h 679"/>
                <a:gd name="T52" fmla="*/ 8 w 481"/>
                <a:gd name="T53" fmla="*/ 80 h 679"/>
                <a:gd name="T54" fmla="*/ 5 w 481"/>
                <a:gd name="T55" fmla="*/ 49 h 679"/>
                <a:gd name="T56" fmla="*/ 3 w 481"/>
                <a:gd name="T57" fmla="*/ 25 h 679"/>
                <a:gd name="T58" fmla="*/ 1 w 481"/>
                <a:gd name="T59" fmla="*/ 8 h 679"/>
                <a:gd name="T60" fmla="*/ 0 w 481"/>
                <a:gd name="T61" fmla="*/ 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1" h="679">
                  <a:moveTo>
                    <a:pt x="0" y="0"/>
                  </a:moveTo>
                  <a:lnTo>
                    <a:pt x="15" y="15"/>
                  </a:lnTo>
                  <a:lnTo>
                    <a:pt x="155" y="339"/>
                  </a:lnTo>
                  <a:lnTo>
                    <a:pt x="257" y="398"/>
                  </a:lnTo>
                  <a:lnTo>
                    <a:pt x="481" y="545"/>
                  </a:lnTo>
                  <a:lnTo>
                    <a:pt x="481" y="679"/>
                  </a:lnTo>
                  <a:lnTo>
                    <a:pt x="401" y="645"/>
                  </a:lnTo>
                  <a:lnTo>
                    <a:pt x="330" y="608"/>
                  </a:lnTo>
                  <a:lnTo>
                    <a:pt x="267" y="571"/>
                  </a:lnTo>
                  <a:lnTo>
                    <a:pt x="215" y="532"/>
                  </a:lnTo>
                  <a:lnTo>
                    <a:pt x="169" y="494"/>
                  </a:lnTo>
                  <a:lnTo>
                    <a:pt x="130" y="457"/>
                  </a:lnTo>
                  <a:lnTo>
                    <a:pt x="99" y="425"/>
                  </a:lnTo>
                  <a:lnTo>
                    <a:pt x="74" y="395"/>
                  </a:lnTo>
                  <a:lnTo>
                    <a:pt x="57" y="369"/>
                  </a:lnTo>
                  <a:lnTo>
                    <a:pt x="44" y="351"/>
                  </a:lnTo>
                  <a:lnTo>
                    <a:pt x="37" y="337"/>
                  </a:lnTo>
                  <a:lnTo>
                    <a:pt x="35" y="334"/>
                  </a:lnTo>
                  <a:lnTo>
                    <a:pt x="33" y="329"/>
                  </a:lnTo>
                  <a:lnTo>
                    <a:pt x="32" y="313"/>
                  </a:lnTo>
                  <a:lnTo>
                    <a:pt x="30" y="290"/>
                  </a:lnTo>
                  <a:lnTo>
                    <a:pt x="27" y="261"/>
                  </a:lnTo>
                  <a:lnTo>
                    <a:pt x="23" y="227"/>
                  </a:lnTo>
                  <a:lnTo>
                    <a:pt x="20" y="190"/>
                  </a:lnTo>
                  <a:lnTo>
                    <a:pt x="15" y="152"/>
                  </a:lnTo>
                  <a:lnTo>
                    <a:pt x="11" y="115"/>
                  </a:lnTo>
                  <a:lnTo>
                    <a:pt x="8" y="80"/>
                  </a:lnTo>
                  <a:lnTo>
                    <a:pt x="5" y="49"/>
                  </a:lnTo>
                  <a:lnTo>
                    <a:pt x="3" y="25"/>
                  </a:lnTo>
                  <a:lnTo>
                    <a:pt x="1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2" name="Freeform 2282"/>
            <p:cNvSpPr>
              <a:spLocks/>
            </p:cNvSpPr>
            <p:nvPr/>
          </p:nvSpPr>
          <p:spPr bwMode="auto">
            <a:xfrm>
              <a:off x="9127446" y="558789"/>
              <a:ext cx="382588" cy="539750"/>
            </a:xfrm>
            <a:custGeom>
              <a:avLst/>
              <a:gdLst>
                <a:gd name="T0" fmla="*/ 480 w 480"/>
                <a:gd name="T1" fmla="*/ 0 h 679"/>
                <a:gd name="T2" fmla="*/ 480 w 480"/>
                <a:gd name="T3" fmla="*/ 8 h 679"/>
                <a:gd name="T4" fmla="*/ 479 w 480"/>
                <a:gd name="T5" fmla="*/ 25 h 679"/>
                <a:gd name="T6" fmla="*/ 475 w 480"/>
                <a:gd name="T7" fmla="*/ 49 h 679"/>
                <a:gd name="T8" fmla="*/ 474 w 480"/>
                <a:gd name="T9" fmla="*/ 80 h 679"/>
                <a:gd name="T10" fmla="*/ 469 w 480"/>
                <a:gd name="T11" fmla="*/ 115 h 679"/>
                <a:gd name="T12" fmla="*/ 465 w 480"/>
                <a:gd name="T13" fmla="*/ 152 h 679"/>
                <a:gd name="T14" fmla="*/ 462 w 480"/>
                <a:gd name="T15" fmla="*/ 190 h 679"/>
                <a:gd name="T16" fmla="*/ 457 w 480"/>
                <a:gd name="T17" fmla="*/ 227 h 679"/>
                <a:gd name="T18" fmla="*/ 453 w 480"/>
                <a:gd name="T19" fmla="*/ 261 h 679"/>
                <a:gd name="T20" fmla="*/ 450 w 480"/>
                <a:gd name="T21" fmla="*/ 290 h 679"/>
                <a:gd name="T22" fmla="*/ 448 w 480"/>
                <a:gd name="T23" fmla="*/ 313 h 679"/>
                <a:gd name="T24" fmla="*/ 447 w 480"/>
                <a:gd name="T25" fmla="*/ 329 h 679"/>
                <a:gd name="T26" fmla="*/ 447 w 480"/>
                <a:gd name="T27" fmla="*/ 334 h 679"/>
                <a:gd name="T28" fmla="*/ 443 w 480"/>
                <a:gd name="T29" fmla="*/ 337 h 679"/>
                <a:gd name="T30" fmla="*/ 436 w 480"/>
                <a:gd name="T31" fmla="*/ 351 h 679"/>
                <a:gd name="T32" fmla="*/ 425 w 480"/>
                <a:gd name="T33" fmla="*/ 369 h 679"/>
                <a:gd name="T34" fmla="*/ 406 w 480"/>
                <a:gd name="T35" fmla="*/ 395 h 679"/>
                <a:gd name="T36" fmla="*/ 382 w 480"/>
                <a:gd name="T37" fmla="*/ 425 h 679"/>
                <a:gd name="T38" fmla="*/ 350 w 480"/>
                <a:gd name="T39" fmla="*/ 457 h 679"/>
                <a:gd name="T40" fmla="*/ 313 w 480"/>
                <a:gd name="T41" fmla="*/ 494 h 679"/>
                <a:gd name="T42" fmla="*/ 267 w 480"/>
                <a:gd name="T43" fmla="*/ 532 h 679"/>
                <a:gd name="T44" fmla="*/ 213 w 480"/>
                <a:gd name="T45" fmla="*/ 571 h 679"/>
                <a:gd name="T46" fmla="*/ 150 w 480"/>
                <a:gd name="T47" fmla="*/ 608 h 679"/>
                <a:gd name="T48" fmla="*/ 81 w 480"/>
                <a:gd name="T49" fmla="*/ 645 h 679"/>
                <a:gd name="T50" fmla="*/ 0 w 480"/>
                <a:gd name="T51" fmla="*/ 679 h 679"/>
                <a:gd name="T52" fmla="*/ 0 w 480"/>
                <a:gd name="T53" fmla="*/ 545 h 679"/>
                <a:gd name="T54" fmla="*/ 225 w 480"/>
                <a:gd name="T55" fmla="*/ 398 h 679"/>
                <a:gd name="T56" fmla="*/ 325 w 480"/>
                <a:gd name="T57" fmla="*/ 339 h 679"/>
                <a:gd name="T58" fmla="*/ 467 w 480"/>
                <a:gd name="T59" fmla="*/ 15 h 679"/>
                <a:gd name="T60" fmla="*/ 480 w 480"/>
                <a:gd name="T61" fmla="*/ 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0" h="679">
                  <a:moveTo>
                    <a:pt x="480" y="0"/>
                  </a:moveTo>
                  <a:lnTo>
                    <a:pt x="480" y="8"/>
                  </a:lnTo>
                  <a:lnTo>
                    <a:pt x="479" y="25"/>
                  </a:lnTo>
                  <a:lnTo>
                    <a:pt x="475" y="49"/>
                  </a:lnTo>
                  <a:lnTo>
                    <a:pt x="474" y="80"/>
                  </a:lnTo>
                  <a:lnTo>
                    <a:pt x="469" y="115"/>
                  </a:lnTo>
                  <a:lnTo>
                    <a:pt x="465" y="152"/>
                  </a:lnTo>
                  <a:lnTo>
                    <a:pt x="462" y="190"/>
                  </a:lnTo>
                  <a:lnTo>
                    <a:pt x="457" y="227"/>
                  </a:lnTo>
                  <a:lnTo>
                    <a:pt x="453" y="261"/>
                  </a:lnTo>
                  <a:lnTo>
                    <a:pt x="450" y="290"/>
                  </a:lnTo>
                  <a:lnTo>
                    <a:pt x="448" y="313"/>
                  </a:lnTo>
                  <a:lnTo>
                    <a:pt x="447" y="329"/>
                  </a:lnTo>
                  <a:lnTo>
                    <a:pt x="447" y="334"/>
                  </a:lnTo>
                  <a:lnTo>
                    <a:pt x="443" y="337"/>
                  </a:lnTo>
                  <a:lnTo>
                    <a:pt x="436" y="351"/>
                  </a:lnTo>
                  <a:lnTo>
                    <a:pt x="425" y="369"/>
                  </a:lnTo>
                  <a:lnTo>
                    <a:pt x="406" y="395"/>
                  </a:lnTo>
                  <a:lnTo>
                    <a:pt x="382" y="425"/>
                  </a:lnTo>
                  <a:lnTo>
                    <a:pt x="350" y="457"/>
                  </a:lnTo>
                  <a:lnTo>
                    <a:pt x="313" y="494"/>
                  </a:lnTo>
                  <a:lnTo>
                    <a:pt x="267" y="532"/>
                  </a:lnTo>
                  <a:lnTo>
                    <a:pt x="213" y="571"/>
                  </a:lnTo>
                  <a:lnTo>
                    <a:pt x="150" y="608"/>
                  </a:lnTo>
                  <a:lnTo>
                    <a:pt x="81" y="645"/>
                  </a:lnTo>
                  <a:lnTo>
                    <a:pt x="0" y="679"/>
                  </a:lnTo>
                  <a:lnTo>
                    <a:pt x="0" y="545"/>
                  </a:lnTo>
                  <a:lnTo>
                    <a:pt x="225" y="398"/>
                  </a:lnTo>
                  <a:lnTo>
                    <a:pt x="325" y="339"/>
                  </a:lnTo>
                  <a:lnTo>
                    <a:pt x="467" y="15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3" name="Freeform 2283"/>
            <p:cNvSpPr>
              <a:spLocks/>
            </p:cNvSpPr>
            <p:nvPr/>
          </p:nvSpPr>
          <p:spPr bwMode="auto">
            <a:xfrm>
              <a:off x="9611633" y="3336914"/>
              <a:ext cx="230188" cy="198438"/>
            </a:xfrm>
            <a:custGeom>
              <a:avLst/>
              <a:gdLst>
                <a:gd name="T0" fmla="*/ 126 w 290"/>
                <a:gd name="T1" fmla="*/ 0 h 251"/>
                <a:gd name="T2" fmla="*/ 271 w 290"/>
                <a:gd name="T3" fmla="*/ 0 h 251"/>
                <a:gd name="T4" fmla="*/ 273 w 290"/>
                <a:gd name="T5" fmla="*/ 2 h 251"/>
                <a:gd name="T6" fmla="*/ 273 w 290"/>
                <a:gd name="T7" fmla="*/ 7 h 251"/>
                <a:gd name="T8" fmla="*/ 276 w 290"/>
                <a:gd name="T9" fmla="*/ 15 h 251"/>
                <a:gd name="T10" fmla="*/ 278 w 290"/>
                <a:gd name="T11" fmla="*/ 34 h 251"/>
                <a:gd name="T12" fmla="*/ 283 w 290"/>
                <a:gd name="T13" fmla="*/ 66 h 251"/>
                <a:gd name="T14" fmla="*/ 288 w 290"/>
                <a:gd name="T15" fmla="*/ 103 h 251"/>
                <a:gd name="T16" fmla="*/ 290 w 290"/>
                <a:gd name="T17" fmla="*/ 140 h 251"/>
                <a:gd name="T18" fmla="*/ 288 w 290"/>
                <a:gd name="T19" fmla="*/ 166 h 251"/>
                <a:gd name="T20" fmla="*/ 286 w 290"/>
                <a:gd name="T21" fmla="*/ 186 h 251"/>
                <a:gd name="T22" fmla="*/ 283 w 290"/>
                <a:gd name="T23" fmla="*/ 201 h 251"/>
                <a:gd name="T24" fmla="*/ 280 w 290"/>
                <a:gd name="T25" fmla="*/ 212 h 251"/>
                <a:gd name="T26" fmla="*/ 276 w 290"/>
                <a:gd name="T27" fmla="*/ 218 h 251"/>
                <a:gd name="T28" fmla="*/ 268 w 290"/>
                <a:gd name="T29" fmla="*/ 222 h 251"/>
                <a:gd name="T30" fmla="*/ 259 w 290"/>
                <a:gd name="T31" fmla="*/ 225 h 251"/>
                <a:gd name="T32" fmla="*/ 251 w 290"/>
                <a:gd name="T33" fmla="*/ 227 h 251"/>
                <a:gd name="T34" fmla="*/ 236 w 290"/>
                <a:gd name="T35" fmla="*/ 234 h 251"/>
                <a:gd name="T36" fmla="*/ 219 w 290"/>
                <a:gd name="T37" fmla="*/ 242 h 251"/>
                <a:gd name="T38" fmla="*/ 207 w 290"/>
                <a:gd name="T39" fmla="*/ 244 h 251"/>
                <a:gd name="T40" fmla="*/ 195 w 290"/>
                <a:gd name="T41" fmla="*/ 244 h 251"/>
                <a:gd name="T42" fmla="*/ 185 w 290"/>
                <a:gd name="T43" fmla="*/ 245 h 251"/>
                <a:gd name="T44" fmla="*/ 175 w 290"/>
                <a:gd name="T45" fmla="*/ 249 h 251"/>
                <a:gd name="T46" fmla="*/ 164 w 290"/>
                <a:gd name="T47" fmla="*/ 249 h 251"/>
                <a:gd name="T48" fmla="*/ 156 w 290"/>
                <a:gd name="T49" fmla="*/ 249 h 251"/>
                <a:gd name="T50" fmla="*/ 148 w 290"/>
                <a:gd name="T51" fmla="*/ 251 h 251"/>
                <a:gd name="T52" fmla="*/ 134 w 290"/>
                <a:gd name="T53" fmla="*/ 249 h 251"/>
                <a:gd name="T54" fmla="*/ 122 w 290"/>
                <a:gd name="T55" fmla="*/ 244 h 251"/>
                <a:gd name="T56" fmla="*/ 117 w 290"/>
                <a:gd name="T57" fmla="*/ 239 h 251"/>
                <a:gd name="T58" fmla="*/ 112 w 290"/>
                <a:gd name="T59" fmla="*/ 225 h 251"/>
                <a:gd name="T60" fmla="*/ 109 w 290"/>
                <a:gd name="T61" fmla="*/ 212 h 251"/>
                <a:gd name="T62" fmla="*/ 107 w 290"/>
                <a:gd name="T63" fmla="*/ 196 h 251"/>
                <a:gd name="T64" fmla="*/ 107 w 290"/>
                <a:gd name="T65" fmla="*/ 185 h 251"/>
                <a:gd name="T66" fmla="*/ 107 w 290"/>
                <a:gd name="T67" fmla="*/ 174 h 251"/>
                <a:gd name="T68" fmla="*/ 105 w 290"/>
                <a:gd name="T69" fmla="*/ 161 h 251"/>
                <a:gd name="T70" fmla="*/ 105 w 290"/>
                <a:gd name="T71" fmla="*/ 146 h 251"/>
                <a:gd name="T72" fmla="*/ 104 w 290"/>
                <a:gd name="T73" fmla="*/ 132 h 251"/>
                <a:gd name="T74" fmla="*/ 100 w 290"/>
                <a:gd name="T75" fmla="*/ 122 h 251"/>
                <a:gd name="T76" fmla="*/ 98 w 290"/>
                <a:gd name="T77" fmla="*/ 118 h 251"/>
                <a:gd name="T78" fmla="*/ 92 w 290"/>
                <a:gd name="T79" fmla="*/ 120 h 251"/>
                <a:gd name="T80" fmla="*/ 82 w 290"/>
                <a:gd name="T81" fmla="*/ 127 h 251"/>
                <a:gd name="T82" fmla="*/ 68 w 290"/>
                <a:gd name="T83" fmla="*/ 134 h 251"/>
                <a:gd name="T84" fmla="*/ 54 w 290"/>
                <a:gd name="T85" fmla="*/ 142 h 251"/>
                <a:gd name="T86" fmla="*/ 43 w 290"/>
                <a:gd name="T87" fmla="*/ 151 h 251"/>
                <a:gd name="T88" fmla="*/ 29 w 290"/>
                <a:gd name="T89" fmla="*/ 157 h 251"/>
                <a:gd name="T90" fmla="*/ 15 w 290"/>
                <a:gd name="T91" fmla="*/ 157 h 251"/>
                <a:gd name="T92" fmla="*/ 7 w 290"/>
                <a:gd name="T93" fmla="*/ 152 h 251"/>
                <a:gd name="T94" fmla="*/ 0 w 290"/>
                <a:gd name="T95" fmla="*/ 146 h 251"/>
                <a:gd name="T96" fmla="*/ 4 w 290"/>
                <a:gd name="T97" fmla="*/ 137 h 251"/>
                <a:gd name="T98" fmla="*/ 12 w 290"/>
                <a:gd name="T99" fmla="*/ 127 h 251"/>
                <a:gd name="T100" fmla="*/ 26 w 290"/>
                <a:gd name="T101" fmla="*/ 113 h 251"/>
                <a:gd name="T102" fmla="*/ 43 w 290"/>
                <a:gd name="T103" fmla="*/ 100 h 251"/>
                <a:gd name="T104" fmla="*/ 59 w 290"/>
                <a:gd name="T105" fmla="*/ 85 h 251"/>
                <a:gd name="T106" fmla="*/ 76 w 290"/>
                <a:gd name="T107" fmla="*/ 71 h 251"/>
                <a:gd name="T108" fmla="*/ 92 w 290"/>
                <a:gd name="T109" fmla="*/ 61 h 251"/>
                <a:gd name="T110" fmla="*/ 102 w 290"/>
                <a:gd name="T111" fmla="*/ 52 h 251"/>
                <a:gd name="T112" fmla="*/ 112 w 290"/>
                <a:gd name="T113" fmla="*/ 41 h 251"/>
                <a:gd name="T114" fmla="*/ 119 w 290"/>
                <a:gd name="T115" fmla="*/ 27 h 251"/>
                <a:gd name="T116" fmla="*/ 122 w 290"/>
                <a:gd name="T117" fmla="*/ 13 h 251"/>
                <a:gd name="T118" fmla="*/ 126 w 290"/>
                <a:gd name="T119" fmla="*/ 5 h 251"/>
                <a:gd name="T120" fmla="*/ 126 w 290"/>
                <a:gd name="T121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0" h="251">
                  <a:moveTo>
                    <a:pt x="126" y="0"/>
                  </a:moveTo>
                  <a:lnTo>
                    <a:pt x="271" y="0"/>
                  </a:lnTo>
                  <a:lnTo>
                    <a:pt x="273" y="2"/>
                  </a:lnTo>
                  <a:lnTo>
                    <a:pt x="273" y="7"/>
                  </a:lnTo>
                  <a:lnTo>
                    <a:pt x="276" y="15"/>
                  </a:lnTo>
                  <a:lnTo>
                    <a:pt x="278" y="34"/>
                  </a:lnTo>
                  <a:lnTo>
                    <a:pt x="283" y="66"/>
                  </a:lnTo>
                  <a:lnTo>
                    <a:pt x="288" y="103"/>
                  </a:lnTo>
                  <a:lnTo>
                    <a:pt x="290" y="140"/>
                  </a:lnTo>
                  <a:lnTo>
                    <a:pt x="288" y="166"/>
                  </a:lnTo>
                  <a:lnTo>
                    <a:pt x="286" y="186"/>
                  </a:lnTo>
                  <a:lnTo>
                    <a:pt x="283" y="201"/>
                  </a:lnTo>
                  <a:lnTo>
                    <a:pt x="280" y="212"/>
                  </a:lnTo>
                  <a:lnTo>
                    <a:pt x="276" y="218"/>
                  </a:lnTo>
                  <a:lnTo>
                    <a:pt x="268" y="222"/>
                  </a:lnTo>
                  <a:lnTo>
                    <a:pt x="259" y="225"/>
                  </a:lnTo>
                  <a:lnTo>
                    <a:pt x="251" y="227"/>
                  </a:lnTo>
                  <a:lnTo>
                    <a:pt x="236" y="234"/>
                  </a:lnTo>
                  <a:lnTo>
                    <a:pt x="219" y="242"/>
                  </a:lnTo>
                  <a:lnTo>
                    <a:pt x="207" y="244"/>
                  </a:lnTo>
                  <a:lnTo>
                    <a:pt x="195" y="244"/>
                  </a:lnTo>
                  <a:lnTo>
                    <a:pt x="185" y="245"/>
                  </a:lnTo>
                  <a:lnTo>
                    <a:pt x="175" y="249"/>
                  </a:lnTo>
                  <a:lnTo>
                    <a:pt x="164" y="249"/>
                  </a:lnTo>
                  <a:lnTo>
                    <a:pt x="156" y="249"/>
                  </a:lnTo>
                  <a:lnTo>
                    <a:pt x="148" y="251"/>
                  </a:lnTo>
                  <a:lnTo>
                    <a:pt x="134" y="249"/>
                  </a:lnTo>
                  <a:lnTo>
                    <a:pt x="122" y="244"/>
                  </a:lnTo>
                  <a:lnTo>
                    <a:pt x="117" y="239"/>
                  </a:lnTo>
                  <a:lnTo>
                    <a:pt x="112" y="225"/>
                  </a:lnTo>
                  <a:lnTo>
                    <a:pt x="109" y="212"/>
                  </a:lnTo>
                  <a:lnTo>
                    <a:pt x="107" y="196"/>
                  </a:lnTo>
                  <a:lnTo>
                    <a:pt x="107" y="185"/>
                  </a:lnTo>
                  <a:lnTo>
                    <a:pt x="107" y="174"/>
                  </a:lnTo>
                  <a:lnTo>
                    <a:pt x="105" y="161"/>
                  </a:lnTo>
                  <a:lnTo>
                    <a:pt x="105" y="146"/>
                  </a:lnTo>
                  <a:lnTo>
                    <a:pt x="104" y="132"/>
                  </a:lnTo>
                  <a:lnTo>
                    <a:pt x="100" y="122"/>
                  </a:lnTo>
                  <a:lnTo>
                    <a:pt x="98" y="118"/>
                  </a:lnTo>
                  <a:lnTo>
                    <a:pt x="92" y="120"/>
                  </a:lnTo>
                  <a:lnTo>
                    <a:pt x="82" y="127"/>
                  </a:lnTo>
                  <a:lnTo>
                    <a:pt x="68" y="134"/>
                  </a:lnTo>
                  <a:lnTo>
                    <a:pt x="54" y="142"/>
                  </a:lnTo>
                  <a:lnTo>
                    <a:pt x="43" y="151"/>
                  </a:lnTo>
                  <a:lnTo>
                    <a:pt x="29" y="157"/>
                  </a:lnTo>
                  <a:lnTo>
                    <a:pt x="15" y="157"/>
                  </a:lnTo>
                  <a:lnTo>
                    <a:pt x="7" y="152"/>
                  </a:lnTo>
                  <a:lnTo>
                    <a:pt x="0" y="146"/>
                  </a:lnTo>
                  <a:lnTo>
                    <a:pt x="4" y="137"/>
                  </a:lnTo>
                  <a:lnTo>
                    <a:pt x="12" y="127"/>
                  </a:lnTo>
                  <a:lnTo>
                    <a:pt x="26" y="113"/>
                  </a:lnTo>
                  <a:lnTo>
                    <a:pt x="43" y="100"/>
                  </a:lnTo>
                  <a:lnTo>
                    <a:pt x="59" y="85"/>
                  </a:lnTo>
                  <a:lnTo>
                    <a:pt x="76" y="71"/>
                  </a:lnTo>
                  <a:lnTo>
                    <a:pt x="92" y="61"/>
                  </a:lnTo>
                  <a:lnTo>
                    <a:pt x="102" y="52"/>
                  </a:lnTo>
                  <a:lnTo>
                    <a:pt x="112" y="41"/>
                  </a:lnTo>
                  <a:lnTo>
                    <a:pt x="119" y="27"/>
                  </a:lnTo>
                  <a:lnTo>
                    <a:pt x="122" y="13"/>
                  </a:lnTo>
                  <a:lnTo>
                    <a:pt x="126" y="5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DFBD9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4" name="Freeform 2284"/>
            <p:cNvSpPr>
              <a:spLocks/>
            </p:cNvSpPr>
            <p:nvPr/>
          </p:nvSpPr>
          <p:spPr bwMode="auto">
            <a:xfrm>
              <a:off x="8638496" y="2401876"/>
              <a:ext cx="174625" cy="588963"/>
            </a:xfrm>
            <a:custGeom>
              <a:avLst/>
              <a:gdLst>
                <a:gd name="T0" fmla="*/ 3 w 220"/>
                <a:gd name="T1" fmla="*/ 0 h 744"/>
                <a:gd name="T2" fmla="*/ 220 w 220"/>
                <a:gd name="T3" fmla="*/ 744 h 744"/>
                <a:gd name="T4" fmla="*/ 207 w 220"/>
                <a:gd name="T5" fmla="*/ 737 h 744"/>
                <a:gd name="T6" fmla="*/ 0 w 220"/>
                <a:gd name="T7" fmla="*/ 43 h 744"/>
                <a:gd name="T8" fmla="*/ 3 w 220"/>
                <a:gd name="T9" fmla="*/ 14 h 744"/>
                <a:gd name="T10" fmla="*/ 3 w 220"/>
                <a:gd name="T11" fmla="*/ 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744">
                  <a:moveTo>
                    <a:pt x="3" y="0"/>
                  </a:moveTo>
                  <a:lnTo>
                    <a:pt x="220" y="744"/>
                  </a:lnTo>
                  <a:lnTo>
                    <a:pt x="207" y="737"/>
                  </a:lnTo>
                  <a:lnTo>
                    <a:pt x="0" y="43"/>
                  </a:lnTo>
                  <a:lnTo>
                    <a:pt x="3" y="1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5" name="Freeform 2285"/>
            <p:cNvSpPr>
              <a:spLocks/>
            </p:cNvSpPr>
            <p:nvPr/>
          </p:nvSpPr>
          <p:spPr bwMode="auto">
            <a:xfrm>
              <a:off x="8641671" y="1893876"/>
              <a:ext cx="71438" cy="195263"/>
            </a:xfrm>
            <a:custGeom>
              <a:avLst/>
              <a:gdLst>
                <a:gd name="T0" fmla="*/ 92 w 92"/>
                <a:gd name="T1" fmla="*/ 0 h 245"/>
                <a:gd name="T2" fmla="*/ 0 w 92"/>
                <a:gd name="T3" fmla="*/ 245 h 245"/>
                <a:gd name="T4" fmla="*/ 0 w 92"/>
                <a:gd name="T5" fmla="*/ 225 h 245"/>
                <a:gd name="T6" fmla="*/ 65 w 92"/>
                <a:gd name="T7" fmla="*/ 13 h 245"/>
                <a:gd name="T8" fmla="*/ 92 w 92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45">
                  <a:moveTo>
                    <a:pt x="92" y="0"/>
                  </a:moveTo>
                  <a:lnTo>
                    <a:pt x="0" y="245"/>
                  </a:lnTo>
                  <a:lnTo>
                    <a:pt x="0" y="225"/>
                  </a:lnTo>
                  <a:lnTo>
                    <a:pt x="65" y="13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6" name="Freeform 2286"/>
            <p:cNvSpPr>
              <a:spLocks/>
            </p:cNvSpPr>
            <p:nvPr/>
          </p:nvSpPr>
          <p:spPr bwMode="auto">
            <a:xfrm>
              <a:off x="8330521" y="1222364"/>
              <a:ext cx="622300" cy="1925638"/>
            </a:xfrm>
            <a:custGeom>
              <a:avLst/>
              <a:gdLst>
                <a:gd name="T0" fmla="*/ 784 w 784"/>
                <a:gd name="T1" fmla="*/ 340 h 2425"/>
                <a:gd name="T2" fmla="*/ 483 w 784"/>
                <a:gd name="T3" fmla="*/ 847 h 2425"/>
                <a:gd name="T4" fmla="*/ 476 w 784"/>
                <a:gd name="T5" fmla="*/ 864 h 2425"/>
                <a:gd name="T6" fmla="*/ 457 w 784"/>
                <a:gd name="T7" fmla="*/ 906 h 2425"/>
                <a:gd name="T8" fmla="*/ 434 w 784"/>
                <a:gd name="T9" fmla="*/ 969 h 2425"/>
                <a:gd name="T10" fmla="*/ 405 w 784"/>
                <a:gd name="T11" fmla="*/ 1043 h 2425"/>
                <a:gd name="T12" fmla="*/ 376 w 784"/>
                <a:gd name="T13" fmla="*/ 1121 h 2425"/>
                <a:gd name="T14" fmla="*/ 351 w 784"/>
                <a:gd name="T15" fmla="*/ 1194 h 2425"/>
                <a:gd name="T16" fmla="*/ 334 w 784"/>
                <a:gd name="T17" fmla="*/ 1255 h 2425"/>
                <a:gd name="T18" fmla="*/ 327 w 784"/>
                <a:gd name="T19" fmla="*/ 1295 h 2425"/>
                <a:gd name="T20" fmla="*/ 334 w 784"/>
                <a:gd name="T21" fmla="*/ 1316 h 2425"/>
                <a:gd name="T22" fmla="*/ 349 w 784"/>
                <a:gd name="T23" fmla="*/ 1362 h 2425"/>
                <a:gd name="T24" fmla="*/ 373 w 784"/>
                <a:gd name="T25" fmla="*/ 1436 h 2425"/>
                <a:gd name="T26" fmla="*/ 402 w 784"/>
                <a:gd name="T27" fmla="*/ 1534 h 2425"/>
                <a:gd name="T28" fmla="*/ 435 w 784"/>
                <a:gd name="T29" fmla="*/ 1648 h 2425"/>
                <a:gd name="T30" fmla="*/ 471 w 784"/>
                <a:gd name="T31" fmla="*/ 1770 h 2425"/>
                <a:gd name="T32" fmla="*/ 507 w 784"/>
                <a:gd name="T33" fmla="*/ 1895 h 2425"/>
                <a:gd name="T34" fmla="*/ 542 w 784"/>
                <a:gd name="T35" fmla="*/ 2017 h 2425"/>
                <a:gd name="T36" fmla="*/ 573 w 784"/>
                <a:gd name="T37" fmla="*/ 2127 h 2425"/>
                <a:gd name="T38" fmla="*/ 600 w 784"/>
                <a:gd name="T39" fmla="*/ 2219 h 2425"/>
                <a:gd name="T40" fmla="*/ 618 w 784"/>
                <a:gd name="T41" fmla="*/ 2288 h 2425"/>
                <a:gd name="T42" fmla="*/ 630 w 784"/>
                <a:gd name="T43" fmla="*/ 2325 h 2425"/>
                <a:gd name="T44" fmla="*/ 439 w 784"/>
                <a:gd name="T45" fmla="*/ 2425 h 2425"/>
                <a:gd name="T46" fmla="*/ 432 w 784"/>
                <a:gd name="T47" fmla="*/ 2408 h 2425"/>
                <a:gd name="T48" fmla="*/ 410 w 784"/>
                <a:gd name="T49" fmla="*/ 2362 h 2425"/>
                <a:gd name="T50" fmla="*/ 376 w 784"/>
                <a:gd name="T51" fmla="*/ 2291 h 2425"/>
                <a:gd name="T52" fmla="*/ 334 w 784"/>
                <a:gd name="T53" fmla="*/ 2202 h 2425"/>
                <a:gd name="T54" fmla="*/ 285 w 784"/>
                <a:gd name="T55" fmla="*/ 2098 h 2425"/>
                <a:gd name="T56" fmla="*/ 232 w 784"/>
                <a:gd name="T57" fmla="*/ 1988 h 2425"/>
                <a:gd name="T58" fmla="*/ 180 w 784"/>
                <a:gd name="T59" fmla="*/ 1876 h 2425"/>
                <a:gd name="T60" fmla="*/ 129 w 784"/>
                <a:gd name="T61" fmla="*/ 1768 h 2425"/>
                <a:gd name="T62" fmla="*/ 83 w 784"/>
                <a:gd name="T63" fmla="*/ 1668 h 2425"/>
                <a:gd name="T64" fmla="*/ 46 w 784"/>
                <a:gd name="T65" fmla="*/ 1583 h 2425"/>
                <a:gd name="T66" fmla="*/ 17 w 784"/>
                <a:gd name="T67" fmla="*/ 1519 h 2425"/>
                <a:gd name="T68" fmla="*/ 2 w 784"/>
                <a:gd name="T69" fmla="*/ 1482 h 2425"/>
                <a:gd name="T70" fmla="*/ 0 w 784"/>
                <a:gd name="T71" fmla="*/ 1465 h 2425"/>
                <a:gd name="T72" fmla="*/ 5 w 784"/>
                <a:gd name="T73" fmla="*/ 1414 h 2425"/>
                <a:gd name="T74" fmla="*/ 15 w 784"/>
                <a:gd name="T75" fmla="*/ 1329 h 2425"/>
                <a:gd name="T76" fmla="*/ 29 w 784"/>
                <a:gd name="T77" fmla="*/ 1218 h 2425"/>
                <a:gd name="T78" fmla="*/ 46 w 784"/>
                <a:gd name="T79" fmla="*/ 1087 h 2425"/>
                <a:gd name="T80" fmla="*/ 63 w 784"/>
                <a:gd name="T81" fmla="*/ 945 h 2425"/>
                <a:gd name="T82" fmla="*/ 82 w 784"/>
                <a:gd name="T83" fmla="*/ 803 h 2425"/>
                <a:gd name="T84" fmla="*/ 100 w 784"/>
                <a:gd name="T85" fmla="*/ 665 h 2425"/>
                <a:gd name="T86" fmla="*/ 117 w 784"/>
                <a:gd name="T87" fmla="*/ 540 h 2425"/>
                <a:gd name="T88" fmla="*/ 131 w 784"/>
                <a:gd name="T89" fmla="*/ 440 h 2425"/>
                <a:gd name="T90" fmla="*/ 141 w 784"/>
                <a:gd name="T91" fmla="*/ 367 h 2425"/>
                <a:gd name="T92" fmla="*/ 148 w 784"/>
                <a:gd name="T93" fmla="*/ 335 h 2425"/>
                <a:gd name="T94" fmla="*/ 151 w 784"/>
                <a:gd name="T95" fmla="*/ 318 h 2425"/>
                <a:gd name="T96" fmla="*/ 158 w 784"/>
                <a:gd name="T97" fmla="*/ 298 h 2425"/>
                <a:gd name="T98" fmla="*/ 170 w 784"/>
                <a:gd name="T99" fmla="*/ 273 h 2425"/>
                <a:gd name="T100" fmla="*/ 195 w 784"/>
                <a:gd name="T101" fmla="*/ 244 h 2425"/>
                <a:gd name="T102" fmla="*/ 236 w 784"/>
                <a:gd name="T103" fmla="*/ 207 h 2425"/>
                <a:gd name="T104" fmla="*/ 298 w 784"/>
                <a:gd name="T105" fmla="*/ 166 h 2425"/>
                <a:gd name="T106" fmla="*/ 388 w 784"/>
                <a:gd name="T107" fmla="*/ 117 h 2425"/>
                <a:gd name="T108" fmla="*/ 510 w 784"/>
                <a:gd name="T109" fmla="*/ 63 h 2425"/>
                <a:gd name="T110" fmla="*/ 669 w 784"/>
                <a:gd name="T111" fmla="*/ 0 h 2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84" h="2425">
                  <a:moveTo>
                    <a:pt x="669" y="0"/>
                  </a:moveTo>
                  <a:lnTo>
                    <a:pt x="784" y="340"/>
                  </a:lnTo>
                  <a:lnTo>
                    <a:pt x="784" y="613"/>
                  </a:lnTo>
                  <a:lnTo>
                    <a:pt x="483" y="847"/>
                  </a:lnTo>
                  <a:lnTo>
                    <a:pt x="481" y="852"/>
                  </a:lnTo>
                  <a:lnTo>
                    <a:pt x="476" y="864"/>
                  </a:lnTo>
                  <a:lnTo>
                    <a:pt x="468" y="882"/>
                  </a:lnTo>
                  <a:lnTo>
                    <a:pt x="457" y="906"/>
                  </a:lnTo>
                  <a:lnTo>
                    <a:pt x="446" y="936"/>
                  </a:lnTo>
                  <a:lnTo>
                    <a:pt x="434" y="969"/>
                  </a:lnTo>
                  <a:lnTo>
                    <a:pt x="419" y="1004"/>
                  </a:lnTo>
                  <a:lnTo>
                    <a:pt x="405" y="1043"/>
                  </a:lnTo>
                  <a:lnTo>
                    <a:pt x="390" y="1082"/>
                  </a:lnTo>
                  <a:lnTo>
                    <a:pt x="376" y="1121"/>
                  </a:lnTo>
                  <a:lnTo>
                    <a:pt x="363" y="1158"/>
                  </a:lnTo>
                  <a:lnTo>
                    <a:pt x="351" y="1194"/>
                  </a:lnTo>
                  <a:lnTo>
                    <a:pt x="341" y="1226"/>
                  </a:lnTo>
                  <a:lnTo>
                    <a:pt x="334" y="1255"/>
                  </a:lnTo>
                  <a:lnTo>
                    <a:pt x="329" y="1279"/>
                  </a:lnTo>
                  <a:lnTo>
                    <a:pt x="327" y="1295"/>
                  </a:lnTo>
                  <a:lnTo>
                    <a:pt x="329" y="1306"/>
                  </a:lnTo>
                  <a:lnTo>
                    <a:pt x="334" y="1316"/>
                  </a:lnTo>
                  <a:lnTo>
                    <a:pt x="341" y="1334"/>
                  </a:lnTo>
                  <a:lnTo>
                    <a:pt x="349" y="1362"/>
                  </a:lnTo>
                  <a:lnTo>
                    <a:pt x="361" y="1395"/>
                  </a:lnTo>
                  <a:lnTo>
                    <a:pt x="373" y="1436"/>
                  </a:lnTo>
                  <a:lnTo>
                    <a:pt x="386" y="1482"/>
                  </a:lnTo>
                  <a:lnTo>
                    <a:pt x="402" y="1534"/>
                  </a:lnTo>
                  <a:lnTo>
                    <a:pt x="419" y="1588"/>
                  </a:lnTo>
                  <a:lnTo>
                    <a:pt x="435" y="1648"/>
                  </a:lnTo>
                  <a:lnTo>
                    <a:pt x="452" y="1707"/>
                  </a:lnTo>
                  <a:lnTo>
                    <a:pt x="471" y="1770"/>
                  </a:lnTo>
                  <a:lnTo>
                    <a:pt x="490" y="1832"/>
                  </a:lnTo>
                  <a:lnTo>
                    <a:pt x="507" y="1895"/>
                  </a:lnTo>
                  <a:lnTo>
                    <a:pt x="525" y="1956"/>
                  </a:lnTo>
                  <a:lnTo>
                    <a:pt x="542" y="2017"/>
                  </a:lnTo>
                  <a:lnTo>
                    <a:pt x="557" y="2073"/>
                  </a:lnTo>
                  <a:lnTo>
                    <a:pt x="573" y="2127"/>
                  </a:lnTo>
                  <a:lnTo>
                    <a:pt x="588" y="2176"/>
                  </a:lnTo>
                  <a:lnTo>
                    <a:pt x="600" y="2219"/>
                  </a:lnTo>
                  <a:lnTo>
                    <a:pt x="610" y="2257"/>
                  </a:lnTo>
                  <a:lnTo>
                    <a:pt x="618" y="2288"/>
                  </a:lnTo>
                  <a:lnTo>
                    <a:pt x="625" y="2310"/>
                  </a:lnTo>
                  <a:lnTo>
                    <a:pt x="630" y="2325"/>
                  </a:lnTo>
                  <a:lnTo>
                    <a:pt x="630" y="2330"/>
                  </a:lnTo>
                  <a:lnTo>
                    <a:pt x="439" y="2425"/>
                  </a:lnTo>
                  <a:lnTo>
                    <a:pt x="437" y="2422"/>
                  </a:lnTo>
                  <a:lnTo>
                    <a:pt x="432" y="2408"/>
                  </a:lnTo>
                  <a:lnTo>
                    <a:pt x="422" y="2390"/>
                  </a:lnTo>
                  <a:lnTo>
                    <a:pt x="410" y="2362"/>
                  </a:lnTo>
                  <a:lnTo>
                    <a:pt x="393" y="2330"/>
                  </a:lnTo>
                  <a:lnTo>
                    <a:pt x="376" y="2291"/>
                  </a:lnTo>
                  <a:lnTo>
                    <a:pt x="356" y="2249"/>
                  </a:lnTo>
                  <a:lnTo>
                    <a:pt x="334" y="2202"/>
                  </a:lnTo>
                  <a:lnTo>
                    <a:pt x="310" y="2151"/>
                  </a:lnTo>
                  <a:lnTo>
                    <a:pt x="285" y="2098"/>
                  </a:lnTo>
                  <a:lnTo>
                    <a:pt x="259" y="2044"/>
                  </a:lnTo>
                  <a:lnTo>
                    <a:pt x="232" y="1988"/>
                  </a:lnTo>
                  <a:lnTo>
                    <a:pt x="207" y="1932"/>
                  </a:lnTo>
                  <a:lnTo>
                    <a:pt x="180" y="1876"/>
                  </a:lnTo>
                  <a:lnTo>
                    <a:pt x="154" y="1821"/>
                  </a:lnTo>
                  <a:lnTo>
                    <a:pt x="129" y="1768"/>
                  </a:lnTo>
                  <a:lnTo>
                    <a:pt x="105" y="1717"/>
                  </a:lnTo>
                  <a:lnTo>
                    <a:pt x="83" y="1668"/>
                  </a:lnTo>
                  <a:lnTo>
                    <a:pt x="63" y="1624"/>
                  </a:lnTo>
                  <a:lnTo>
                    <a:pt x="46" y="1583"/>
                  </a:lnTo>
                  <a:lnTo>
                    <a:pt x="29" y="1548"/>
                  </a:lnTo>
                  <a:lnTo>
                    <a:pt x="17" y="1519"/>
                  </a:lnTo>
                  <a:lnTo>
                    <a:pt x="7" y="1497"/>
                  </a:lnTo>
                  <a:lnTo>
                    <a:pt x="2" y="1482"/>
                  </a:lnTo>
                  <a:lnTo>
                    <a:pt x="0" y="1473"/>
                  </a:lnTo>
                  <a:lnTo>
                    <a:pt x="0" y="1465"/>
                  </a:lnTo>
                  <a:lnTo>
                    <a:pt x="2" y="1445"/>
                  </a:lnTo>
                  <a:lnTo>
                    <a:pt x="5" y="1414"/>
                  </a:lnTo>
                  <a:lnTo>
                    <a:pt x="10" y="1375"/>
                  </a:lnTo>
                  <a:lnTo>
                    <a:pt x="15" y="1329"/>
                  </a:lnTo>
                  <a:lnTo>
                    <a:pt x="22" y="1275"/>
                  </a:lnTo>
                  <a:lnTo>
                    <a:pt x="29" y="1218"/>
                  </a:lnTo>
                  <a:lnTo>
                    <a:pt x="37" y="1153"/>
                  </a:lnTo>
                  <a:lnTo>
                    <a:pt x="46" y="1087"/>
                  </a:lnTo>
                  <a:lnTo>
                    <a:pt x="54" y="1016"/>
                  </a:lnTo>
                  <a:lnTo>
                    <a:pt x="63" y="945"/>
                  </a:lnTo>
                  <a:lnTo>
                    <a:pt x="73" y="874"/>
                  </a:lnTo>
                  <a:lnTo>
                    <a:pt x="82" y="803"/>
                  </a:lnTo>
                  <a:lnTo>
                    <a:pt x="92" y="732"/>
                  </a:lnTo>
                  <a:lnTo>
                    <a:pt x="100" y="665"/>
                  </a:lnTo>
                  <a:lnTo>
                    <a:pt x="109" y="601"/>
                  </a:lnTo>
                  <a:lnTo>
                    <a:pt x="117" y="540"/>
                  </a:lnTo>
                  <a:lnTo>
                    <a:pt x="124" y="488"/>
                  </a:lnTo>
                  <a:lnTo>
                    <a:pt x="131" y="440"/>
                  </a:lnTo>
                  <a:lnTo>
                    <a:pt x="136" y="400"/>
                  </a:lnTo>
                  <a:lnTo>
                    <a:pt x="141" y="367"/>
                  </a:lnTo>
                  <a:lnTo>
                    <a:pt x="146" y="345"/>
                  </a:lnTo>
                  <a:lnTo>
                    <a:pt x="148" y="335"/>
                  </a:lnTo>
                  <a:lnTo>
                    <a:pt x="149" y="327"/>
                  </a:lnTo>
                  <a:lnTo>
                    <a:pt x="151" y="318"/>
                  </a:lnTo>
                  <a:lnTo>
                    <a:pt x="154" y="308"/>
                  </a:lnTo>
                  <a:lnTo>
                    <a:pt x="158" y="298"/>
                  </a:lnTo>
                  <a:lnTo>
                    <a:pt x="163" y="286"/>
                  </a:lnTo>
                  <a:lnTo>
                    <a:pt x="170" y="273"/>
                  </a:lnTo>
                  <a:lnTo>
                    <a:pt x="180" y="259"/>
                  </a:lnTo>
                  <a:lnTo>
                    <a:pt x="195" y="244"/>
                  </a:lnTo>
                  <a:lnTo>
                    <a:pt x="212" y="225"/>
                  </a:lnTo>
                  <a:lnTo>
                    <a:pt x="236" y="207"/>
                  </a:lnTo>
                  <a:lnTo>
                    <a:pt x="264" y="188"/>
                  </a:lnTo>
                  <a:lnTo>
                    <a:pt x="298" y="166"/>
                  </a:lnTo>
                  <a:lnTo>
                    <a:pt x="341" y="142"/>
                  </a:lnTo>
                  <a:lnTo>
                    <a:pt x="388" y="117"/>
                  </a:lnTo>
                  <a:lnTo>
                    <a:pt x="446" y="90"/>
                  </a:lnTo>
                  <a:lnTo>
                    <a:pt x="510" y="63"/>
                  </a:lnTo>
                  <a:lnTo>
                    <a:pt x="584" y="3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7" name="Freeform 2287"/>
            <p:cNvSpPr>
              <a:spLocks/>
            </p:cNvSpPr>
            <p:nvPr/>
          </p:nvSpPr>
          <p:spPr bwMode="auto">
            <a:xfrm>
              <a:off x="8786133" y="1181089"/>
              <a:ext cx="190500" cy="1268413"/>
            </a:xfrm>
            <a:custGeom>
              <a:avLst/>
              <a:gdLst>
                <a:gd name="T0" fmla="*/ 239 w 239"/>
                <a:gd name="T1" fmla="*/ 0 h 1599"/>
                <a:gd name="T2" fmla="*/ 239 w 239"/>
                <a:gd name="T3" fmla="*/ 1599 h 1599"/>
                <a:gd name="T4" fmla="*/ 119 w 239"/>
                <a:gd name="T5" fmla="*/ 642 h 1599"/>
                <a:gd name="T6" fmla="*/ 200 w 239"/>
                <a:gd name="T7" fmla="*/ 559 h 1599"/>
                <a:gd name="T8" fmla="*/ 119 w 239"/>
                <a:gd name="T9" fmla="*/ 507 h 1599"/>
                <a:gd name="T10" fmla="*/ 0 w 239"/>
                <a:gd name="T11" fmla="*/ 87 h 1599"/>
                <a:gd name="T12" fmla="*/ 239 w 239"/>
                <a:gd name="T13" fmla="*/ 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1599">
                  <a:moveTo>
                    <a:pt x="239" y="0"/>
                  </a:moveTo>
                  <a:lnTo>
                    <a:pt x="239" y="1599"/>
                  </a:lnTo>
                  <a:lnTo>
                    <a:pt x="119" y="642"/>
                  </a:lnTo>
                  <a:lnTo>
                    <a:pt x="200" y="559"/>
                  </a:lnTo>
                  <a:lnTo>
                    <a:pt x="119" y="507"/>
                  </a:lnTo>
                  <a:lnTo>
                    <a:pt x="0" y="87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0026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8" name="Group 4627"/>
          <p:cNvGrpSpPr/>
          <p:nvPr/>
        </p:nvGrpSpPr>
        <p:grpSpPr>
          <a:xfrm>
            <a:off x="7566765" y="1862719"/>
            <a:ext cx="125887" cy="432976"/>
            <a:chOff x="-3789363" y="465137"/>
            <a:chExt cx="1363663" cy="4737101"/>
          </a:xfrm>
        </p:grpSpPr>
        <p:sp>
          <p:nvSpPr>
            <p:cNvPr id="4629" name="Freeform 1383"/>
            <p:cNvSpPr>
              <a:spLocks/>
            </p:cNvSpPr>
            <p:nvPr/>
          </p:nvSpPr>
          <p:spPr bwMode="auto">
            <a:xfrm>
              <a:off x="-3789363" y="4948238"/>
              <a:ext cx="600075" cy="234950"/>
            </a:xfrm>
            <a:custGeom>
              <a:avLst/>
              <a:gdLst>
                <a:gd name="T0" fmla="*/ 224 w 378"/>
                <a:gd name="T1" fmla="*/ 0 h 148"/>
                <a:gd name="T2" fmla="*/ 245 w 378"/>
                <a:gd name="T3" fmla="*/ 16 h 148"/>
                <a:gd name="T4" fmla="*/ 272 w 378"/>
                <a:gd name="T5" fmla="*/ 27 h 148"/>
                <a:gd name="T6" fmla="*/ 298 w 378"/>
                <a:gd name="T7" fmla="*/ 36 h 148"/>
                <a:gd name="T8" fmla="*/ 322 w 378"/>
                <a:gd name="T9" fmla="*/ 43 h 148"/>
                <a:gd name="T10" fmla="*/ 342 w 378"/>
                <a:gd name="T11" fmla="*/ 48 h 148"/>
                <a:gd name="T12" fmla="*/ 356 w 378"/>
                <a:gd name="T13" fmla="*/ 54 h 148"/>
                <a:gd name="T14" fmla="*/ 366 w 378"/>
                <a:gd name="T15" fmla="*/ 65 h 148"/>
                <a:gd name="T16" fmla="*/ 372 w 378"/>
                <a:gd name="T17" fmla="*/ 79 h 148"/>
                <a:gd name="T18" fmla="*/ 376 w 378"/>
                <a:gd name="T19" fmla="*/ 98 h 148"/>
                <a:gd name="T20" fmla="*/ 378 w 378"/>
                <a:gd name="T21" fmla="*/ 121 h 148"/>
                <a:gd name="T22" fmla="*/ 378 w 378"/>
                <a:gd name="T23" fmla="*/ 124 h 148"/>
                <a:gd name="T24" fmla="*/ 378 w 378"/>
                <a:gd name="T25" fmla="*/ 126 h 148"/>
                <a:gd name="T26" fmla="*/ 378 w 378"/>
                <a:gd name="T27" fmla="*/ 129 h 148"/>
                <a:gd name="T28" fmla="*/ 378 w 378"/>
                <a:gd name="T29" fmla="*/ 133 h 148"/>
                <a:gd name="T30" fmla="*/ 378 w 378"/>
                <a:gd name="T31" fmla="*/ 135 h 148"/>
                <a:gd name="T32" fmla="*/ 376 w 378"/>
                <a:gd name="T33" fmla="*/ 136 h 148"/>
                <a:gd name="T34" fmla="*/ 376 w 378"/>
                <a:gd name="T35" fmla="*/ 139 h 148"/>
                <a:gd name="T36" fmla="*/ 375 w 378"/>
                <a:gd name="T37" fmla="*/ 139 h 148"/>
                <a:gd name="T38" fmla="*/ 372 w 378"/>
                <a:gd name="T39" fmla="*/ 140 h 148"/>
                <a:gd name="T40" fmla="*/ 370 w 378"/>
                <a:gd name="T41" fmla="*/ 142 h 148"/>
                <a:gd name="T42" fmla="*/ 365 w 378"/>
                <a:gd name="T43" fmla="*/ 143 h 148"/>
                <a:gd name="T44" fmla="*/ 358 w 378"/>
                <a:gd name="T45" fmla="*/ 144 h 148"/>
                <a:gd name="T46" fmla="*/ 349 w 378"/>
                <a:gd name="T47" fmla="*/ 145 h 148"/>
                <a:gd name="T48" fmla="*/ 334 w 378"/>
                <a:gd name="T49" fmla="*/ 145 h 148"/>
                <a:gd name="T50" fmla="*/ 311 w 378"/>
                <a:gd name="T51" fmla="*/ 147 h 148"/>
                <a:gd name="T52" fmla="*/ 283 w 378"/>
                <a:gd name="T53" fmla="*/ 147 h 148"/>
                <a:gd name="T54" fmla="*/ 252 w 378"/>
                <a:gd name="T55" fmla="*/ 148 h 148"/>
                <a:gd name="T56" fmla="*/ 217 w 378"/>
                <a:gd name="T57" fmla="*/ 148 h 148"/>
                <a:gd name="T58" fmla="*/ 183 w 378"/>
                <a:gd name="T59" fmla="*/ 148 h 148"/>
                <a:gd name="T60" fmla="*/ 147 w 378"/>
                <a:gd name="T61" fmla="*/ 148 h 148"/>
                <a:gd name="T62" fmla="*/ 113 w 378"/>
                <a:gd name="T63" fmla="*/ 148 h 148"/>
                <a:gd name="T64" fmla="*/ 82 w 378"/>
                <a:gd name="T65" fmla="*/ 147 h 148"/>
                <a:gd name="T66" fmla="*/ 55 w 378"/>
                <a:gd name="T67" fmla="*/ 147 h 148"/>
                <a:gd name="T68" fmla="*/ 34 w 378"/>
                <a:gd name="T69" fmla="*/ 147 h 148"/>
                <a:gd name="T70" fmla="*/ 18 w 378"/>
                <a:gd name="T71" fmla="*/ 145 h 148"/>
                <a:gd name="T72" fmla="*/ 12 w 378"/>
                <a:gd name="T73" fmla="*/ 144 h 148"/>
                <a:gd name="T74" fmla="*/ 4 w 378"/>
                <a:gd name="T75" fmla="*/ 140 h 148"/>
                <a:gd name="T76" fmla="*/ 2 w 378"/>
                <a:gd name="T77" fmla="*/ 135 h 148"/>
                <a:gd name="T78" fmla="*/ 0 w 378"/>
                <a:gd name="T79" fmla="*/ 129 h 148"/>
                <a:gd name="T80" fmla="*/ 2 w 378"/>
                <a:gd name="T81" fmla="*/ 122 h 148"/>
                <a:gd name="T82" fmla="*/ 4 w 378"/>
                <a:gd name="T83" fmla="*/ 117 h 148"/>
                <a:gd name="T84" fmla="*/ 12 w 378"/>
                <a:gd name="T85" fmla="*/ 111 h 148"/>
                <a:gd name="T86" fmla="*/ 25 w 378"/>
                <a:gd name="T87" fmla="*/ 104 h 148"/>
                <a:gd name="T88" fmla="*/ 43 w 378"/>
                <a:gd name="T89" fmla="*/ 95 h 148"/>
                <a:gd name="T90" fmla="*/ 55 w 378"/>
                <a:gd name="T91" fmla="*/ 89 h 148"/>
                <a:gd name="T92" fmla="*/ 71 w 378"/>
                <a:gd name="T93" fmla="*/ 83 h 148"/>
                <a:gd name="T94" fmla="*/ 89 w 378"/>
                <a:gd name="T95" fmla="*/ 74 h 148"/>
                <a:gd name="T96" fmla="*/ 108 w 378"/>
                <a:gd name="T97" fmla="*/ 66 h 148"/>
                <a:gd name="T98" fmla="*/ 127 w 378"/>
                <a:gd name="T99" fmla="*/ 57 h 148"/>
                <a:gd name="T100" fmla="*/ 145 w 378"/>
                <a:gd name="T101" fmla="*/ 49 h 148"/>
                <a:gd name="T102" fmla="*/ 159 w 378"/>
                <a:gd name="T103" fmla="*/ 43 h 148"/>
                <a:gd name="T104" fmla="*/ 170 w 378"/>
                <a:gd name="T105" fmla="*/ 39 h 148"/>
                <a:gd name="T106" fmla="*/ 174 w 378"/>
                <a:gd name="T107" fmla="*/ 36 h 148"/>
                <a:gd name="T108" fmla="*/ 176 w 378"/>
                <a:gd name="T109" fmla="*/ 34 h 148"/>
                <a:gd name="T110" fmla="*/ 183 w 378"/>
                <a:gd name="T111" fmla="*/ 30 h 148"/>
                <a:gd name="T112" fmla="*/ 191 w 378"/>
                <a:gd name="T113" fmla="*/ 25 h 148"/>
                <a:gd name="T114" fmla="*/ 202 w 378"/>
                <a:gd name="T115" fmla="*/ 18 h 148"/>
                <a:gd name="T116" fmla="*/ 211 w 378"/>
                <a:gd name="T117" fmla="*/ 12 h 148"/>
                <a:gd name="T118" fmla="*/ 218 w 378"/>
                <a:gd name="T119" fmla="*/ 6 h 148"/>
                <a:gd name="T120" fmla="*/ 224 w 378"/>
                <a:gd name="T12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8" h="148">
                  <a:moveTo>
                    <a:pt x="224" y="0"/>
                  </a:moveTo>
                  <a:lnTo>
                    <a:pt x="245" y="16"/>
                  </a:lnTo>
                  <a:lnTo>
                    <a:pt x="272" y="27"/>
                  </a:lnTo>
                  <a:lnTo>
                    <a:pt x="298" y="36"/>
                  </a:lnTo>
                  <a:lnTo>
                    <a:pt x="322" y="43"/>
                  </a:lnTo>
                  <a:lnTo>
                    <a:pt x="342" y="48"/>
                  </a:lnTo>
                  <a:lnTo>
                    <a:pt x="356" y="54"/>
                  </a:lnTo>
                  <a:lnTo>
                    <a:pt x="366" y="65"/>
                  </a:lnTo>
                  <a:lnTo>
                    <a:pt x="372" y="79"/>
                  </a:lnTo>
                  <a:lnTo>
                    <a:pt x="376" y="98"/>
                  </a:lnTo>
                  <a:lnTo>
                    <a:pt x="378" y="121"/>
                  </a:lnTo>
                  <a:lnTo>
                    <a:pt x="378" y="124"/>
                  </a:lnTo>
                  <a:lnTo>
                    <a:pt x="378" y="126"/>
                  </a:lnTo>
                  <a:lnTo>
                    <a:pt x="378" y="129"/>
                  </a:lnTo>
                  <a:lnTo>
                    <a:pt x="378" y="133"/>
                  </a:lnTo>
                  <a:lnTo>
                    <a:pt x="378" y="135"/>
                  </a:lnTo>
                  <a:lnTo>
                    <a:pt x="376" y="136"/>
                  </a:lnTo>
                  <a:lnTo>
                    <a:pt x="376" y="139"/>
                  </a:lnTo>
                  <a:lnTo>
                    <a:pt x="375" y="139"/>
                  </a:lnTo>
                  <a:lnTo>
                    <a:pt x="372" y="140"/>
                  </a:lnTo>
                  <a:lnTo>
                    <a:pt x="370" y="142"/>
                  </a:lnTo>
                  <a:lnTo>
                    <a:pt x="365" y="143"/>
                  </a:lnTo>
                  <a:lnTo>
                    <a:pt x="358" y="144"/>
                  </a:lnTo>
                  <a:lnTo>
                    <a:pt x="349" y="145"/>
                  </a:lnTo>
                  <a:lnTo>
                    <a:pt x="334" y="145"/>
                  </a:lnTo>
                  <a:lnTo>
                    <a:pt x="311" y="147"/>
                  </a:lnTo>
                  <a:lnTo>
                    <a:pt x="283" y="147"/>
                  </a:lnTo>
                  <a:lnTo>
                    <a:pt x="252" y="148"/>
                  </a:lnTo>
                  <a:lnTo>
                    <a:pt x="217" y="148"/>
                  </a:lnTo>
                  <a:lnTo>
                    <a:pt x="183" y="148"/>
                  </a:lnTo>
                  <a:lnTo>
                    <a:pt x="147" y="148"/>
                  </a:lnTo>
                  <a:lnTo>
                    <a:pt x="113" y="148"/>
                  </a:lnTo>
                  <a:lnTo>
                    <a:pt x="82" y="147"/>
                  </a:lnTo>
                  <a:lnTo>
                    <a:pt x="55" y="147"/>
                  </a:lnTo>
                  <a:lnTo>
                    <a:pt x="34" y="147"/>
                  </a:lnTo>
                  <a:lnTo>
                    <a:pt x="18" y="145"/>
                  </a:lnTo>
                  <a:lnTo>
                    <a:pt x="12" y="144"/>
                  </a:lnTo>
                  <a:lnTo>
                    <a:pt x="4" y="140"/>
                  </a:lnTo>
                  <a:lnTo>
                    <a:pt x="2" y="135"/>
                  </a:lnTo>
                  <a:lnTo>
                    <a:pt x="0" y="129"/>
                  </a:lnTo>
                  <a:lnTo>
                    <a:pt x="2" y="122"/>
                  </a:lnTo>
                  <a:lnTo>
                    <a:pt x="4" y="117"/>
                  </a:lnTo>
                  <a:lnTo>
                    <a:pt x="12" y="111"/>
                  </a:lnTo>
                  <a:lnTo>
                    <a:pt x="25" y="104"/>
                  </a:lnTo>
                  <a:lnTo>
                    <a:pt x="43" y="95"/>
                  </a:lnTo>
                  <a:lnTo>
                    <a:pt x="55" y="89"/>
                  </a:lnTo>
                  <a:lnTo>
                    <a:pt x="71" y="83"/>
                  </a:lnTo>
                  <a:lnTo>
                    <a:pt x="89" y="74"/>
                  </a:lnTo>
                  <a:lnTo>
                    <a:pt x="108" y="66"/>
                  </a:lnTo>
                  <a:lnTo>
                    <a:pt x="127" y="57"/>
                  </a:lnTo>
                  <a:lnTo>
                    <a:pt x="145" y="49"/>
                  </a:lnTo>
                  <a:lnTo>
                    <a:pt x="159" y="43"/>
                  </a:lnTo>
                  <a:lnTo>
                    <a:pt x="170" y="39"/>
                  </a:lnTo>
                  <a:lnTo>
                    <a:pt x="174" y="36"/>
                  </a:lnTo>
                  <a:lnTo>
                    <a:pt x="176" y="34"/>
                  </a:lnTo>
                  <a:lnTo>
                    <a:pt x="183" y="30"/>
                  </a:lnTo>
                  <a:lnTo>
                    <a:pt x="191" y="25"/>
                  </a:lnTo>
                  <a:lnTo>
                    <a:pt x="202" y="18"/>
                  </a:lnTo>
                  <a:lnTo>
                    <a:pt x="211" y="12"/>
                  </a:lnTo>
                  <a:lnTo>
                    <a:pt x="218" y="6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58481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0" name="Freeform 1384"/>
            <p:cNvSpPr>
              <a:spLocks/>
            </p:cNvSpPr>
            <p:nvPr/>
          </p:nvSpPr>
          <p:spPr bwMode="auto">
            <a:xfrm>
              <a:off x="-3527425" y="2743200"/>
              <a:ext cx="976313" cy="2355850"/>
            </a:xfrm>
            <a:custGeom>
              <a:avLst/>
              <a:gdLst>
                <a:gd name="T0" fmla="*/ 465 w 615"/>
                <a:gd name="T1" fmla="*/ 10 h 1484"/>
                <a:gd name="T2" fmla="*/ 508 w 615"/>
                <a:gd name="T3" fmla="*/ 52 h 1484"/>
                <a:gd name="T4" fmla="*/ 518 w 615"/>
                <a:gd name="T5" fmla="*/ 87 h 1484"/>
                <a:gd name="T6" fmla="*/ 528 w 615"/>
                <a:gd name="T7" fmla="*/ 203 h 1484"/>
                <a:gd name="T8" fmla="*/ 537 w 615"/>
                <a:gd name="T9" fmla="*/ 304 h 1484"/>
                <a:gd name="T10" fmla="*/ 551 w 615"/>
                <a:gd name="T11" fmla="*/ 459 h 1484"/>
                <a:gd name="T12" fmla="*/ 563 w 615"/>
                <a:gd name="T13" fmla="*/ 607 h 1484"/>
                <a:gd name="T14" fmla="*/ 568 w 615"/>
                <a:gd name="T15" fmla="*/ 682 h 1484"/>
                <a:gd name="T16" fmla="*/ 569 w 615"/>
                <a:gd name="T17" fmla="*/ 808 h 1484"/>
                <a:gd name="T18" fmla="*/ 577 w 615"/>
                <a:gd name="T19" fmla="*/ 1007 h 1484"/>
                <a:gd name="T20" fmla="*/ 587 w 615"/>
                <a:gd name="T21" fmla="*/ 1210 h 1484"/>
                <a:gd name="T22" fmla="*/ 596 w 615"/>
                <a:gd name="T23" fmla="*/ 1350 h 1484"/>
                <a:gd name="T24" fmla="*/ 610 w 615"/>
                <a:gd name="T25" fmla="*/ 1409 h 1484"/>
                <a:gd name="T26" fmla="*/ 610 w 615"/>
                <a:gd name="T27" fmla="*/ 1450 h 1484"/>
                <a:gd name="T28" fmla="*/ 590 w 615"/>
                <a:gd name="T29" fmla="*/ 1472 h 1484"/>
                <a:gd name="T30" fmla="*/ 517 w 615"/>
                <a:gd name="T31" fmla="*/ 1481 h 1484"/>
                <a:gd name="T32" fmla="*/ 428 w 615"/>
                <a:gd name="T33" fmla="*/ 1483 h 1484"/>
                <a:gd name="T34" fmla="*/ 381 w 615"/>
                <a:gd name="T35" fmla="*/ 1457 h 1484"/>
                <a:gd name="T36" fmla="*/ 383 w 615"/>
                <a:gd name="T37" fmla="*/ 1437 h 1484"/>
                <a:gd name="T38" fmla="*/ 384 w 615"/>
                <a:gd name="T39" fmla="*/ 1418 h 1484"/>
                <a:gd name="T40" fmla="*/ 405 w 615"/>
                <a:gd name="T41" fmla="*/ 1364 h 1484"/>
                <a:gd name="T42" fmla="*/ 405 w 615"/>
                <a:gd name="T43" fmla="*/ 1325 h 1484"/>
                <a:gd name="T44" fmla="*/ 390 w 615"/>
                <a:gd name="T45" fmla="*/ 1069 h 1484"/>
                <a:gd name="T46" fmla="*/ 387 w 615"/>
                <a:gd name="T47" fmla="*/ 789 h 1484"/>
                <a:gd name="T48" fmla="*/ 365 w 615"/>
                <a:gd name="T49" fmla="*/ 650 h 1484"/>
                <a:gd name="T50" fmla="*/ 338 w 615"/>
                <a:gd name="T51" fmla="*/ 513 h 1484"/>
                <a:gd name="T52" fmla="*/ 305 w 615"/>
                <a:gd name="T53" fmla="*/ 364 h 1484"/>
                <a:gd name="T54" fmla="*/ 281 w 615"/>
                <a:gd name="T55" fmla="*/ 262 h 1484"/>
                <a:gd name="T56" fmla="*/ 263 w 615"/>
                <a:gd name="T57" fmla="*/ 246 h 1484"/>
                <a:gd name="T58" fmla="*/ 250 w 615"/>
                <a:gd name="T59" fmla="*/ 285 h 1484"/>
                <a:gd name="T60" fmla="*/ 236 w 615"/>
                <a:gd name="T61" fmla="*/ 389 h 1484"/>
                <a:gd name="T62" fmla="*/ 223 w 615"/>
                <a:gd name="T63" fmla="*/ 503 h 1484"/>
                <a:gd name="T64" fmla="*/ 216 w 615"/>
                <a:gd name="T65" fmla="*/ 555 h 1484"/>
                <a:gd name="T66" fmla="*/ 201 w 615"/>
                <a:gd name="T67" fmla="*/ 631 h 1484"/>
                <a:gd name="T68" fmla="*/ 195 w 615"/>
                <a:gd name="T69" fmla="*/ 697 h 1484"/>
                <a:gd name="T70" fmla="*/ 206 w 615"/>
                <a:gd name="T71" fmla="*/ 803 h 1484"/>
                <a:gd name="T72" fmla="*/ 213 w 615"/>
                <a:gd name="T73" fmla="*/ 893 h 1484"/>
                <a:gd name="T74" fmla="*/ 218 w 615"/>
                <a:gd name="T75" fmla="*/ 1047 h 1484"/>
                <a:gd name="T76" fmla="*/ 223 w 615"/>
                <a:gd name="T77" fmla="*/ 1228 h 1484"/>
                <a:gd name="T78" fmla="*/ 227 w 615"/>
                <a:gd name="T79" fmla="*/ 1373 h 1484"/>
                <a:gd name="T80" fmla="*/ 227 w 615"/>
                <a:gd name="T81" fmla="*/ 1432 h 1484"/>
                <a:gd name="T82" fmla="*/ 189 w 615"/>
                <a:gd name="T83" fmla="*/ 1475 h 1484"/>
                <a:gd name="T84" fmla="*/ 51 w 615"/>
                <a:gd name="T85" fmla="*/ 1420 h 1484"/>
                <a:gd name="T86" fmla="*/ 43 w 615"/>
                <a:gd name="T87" fmla="*/ 1365 h 1484"/>
                <a:gd name="T88" fmla="*/ 57 w 615"/>
                <a:gd name="T89" fmla="*/ 1318 h 1484"/>
                <a:gd name="T90" fmla="*/ 51 w 615"/>
                <a:gd name="T91" fmla="*/ 1191 h 1484"/>
                <a:gd name="T92" fmla="*/ 34 w 615"/>
                <a:gd name="T93" fmla="*/ 1016 h 1484"/>
                <a:gd name="T94" fmla="*/ 18 w 615"/>
                <a:gd name="T95" fmla="*/ 842 h 1484"/>
                <a:gd name="T96" fmla="*/ 5 w 615"/>
                <a:gd name="T97" fmla="*/ 730 h 1484"/>
                <a:gd name="T98" fmla="*/ 0 w 615"/>
                <a:gd name="T99" fmla="*/ 612 h 1484"/>
                <a:gd name="T100" fmla="*/ 1 w 615"/>
                <a:gd name="T101" fmla="*/ 446 h 1484"/>
                <a:gd name="T102" fmla="*/ 11 w 615"/>
                <a:gd name="T103" fmla="*/ 323 h 1484"/>
                <a:gd name="T104" fmla="*/ 21 w 615"/>
                <a:gd name="T105" fmla="*/ 191 h 1484"/>
                <a:gd name="T106" fmla="*/ 30 w 615"/>
                <a:gd name="T107" fmla="*/ 79 h 1484"/>
                <a:gd name="T108" fmla="*/ 94 w 615"/>
                <a:gd name="T109" fmla="*/ 24 h 1484"/>
                <a:gd name="T110" fmla="*/ 156 w 615"/>
                <a:gd name="T111" fmla="*/ 19 h 1484"/>
                <a:gd name="T112" fmla="*/ 290 w 615"/>
                <a:gd name="T113" fmla="*/ 10 h 1484"/>
                <a:gd name="T114" fmla="*/ 414 w 615"/>
                <a:gd name="T115" fmla="*/ 1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5" h="1484">
                  <a:moveTo>
                    <a:pt x="447" y="0"/>
                  </a:moveTo>
                  <a:lnTo>
                    <a:pt x="454" y="0"/>
                  </a:lnTo>
                  <a:lnTo>
                    <a:pt x="458" y="2"/>
                  </a:lnTo>
                  <a:lnTo>
                    <a:pt x="465" y="10"/>
                  </a:lnTo>
                  <a:lnTo>
                    <a:pt x="476" y="19"/>
                  </a:lnTo>
                  <a:lnTo>
                    <a:pt x="487" y="31"/>
                  </a:lnTo>
                  <a:lnTo>
                    <a:pt x="497" y="42"/>
                  </a:lnTo>
                  <a:lnTo>
                    <a:pt x="508" y="52"/>
                  </a:lnTo>
                  <a:lnTo>
                    <a:pt x="514" y="60"/>
                  </a:lnTo>
                  <a:lnTo>
                    <a:pt x="517" y="64"/>
                  </a:lnTo>
                  <a:lnTo>
                    <a:pt x="517" y="72"/>
                  </a:lnTo>
                  <a:lnTo>
                    <a:pt x="518" y="87"/>
                  </a:lnTo>
                  <a:lnTo>
                    <a:pt x="520" y="109"/>
                  </a:lnTo>
                  <a:lnTo>
                    <a:pt x="522" y="136"/>
                  </a:lnTo>
                  <a:lnTo>
                    <a:pt x="526" y="167"/>
                  </a:lnTo>
                  <a:lnTo>
                    <a:pt x="528" y="203"/>
                  </a:lnTo>
                  <a:lnTo>
                    <a:pt x="529" y="219"/>
                  </a:lnTo>
                  <a:lnTo>
                    <a:pt x="532" y="242"/>
                  </a:lnTo>
                  <a:lnTo>
                    <a:pt x="535" y="271"/>
                  </a:lnTo>
                  <a:lnTo>
                    <a:pt x="537" y="304"/>
                  </a:lnTo>
                  <a:lnTo>
                    <a:pt x="541" y="340"/>
                  </a:lnTo>
                  <a:lnTo>
                    <a:pt x="545" y="378"/>
                  </a:lnTo>
                  <a:lnTo>
                    <a:pt x="547" y="419"/>
                  </a:lnTo>
                  <a:lnTo>
                    <a:pt x="551" y="459"/>
                  </a:lnTo>
                  <a:lnTo>
                    <a:pt x="555" y="500"/>
                  </a:lnTo>
                  <a:lnTo>
                    <a:pt x="558" y="539"/>
                  </a:lnTo>
                  <a:lnTo>
                    <a:pt x="560" y="575"/>
                  </a:lnTo>
                  <a:lnTo>
                    <a:pt x="563" y="607"/>
                  </a:lnTo>
                  <a:lnTo>
                    <a:pt x="565" y="635"/>
                  </a:lnTo>
                  <a:lnTo>
                    <a:pt x="567" y="657"/>
                  </a:lnTo>
                  <a:lnTo>
                    <a:pt x="568" y="673"/>
                  </a:lnTo>
                  <a:lnTo>
                    <a:pt x="568" y="682"/>
                  </a:lnTo>
                  <a:lnTo>
                    <a:pt x="568" y="703"/>
                  </a:lnTo>
                  <a:lnTo>
                    <a:pt x="568" y="732"/>
                  </a:lnTo>
                  <a:lnTo>
                    <a:pt x="568" y="767"/>
                  </a:lnTo>
                  <a:lnTo>
                    <a:pt x="569" y="808"/>
                  </a:lnTo>
                  <a:lnTo>
                    <a:pt x="570" y="854"/>
                  </a:lnTo>
                  <a:lnTo>
                    <a:pt x="572" y="903"/>
                  </a:lnTo>
                  <a:lnTo>
                    <a:pt x="574" y="954"/>
                  </a:lnTo>
                  <a:lnTo>
                    <a:pt x="577" y="1007"/>
                  </a:lnTo>
                  <a:lnTo>
                    <a:pt x="579" y="1060"/>
                  </a:lnTo>
                  <a:lnTo>
                    <a:pt x="582" y="1112"/>
                  </a:lnTo>
                  <a:lnTo>
                    <a:pt x="585" y="1162"/>
                  </a:lnTo>
                  <a:lnTo>
                    <a:pt x="587" y="1210"/>
                  </a:lnTo>
                  <a:lnTo>
                    <a:pt x="590" y="1253"/>
                  </a:lnTo>
                  <a:lnTo>
                    <a:pt x="592" y="1292"/>
                  </a:lnTo>
                  <a:lnTo>
                    <a:pt x="594" y="1325"/>
                  </a:lnTo>
                  <a:lnTo>
                    <a:pt x="596" y="1350"/>
                  </a:lnTo>
                  <a:lnTo>
                    <a:pt x="597" y="1368"/>
                  </a:lnTo>
                  <a:lnTo>
                    <a:pt x="601" y="1386"/>
                  </a:lnTo>
                  <a:lnTo>
                    <a:pt x="605" y="1398"/>
                  </a:lnTo>
                  <a:lnTo>
                    <a:pt x="610" y="1409"/>
                  </a:lnTo>
                  <a:lnTo>
                    <a:pt x="614" y="1418"/>
                  </a:lnTo>
                  <a:lnTo>
                    <a:pt x="615" y="1427"/>
                  </a:lnTo>
                  <a:lnTo>
                    <a:pt x="613" y="1438"/>
                  </a:lnTo>
                  <a:lnTo>
                    <a:pt x="610" y="1450"/>
                  </a:lnTo>
                  <a:lnTo>
                    <a:pt x="608" y="1460"/>
                  </a:lnTo>
                  <a:lnTo>
                    <a:pt x="605" y="1469"/>
                  </a:lnTo>
                  <a:lnTo>
                    <a:pt x="600" y="1469"/>
                  </a:lnTo>
                  <a:lnTo>
                    <a:pt x="590" y="1472"/>
                  </a:lnTo>
                  <a:lnTo>
                    <a:pt x="576" y="1473"/>
                  </a:lnTo>
                  <a:lnTo>
                    <a:pt x="558" y="1475"/>
                  </a:lnTo>
                  <a:lnTo>
                    <a:pt x="538" y="1479"/>
                  </a:lnTo>
                  <a:lnTo>
                    <a:pt x="517" y="1481"/>
                  </a:lnTo>
                  <a:lnTo>
                    <a:pt x="494" y="1483"/>
                  </a:lnTo>
                  <a:lnTo>
                    <a:pt x="470" y="1484"/>
                  </a:lnTo>
                  <a:lnTo>
                    <a:pt x="449" y="1484"/>
                  </a:lnTo>
                  <a:lnTo>
                    <a:pt x="428" y="1483"/>
                  </a:lnTo>
                  <a:lnTo>
                    <a:pt x="411" y="1479"/>
                  </a:lnTo>
                  <a:lnTo>
                    <a:pt x="396" y="1474"/>
                  </a:lnTo>
                  <a:lnTo>
                    <a:pt x="386" y="1468"/>
                  </a:lnTo>
                  <a:lnTo>
                    <a:pt x="381" y="1457"/>
                  </a:lnTo>
                  <a:lnTo>
                    <a:pt x="381" y="1445"/>
                  </a:lnTo>
                  <a:lnTo>
                    <a:pt x="381" y="1442"/>
                  </a:lnTo>
                  <a:lnTo>
                    <a:pt x="382" y="1439"/>
                  </a:lnTo>
                  <a:lnTo>
                    <a:pt x="383" y="1437"/>
                  </a:lnTo>
                  <a:lnTo>
                    <a:pt x="384" y="1434"/>
                  </a:lnTo>
                  <a:lnTo>
                    <a:pt x="384" y="1432"/>
                  </a:lnTo>
                  <a:lnTo>
                    <a:pt x="384" y="1427"/>
                  </a:lnTo>
                  <a:lnTo>
                    <a:pt x="384" y="1418"/>
                  </a:lnTo>
                  <a:lnTo>
                    <a:pt x="388" y="1405"/>
                  </a:lnTo>
                  <a:lnTo>
                    <a:pt x="395" y="1391"/>
                  </a:lnTo>
                  <a:lnTo>
                    <a:pt x="401" y="1375"/>
                  </a:lnTo>
                  <a:lnTo>
                    <a:pt x="405" y="1364"/>
                  </a:lnTo>
                  <a:lnTo>
                    <a:pt x="408" y="1355"/>
                  </a:lnTo>
                  <a:lnTo>
                    <a:pt x="409" y="1347"/>
                  </a:lnTo>
                  <a:lnTo>
                    <a:pt x="408" y="1338"/>
                  </a:lnTo>
                  <a:lnTo>
                    <a:pt x="405" y="1325"/>
                  </a:lnTo>
                  <a:lnTo>
                    <a:pt x="396" y="1261"/>
                  </a:lnTo>
                  <a:lnTo>
                    <a:pt x="391" y="1198"/>
                  </a:lnTo>
                  <a:lnTo>
                    <a:pt x="390" y="1134"/>
                  </a:lnTo>
                  <a:lnTo>
                    <a:pt x="390" y="1069"/>
                  </a:lnTo>
                  <a:lnTo>
                    <a:pt x="391" y="1001"/>
                  </a:lnTo>
                  <a:lnTo>
                    <a:pt x="392" y="933"/>
                  </a:lnTo>
                  <a:lnTo>
                    <a:pt x="391" y="862"/>
                  </a:lnTo>
                  <a:lnTo>
                    <a:pt x="387" y="789"/>
                  </a:lnTo>
                  <a:lnTo>
                    <a:pt x="377" y="713"/>
                  </a:lnTo>
                  <a:lnTo>
                    <a:pt x="374" y="698"/>
                  </a:lnTo>
                  <a:lnTo>
                    <a:pt x="370" y="677"/>
                  </a:lnTo>
                  <a:lnTo>
                    <a:pt x="365" y="650"/>
                  </a:lnTo>
                  <a:lnTo>
                    <a:pt x="360" y="621"/>
                  </a:lnTo>
                  <a:lnTo>
                    <a:pt x="352" y="586"/>
                  </a:lnTo>
                  <a:lnTo>
                    <a:pt x="346" y="550"/>
                  </a:lnTo>
                  <a:lnTo>
                    <a:pt x="338" y="513"/>
                  </a:lnTo>
                  <a:lnTo>
                    <a:pt x="329" y="475"/>
                  </a:lnTo>
                  <a:lnTo>
                    <a:pt x="322" y="436"/>
                  </a:lnTo>
                  <a:lnTo>
                    <a:pt x="314" y="399"/>
                  </a:lnTo>
                  <a:lnTo>
                    <a:pt x="305" y="364"/>
                  </a:lnTo>
                  <a:lnTo>
                    <a:pt x="298" y="332"/>
                  </a:lnTo>
                  <a:lnTo>
                    <a:pt x="291" y="304"/>
                  </a:lnTo>
                  <a:lnTo>
                    <a:pt x="286" y="281"/>
                  </a:lnTo>
                  <a:lnTo>
                    <a:pt x="281" y="262"/>
                  </a:lnTo>
                  <a:lnTo>
                    <a:pt x="277" y="250"/>
                  </a:lnTo>
                  <a:lnTo>
                    <a:pt x="274" y="246"/>
                  </a:lnTo>
                  <a:lnTo>
                    <a:pt x="268" y="245"/>
                  </a:lnTo>
                  <a:lnTo>
                    <a:pt x="263" y="246"/>
                  </a:lnTo>
                  <a:lnTo>
                    <a:pt x="257" y="251"/>
                  </a:lnTo>
                  <a:lnTo>
                    <a:pt x="254" y="262"/>
                  </a:lnTo>
                  <a:lnTo>
                    <a:pt x="252" y="271"/>
                  </a:lnTo>
                  <a:lnTo>
                    <a:pt x="250" y="285"/>
                  </a:lnTo>
                  <a:lnTo>
                    <a:pt x="247" y="305"/>
                  </a:lnTo>
                  <a:lnTo>
                    <a:pt x="243" y="331"/>
                  </a:lnTo>
                  <a:lnTo>
                    <a:pt x="239" y="359"/>
                  </a:lnTo>
                  <a:lnTo>
                    <a:pt x="236" y="389"/>
                  </a:lnTo>
                  <a:lnTo>
                    <a:pt x="232" y="419"/>
                  </a:lnTo>
                  <a:lnTo>
                    <a:pt x="229" y="450"/>
                  </a:lnTo>
                  <a:lnTo>
                    <a:pt x="225" y="477"/>
                  </a:lnTo>
                  <a:lnTo>
                    <a:pt x="223" y="503"/>
                  </a:lnTo>
                  <a:lnTo>
                    <a:pt x="220" y="523"/>
                  </a:lnTo>
                  <a:lnTo>
                    <a:pt x="218" y="539"/>
                  </a:lnTo>
                  <a:lnTo>
                    <a:pt x="218" y="546"/>
                  </a:lnTo>
                  <a:lnTo>
                    <a:pt x="216" y="555"/>
                  </a:lnTo>
                  <a:lnTo>
                    <a:pt x="214" y="571"/>
                  </a:lnTo>
                  <a:lnTo>
                    <a:pt x="210" y="589"/>
                  </a:lnTo>
                  <a:lnTo>
                    <a:pt x="206" y="609"/>
                  </a:lnTo>
                  <a:lnTo>
                    <a:pt x="201" y="631"/>
                  </a:lnTo>
                  <a:lnTo>
                    <a:pt x="198" y="650"/>
                  </a:lnTo>
                  <a:lnTo>
                    <a:pt x="195" y="667"/>
                  </a:lnTo>
                  <a:lnTo>
                    <a:pt x="193" y="680"/>
                  </a:lnTo>
                  <a:lnTo>
                    <a:pt x="195" y="697"/>
                  </a:lnTo>
                  <a:lnTo>
                    <a:pt x="196" y="720"/>
                  </a:lnTo>
                  <a:lnTo>
                    <a:pt x="198" y="745"/>
                  </a:lnTo>
                  <a:lnTo>
                    <a:pt x="202" y="774"/>
                  </a:lnTo>
                  <a:lnTo>
                    <a:pt x="206" y="803"/>
                  </a:lnTo>
                  <a:lnTo>
                    <a:pt x="210" y="833"/>
                  </a:lnTo>
                  <a:lnTo>
                    <a:pt x="211" y="845"/>
                  </a:lnTo>
                  <a:lnTo>
                    <a:pt x="211" y="866"/>
                  </a:lnTo>
                  <a:lnTo>
                    <a:pt x="213" y="893"/>
                  </a:lnTo>
                  <a:lnTo>
                    <a:pt x="214" y="926"/>
                  </a:lnTo>
                  <a:lnTo>
                    <a:pt x="215" y="963"/>
                  </a:lnTo>
                  <a:lnTo>
                    <a:pt x="216" y="1004"/>
                  </a:lnTo>
                  <a:lnTo>
                    <a:pt x="218" y="1047"/>
                  </a:lnTo>
                  <a:lnTo>
                    <a:pt x="219" y="1093"/>
                  </a:lnTo>
                  <a:lnTo>
                    <a:pt x="220" y="1138"/>
                  </a:lnTo>
                  <a:lnTo>
                    <a:pt x="222" y="1184"/>
                  </a:lnTo>
                  <a:lnTo>
                    <a:pt x="223" y="1228"/>
                  </a:lnTo>
                  <a:lnTo>
                    <a:pt x="224" y="1270"/>
                  </a:lnTo>
                  <a:lnTo>
                    <a:pt x="225" y="1309"/>
                  </a:lnTo>
                  <a:lnTo>
                    <a:pt x="225" y="1343"/>
                  </a:lnTo>
                  <a:lnTo>
                    <a:pt x="227" y="1373"/>
                  </a:lnTo>
                  <a:lnTo>
                    <a:pt x="227" y="1396"/>
                  </a:lnTo>
                  <a:lnTo>
                    <a:pt x="227" y="1411"/>
                  </a:lnTo>
                  <a:lnTo>
                    <a:pt x="227" y="1419"/>
                  </a:lnTo>
                  <a:lnTo>
                    <a:pt x="227" y="1432"/>
                  </a:lnTo>
                  <a:lnTo>
                    <a:pt x="225" y="1447"/>
                  </a:lnTo>
                  <a:lnTo>
                    <a:pt x="224" y="1465"/>
                  </a:lnTo>
                  <a:lnTo>
                    <a:pt x="222" y="1482"/>
                  </a:lnTo>
                  <a:lnTo>
                    <a:pt x="189" y="1475"/>
                  </a:lnTo>
                  <a:lnTo>
                    <a:pt x="156" y="1464"/>
                  </a:lnTo>
                  <a:lnTo>
                    <a:pt x="120" y="1451"/>
                  </a:lnTo>
                  <a:lnTo>
                    <a:pt x="86" y="1437"/>
                  </a:lnTo>
                  <a:lnTo>
                    <a:pt x="51" y="1420"/>
                  </a:lnTo>
                  <a:lnTo>
                    <a:pt x="20" y="1406"/>
                  </a:lnTo>
                  <a:lnTo>
                    <a:pt x="26" y="1392"/>
                  </a:lnTo>
                  <a:lnTo>
                    <a:pt x="35" y="1378"/>
                  </a:lnTo>
                  <a:lnTo>
                    <a:pt x="43" y="1365"/>
                  </a:lnTo>
                  <a:lnTo>
                    <a:pt x="50" y="1356"/>
                  </a:lnTo>
                  <a:lnTo>
                    <a:pt x="53" y="1348"/>
                  </a:lnTo>
                  <a:lnTo>
                    <a:pt x="56" y="1336"/>
                  </a:lnTo>
                  <a:lnTo>
                    <a:pt x="57" y="1318"/>
                  </a:lnTo>
                  <a:lnTo>
                    <a:pt x="57" y="1294"/>
                  </a:lnTo>
                  <a:lnTo>
                    <a:pt x="56" y="1266"/>
                  </a:lnTo>
                  <a:lnTo>
                    <a:pt x="53" y="1232"/>
                  </a:lnTo>
                  <a:lnTo>
                    <a:pt x="51" y="1191"/>
                  </a:lnTo>
                  <a:lnTo>
                    <a:pt x="46" y="1142"/>
                  </a:lnTo>
                  <a:lnTo>
                    <a:pt x="42" y="1103"/>
                  </a:lnTo>
                  <a:lnTo>
                    <a:pt x="38" y="1061"/>
                  </a:lnTo>
                  <a:lnTo>
                    <a:pt x="34" y="1016"/>
                  </a:lnTo>
                  <a:lnTo>
                    <a:pt x="29" y="970"/>
                  </a:lnTo>
                  <a:lnTo>
                    <a:pt x="25" y="925"/>
                  </a:lnTo>
                  <a:lnTo>
                    <a:pt x="21" y="883"/>
                  </a:lnTo>
                  <a:lnTo>
                    <a:pt x="18" y="842"/>
                  </a:lnTo>
                  <a:lnTo>
                    <a:pt x="14" y="804"/>
                  </a:lnTo>
                  <a:lnTo>
                    <a:pt x="10" y="774"/>
                  </a:lnTo>
                  <a:lnTo>
                    <a:pt x="7" y="748"/>
                  </a:lnTo>
                  <a:lnTo>
                    <a:pt x="5" y="730"/>
                  </a:lnTo>
                  <a:lnTo>
                    <a:pt x="3" y="709"/>
                  </a:lnTo>
                  <a:lnTo>
                    <a:pt x="2" y="682"/>
                  </a:lnTo>
                  <a:lnTo>
                    <a:pt x="1" y="649"/>
                  </a:lnTo>
                  <a:lnTo>
                    <a:pt x="0" y="612"/>
                  </a:lnTo>
                  <a:lnTo>
                    <a:pt x="0" y="571"/>
                  </a:lnTo>
                  <a:lnTo>
                    <a:pt x="0" y="528"/>
                  </a:lnTo>
                  <a:lnTo>
                    <a:pt x="0" y="486"/>
                  </a:lnTo>
                  <a:lnTo>
                    <a:pt x="1" y="446"/>
                  </a:lnTo>
                  <a:lnTo>
                    <a:pt x="3" y="409"/>
                  </a:lnTo>
                  <a:lnTo>
                    <a:pt x="6" y="377"/>
                  </a:lnTo>
                  <a:lnTo>
                    <a:pt x="9" y="351"/>
                  </a:lnTo>
                  <a:lnTo>
                    <a:pt x="11" y="323"/>
                  </a:lnTo>
                  <a:lnTo>
                    <a:pt x="14" y="292"/>
                  </a:lnTo>
                  <a:lnTo>
                    <a:pt x="16" y="259"/>
                  </a:lnTo>
                  <a:lnTo>
                    <a:pt x="19" y="224"/>
                  </a:lnTo>
                  <a:lnTo>
                    <a:pt x="21" y="191"/>
                  </a:lnTo>
                  <a:lnTo>
                    <a:pt x="24" y="159"/>
                  </a:lnTo>
                  <a:lnTo>
                    <a:pt x="26" y="129"/>
                  </a:lnTo>
                  <a:lnTo>
                    <a:pt x="29" y="103"/>
                  </a:lnTo>
                  <a:lnTo>
                    <a:pt x="30" y="79"/>
                  </a:lnTo>
                  <a:lnTo>
                    <a:pt x="32" y="61"/>
                  </a:lnTo>
                  <a:lnTo>
                    <a:pt x="33" y="51"/>
                  </a:lnTo>
                  <a:lnTo>
                    <a:pt x="33" y="47"/>
                  </a:lnTo>
                  <a:lnTo>
                    <a:pt x="94" y="24"/>
                  </a:lnTo>
                  <a:lnTo>
                    <a:pt x="98" y="23"/>
                  </a:lnTo>
                  <a:lnTo>
                    <a:pt x="111" y="23"/>
                  </a:lnTo>
                  <a:lnTo>
                    <a:pt x="130" y="20"/>
                  </a:lnTo>
                  <a:lnTo>
                    <a:pt x="156" y="19"/>
                  </a:lnTo>
                  <a:lnTo>
                    <a:pt x="186" y="17"/>
                  </a:lnTo>
                  <a:lnTo>
                    <a:pt x="219" y="15"/>
                  </a:lnTo>
                  <a:lnTo>
                    <a:pt x="254" y="13"/>
                  </a:lnTo>
                  <a:lnTo>
                    <a:pt x="290" y="10"/>
                  </a:lnTo>
                  <a:lnTo>
                    <a:pt x="324" y="8"/>
                  </a:lnTo>
                  <a:lnTo>
                    <a:pt x="358" y="5"/>
                  </a:lnTo>
                  <a:lnTo>
                    <a:pt x="388" y="4"/>
                  </a:lnTo>
                  <a:lnTo>
                    <a:pt x="414" y="1"/>
                  </a:lnTo>
                  <a:lnTo>
                    <a:pt x="434" y="1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1" name="Freeform 1385"/>
            <p:cNvSpPr>
              <a:spLocks/>
            </p:cNvSpPr>
            <p:nvPr/>
          </p:nvSpPr>
          <p:spPr bwMode="auto">
            <a:xfrm>
              <a:off x="-3630613" y="1428750"/>
              <a:ext cx="1204913" cy="1539875"/>
            </a:xfrm>
            <a:custGeom>
              <a:avLst/>
              <a:gdLst>
                <a:gd name="T0" fmla="*/ 349 w 759"/>
                <a:gd name="T1" fmla="*/ 0 h 970"/>
                <a:gd name="T2" fmla="*/ 376 w 759"/>
                <a:gd name="T3" fmla="*/ 4 h 970"/>
                <a:gd name="T4" fmla="*/ 420 w 759"/>
                <a:gd name="T5" fmla="*/ 11 h 970"/>
                <a:gd name="T6" fmla="*/ 469 w 759"/>
                <a:gd name="T7" fmla="*/ 16 h 970"/>
                <a:gd name="T8" fmla="*/ 510 w 759"/>
                <a:gd name="T9" fmla="*/ 21 h 970"/>
                <a:gd name="T10" fmla="*/ 542 w 759"/>
                <a:gd name="T11" fmla="*/ 23 h 970"/>
                <a:gd name="T12" fmla="*/ 589 w 759"/>
                <a:gd name="T13" fmla="*/ 31 h 970"/>
                <a:gd name="T14" fmla="*/ 644 w 759"/>
                <a:gd name="T15" fmla="*/ 40 h 970"/>
                <a:gd name="T16" fmla="*/ 693 w 759"/>
                <a:gd name="T17" fmla="*/ 52 h 970"/>
                <a:gd name="T18" fmla="*/ 720 w 759"/>
                <a:gd name="T19" fmla="*/ 61 h 970"/>
                <a:gd name="T20" fmla="*/ 729 w 759"/>
                <a:gd name="T21" fmla="*/ 82 h 970"/>
                <a:gd name="T22" fmla="*/ 737 w 759"/>
                <a:gd name="T23" fmla="*/ 126 h 970"/>
                <a:gd name="T24" fmla="*/ 745 w 759"/>
                <a:gd name="T25" fmla="*/ 183 h 970"/>
                <a:gd name="T26" fmla="*/ 751 w 759"/>
                <a:gd name="T27" fmla="*/ 240 h 970"/>
                <a:gd name="T28" fmla="*/ 756 w 759"/>
                <a:gd name="T29" fmla="*/ 289 h 970"/>
                <a:gd name="T30" fmla="*/ 759 w 759"/>
                <a:gd name="T31" fmla="*/ 320 h 970"/>
                <a:gd name="T32" fmla="*/ 620 w 759"/>
                <a:gd name="T33" fmla="*/ 349 h 970"/>
                <a:gd name="T34" fmla="*/ 618 w 759"/>
                <a:gd name="T35" fmla="*/ 365 h 970"/>
                <a:gd name="T36" fmla="*/ 611 w 759"/>
                <a:gd name="T37" fmla="*/ 407 h 970"/>
                <a:gd name="T38" fmla="*/ 603 w 759"/>
                <a:gd name="T39" fmla="*/ 469 h 970"/>
                <a:gd name="T40" fmla="*/ 593 w 759"/>
                <a:gd name="T41" fmla="*/ 546 h 970"/>
                <a:gd name="T42" fmla="*/ 585 w 759"/>
                <a:gd name="T43" fmla="*/ 630 h 970"/>
                <a:gd name="T44" fmla="*/ 580 w 759"/>
                <a:gd name="T45" fmla="*/ 718 h 970"/>
                <a:gd name="T46" fmla="*/ 579 w 759"/>
                <a:gd name="T47" fmla="*/ 801 h 970"/>
                <a:gd name="T48" fmla="*/ 583 w 759"/>
                <a:gd name="T49" fmla="*/ 873 h 970"/>
                <a:gd name="T50" fmla="*/ 584 w 759"/>
                <a:gd name="T51" fmla="*/ 907 h 970"/>
                <a:gd name="T52" fmla="*/ 552 w 759"/>
                <a:gd name="T53" fmla="*/ 918 h 970"/>
                <a:gd name="T54" fmla="*/ 497 w 759"/>
                <a:gd name="T55" fmla="*/ 928 h 970"/>
                <a:gd name="T56" fmla="*/ 430 w 759"/>
                <a:gd name="T57" fmla="*/ 938 h 970"/>
                <a:gd name="T58" fmla="*/ 362 w 759"/>
                <a:gd name="T59" fmla="*/ 947 h 970"/>
                <a:gd name="T60" fmla="*/ 303 w 759"/>
                <a:gd name="T61" fmla="*/ 956 h 970"/>
                <a:gd name="T62" fmla="*/ 263 w 759"/>
                <a:gd name="T63" fmla="*/ 963 h 970"/>
                <a:gd name="T64" fmla="*/ 227 w 759"/>
                <a:gd name="T65" fmla="*/ 970 h 970"/>
                <a:gd name="T66" fmla="*/ 176 w 759"/>
                <a:gd name="T67" fmla="*/ 964 h 970"/>
                <a:gd name="T68" fmla="*/ 131 w 759"/>
                <a:gd name="T69" fmla="*/ 940 h 970"/>
                <a:gd name="T70" fmla="*/ 100 w 759"/>
                <a:gd name="T71" fmla="*/ 910 h 970"/>
                <a:gd name="T72" fmla="*/ 89 w 759"/>
                <a:gd name="T73" fmla="*/ 875 h 970"/>
                <a:gd name="T74" fmla="*/ 93 w 759"/>
                <a:gd name="T75" fmla="*/ 825 h 970"/>
                <a:gd name="T76" fmla="*/ 102 w 759"/>
                <a:gd name="T77" fmla="*/ 759 h 970"/>
                <a:gd name="T78" fmla="*/ 107 w 759"/>
                <a:gd name="T79" fmla="*/ 705 h 970"/>
                <a:gd name="T80" fmla="*/ 112 w 759"/>
                <a:gd name="T81" fmla="*/ 657 h 970"/>
                <a:gd name="T82" fmla="*/ 118 w 759"/>
                <a:gd name="T83" fmla="*/ 592 h 970"/>
                <a:gd name="T84" fmla="*/ 126 w 759"/>
                <a:gd name="T85" fmla="*/ 520 h 970"/>
                <a:gd name="T86" fmla="*/ 134 w 759"/>
                <a:gd name="T87" fmla="*/ 449 h 970"/>
                <a:gd name="T88" fmla="*/ 140 w 759"/>
                <a:gd name="T89" fmla="*/ 392 h 970"/>
                <a:gd name="T90" fmla="*/ 144 w 759"/>
                <a:gd name="T91" fmla="*/ 356 h 970"/>
                <a:gd name="T92" fmla="*/ 35 w 759"/>
                <a:gd name="T93" fmla="*/ 344 h 970"/>
                <a:gd name="T94" fmla="*/ 2 w 759"/>
                <a:gd name="T95" fmla="*/ 342 h 970"/>
                <a:gd name="T96" fmla="*/ 6 w 759"/>
                <a:gd name="T97" fmla="*/ 313 h 970"/>
                <a:gd name="T98" fmla="*/ 12 w 759"/>
                <a:gd name="T99" fmla="*/ 267 h 970"/>
                <a:gd name="T100" fmla="*/ 20 w 759"/>
                <a:gd name="T101" fmla="*/ 211 h 970"/>
                <a:gd name="T102" fmla="*/ 29 w 759"/>
                <a:gd name="T103" fmla="*/ 150 h 970"/>
                <a:gd name="T104" fmla="*/ 38 w 759"/>
                <a:gd name="T105" fmla="*/ 97 h 970"/>
                <a:gd name="T106" fmla="*/ 47 w 759"/>
                <a:gd name="T107" fmla="*/ 57 h 970"/>
                <a:gd name="T108" fmla="*/ 53 w 759"/>
                <a:gd name="T109" fmla="*/ 40 h 970"/>
                <a:gd name="T110" fmla="*/ 76 w 759"/>
                <a:gd name="T111" fmla="*/ 35 h 970"/>
                <a:gd name="T112" fmla="*/ 124 w 759"/>
                <a:gd name="T113" fmla="*/ 29 h 970"/>
                <a:gd name="T114" fmla="*/ 185 w 759"/>
                <a:gd name="T115" fmla="*/ 21 h 970"/>
                <a:gd name="T116" fmla="*/ 249 w 759"/>
                <a:gd name="T117" fmla="*/ 13 h 970"/>
                <a:gd name="T118" fmla="*/ 304 w 759"/>
                <a:gd name="T119" fmla="*/ 7 h 970"/>
                <a:gd name="T120" fmla="*/ 339 w 759"/>
                <a:gd name="T121" fmla="*/ 2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9" h="970">
                  <a:moveTo>
                    <a:pt x="346" y="0"/>
                  </a:moveTo>
                  <a:lnTo>
                    <a:pt x="349" y="0"/>
                  </a:lnTo>
                  <a:lnTo>
                    <a:pt x="360" y="2"/>
                  </a:lnTo>
                  <a:lnTo>
                    <a:pt x="376" y="4"/>
                  </a:lnTo>
                  <a:lnTo>
                    <a:pt x="397" y="7"/>
                  </a:lnTo>
                  <a:lnTo>
                    <a:pt x="420" y="11"/>
                  </a:lnTo>
                  <a:lnTo>
                    <a:pt x="444" y="13"/>
                  </a:lnTo>
                  <a:lnTo>
                    <a:pt x="469" y="16"/>
                  </a:lnTo>
                  <a:lnTo>
                    <a:pt x="491" y="18"/>
                  </a:lnTo>
                  <a:lnTo>
                    <a:pt x="510" y="21"/>
                  </a:lnTo>
                  <a:lnTo>
                    <a:pt x="525" y="22"/>
                  </a:lnTo>
                  <a:lnTo>
                    <a:pt x="542" y="23"/>
                  </a:lnTo>
                  <a:lnTo>
                    <a:pt x="564" y="27"/>
                  </a:lnTo>
                  <a:lnTo>
                    <a:pt x="589" y="31"/>
                  </a:lnTo>
                  <a:lnTo>
                    <a:pt x="618" y="35"/>
                  </a:lnTo>
                  <a:lnTo>
                    <a:pt x="644" y="40"/>
                  </a:lnTo>
                  <a:lnTo>
                    <a:pt x="670" y="47"/>
                  </a:lnTo>
                  <a:lnTo>
                    <a:pt x="693" y="52"/>
                  </a:lnTo>
                  <a:lnTo>
                    <a:pt x="710" y="57"/>
                  </a:lnTo>
                  <a:lnTo>
                    <a:pt x="720" y="61"/>
                  </a:lnTo>
                  <a:lnTo>
                    <a:pt x="725" y="68"/>
                  </a:lnTo>
                  <a:lnTo>
                    <a:pt x="729" y="82"/>
                  </a:lnTo>
                  <a:lnTo>
                    <a:pt x="733" y="102"/>
                  </a:lnTo>
                  <a:lnTo>
                    <a:pt x="737" y="126"/>
                  </a:lnTo>
                  <a:lnTo>
                    <a:pt x="741" y="153"/>
                  </a:lnTo>
                  <a:lnTo>
                    <a:pt x="745" y="183"/>
                  </a:lnTo>
                  <a:lnTo>
                    <a:pt x="748" y="212"/>
                  </a:lnTo>
                  <a:lnTo>
                    <a:pt x="751" y="240"/>
                  </a:lnTo>
                  <a:lnTo>
                    <a:pt x="754" y="267"/>
                  </a:lnTo>
                  <a:lnTo>
                    <a:pt x="756" y="289"/>
                  </a:lnTo>
                  <a:lnTo>
                    <a:pt x="757" y="307"/>
                  </a:lnTo>
                  <a:lnTo>
                    <a:pt x="759" y="320"/>
                  </a:lnTo>
                  <a:lnTo>
                    <a:pt x="759" y="324"/>
                  </a:lnTo>
                  <a:lnTo>
                    <a:pt x="620" y="349"/>
                  </a:lnTo>
                  <a:lnTo>
                    <a:pt x="619" y="353"/>
                  </a:lnTo>
                  <a:lnTo>
                    <a:pt x="618" y="365"/>
                  </a:lnTo>
                  <a:lnTo>
                    <a:pt x="615" y="383"/>
                  </a:lnTo>
                  <a:lnTo>
                    <a:pt x="611" y="407"/>
                  </a:lnTo>
                  <a:lnTo>
                    <a:pt x="607" y="435"/>
                  </a:lnTo>
                  <a:lnTo>
                    <a:pt x="603" y="469"/>
                  </a:lnTo>
                  <a:lnTo>
                    <a:pt x="598" y="506"/>
                  </a:lnTo>
                  <a:lnTo>
                    <a:pt x="593" y="546"/>
                  </a:lnTo>
                  <a:lnTo>
                    <a:pt x="589" y="588"/>
                  </a:lnTo>
                  <a:lnTo>
                    <a:pt x="585" y="630"/>
                  </a:lnTo>
                  <a:lnTo>
                    <a:pt x="583" y="674"/>
                  </a:lnTo>
                  <a:lnTo>
                    <a:pt x="580" y="718"/>
                  </a:lnTo>
                  <a:lnTo>
                    <a:pt x="579" y="760"/>
                  </a:lnTo>
                  <a:lnTo>
                    <a:pt x="579" y="801"/>
                  </a:lnTo>
                  <a:lnTo>
                    <a:pt x="580" y="838"/>
                  </a:lnTo>
                  <a:lnTo>
                    <a:pt x="583" y="873"/>
                  </a:lnTo>
                  <a:lnTo>
                    <a:pt x="588" y="904"/>
                  </a:lnTo>
                  <a:lnTo>
                    <a:pt x="584" y="907"/>
                  </a:lnTo>
                  <a:lnTo>
                    <a:pt x="571" y="913"/>
                  </a:lnTo>
                  <a:lnTo>
                    <a:pt x="552" y="918"/>
                  </a:lnTo>
                  <a:lnTo>
                    <a:pt x="526" y="923"/>
                  </a:lnTo>
                  <a:lnTo>
                    <a:pt x="497" y="928"/>
                  </a:lnTo>
                  <a:lnTo>
                    <a:pt x="465" y="933"/>
                  </a:lnTo>
                  <a:lnTo>
                    <a:pt x="430" y="938"/>
                  </a:lnTo>
                  <a:lnTo>
                    <a:pt x="396" y="943"/>
                  </a:lnTo>
                  <a:lnTo>
                    <a:pt x="362" y="947"/>
                  </a:lnTo>
                  <a:lnTo>
                    <a:pt x="331" y="952"/>
                  </a:lnTo>
                  <a:lnTo>
                    <a:pt x="303" y="956"/>
                  </a:lnTo>
                  <a:lnTo>
                    <a:pt x="280" y="960"/>
                  </a:lnTo>
                  <a:lnTo>
                    <a:pt x="263" y="963"/>
                  </a:lnTo>
                  <a:lnTo>
                    <a:pt x="256" y="964"/>
                  </a:lnTo>
                  <a:lnTo>
                    <a:pt x="227" y="970"/>
                  </a:lnTo>
                  <a:lnTo>
                    <a:pt x="202" y="970"/>
                  </a:lnTo>
                  <a:lnTo>
                    <a:pt x="176" y="964"/>
                  </a:lnTo>
                  <a:lnTo>
                    <a:pt x="152" y="952"/>
                  </a:lnTo>
                  <a:lnTo>
                    <a:pt x="131" y="940"/>
                  </a:lnTo>
                  <a:lnTo>
                    <a:pt x="113" y="924"/>
                  </a:lnTo>
                  <a:lnTo>
                    <a:pt x="100" y="910"/>
                  </a:lnTo>
                  <a:lnTo>
                    <a:pt x="93" y="895"/>
                  </a:lnTo>
                  <a:lnTo>
                    <a:pt x="89" y="875"/>
                  </a:lnTo>
                  <a:lnTo>
                    <a:pt x="90" y="852"/>
                  </a:lnTo>
                  <a:lnTo>
                    <a:pt x="93" y="825"/>
                  </a:lnTo>
                  <a:lnTo>
                    <a:pt x="98" y="795"/>
                  </a:lnTo>
                  <a:lnTo>
                    <a:pt x="102" y="759"/>
                  </a:lnTo>
                  <a:lnTo>
                    <a:pt x="106" y="720"/>
                  </a:lnTo>
                  <a:lnTo>
                    <a:pt x="107" y="705"/>
                  </a:lnTo>
                  <a:lnTo>
                    <a:pt x="109" y="684"/>
                  </a:lnTo>
                  <a:lnTo>
                    <a:pt x="112" y="657"/>
                  </a:lnTo>
                  <a:lnTo>
                    <a:pt x="115" y="625"/>
                  </a:lnTo>
                  <a:lnTo>
                    <a:pt x="118" y="592"/>
                  </a:lnTo>
                  <a:lnTo>
                    <a:pt x="122" y="556"/>
                  </a:lnTo>
                  <a:lnTo>
                    <a:pt x="126" y="520"/>
                  </a:lnTo>
                  <a:lnTo>
                    <a:pt x="131" y="484"/>
                  </a:lnTo>
                  <a:lnTo>
                    <a:pt x="134" y="449"/>
                  </a:lnTo>
                  <a:lnTo>
                    <a:pt x="138" y="419"/>
                  </a:lnTo>
                  <a:lnTo>
                    <a:pt x="140" y="392"/>
                  </a:lnTo>
                  <a:lnTo>
                    <a:pt x="143" y="370"/>
                  </a:lnTo>
                  <a:lnTo>
                    <a:pt x="144" y="356"/>
                  </a:lnTo>
                  <a:lnTo>
                    <a:pt x="145" y="349"/>
                  </a:lnTo>
                  <a:lnTo>
                    <a:pt x="35" y="344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3" y="330"/>
                  </a:lnTo>
                  <a:lnTo>
                    <a:pt x="6" y="313"/>
                  </a:lnTo>
                  <a:lnTo>
                    <a:pt x="8" y="293"/>
                  </a:lnTo>
                  <a:lnTo>
                    <a:pt x="12" y="267"/>
                  </a:lnTo>
                  <a:lnTo>
                    <a:pt x="16" y="240"/>
                  </a:lnTo>
                  <a:lnTo>
                    <a:pt x="20" y="211"/>
                  </a:lnTo>
                  <a:lnTo>
                    <a:pt x="25" y="180"/>
                  </a:lnTo>
                  <a:lnTo>
                    <a:pt x="29" y="150"/>
                  </a:lnTo>
                  <a:lnTo>
                    <a:pt x="34" y="122"/>
                  </a:lnTo>
                  <a:lnTo>
                    <a:pt x="38" y="97"/>
                  </a:lnTo>
                  <a:lnTo>
                    <a:pt x="43" y="75"/>
                  </a:lnTo>
                  <a:lnTo>
                    <a:pt x="47" y="57"/>
                  </a:lnTo>
                  <a:lnTo>
                    <a:pt x="50" y="45"/>
                  </a:lnTo>
                  <a:lnTo>
                    <a:pt x="53" y="40"/>
                  </a:lnTo>
                  <a:lnTo>
                    <a:pt x="61" y="38"/>
                  </a:lnTo>
                  <a:lnTo>
                    <a:pt x="76" y="35"/>
                  </a:lnTo>
                  <a:lnTo>
                    <a:pt x="98" y="32"/>
                  </a:lnTo>
                  <a:lnTo>
                    <a:pt x="124" y="29"/>
                  </a:lnTo>
                  <a:lnTo>
                    <a:pt x="153" y="25"/>
                  </a:lnTo>
                  <a:lnTo>
                    <a:pt x="185" y="21"/>
                  </a:lnTo>
                  <a:lnTo>
                    <a:pt x="217" y="17"/>
                  </a:lnTo>
                  <a:lnTo>
                    <a:pt x="249" y="13"/>
                  </a:lnTo>
                  <a:lnTo>
                    <a:pt x="279" y="9"/>
                  </a:lnTo>
                  <a:lnTo>
                    <a:pt x="304" y="7"/>
                  </a:lnTo>
                  <a:lnTo>
                    <a:pt x="325" y="4"/>
                  </a:lnTo>
                  <a:lnTo>
                    <a:pt x="339" y="2"/>
                  </a:lnTo>
                  <a:lnTo>
                    <a:pt x="346" y="0"/>
                  </a:lnTo>
                  <a:close/>
                </a:path>
              </a:pathLst>
            </a:custGeom>
            <a:solidFill>
              <a:srgbClr val="001F3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2" name="Freeform 1386"/>
            <p:cNvSpPr>
              <a:spLocks/>
            </p:cNvSpPr>
            <p:nvPr/>
          </p:nvSpPr>
          <p:spPr bwMode="auto">
            <a:xfrm>
              <a:off x="-3497263" y="2182812"/>
              <a:ext cx="808038" cy="785813"/>
            </a:xfrm>
            <a:custGeom>
              <a:avLst/>
              <a:gdLst>
                <a:gd name="T0" fmla="*/ 509 w 509"/>
                <a:gd name="T1" fmla="*/ 24 h 495"/>
                <a:gd name="T2" fmla="*/ 500 w 509"/>
                <a:gd name="T3" fmla="*/ 117 h 495"/>
                <a:gd name="T4" fmla="*/ 492 w 509"/>
                <a:gd name="T5" fmla="*/ 214 h 495"/>
                <a:gd name="T6" fmla="*/ 489 w 509"/>
                <a:gd name="T7" fmla="*/ 311 h 495"/>
                <a:gd name="T8" fmla="*/ 492 w 509"/>
                <a:gd name="T9" fmla="*/ 394 h 495"/>
                <a:gd name="T10" fmla="*/ 494 w 509"/>
                <a:gd name="T11" fmla="*/ 432 h 495"/>
                <a:gd name="T12" fmla="*/ 463 w 509"/>
                <a:gd name="T13" fmla="*/ 443 h 495"/>
                <a:gd name="T14" fmla="*/ 408 w 509"/>
                <a:gd name="T15" fmla="*/ 453 h 495"/>
                <a:gd name="T16" fmla="*/ 341 w 509"/>
                <a:gd name="T17" fmla="*/ 463 h 495"/>
                <a:gd name="T18" fmla="*/ 273 w 509"/>
                <a:gd name="T19" fmla="*/ 472 h 495"/>
                <a:gd name="T20" fmla="*/ 214 w 509"/>
                <a:gd name="T21" fmla="*/ 481 h 495"/>
                <a:gd name="T22" fmla="*/ 174 w 509"/>
                <a:gd name="T23" fmla="*/ 488 h 495"/>
                <a:gd name="T24" fmla="*/ 138 w 509"/>
                <a:gd name="T25" fmla="*/ 495 h 495"/>
                <a:gd name="T26" fmla="*/ 87 w 509"/>
                <a:gd name="T27" fmla="*/ 489 h 495"/>
                <a:gd name="T28" fmla="*/ 42 w 509"/>
                <a:gd name="T29" fmla="*/ 465 h 495"/>
                <a:gd name="T30" fmla="*/ 11 w 509"/>
                <a:gd name="T31" fmla="*/ 435 h 495"/>
                <a:gd name="T32" fmla="*/ 0 w 509"/>
                <a:gd name="T33" fmla="*/ 400 h 495"/>
                <a:gd name="T34" fmla="*/ 4 w 509"/>
                <a:gd name="T35" fmla="*/ 350 h 495"/>
                <a:gd name="T36" fmla="*/ 13 w 509"/>
                <a:gd name="T37" fmla="*/ 284 h 495"/>
                <a:gd name="T38" fmla="*/ 18 w 509"/>
                <a:gd name="T39" fmla="*/ 230 h 495"/>
                <a:gd name="T40" fmla="*/ 23 w 509"/>
                <a:gd name="T41" fmla="*/ 177 h 495"/>
                <a:gd name="T42" fmla="*/ 31 w 509"/>
                <a:gd name="T43" fmla="*/ 107 h 495"/>
                <a:gd name="T44" fmla="*/ 40 w 509"/>
                <a:gd name="T45" fmla="*/ 30 h 495"/>
                <a:gd name="T46" fmla="*/ 40 w 509"/>
                <a:gd name="T47" fmla="*/ 48 h 495"/>
                <a:gd name="T48" fmla="*/ 41 w 509"/>
                <a:gd name="T49" fmla="*/ 92 h 495"/>
                <a:gd name="T50" fmla="*/ 42 w 509"/>
                <a:gd name="T51" fmla="*/ 149 h 495"/>
                <a:gd name="T52" fmla="*/ 45 w 509"/>
                <a:gd name="T53" fmla="*/ 204 h 495"/>
                <a:gd name="T54" fmla="*/ 49 w 509"/>
                <a:gd name="T55" fmla="*/ 244 h 495"/>
                <a:gd name="T56" fmla="*/ 52 w 509"/>
                <a:gd name="T57" fmla="*/ 278 h 495"/>
                <a:gd name="T58" fmla="*/ 49 w 509"/>
                <a:gd name="T59" fmla="*/ 298 h 495"/>
                <a:gd name="T60" fmla="*/ 38 w 509"/>
                <a:gd name="T61" fmla="*/ 322 h 495"/>
                <a:gd name="T62" fmla="*/ 29 w 509"/>
                <a:gd name="T63" fmla="*/ 349 h 495"/>
                <a:gd name="T64" fmla="*/ 29 w 509"/>
                <a:gd name="T65" fmla="*/ 376 h 495"/>
                <a:gd name="T66" fmla="*/ 41 w 509"/>
                <a:gd name="T67" fmla="*/ 413 h 495"/>
                <a:gd name="T68" fmla="*/ 64 w 509"/>
                <a:gd name="T69" fmla="*/ 440 h 495"/>
                <a:gd name="T70" fmla="*/ 100 w 509"/>
                <a:gd name="T71" fmla="*/ 454 h 495"/>
                <a:gd name="T72" fmla="*/ 143 w 509"/>
                <a:gd name="T73" fmla="*/ 457 h 495"/>
                <a:gd name="T74" fmla="*/ 187 w 509"/>
                <a:gd name="T75" fmla="*/ 452 h 495"/>
                <a:gd name="T76" fmla="*/ 227 w 509"/>
                <a:gd name="T77" fmla="*/ 445 h 495"/>
                <a:gd name="T78" fmla="*/ 283 w 509"/>
                <a:gd name="T79" fmla="*/ 438 h 495"/>
                <a:gd name="T80" fmla="*/ 345 w 509"/>
                <a:gd name="T81" fmla="*/ 429 h 495"/>
                <a:gd name="T82" fmla="*/ 403 w 509"/>
                <a:gd name="T83" fmla="*/ 420 h 495"/>
                <a:gd name="T84" fmla="*/ 446 w 509"/>
                <a:gd name="T85" fmla="*/ 409 h 495"/>
                <a:gd name="T86" fmla="*/ 463 w 509"/>
                <a:gd name="T87" fmla="*/ 400 h 495"/>
                <a:gd name="T88" fmla="*/ 457 w 509"/>
                <a:gd name="T89" fmla="*/ 380 h 495"/>
                <a:gd name="T90" fmla="*/ 442 w 509"/>
                <a:gd name="T91" fmla="*/ 361 h 495"/>
                <a:gd name="T92" fmla="*/ 435 w 509"/>
                <a:gd name="T93" fmla="*/ 353 h 495"/>
                <a:gd name="T94" fmla="*/ 437 w 509"/>
                <a:gd name="T95" fmla="*/ 340 h 495"/>
                <a:gd name="T96" fmla="*/ 442 w 509"/>
                <a:gd name="T97" fmla="*/ 307 h 495"/>
                <a:gd name="T98" fmla="*/ 450 w 509"/>
                <a:gd name="T99" fmla="*/ 255 h 495"/>
                <a:gd name="T100" fmla="*/ 458 w 509"/>
                <a:gd name="T101" fmla="*/ 190 h 495"/>
                <a:gd name="T102" fmla="*/ 463 w 509"/>
                <a:gd name="T103" fmla="*/ 121 h 495"/>
                <a:gd name="T104" fmla="*/ 466 w 509"/>
                <a:gd name="T105" fmla="*/ 60 h 495"/>
                <a:gd name="T106" fmla="*/ 467 w 509"/>
                <a:gd name="T107" fmla="*/ 17 h 495"/>
                <a:gd name="T108" fmla="*/ 467 w 509"/>
                <a:gd name="T109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9" h="495">
                  <a:moveTo>
                    <a:pt x="467" y="0"/>
                  </a:moveTo>
                  <a:lnTo>
                    <a:pt x="509" y="24"/>
                  </a:lnTo>
                  <a:lnTo>
                    <a:pt x="504" y="69"/>
                  </a:lnTo>
                  <a:lnTo>
                    <a:pt x="500" y="117"/>
                  </a:lnTo>
                  <a:lnTo>
                    <a:pt x="495" y="166"/>
                  </a:lnTo>
                  <a:lnTo>
                    <a:pt x="492" y="214"/>
                  </a:lnTo>
                  <a:lnTo>
                    <a:pt x="490" y="263"/>
                  </a:lnTo>
                  <a:lnTo>
                    <a:pt x="489" y="311"/>
                  </a:lnTo>
                  <a:lnTo>
                    <a:pt x="490" y="354"/>
                  </a:lnTo>
                  <a:lnTo>
                    <a:pt x="492" y="394"/>
                  </a:lnTo>
                  <a:lnTo>
                    <a:pt x="498" y="429"/>
                  </a:lnTo>
                  <a:lnTo>
                    <a:pt x="494" y="432"/>
                  </a:lnTo>
                  <a:lnTo>
                    <a:pt x="482" y="438"/>
                  </a:lnTo>
                  <a:lnTo>
                    <a:pt x="463" y="443"/>
                  </a:lnTo>
                  <a:lnTo>
                    <a:pt x="437" y="448"/>
                  </a:lnTo>
                  <a:lnTo>
                    <a:pt x="408" y="453"/>
                  </a:lnTo>
                  <a:lnTo>
                    <a:pt x="376" y="458"/>
                  </a:lnTo>
                  <a:lnTo>
                    <a:pt x="341" y="463"/>
                  </a:lnTo>
                  <a:lnTo>
                    <a:pt x="306" y="468"/>
                  </a:lnTo>
                  <a:lnTo>
                    <a:pt x="273" y="472"/>
                  </a:lnTo>
                  <a:lnTo>
                    <a:pt x="242" y="477"/>
                  </a:lnTo>
                  <a:lnTo>
                    <a:pt x="214" y="481"/>
                  </a:lnTo>
                  <a:lnTo>
                    <a:pt x="191" y="485"/>
                  </a:lnTo>
                  <a:lnTo>
                    <a:pt x="174" y="488"/>
                  </a:lnTo>
                  <a:lnTo>
                    <a:pt x="165" y="489"/>
                  </a:lnTo>
                  <a:lnTo>
                    <a:pt x="138" y="495"/>
                  </a:lnTo>
                  <a:lnTo>
                    <a:pt x="113" y="495"/>
                  </a:lnTo>
                  <a:lnTo>
                    <a:pt x="87" y="489"/>
                  </a:lnTo>
                  <a:lnTo>
                    <a:pt x="63" y="477"/>
                  </a:lnTo>
                  <a:lnTo>
                    <a:pt x="42" y="465"/>
                  </a:lnTo>
                  <a:lnTo>
                    <a:pt x="24" y="449"/>
                  </a:lnTo>
                  <a:lnTo>
                    <a:pt x="11" y="435"/>
                  </a:lnTo>
                  <a:lnTo>
                    <a:pt x="4" y="420"/>
                  </a:lnTo>
                  <a:lnTo>
                    <a:pt x="0" y="400"/>
                  </a:lnTo>
                  <a:lnTo>
                    <a:pt x="1" y="377"/>
                  </a:lnTo>
                  <a:lnTo>
                    <a:pt x="4" y="350"/>
                  </a:lnTo>
                  <a:lnTo>
                    <a:pt x="9" y="320"/>
                  </a:lnTo>
                  <a:lnTo>
                    <a:pt x="13" y="284"/>
                  </a:lnTo>
                  <a:lnTo>
                    <a:pt x="16" y="245"/>
                  </a:lnTo>
                  <a:lnTo>
                    <a:pt x="18" y="230"/>
                  </a:lnTo>
                  <a:lnTo>
                    <a:pt x="20" y="207"/>
                  </a:lnTo>
                  <a:lnTo>
                    <a:pt x="23" y="177"/>
                  </a:lnTo>
                  <a:lnTo>
                    <a:pt x="27" y="144"/>
                  </a:lnTo>
                  <a:lnTo>
                    <a:pt x="31" y="107"/>
                  </a:lnTo>
                  <a:lnTo>
                    <a:pt x="34" y="68"/>
                  </a:lnTo>
                  <a:lnTo>
                    <a:pt x="40" y="30"/>
                  </a:lnTo>
                  <a:lnTo>
                    <a:pt x="40" y="35"/>
                  </a:lnTo>
                  <a:lnTo>
                    <a:pt x="40" y="48"/>
                  </a:lnTo>
                  <a:lnTo>
                    <a:pt x="40" y="68"/>
                  </a:lnTo>
                  <a:lnTo>
                    <a:pt x="41" y="92"/>
                  </a:lnTo>
                  <a:lnTo>
                    <a:pt x="41" y="119"/>
                  </a:lnTo>
                  <a:lnTo>
                    <a:pt x="42" y="149"/>
                  </a:lnTo>
                  <a:lnTo>
                    <a:pt x="43" y="177"/>
                  </a:lnTo>
                  <a:lnTo>
                    <a:pt x="45" y="204"/>
                  </a:lnTo>
                  <a:lnTo>
                    <a:pt x="47" y="227"/>
                  </a:lnTo>
                  <a:lnTo>
                    <a:pt x="49" y="244"/>
                  </a:lnTo>
                  <a:lnTo>
                    <a:pt x="51" y="264"/>
                  </a:lnTo>
                  <a:lnTo>
                    <a:pt x="52" y="278"/>
                  </a:lnTo>
                  <a:lnTo>
                    <a:pt x="51" y="289"/>
                  </a:lnTo>
                  <a:lnTo>
                    <a:pt x="49" y="298"/>
                  </a:lnTo>
                  <a:lnTo>
                    <a:pt x="45" y="308"/>
                  </a:lnTo>
                  <a:lnTo>
                    <a:pt x="38" y="322"/>
                  </a:lnTo>
                  <a:lnTo>
                    <a:pt x="32" y="336"/>
                  </a:lnTo>
                  <a:lnTo>
                    <a:pt x="29" y="349"/>
                  </a:lnTo>
                  <a:lnTo>
                    <a:pt x="28" y="362"/>
                  </a:lnTo>
                  <a:lnTo>
                    <a:pt x="29" y="376"/>
                  </a:lnTo>
                  <a:lnTo>
                    <a:pt x="33" y="393"/>
                  </a:lnTo>
                  <a:lnTo>
                    <a:pt x="41" y="413"/>
                  </a:lnTo>
                  <a:lnTo>
                    <a:pt x="50" y="429"/>
                  </a:lnTo>
                  <a:lnTo>
                    <a:pt x="64" y="440"/>
                  </a:lnTo>
                  <a:lnTo>
                    <a:pt x="81" y="448"/>
                  </a:lnTo>
                  <a:lnTo>
                    <a:pt x="100" y="454"/>
                  </a:lnTo>
                  <a:lnTo>
                    <a:pt x="122" y="457"/>
                  </a:lnTo>
                  <a:lnTo>
                    <a:pt x="143" y="457"/>
                  </a:lnTo>
                  <a:lnTo>
                    <a:pt x="165" y="456"/>
                  </a:lnTo>
                  <a:lnTo>
                    <a:pt x="187" y="452"/>
                  </a:lnTo>
                  <a:lnTo>
                    <a:pt x="204" y="449"/>
                  </a:lnTo>
                  <a:lnTo>
                    <a:pt x="227" y="445"/>
                  </a:lnTo>
                  <a:lnTo>
                    <a:pt x="254" y="441"/>
                  </a:lnTo>
                  <a:lnTo>
                    <a:pt x="283" y="438"/>
                  </a:lnTo>
                  <a:lnTo>
                    <a:pt x="314" y="434"/>
                  </a:lnTo>
                  <a:lnTo>
                    <a:pt x="345" y="429"/>
                  </a:lnTo>
                  <a:lnTo>
                    <a:pt x="376" y="425"/>
                  </a:lnTo>
                  <a:lnTo>
                    <a:pt x="403" y="420"/>
                  </a:lnTo>
                  <a:lnTo>
                    <a:pt x="427" y="414"/>
                  </a:lnTo>
                  <a:lnTo>
                    <a:pt x="446" y="409"/>
                  </a:lnTo>
                  <a:lnTo>
                    <a:pt x="458" y="405"/>
                  </a:lnTo>
                  <a:lnTo>
                    <a:pt x="463" y="400"/>
                  </a:lnTo>
                  <a:lnTo>
                    <a:pt x="462" y="390"/>
                  </a:lnTo>
                  <a:lnTo>
                    <a:pt x="457" y="380"/>
                  </a:lnTo>
                  <a:lnTo>
                    <a:pt x="450" y="370"/>
                  </a:lnTo>
                  <a:lnTo>
                    <a:pt x="442" y="361"/>
                  </a:lnTo>
                  <a:lnTo>
                    <a:pt x="437" y="355"/>
                  </a:lnTo>
                  <a:lnTo>
                    <a:pt x="435" y="353"/>
                  </a:lnTo>
                  <a:lnTo>
                    <a:pt x="435" y="350"/>
                  </a:lnTo>
                  <a:lnTo>
                    <a:pt x="437" y="340"/>
                  </a:lnTo>
                  <a:lnTo>
                    <a:pt x="440" y="326"/>
                  </a:lnTo>
                  <a:lnTo>
                    <a:pt x="442" y="307"/>
                  </a:lnTo>
                  <a:lnTo>
                    <a:pt x="446" y="282"/>
                  </a:lnTo>
                  <a:lnTo>
                    <a:pt x="450" y="255"/>
                  </a:lnTo>
                  <a:lnTo>
                    <a:pt x="454" y="223"/>
                  </a:lnTo>
                  <a:lnTo>
                    <a:pt x="458" y="190"/>
                  </a:lnTo>
                  <a:lnTo>
                    <a:pt x="462" y="155"/>
                  </a:lnTo>
                  <a:lnTo>
                    <a:pt x="463" y="121"/>
                  </a:lnTo>
                  <a:lnTo>
                    <a:pt x="464" y="89"/>
                  </a:lnTo>
                  <a:lnTo>
                    <a:pt x="466" y="60"/>
                  </a:lnTo>
                  <a:lnTo>
                    <a:pt x="467" y="36"/>
                  </a:lnTo>
                  <a:lnTo>
                    <a:pt x="467" y="17"/>
                  </a:lnTo>
                  <a:lnTo>
                    <a:pt x="467" y="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000B2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3" name="Freeform 1387"/>
            <p:cNvSpPr>
              <a:spLocks/>
            </p:cNvSpPr>
            <p:nvPr/>
          </p:nvSpPr>
          <p:spPr bwMode="auto">
            <a:xfrm>
              <a:off x="-3554413" y="1428750"/>
              <a:ext cx="1020763" cy="198438"/>
            </a:xfrm>
            <a:custGeom>
              <a:avLst/>
              <a:gdLst>
                <a:gd name="T0" fmla="*/ 296 w 643"/>
                <a:gd name="T1" fmla="*/ 0 h 125"/>
                <a:gd name="T2" fmla="*/ 323 w 643"/>
                <a:gd name="T3" fmla="*/ 4 h 125"/>
                <a:gd name="T4" fmla="*/ 367 w 643"/>
                <a:gd name="T5" fmla="*/ 11 h 125"/>
                <a:gd name="T6" fmla="*/ 416 w 643"/>
                <a:gd name="T7" fmla="*/ 16 h 125"/>
                <a:gd name="T8" fmla="*/ 457 w 643"/>
                <a:gd name="T9" fmla="*/ 21 h 125"/>
                <a:gd name="T10" fmla="*/ 489 w 643"/>
                <a:gd name="T11" fmla="*/ 23 h 125"/>
                <a:gd name="T12" fmla="*/ 537 w 643"/>
                <a:gd name="T13" fmla="*/ 31 h 125"/>
                <a:gd name="T14" fmla="*/ 594 w 643"/>
                <a:gd name="T15" fmla="*/ 41 h 125"/>
                <a:gd name="T16" fmla="*/ 643 w 643"/>
                <a:gd name="T17" fmla="*/ 52 h 125"/>
                <a:gd name="T18" fmla="*/ 605 w 643"/>
                <a:gd name="T19" fmla="*/ 49 h 125"/>
                <a:gd name="T20" fmla="*/ 573 w 643"/>
                <a:gd name="T21" fmla="*/ 48 h 125"/>
                <a:gd name="T22" fmla="*/ 559 w 643"/>
                <a:gd name="T23" fmla="*/ 47 h 125"/>
                <a:gd name="T24" fmla="*/ 561 w 643"/>
                <a:gd name="T25" fmla="*/ 49 h 125"/>
                <a:gd name="T26" fmla="*/ 564 w 643"/>
                <a:gd name="T27" fmla="*/ 54 h 125"/>
                <a:gd name="T28" fmla="*/ 570 w 643"/>
                <a:gd name="T29" fmla="*/ 58 h 125"/>
                <a:gd name="T30" fmla="*/ 572 w 643"/>
                <a:gd name="T31" fmla="*/ 61 h 125"/>
                <a:gd name="T32" fmla="*/ 522 w 643"/>
                <a:gd name="T33" fmla="*/ 57 h 125"/>
                <a:gd name="T34" fmla="*/ 507 w 643"/>
                <a:gd name="T35" fmla="*/ 71 h 125"/>
                <a:gd name="T36" fmla="*/ 476 w 643"/>
                <a:gd name="T37" fmla="*/ 93 h 125"/>
                <a:gd name="T38" fmla="*/ 432 w 643"/>
                <a:gd name="T39" fmla="*/ 113 h 125"/>
                <a:gd name="T40" fmla="*/ 375 w 643"/>
                <a:gd name="T41" fmla="*/ 125 h 125"/>
                <a:gd name="T42" fmla="*/ 322 w 643"/>
                <a:gd name="T43" fmla="*/ 122 h 125"/>
                <a:gd name="T44" fmla="*/ 280 w 643"/>
                <a:gd name="T45" fmla="*/ 108 h 125"/>
                <a:gd name="T46" fmla="*/ 242 w 643"/>
                <a:gd name="T47" fmla="*/ 90 h 125"/>
                <a:gd name="T48" fmla="*/ 197 w 643"/>
                <a:gd name="T49" fmla="*/ 72 h 125"/>
                <a:gd name="T50" fmla="*/ 163 w 643"/>
                <a:gd name="T51" fmla="*/ 66 h 125"/>
                <a:gd name="T52" fmla="*/ 147 w 643"/>
                <a:gd name="T53" fmla="*/ 64 h 125"/>
                <a:gd name="T54" fmla="*/ 151 w 643"/>
                <a:gd name="T55" fmla="*/ 57 h 125"/>
                <a:gd name="T56" fmla="*/ 162 w 643"/>
                <a:gd name="T57" fmla="*/ 45 h 125"/>
                <a:gd name="T58" fmla="*/ 172 w 643"/>
                <a:gd name="T59" fmla="*/ 35 h 125"/>
                <a:gd name="T60" fmla="*/ 0 w 643"/>
                <a:gd name="T61" fmla="*/ 40 h 125"/>
                <a:gd name="T62" fmla="*/ 23 w 643"/>
                <a:gd name="T63" fmla="*/ 35 h 125"/>
                <a:gd name="T64" fmla="*/ 70 w 643"/>
                <a:gd name="T65" fmla="*/ 29 h 125"/>
                <a:gd name="T66" fmla="*/ 132 w 643"/>
                <a:gd name="T67" fmla="*/ 21 h 125"/>
                <a:gd name="T68" fmla="*/ 196 w 643"/>
                <a:gd name="T69" fmla="*/ 13 h 125"/>
                <a:gd name="T70" fmla="*/ 250 w 643"/>
                <a:gd name="T71" fmla="*/ 7 h 125"/>
                <a:gd name="T72" fmla="*/ 286 w 643"/>
                <a:gd name="T73" fmla="*/ 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3" h="125">
                  <a:moveTo>
                    <a:pt x="292" y="0"/>
                  </a:moveTo>
                  <a:lnTo>
                    <a:pt x="296" y="0"/>
                  </a:lnTo>
                  <a:lnTo>
                    <a:pt x="307" y="2"/>
                  </a:lnTo>
                  <a:lnTo>
                    <a:pt x="323" y="4"/>
                  </a:lnTo>
                  <a:lnTo>
                    <a:pt x="344" y="7"/>
                  </a:lnTo>
                  <a:lnTo>
                    <a:pt x="367" y="11"/>
                  </a:lnTo>
                  <a:lnTo>
                    <a:pt x="391" y="13"/>
                  </a:lnTo>
                  <a:lnTo>
                    <a:pt x="416" y="16"/>
                  </a:lnTo>
                  <a:lnTo>
                    <a:pt x="437" y="18"/>
                  </a:lnTo>
                  <a:lnTo>
                    <a:pt x="457" y="21"/>
                  </a:lnTo>
                  <a:lnTo>
                    <a:pt x="472" y="22"/>
                  </a:lnTo>
                  <a:lnTo>
                    <a:pt x="489" y="23"/>
                  </a:lnTo>
                  <a:lnTo>
                    <a:pt x="511" y="27"/>
                  </a:lnTo>
                  <a:lnTo>
                    <a:pt x="537" y="31"/>
                  </a:lnTo>
                  <a:lnTo>
                    <a:pt x="566" y="36"/>
                  </a:lnTo>
                  <a:lnTo>
                    <a:pt x="594" y="41"/>
                  </a:lnTo>
                  <a:lnTo>
                    <a:pt x="621" y="47"/>
                  </a:lnTo>
                  <a:lnTo>
                    <a:pt x="643" y="52"/>
                  </a:lnTo>
                  <a:lnTo>
                    <a:pt x="625" y="50"/>
                  </a:lnTo>
                  <a:lnTo>
                    <a:pt x="605" y="49"/>
                  </a:lnTo>
                  <a:lnTo>
                    <a:pt x="589" y="48"/>
                  </a:lnTo>
                  <a:lnTo>
                    <a:pt x="573" y="48"/>
                  </a:lnTo>
                  <a:lnTo>
                    <a:pt x="563" y="47"/>
                  </a:lnTo>
                  <a:lnTo>
                    <a:pt x="559" y="47"/>
                  </a:lnTo>
                  <a:lnTo>
                    <a:pt x="559" y="48"/>
                  </a:lnTo>
                  <a:lnTo>
                    <a:pt x="561" y="49"/>
                  </a:lnTo>
                  <a:lnTo>
                    <a:pt x="563" y="52"/>
                  </a:lnTo>
                  <a:lnTo>
                    <a:pt x="564" y="54"/>
                  </a:lnTo>
                  <a:lnTo>
                    <a:pt x="567" y="57"/>
                  </a:lnTo>
                  <a:lnTo>
                    <a:pt x="570" y="58"/>
                  </a:lnTo>
                  <a:lnTo>
                    <a:pt x="571" y="61"/>
                  </a:lnTo>
                  <a:lnTo>
                    <a:pt x="572" y="61"/>
                  </a:lnTo>
                  <a:lnTo>
                    <a:pt x="525" y="56"/>
                  </a:lnTo>
                  <a:lnTo>
                    <a:pt x="522" y="57"/>
                  </a:lnTo>
                  <a:lnTo>
                    <a:pt x="516" y="63"/>
                  </a:lnTo>
                  <a:lnTo>
                    <a:pt x="507" y="71"/>
                  </a:lnTo>
                  <a:lnTo>
                    <a:pt x="493" y="82"/>
                  </a:lnTo>
                  <a:lnTo>
                    <a:pt x="476" y="93"/>
                  </a:lnTo>
                  <a:lnTo>
                    <a:pt x="455" y="104"/>
                  </a:lnTo>
                  <a:lnTo>
                    <a:pt x="432" y="113"/>
                  </a:lnTo>
                  <a:lnTo>
                    <a:pt x="405" y="121"/>
                  </a:lnTo>
                  <a:lnTo>
                    <a:pt x="375" y="125"/>
                  </a:lnTo>
                  <a:lnTo>
                    <a:pt x="348" y="125"/>
                  </a:lnTo>
                  <a:lnTo>
                    <a:pt x="322" y="122"/>
                  </a:lnTo>
                  <a:lnTo>
                    <a:pt x="300" y="116"/>
                  </a:lnTo>
                  <a:lnTo>
                    <a:pt x="280" y="108"/>
                  </a:lnTo>
                  <a:lnTo>
                    <a:pt x="260" y="99"/>
                  </a:lnTo>
                  <a:lnTo>
                    <a:pt x="242" y="90"/>
                  </a:lnTo>
                  <a:lnTo>
                    <a:pt x="219" y="80"/>
                  </a:lnTo>
                  <a:lnTo>
                    <a:pt x="197" y="72"/>
                  </a:lnTo>
                  <a:lnTo>
                    <a:pt x="178" y="67"/>
                  </a:lnTo>
                  <a:lnTo>
                    <a:pt x="163" y="66"/>
                  </a:lnTo>
                  <a:lnTo>
                    <a:pt x="151" y="66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51" y="57"/>
                  </a:lnTo>
                  <a:lnTo>
                    <a:pt x="156" y="50"/>
                  </a:lnTo>
                  <a:lnTo>
                    <a:pt x="162" y="45"/>
                  </a:lnTo>
                  <a:lnTo>
                    <a:pt x="168" y="39"/>
                  </a:lnTo>
                  <a:lnTo>
                    <a:pt x="172" y="35"/>
                  </a:lnTo>
                  <a:lnTo>
                    <a:pt x="173" y="34"/>
                  </a:lnTo>
                  <a:lnTo>
                    <a:pt x="0" y="40"/>
                  </a:lnTo>
                  <a:lnTo>
                    <a:pt x="8" y="38"/>
                  </a:lnTo>
                  <a:lnTo>
                    <a:pt x="23" y="35"/>
                  </a:lnTo>
                  <a:lnTo>
                    <a:pt x="45" y="32"/>
                  </a:lnTo>
                  <a:lnTo>
                    <a:pt x="70" y="29"/>
                  </a:lnTo>
                  <a:lnTo>
                    <a:pt x="100" y="25"/>
                  </a:lnTo>
                  <a:lnTo>
                    <a:pt x="132" y="21"/>
                  </a:lnTo>
                  <a:lnTo>
                    <a:pt x="164" y="17"/>
                  </a:lnTo>
                  <a:lnTo>
                    <a:pt x="196" y="13"/>
                  </a:lnTo>
                  <a:lnTo>
                    <a:pt x="224" y="9"/>
                  </a:lnTo>
                  <a:lnTo>
                    <a:pt x="250" y="7"/>
                  </a:lnTo>
                  <a:lnTo>
                    <a:pt x="272" y="4"/>
                  </a:lnTo>
                  <a:lnTo>
                    <a:pt x="286" y="2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00102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4" name="Freeform 1388"/>
            <p:cNvSpPr>
              <a:spLocks/>
            </p:cNvSpPr>
            <p:nvPr/>
          </p:nvSpPr>
          <p:spPr bwMode="auto">
            <a:xfrm>
              <a:off x="-3265488" y="1181100"/>
              <a:ext cx="530225" cy="396875"/>
            </a:xfrm>
            <a:custGeom>
              <a:avLst/>
              <a:gdLst>
                <a:gd name="T0" fmla="*/ 95 w 334"/>
                <a:gd name="T1" fmla="*/ 0 h 250"/>
                <a:gd name="T2" fmla="*/ 259 w 334"/>
                <a:gd name="T3" fmla="*/ 1 h 250"/>
                <a:gd name="T4" fmla="*/ 258 w 334"/>
                <a:gd name="T5" fmla="*/ 41 h 250"/>
                <a:gd name="T6" fmla="*/ 257 w 334"/>
                <a:gd name="T7" fmla="*/ 74 h 250"/>
                <a:gd name="T8" fmla="*/ 258 w 334"/>
                <a:gd name="T9" fmla="*/ 102 h 250"/>
                <a:gd name="T10" fmla="*/ 262 w 334"/>
                <a:gd name="T11" fmla="*/ 124 h 250"/>
                <a:gd name="T12" fmla="*/ 268 w 334"/>
                <a:gd name="T13" fmla="*/ 141 h 250"/>
                <a:gd name="T14" fmla="*/ 278 w 334"/>
                <a:gd name="T15" fmla="*/ 155 h 250"/>
                <a:gd name="T16" fmla="*/ 293 w 334"/>
                <a:gd name="T17" fmla="*/ 167 h 250"/>
                <a:gd name="T18" fmla="*/ 311 w 334"/>
                <a:gd name="T19" fmla="*/ 176 h 250"/>
                <a:gd name="T20" fmla="*/ 334 w 334"/>
                <a:gd name="T21" fmla="*/ 183 h 250"/>
                <a:gd name="T22" fmla="*/ 331 w 334"/>
                <a:gd name="T23" fmla="*/ 186 h 250"/>
                <a:gd name="T24" fmla="*/ 325 w 334"/>
                <a:gd name="T25" fmla="*/ 191 h 250"/>
                <a:gd name="T26" fmla="*/ 314 w 334"/>
                <a:gd name="T27" fmla="*/ 200 h 250"/>
                <a:gd name="T28" fmla="*/ 299 w 334"/>
                <a:gd name="T29" fmla="*/ 210 h 250"/>
                <a:gd name="T30" fmla="*/ 280 w 334"/>
                <a:gd name="T31" fmla="*/ 220 h 250"/>
                <a:gd name="T32" fmla="*/ 258 w 334"/>
                <a:gd name="T33" fmla="*/ 231 h 250"/>
                <a:gd name="T34" fmla="*/ 232 w 334"/>
                <a:gd name="T35" fmla="*/ 240 h 250"/>
                <a:gd name="T36" fmla="*/ 203 w 334"/>
                <a:gd name="T37" fmla="*/ 246 h 250"/>
                <a:gd name="T38" fmla="*/ 171 w 334"/>
                <a:gd name="T39" fmla="*/ 250 h 250"/>
                <a:gd name="T40" fmla="*/ 141 w 334"/>
                <a:gd name="T41" fmla="*/ 249 h 250"/>
                <a:gd name="T42" fmla="*/ 114 w 334"/>
                <a:gd name="T43" fmla="*/ 244 h 250"/>
                <a:gd name="T44" fmla="*/ 89 w 334"/>
                <a:gd name="T45" fmla="*/ 235 h 250"/>
                <a:gd name="T46" fmla="*/ 67 w 334"/>
                <a:gd name="T47" fmla="*/ 224 h 250"/>
                <a:gd name="T48" fmla="*/ 48 w 334"/>
                <a:gd name="T49" fmla="*/ 212 h 250"/>
                <a:gd name="T50" fmla="*/ 31 w 334"/>
                <a:gd name="T51" fmla="*/ 200 h 250"/>
                <a:gd name="T52" fmla="*/ 18 w 334"/>
                <a:gd name="T53" fmla="*/ 188 h 250"/>
                <a:gd name="T54" fmla="*/ 9 w 334"/>
                <a:gd name="T55" fmla="*/ 179 h 250"/>
                <a:gd name="T56" fmla="*/ 3 w 334"/>
                <a:gd name="T57" fmla="*/ 173 h 250"/>
                <a:gd name="T58" fmla="*/ 0 w 334"/>
                <a:gd name="T59" fmla="*/ 170 h 250"/>
                <a:gd name="T60" fmla="*/ 21 w 334"/>
                <a:gd name="T61" fmla="*/ 164 h 250"/>
                <a:gd name="T62" fmla="*/ 39 w 334"/>
                <a:gd name="T63" fmla="*/ 156 h 250"/>
                <a:gd name="T64" fmla="*/ 53 w 334"/>
                <a:gd name="T65" fmla="*/ 146 h 250"/>
                <a:gd name="T66" fmla="*/ 65 w 334"/>
                <a:gd name="T67" fmla="*/ 133 h 250"/>
                <a:gd name="T68" fmla="*/ 74 w 334"/>
                <a:gd name="T69" fmla="*/ 117 h 250"/>
                <a:gd name="T70" fmla="*/ 82 w 334"/>
                <a:gd name="T71" fmla="*/ 96 h 250"/>
                <a:gd name="T72" fmla="*/ 89 w 334"/>
                <a:gd name="T73" fmla="*/ 70 h 250"/>
                <a:gd name="T74" fmla="*/ 92 w 334"/>
                <a:gd name="T75" fmla="*/ 38 h 250"/>
                <a:gd name="T76" fmla="*/ 95 w 334"/>
                <a:gd name="T7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4" h="250">
                  <a:moveTo>
                    <a:pt x="95" y="0"/>
                  </a:moveTo>
                  <a:lnTo>
                    <a:pt x="259" y="1"/>
                  </a:lnTo>
                  <a:lnTo>
                    <a:pt x="258" y="41"/>
                  </a:lnTo>
                  <a:lnTo>
                    <a:pt x="257" y="74"/>
                  </a:lnTo>
                  <a:lnTo>
                    <a:pt x="258" y="102"/>
                  </a:lnTo>
                  <a:lnTo>
                    <a:pt x="262" y="124"/>
                  </a:lnTo>
                  <a:lnTo>
                    <a:pt x="268" y="141"/>
                  </a:lnTo>
                  <a:lnTo>
                    <a:pt x="278" y="155"/>
                  </a:lnTo>
                  <a:lnTo>
                    <a:pt x="293" y="167"/>
                  </a:lnTo>
                  <a:lnTo>
                    <a:pt x="311" y="176"/>
                  </a:lnTo>
                  <a:lnTo>
                    <a:pt x="334" y="183"/>
                  </a:lnTo>
                  <a:lnTo>
                    <a:pt x="331" y="186"/>
                  </a:lnTo>
                  <a:lnTo>
                    <a:pt x="325" y="191"/>
                  </a:lnTo>
                  <a:lnTo>
                    <a:pt x="314" y="200"/>
                  </a:lnTo>
                  <a:lnTo>
                    <a:pt x="299" y="210"/>
                  </a:lnTo>
                  <a:lnTo>
                    <a:pt x="280" y="220"/>
                  </a:lnTo>
                  <a:lnTo>
                    <a:pt x="258" y="231"/>
                  </a:lnTo>
                  <a:lnTo>
                    <a:pt x="232" y="240"/>
                  </a:lnTo>
                  <a:lnTo>
                    <a:pt x="203" y="246"/>
                  </a:lnTo>
                  <a:lnTo>
                    <a:pt x="171" y="250"/>
                  </a:lnTo>
                  <a:lnTo>
                    <a:pt x="141" y="249"/>
                  </a:lnTo>
                  <a:lnTo>
                    <a:pt x="114" y="244"/>
                  </a:lnTo>
                  <a:lnTo>
                    <a:pt x="89" y="235"/>
                  </a:lnTo>
                  <a:lnTo>
                    <a:pt x="67" y="224"/>
                  </a:lnTo>
                  <a:lnTo>
                    <a:pt x="48" y="212"/>
                  </a:lnTo>
                  <a:lnTo>
                    <a:pt x="31" y="200"/>
                  </a:lnTo>
                  <a:lnTo>
                    <a:pt x="18" y="188"/>
                  </a:lnTo>
                  <a:lnTo>
                    <a:pt x="9" y="179"/>
                  </a:lnTo>
                  <a:lnTo>
                    <a:pt x="3" y="173"/>
                  </a:lnTo>
                  <a:lnTo>
                    <a:pt x="0" y="170"/>
                  </a:lnTo>
                  <a:lnTo>
                    <a:pt x="21" y="164"/>
                  </a:lnTo>
                  <a:lnTo>
                    <a:pt x="39" y="156"/>
                  </a:lnTo>
                  <a:lnTo>
                    <a:pt x="53" y="146"/>
                  </a:lnTo>
                  <a:lnTo>
                    <a:pt x="65" y="133"/>
                  </a:lnTo>
                  <a:lnTo>
                    <a:pt x="74" y="117"/>
                  </a:lnTo>
                  <a:lnTo>
                    <a:pt x="82" y="96"/>
                  </a:lnTo>
                  <a:lnTo>
                    <a:pt x="89" y="70"/>
                  </a:lnTo>
                  <a:lnTo>
                    <a:pt x="92" y="38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4C2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5" name="Freeform 1389"/>
            <p:cNvSpPr>
              <a:spLocks/>
            </p:cNvSpPr>
            <p:nvPr/>
          </p:nvSpPr>
          <p:spPr bwMode="auto">
            <a:xfrm>
              <a:off x="-2778125" y="909637"/>
              <a:ext cx="79375" cy="177800"/>
            </a:xfrm>
            <a:custGeom>
              <a:avLst/>
              <a:gdLst>
                <a:gd name="T0" fmla="*/ 36 w 50"/>
                <a:gd name="T1" fmla="*/ 0 h 112"/>
                <a:gd name="T2" fmla="*/ 42 w 50"/>
                <a:gd name="T3" fmla="*/ 1 h 112"/>
                <a:gd name="T4" fmla="*/ 46 w 50"/>
                <a:gd name="T5" fmla="*/ 9 h 112"/>
                <a:gd name="T6" fmla="*/ 48 w 50"/>
                <a:gd name="T7" fmla="*/ 21 h 112"/>
                <a:gd name="T8" fmla="*/ 50 w 50"/>
                <a:gd name="T9" fmla="*/ 34 h 112"/>
                <a:gd name="T10" fmla="*/ 50 w 50"/>
                <a:gd name="T11" fmla="*/ 49 h 112"/>
                <a:gd name="T12" fmla="*/ 47 w 50"/>
                <a:gd name="T13" fmla="*/ 62 h 112"/>
                <a:gd name="T14" fmla="*/ 45 w 50"/>
                <a:gd name="T15" fmla="*/ 71 h 112"/>
                <a:gd name="T16" fmla="*/ 38 w 50"/>
                <a:gd name="T17" fmla="*/ 80 h 112"/>
                <a:gd name="T18" fmla="*/ 30 w 50"/>
                <a:gd name="T19" fmla="*/ 90 h 112"/>
                <a:gd name="T20" fmla="*/ 22 w 50"/>
                <a:gd name="T21" fmla="*/ 99 h 112"/>
                <a:gd name="T22" fmla="*/ 14 w 50"/>
                <a:gd name="T23" fmla="*/ 105 h 112"/>
                <a:gd name="T24" fmla="*/ 7 w 50"/>
                <a:gd name="T25" fmla="*/ 111 h 112"/>
                <a:gd name="T26" fmla="*/ 4 w 50"/>
                <a:gd name="T27" fmla="*/ 112 h 112"/>
                <a:gd name="T28" fmla="*/ 2 w 50"/>
                <a:gd name="T29" fmla="*/ 108 h 112"/>
                <a:gd name="T30" fmla="*/ 1 w 50"/>
                <a:gd name="T31" fmla="*/ 96 h 112"/>
                <a:gd name="T32" fmla="*/ 0 w 50"/>
                <a:gd name="T33" fmla="*/ 81 h 112"/>
                <a:gd name="T34" fmla="*/ 0 w 50"/>
                <a:gd name="T35" fmla="*/ 63 h 112"/>
                <a:gd name="T36" fmla="*/ 0 w 50"/>
                <a:gd name="T37" fmla="*/ 45 h 112"/>
                <a:gd name="T38" fmla="*/ 0 w 50"/>
                <a:gd name="T39" fmla="*/ 30 h 112"/>
                <a:gd name="T40" fmla="*/ 0 w 50"/>
                <a:gd name="T41" fmla="*/ 18 h 112"/>
                <a:gd name="T42" fmla="*/ 0 w 50"/>
                <a:gd name="T43" fmla="*/ 14 h 112"/>
                <a:gd name="T44" fmla="*/ 2 w 50"/>
                <a:gd name="T45" fmla="*/ 13 h 112"/>
                <a:gd name="T46" fmla="*/ 9 w 50"/>
                <a:gd name="T47" fmla="*/ 9 h 112"/>
                <a:gd name="T48" fmla="*/ 18 w 50"/>
                <a:gd name="T49" fmla="*/ 5 h 112"/>
                <a:gd name="T50" fmla="*/ 27 w 50"/>
                <a:gd name="T51" fmla="*/ 1 h 112"/>
                <a:gd name="T52" fmla="*/ 36 w 50"/>
                <a:gd name="T5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112">
                  <a:moveTo>
                    <a:pt x="36" y="0"/>
                  </a:moveTo>
                  <a:lnTo>
                    <a:pt x="42" y="1"/>
                  </a:lnTo>
                  <a:lnTo>
                    <a:pt x="46" y="9"/>
                  </a:lnTo>
                  <a:lnTo>
                    <a:pt x="48" y="21"/>
                  </a:lnTo>
                  <a:lnTo>
                    <a:pt x="50" y="34"/>
                  </a:lnTo>
                  <a:lnTo>
                    <a:pt x="50" y="49"/>
                  </a:lnTo>
                  <a:lnTo>
                    <a:pt x="47" y="62"/>
                  </a:lnTo>
                  <a:lnTo>
                    <a:pt x="45" y="71"/>
                  </a:lnTo>
                  <a:lnTo>
                    <a:pt x="38" y="80"/>
                  </a:lnTo>
                  <a:lnTo>
                    <a:pt x="30" y="90"/>
                  </a:lnTo>
                  <a:lnTo>
                    <a:pt x="22" y="99"/>
                  </a:lnTo>
                  <a:lnTo>
                    <a:pt x="14" y="105"/>
                  </a:lnTo>
                  <a:lnTo>
                    <a:pt x="7" y="111"/>
                  </a:lnTo>
                  <a:lnTo>
                    <a:pt x="4" y="112"/>
                  </a:lnTo>
                  <a:lnTo>
                    <a:pt x="2" y="108"/>
                  </a:lnTo>
                  <a:lnTo>
                    <a:pt x="1" y="96"/>
                  </a:lnTo>
                  <a:lnTo>
                    <a:pt x="0" y="81"/>
                  </a:lnTo>
                  <a:lnTo>
                    <a:pt x="0" y="63"/>
                  </a:lnTo>
                  <a:lnTo>
                    <a:pt x="0" y="45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9" y="9"/>
                  </a:lnTo>
                  <a:lnTo>
                    <a:pt x="18" y="5"/>
                  </a:lnTo>
                  <a:lnTo>
                    <a:pt x="27" y="1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3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6" name="Freeform 1390"/>
            <p:cNvSpPr>
              <a:spLocks/>
            </p:cNvSpPr>
            <p:nvPr/>
          </p:nvSpPr>
          <p:spPr bwMode="auto">
            <a:xfrm>
              <a:off x="-2778125" y="928687"/>
              <a:ext cx="60325" cy="131763"/>
            </a:xfrm>
            <a:custGeom>
              <a:avLst/>
              <a:gdLst>
                <a:gd name="T0" fmla="*/ 24 w 38"/>
                <a:gd name="T1" fmla="*/ 0 h 83"/>
                <a:gd name="T2" fmla="*/ 32 w 38"/>
                <a:gd name="T3" fmla="*/ 0 h 83"/>
                <a:gd name="T4" fmla="*/ 37 w 38"/>
                <a:gd name="T5" fmla="*/ 6 h 83"/>
                <a:gd name="T6" fmla="*/ 38 w 38"/>
                <a:gd name="T7" fmla="*/ 16 h 83"/>
                <a:gd name="T8" fmla="*/ 38 w 38"/>
                <a:gd name="T9" fmla="*/ 29 h 83"/>
                <a:gd name="T10" fmla="*/ 37 w 38"/>
                <a:gd name="T11" fmla="*/ 41 h 83"/>
                <a:gd name="T12" fmla="*/ 33 w 38"/>
                <a:gd name="T13" fmla="*/ 51 h 83"/>
                <a:gd name="T14" fmla="*/ 30 w 38"/>
                <a:gd name="T15" fmla="*/ 57 h 83"/>
                <a:gd name="T16" fmla="*/ 25 w 38"/>
                <a:gd name="T17" fmla="*/ 64 h 83"/>
                <a:gd name="T18" fmla="*/ 20 w 38"/>
                <a:gd name="T19" fmla="*/ 72 h 83"/>
                <a:gd name="T20" fmla="*/ 15 w 38"/>
                <a:gd name="T21" fmla="*/ 78 h 83"/>
                <a:gd name="T22" fmla="*/ 11 w 38"/>
                <a:gd name="T23" fmla="*/ 82 h 83"/>
                <a:gd name="T24" fmla="*/ 7 w 38"/>
                <a:gd name="T25" fmla="*/ 83 h 83"/>
                <a:gd name="T26" fmla="*/ 6 w 38"/>
                <a:gd name="T27" fmla="*/ 79 h 83"/>
                <a:gd name="T28" fmla="*/ 7 w 38"/>
                <a:gd name="T29" fmla="*/ 66 h 83"/>
                <a:gd name="T30" fmla="*/ 13 w 38"/>
                <a:gd name="T31" fmla="*/ 57 h 83"/>
                <a:gd name="T32" fmla="*/ 16 w 38"/>
                <a:gd name="T33" fmla="*/ 50 h 83"/>
                <a:gd name="T34" fmla="*/ 18 w 38"/>
                <a:gd name="T35" fmla="*/ 38 h 83"/>
                <a:gd name="T36" fmla="*/ 15 w 38"/>
                <a:gd name="T37" fmla="*/ 25 h 83"/>
                <a:gd name="T38" fmla="*/ 13 w 38"/>
                <a:gd name="T39" fmla="*/ 23 h 83"/>
                <a:gd name="T40" fmla="*/ 10 w 38"/>
                <a:gd name="T41" fmla="*/ 19 h 83"/>
                <a:gd name="T42" fmla="*/ 7 w 38"/>
                <a:gd name="T43" fmla="*/ 16 h 83"/>
                <a:gd name="T44" fmla="*/ 5 w 38"/>
                <a:gd name="T45" fmla="*/ 14 h 83"/>
                <a:gd name="T46" fmla="*/ 2 w 38"/>
                <a:gd name="T47" fmla="*/ 13 h 83"/>
                <a:gd name="T48" fmla="*/ 1 w 38"/>
                <a:gd name="T49" fmla="*/ 11 h 83"/>
                <a:gd name="T50" fmla="*/ 0 w 38"/>
                <a:gd name="T51" fmla="*/ 11 h 83"/>
                <a:gd name="T52" fmla="*/ 7 w 38"/>
                <a:gd name="T53" fmla="*/ 9 h 83"/>
                <a:gd name="T54" fmla="*/ 16 w 38"/>
                <a:gd name="T55" fmla="*/ 4 h 83"/>
                <a:gd name="T56" fmla="*/ 24 w 38"/>
                <a:gd name="T5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8" h="83">
                  <a:moveTo>
                    <a:pt x="24" y="0"/>
                  </a:moveTo>
                  <a:lnTo>
                    <a:pt x="32" y="0"/>
                  </a:lnTo>
                  <a:lnTo>
                    <a:pt x="37" y="6"/>
                  </a:lnTo>
                  <a:lnTo>
                    <a:pt x="38" y="16"/>
                  </a:lnTo>
                  <a:lnTo>
                    <a:pt x="38" y="29"/>
                  </a:lnTo>
                  <a:lnTo>
                    <a:pt x="37" y="41"/>
                  </a:lnTo>
                  <a:lnTo>
                    <a:pt x="33" y="51"/>
                  </a:lnTo>
                  <a:lnTo>
                    <a:pt x="30" y="57"/>
                  </a:lnTo>
                  <a:lnTo>
                    <a:pt x="25" y="64"/>
                  </a:lnTo>
                  <a:lnTo>
                    <a:pt x="20" y="72"/>
                  </a:lnTo>
                  <a:lnTo>
                    <a:pt x="15" y="78"/>
                  </a:lnTo>
                  <a:lnTo>
                    <a:pt x="11" y="82"/>
                  </a:lnTo>
                  <a:lnTo>
                    <a:pt x="7" y="83"/>
                  </a:lnTo>
                  <a:lnTo>
                    <a:pt x="6" y="79"/>
                  </a:lnTo>
                  <a:lnTo>
                    <a:pt x="7" y="66"/>
                  </a:lnTo>
                  <a:lnTo>
                    <a:pt x="13" y="57"/>
                  </a:lnTo>
                  <a:lnTo>
                    <a:pt x="16" y="50"/>
                  </a:lnTo>
                  <a:lnTo>
                    <a:pt x="18" y="38"/>
                  </a:lnTo>
                  <a:lnTo>
                    <a:pt x="15" y="25"/>
                  </a:lnTo>
                  <a:lnTo>
                    <a:pt x="13" y="23"/>
                  </a:lnTo>
                  <a:lnTo>
                    <a:pt x="10" y="19"/>
                  </a:lnTo>
                  <a:lnTo>
                    <a:pt x="7" y="16"/>
                  </a:lnTo>
                  <a:lnTo>
                    <a:pt x="5" y="14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7" y="9"/>
                  </a:lnTo>
                  <a:lnTo>
                    <a:pt x="16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E89C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7" name="Freeform 1391"/>
            <p:cNvSpPr>
              <a:spLocks/>
            </p:cNvSpPr>
            <p:nvPr/>
          </p:nvSpPr>
          <p:spPr bwMode="auto">
            <a:xfrm>
              <a:off x="-3278188" y="885825"/>
              <a:ext cx="82550" cy="176213"/>
            </a:xfrm>
            <a:custGeom>
              <a:avLst/>
              <a:gdLst>
                <a:gd name="T0" fmla="*/ 13 w 52"/>
                <a:gd name="T1" fmla="*/ 0 h 111"/>
                <a:gd name="T2" fmla="*/ 22 w 52"/>
                <a:gd name="T3" fmla="*/ 1 h 111"/>
                <a:gd name="T4" fmla="*/ 31 w 52"/>
                <a:gd name="T5" fmla="*/ 5 h 111"/>
                <a:gd name="T6" fmla="*/ 40 w 52"/>
                <a:gd name="T7" fmla="*/ 9 h 111"/>
                <a:gd name="T8" fmla="*/ 47 w 52"/>
                <a:gd name="T9" fmla="*/ 13 h 111"/>
                <a:gd name="T10" fmla="*/ 49 w 52"/>
                <a:gd name="T11" fmla="*/ 14 h 111"/>
                <a:gd name="T12" fmla="*/ 49 w 52"/>
                <a:gd name="T13" fmla="*/ 18 h 111"/>
                <a:gd name="T14" fmla="*/ 50 w 52"/>
                <a:gd name="T15" fmla="*/ 29 h 111"/>
                <a:gd name="T16" fmla="*/ 50 w 52"/>
                <a:gd name="T17" fmla="*/ 45 h 111"/>
                <a:gd name="T18" fmla="*/ 52 w 52"/>
                <a:gd name="T19" fmla="*/ 63 h 111"/>
                <a:gd name="T20" fmla="*/ 52 w 52"/>
                <a:gd name="T21" fmla="*/ 81 h 111"/>
                <a:gd name="T22" fmla="*/ 52 w 52"/>
                <a:gd name="T23" fmla="*/ 96 h 111"/>
                <a:gd name="T24" fmla="*/ 50 w 52"/>
                <a:gd name="T25" fmla="*/ 108 h 111"/>
                <a:gd name="T26" fmla="*/ 49 w 52"/>
                <a:gd name="T27" fmla="*/ 111 h 111"/>
                <a:gd name="T28" fmla="*/ 45 w 52"/>
                <a:gd name="T29" fmla="*/ 110 h 111"/>
                <a:gd name="T30" fmla="*/ 39 w 52"/>
                <a:gd name="T31" fmla="*/ 105 h 111"/>
                <a:gd name="T32" fmla="*/ 31 w 52"/>
                <a:gd name="T33" fmla="*/ 99 h 111"/>
                <a:gd name="T34" fmla="*/ 22 w 52"/>
                <a:gd name="T35" fmla="*/ 90 h 111"/>
                <a:gd name="T36" fmla="*/ 13 w 52"/>
                <a:gd name="T37" fmla="*/ 79 h 111"/>
                <a:gd name="T38" fmla="*/ 7 w 52"/>
                <a:gd name="T39" fmla="*/ 70 h 111"/>
                <a:gd name="T40" fmla="*/ 3 w 52"/>
                <a:gd name="T41" fmla="*/ 61 h 111"/>
                <a:gd name="T42" fmla="*/ 2 w 52"/>
                <a:gd name="T43" fmla="*/ 49 h 111"/>
                <a:gd name="T44" fmla="*/ 0 w 52"/>
                <a:gd name="T45" fmla="*/ 33 h 111"/>
                <a:gd name="T46" fmla="*/ 0 w 52"/>
                <a:gd name="T47" fmla="*/ 20 h 111"/>
                <a:gd name="T48" fmla="*/ 3 w 52"/>
                <a:gd name="T49" fmla="*/ 9 h 111"/>
                <a:gd name="T50" fmla="*/ 7 w 52"/>
                <a:gd name="T51" fmla="*/ 1 h 111"/>
                <a:gd name="T52" fmla="*/ 13 w 52"/>
                <a:gd name="T5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" h="111">
                  <a:moveTo>
                    <a:pt x="13" y="0"/>
                  </a:moveTo>
                  <a:lnTo>
                    <a:pt x="22" y="1"/>
                  </a:lnTo>
                  <a:lnTo>
                    <a:pt x="31" y="5"/>
                  </a:lnTo>
                  <a:lnTo>
                    <a:pt x="40" y="9"/>
                  </a:lnTo>
                  <a:lnTo>
                    <a:pt x="47" y="13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0" y="29"/>
                  </a:lnTo>
                  <a:lnTo>
                    <a:pt x="50" y="45"/>
                  </a:lnTo>
                  <a:lnTo>
                    <a:pt x="52" y="63"/>
                  </a:lnTo>
                  <a:lnTo>
                    <a:pt x="52" y="81"/>
                  </a:lnTo>
                  <a:lnTo>
                    <a:pt x="52" y="96"/>
                  </a:lnTo>
                  <a:lnTo>
                    <a:pt x="50" y="108"/>
                  </a:lnTo>
                  <a:lnTo>
                    <a:pt x="49" y="111"/>
                  </a:lnTo>
                  <a:lnTo>
                    <a:pt x="45" y="110"/>
                  </a:lnTo>
                  <a:lnTo>
                    <a:pt x="39" y="105"/>
                  </a:lnTo>
                  <a:lnTo>
                    <a:pt x="31" y="99"/>
                  </a:lnTo>
                  <a:lnTo>
                    <a:pt x="22" y="90"/>
                  </a:lnTo>
                  <a:lnTo>
                    <a:pt x="13" y="79"/>
                  </a:lnTo>
                  <a:lnTo>
                    <a:pt x="7" y="70"/>
                  </a:lnTo>
                  <a:lnTo>
                    <a:pt x="3" y="61"/>
                  </a:lnTo>
                  <a:lnTo>
                    <a:pt x="2" y="49"/>
                  </a:lnTo>
                  <a:lnTo>
                    <a:pt x="0" y="33"/>
                  </a:lnTo>
                  <a:lnTo>
                    <a:pt x="0" y="20"/>
                  </a:lnTo>
                  <a:lnTo>
                    <a:pt x="3" y="9"/>
                  </a:lnTo>
                  <a:lnTo>
                    <a:pt x="7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3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8" name="Freeform 1392"/>
            <p:cNvSpPr>
              <a:spLocks/>
            </p:cNvSpPr>
            <p:nvPr/>
          </p:nvSpPr>
          <p:spPr bwMode="auto">
            <a:xfrm>
              <a:off x="-3255963" y="903287"/>
              <a:ext cx="53975" cy="120650"/>
            </a:xfrm>
            <a:custGeom>
              <a:avLst/>
              <a:gdLst>
                <a:gd name="T0" fmla="*/ 7 w 34"/>
                <a:gd name="T1" fmla="*/ 0 h 76"/>
                <a:gd name="T2" fmla="*/ 13 w 34"/>
                <a:gd name="T3" fmla="*/ 0 h 76"/>
                <a:gd name="T4" fmla="*/ 21 w 34"/>
                <a:gd name="T5" fmla="*/ 3 h 76"/>
                <a:gd name="T6" fmla="*/ 29 w 34"/>
                <a:gd name="T7" fmla="*/ 5 h 76"/>
                <a:gd name="T8" fmla="*/ 34 w 34"/>
                <a:gd name="T9" fmla="*/ 7 h 76"/>
                <a:gd name="T10" fmla="*/ 34 w 34"/>
                <a:gd name="T11" fmla="*/ 7 h 76"/>
                <a:gd name="T12" fmla="*/ 34 w 34"/>
                <a:gd name="T13" fmla="*/ 8 h 76"/>
                <a:gd name="T14" fmla="*/ 34 w 34"/>
                <a:gd name="T15" fmla="*/ 9 h 76"/>
                <a:gd name="T16" fmla="*/ 34 w 34"/>
                <a:gd name="T17" fmla="*/ 12 h 76"/>
                <a:gd name="T18" fmla="*/ 33 w 34"/>
                <a:gd name="T19" fmla="*/ 16 h 76"/>
                <a:gd name="T20" fmla="*/ 33 w 34"/>
                <a:gd name="T21" fmla="*/ 20 h 76"/>
                <a:gd name="T22" fmla="*/ 31 w 34"/>
                <a:gd name="T23" fmla="*/ 22 h 76"/>
                <a:gd name="T24" fmla="*/ 30 w 34"/>
                <a:gd name="T25" fmla="*/ 25 h 76"/>
                <a:gd name="T26" fmla="*/ 27 w 34"/>
                <a:gd name="T27" fmla="*/ 26 h 76"/>
                <a:gd name="T28" fmla="*/ 25 w 34"/>
                <a:gd name="T29" fmla="*/ 27 h 76"/>
                <a:gd name="T30" fmla="*/ 22 w 34"/>
                <a:gd name="T31" fmla="*/ 29 h 76"/>
                <a:gd name="T32" fmla="*/ 20 w 34"/>
                <a:gd name="T33" fmla="*/ 31 h 76"/>
                <a:gd name="T34" fmla="*/ 18 w 34"/>
                <a:gd name="T35" fmla="*/ 34 h 76"/>
                <a:gd name="T36" fmla="*/ 18 w 34"/>
                <a:gd name="T37" fmla="*/ 38 h 76"/>
                <a:gd name="T38" fmla="*/ 20 w 34"/>
                <a:gd name="T39" fmla="*/ 41 h 76"/>
                <a:gd name="T40" fmla="*/ 22 w 34"/>
                <a:gd name="T41" fmla="*/ 46 h 76"/>
                <a:gd name="T42" fmla="*/ 26 w 34"/>
                <a:gd name="T43" fmla="*/ 54 h 76"/>
                <a:gd name="T44" fmla="*/ 29 w 34"/>
                <a:gd name="T45" fmla="*/ 63 h 76"/>
                <a:gd name="T46" fmla="*/ 31 w 34"/>
                <a:gd name="T47" fmla="*/ 71 h 76"/>
                <a:gd name="T48" fmla="*/ 31 w 34"/>
                <a:gd name="T49" fmla="*/ 75 h 76"/>
                <a:gd name="T50" fmla="*/ 27 w 34"/>
                <a:gd name="T51" fmla="*/ 76 h 76"/>
                <a:gd name="T52" fmla="*/ 22 w 34"/>
                <a:gd name="T53" fmla="*/ 75 h 76"/>
                <a:gd name="T54" fmla="*/ 15 w 34"/>
                <a:gd name="T55" fmla="*/ 68 h 76"/>
                <a:gd name="T56" fmla="*/ 9 w 34"/>
                <a:gd name="T57" fmla="*/ 61 h 76"/>
                <a:gd name="T58" fmla="*/ 7 w 34"/>
                <a:gd name="T59" fmla="*/ 52 h 76"/>
                <a:gd name="T60" fmla="*/ 4 w 34"/>
                <a:gd name="T61" fmla="*/ 41 h 76"/>
                <a:gd name="T62" fmla="*/ 2 w 34"/>
                <a:gd name="T63" fmla="*/ 29 h 76"/>
                <a:gd name="T64" fmla="*/ 0 w 34"/>
                <a:gd name="T65" fmla="*/ 17 h 76"/>
                <a:gd name="T66" fmla="*/ 0 w 34"/>
                <a:gd name="T67" fmla="*/ 8 h 76"/>
                <a:gd name="T68" fmla="*/ 2 w 34"/>
                <a:gd name="T69" fmla="*/ 2 h 76"/>
                <a:gd name="T70" fmla="*/ 7 w 34"/>
                <a:gd name="T7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" h="76">
                  <a:moveTo>
                    <a:pt x="7" y="0"/>
                  </a:moveTo>
                  <a:lnTo>
                    <a:pt x="13" y="0"/>
                  </a:lnTo>
                  <a:lnTo>
                    <a:pt x="21" y="3"/>
                  </a:lnTo>
                  <a:lnTo>
                    <a:pt x="29" y="5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1" y="22"/>
                  </a:lnTo>
                  <a:lnTo>
                    <a:pt x="30" y="25"/>
                  </a:lnTo>
                  <a:lnTo>
                    <a:pt x="27" y="26"/>
                  </a:lnTo>
                  <a:lnTo>
                    <a:pt x="25" y="27"/>
                  </a:lnTo>
                  <a:lnTo>
                    <a:pt x="22" y="29"/>
                  </a:lnTo>
                  <a:lnTo>
                    <a:pt x="20" y="31"/>
                  </a:lnTo>
                  <a:lnTo>
                    <a:pt x="18" y="34"/>
                  </a:lnTo>
                  <a:lnTo>
                    <a:pt x="18" y="38"/>
                  </a:lnTo>
                  <a:lnTo>
                    <a:pt x="20" y="41"/>
                  </a:lnTo>
                  <a:lnTo>
                    <a:pt x="22" y="46"/>
                  </a:lnTo>
                  <a:lnTo>
                    <a:pt x="26" y="54"/>
                  </a:lnTo>
                  <a:lnTo>
                    <a:pt x="29" y="63"/>
                  </a:lnTo>
                  <a:lnTo>
                    <a:pt x="31" y="71"/>
                  </a:lnTo>
                  <a:lnTo>
                    <a:pt x="31" y="75"/>
                  </a:lnTo>
                  <a:lnTo>
                    <a:pt x="27" y="76"/>
                  </a:lnTo>
                  <a:lnTo>
                    <a:pt x="22" y="75"/>
                  </a:lnTo>
                  <a:lnTo>
                    <a:pt x="15" y="68"/>
                  </a:lnTo>
                  <a:lnTo>
                    <a:pt x="9" y="61"/>
                  </a:lnTo>
                  <a:lnTo>
                    <a:pt x="7" y="52"/>
                  </a:lnTo>
                  <a:lnTo>
                    <a:pt x="4" y="41"/>
                  </a:lnTo>
                  <a:lnTo>
                    <a:pt x="2" y="29"/>
                  </a:lnTo>
                  <a:lnTo>
                    <a:pt x="0" y="17"/>
                  </a:lnTo>
                  <a:lnTo>
                    <a:pt x="0" y="8"/>
                  </a:lnTo>
                  <a:lnTo>
                    <a:pt x="2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89C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9" name="Freeform 1393"/>
            <p:cNvSpPr>
              <a:spLocks/>
            </p:cNvSpPr>
            <p:nvPr/>
          </p:nvSpPr>
          <p:spPr bwMode="auto">
            <a:xfrm>
              <a:off x="-3217863" y="641350"/>
              <a:ext cx="460375" cy="698500"/>
            </a:xfrm>
            <a:custGeom>
              <a:avLst/>
              <a:gdLst>
                <a:gd name="T0" fmla="*/ 155 w 290"/>
                <a:gd name="T1" fmla="*/ 1 h 440"/>
                <a:gd name="T2" fmla="*/ 187 w 290"/>
                <a:gd name="T3" fmla="*/ 1 h 440"/>
                <a:gd name="T4" fmla="*/ 201 w 290"/>
                <a:gd name="T5" fmla="*/ 1 h 440"/>
                <a:gd name="T6" fmla="*/ 211 w 290"/>
                <a:gd name="T7" fmla="*/ 7 h 440"/>
                <a:gd name="T8" fmla="*/ 236 w 290"/>
                <a:gd name="T9" fmla="*/ 23 h 440"/>
                <a:gd name="T10" fmla="*/ 261 w 290"/>
                <a:gd name="T11" fmla="*/ 41 h 440"/>
                <a:gd name="T12" fmla="*/ 278 w 290"/>
                <a:gd name="T13" fmla="*/ 55 h 440"/>
                <a:gd name="T14" fmla="*/ 287 w 290"/>
                <a:gd name="T15" fmla="*/ 77 h 440"/>
                <a:gd name="T16" fmla="*/ 290 w 290"/>
                <a:gd name="T17" fmla="*/ 104 h 440"/>
                <a:gd name="T18" fmla="*/ 290 w 290"/>
                <a:gd name="T19" fmla="*/ 118 h 440"/>
                <a:gd name="T20" fmla="*/ 290 w 290"/>
                <a:gd name="T21" fmla="*/ 135 h 440"/>
                <a:gd name="T22" fmla="*/ 288 w 290"/>
                <a:gd name="T23" fmla="*/ 178 h 440"/>
                <a:gd name="T24" fmla="*/ 287 w 290"/>
                <a:gd name="T25" fmla="*/ 232 h 440"/>
                <a:gd name="T26" fmla="*/ 286 w 290"/>
                <a:gd name="T27" fmla="*/ 286 h 440"/>
                <a:gd name="T28" fmla="*/ 283 w 290"/>
                <a:gd name="T29" fmla="*/ 324 h 440"/>
                <a:gd name="T30" fmla="*/ 278 w 290"/>
                <a:gd name="T31" fmla="*/ 342 h 440"/>
                <a:gd name="T32" fmla="*/ 260 w 290"/>
                <a:gd name="T33" fmla="*/ 364 h 440"/>
                <a:gd name="T34" fmla="*/ 236 w 290"/>
                <a:gd name="T35" fmla="*/ 391 h 440"/>
                <a:gd name="T36" fmla="*/ 209 w 290"/>
                <a:gd name="T37" fmla="*/ 417 h 440"/>
                <a:gd name="T38" fmla="*/ 188 w 290"/>
                <a:gd name="T39" fmla="*/ 433 h 440"/>
                <a:gd name="T40" fmla="*/ 171 w 290"/>
                <a:gd name="T41" fmla="*/ 439 h 440"/>
                <a:gd name="T42" fmla="*/ 141 w 290"/>
                <a:gd name="T43" fmla="*/ 440 h 440"/>
                <a:gd name="T44" fmla="*/ 110 w 290"/>
                <a:gd name="T45" fmla="*/ 439 h 440"/>
                <a:gd name="T46" fmla="*/ 96 w 290"/>
                <a:gd name="T47" fmla="*/ 433 h 440"/>
                <a:gd name="T48" fmla="*/ 77 w 290"/>
                <a:gd name="T49" fmla="*/ 417 h 440"/>
                <a:gd name="T50" fmla="*/ 52 w 290"/>
                <a:gd name="T51" fmla="*/ 391 h 440"/>
                <a:gd name="T52" fmla="*/ 28 w 290"/>
                <a:gd name="T53" fmla="*/ 365 h 440"/>
                <a:gd name="T54" fmla="*/ 12 w 290"/>
                <a:gd name="T55" fmla="*/ 349 h 440"/>
                <a:gd name="T56" fmla="*/ 10 w 290"/>
                <a:gd name="T57" fmla="*/ 341 h 440"/>
                <a:gd name="T58" fmla="*/ 9 w 290"/>
                <a:gd name="T59" fmla="*/ 310 h 440"/>
                <a:gd name="T60" fmla="*/ 6 w 290"/>
                <a:gd name="T61" fmla="*/ 260 h 440"/>
                <a:gd name="T62" fmla="*/ 3 w 290"/>
                <a:gd name="T63" fmla="*/ 200 h 440"/>
                <a:gd name="T64" fmla="*/ 1 w 290"/>
                <a:gd name="T65" fmla="*/ 141 h 440"/>
                <a:gd name="T66" fmla="*/ 0 w 290"/>
                <a:gd name="T67" fmla="*/ 95 h 440"/>
                <a:gd name="T68" fmla="*/ 0 w 290"/>
                <a:gd name="T69" fmla="*/ 72 h 440"/>
                <a:gd name="T70" fmla="*/ 10 w 290"/>
                <a:gd name="T71" fmla="*/ 56 h 440"/>
                <a:gd name="T72" fmla="*/ 35 w 290"/>
                <a:gd name="T73" fmla="*/ 37 h 440"/>
                <a:gd name="T74" fmla="*/ 65 w 290"/>
                <a:gd name="T75" fmla="*/ 18 h 440"/>
                <a:gd name="T76" fmla="*/ 91 w 290"/>
                <a:gd name="T77" fmla="*/ 5 h 440"/>
                <a:gd name="T78" fmla="*/ 106 w 290"/>
                <a:gd name="T79" fmla="*/ 1 h 440"/>
                <a:gd name="T80" fmla="*/ 137 w 290"/>
                <a:gd name="T81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0" h="440">
                  <a:moveTo>
                    <a:pt x="137" y="0"/>
                  </a:moveTo>
                  <a:lnTo>
                    <a:pt x="155" y="1"/>
                  </a:lnTo>
                  <a:lnTo>
                    <a:pt x="173" y="1"/>
                  </a:lnTo>
                  <a:lnTo>
                    <a:pt x="187" y="1"/>
                  </a:lnTo>
                  <a:lnTo>
                    <a:pt x="197" y="1"/>
                  </a:lnTo>
                  <a:lnTo>
                    <a:pt x="201" y="1"/>
                  </a:lnTo>
                  <a:lnTo>
                    <a:pt x="204" y="4"/>
                  </a:lnTo>
                  <a:lnTo>
                    <a:pt x="211" y="7"/>
                  </a:lnTo>
                  <a:lnTo>
                    <a:pt x="223" y="15"/>
                  </a:lnTo>
                  <a:lnTo>
                    <a:pt x="236" y="23"/>
                  </a:lnTo>
                  <a:lnTo>
                    <a:pt x="248" y="32"/>
                  </a:lnTo>
                  <a:lnTo>
                    <a:pt x="261" y="41"/>
                  </a:lnTo>
                  <a:lnTo>
                    <a:pt x="272" y="49"/>
                  </a:lnTo>
                  <a:lnTo>
                    <a:pt x="278" y="55"/>
                  </a:lnTo>
                  <a:lnTo>
                    <a:pt x="283" y="64"/>
                  </a:lnTo>
                  <a:lnTo>
                    <a:pt x="287" y="77"/>
                  </a:lnTo>
                  <a:lnTo>
                    <a:pt x="288" y="91"/>
                  </a:lnTo>
                  <a:lnTo>
                    <a:pt x="290" y="104"/>
                  </a:lnTo>
                  <a:lnTo>
                    <a:pt x="290" y="114"/>
                  </a:lnTo>
                  <a:lnTo>
                    <a:pt x="290" y="118"/>
                  </a:lnTo>
                  <a:lnTo>
                    <a:pt x="290" y="122"/>
                  </a:lnTo>
                  <a:lnTo>
                    <a:pt x="290" y="135"/>
                  </a:lnTo>
                  <a:lnTo>
                    <a:pt x="290" y="154"/>
                  </a:lnTo>
                  <a:lnTo>
                    <a:pt x="288" y="178"/>
                  </a:lnTo>
                  <a:lnTo>
                    <a:pt x="288" y="204"/>
                  </a:lnTo>
                  <a:lnTo>
                    <a:pt x="287" y="232"/>
                  </a:lnTo>
                  <a:lnTo>
                    <a:pt x="287" y="260"/>
                  </a:lnTo>
                  <a:lnTo>
                    <a:pt x="286" y="286"/>
                  </a:lnTo>
                  <a:lnTo>
                    <a:pt x="284" y="308"/>
                  </a:lnTo>
                  <a:lnTo>
                    <a:pt x="283" y="324"/>
                  </a:lnTo>
                  <a:lnTo>
                    <a:pt x="282" y="335"/>
                  </a:lnTo>
                  <a:lnTo>
                    <a:pt x="278" y="342"/>
                  </a:lnTo>
                  <a:lnTo>
                    <a:pt x="270" y="353"/>
                  </a:lnTo>
                  <a:lnTo>
                    <a:pt x="260" y="364"/>
                  </a:lnTo>
                  <a:lnTo>
                    <a:pt x="248" y="377"/>
                  </a:lnTo>
                  <a:lnTo>
                    <a:pt x="236" y="391"/>
                  </a:lnTo>
                  <a:lnTo>
                    <a:pt x="222" y="404"/>
                  </a:lnTo>
                  <a:lnTo>
                    <a:pt x="209" y="417"/>
                  </a:lnTo>
                  <a:lnTo>
                    <a:pt x="197" y="427"/>
                  </a:lnTo>
                  <a:lnTo>
                    <a:pt x="188" y="433"/>
                  </a:lnTo>
                  <a:lnTo>
                    <a:pt x="182" y="437"/>
                  </a:lnTo>
                  <a:lnTo>
                    <a:pt x="171" y="439"/>
                  </a:lnTo>
                  <a:lnTo>
                    <a:pt x="157" y="440"/>
                  </a:lnTo>
                  <a:lnTo>
                    <a:pt x="141" y="440"/>
                  </a:lnTo>
                  <a:lnTo>
                    <a:pt x="124" y="440"/>
                  </a:lnTo>
                  <a:lnTo>
                    <a:pt x="110" y="439"/>
                  </a:lnTo>
                  <a:lnTo>
                    <a:pt x="101" y="437"/>
                  </a:lnTo>
                  <a:lnTo>
                    <a:pt x="96" y="433"/>
                  </a:lnTo>
                  <a:lnTo>
                    <a:pt x="88" y="427"/>
                  </a:lnTo>
                  <a:lnTo>
                    <a:pt x="77" y="417"/>
                  </a:lnTo>
                  <a:lnTo>
                    <a:pt x="65" y="404"/>
                  </a:lnTo>
                  <a:lnTo>
                    <a:pt x="52" y="391"/>
                  </a:lnTo>
                  <a:lnTo>
                    <a:pt x="39" y="377"/>
                  </a:lnTo>
                  <a:lnTo>
                    <a:pt x="28" y="365"/>
                  </a:lnTo>
                  <a:lnTo>
                    <a:pt x="19" y="355"/>
                  </a:lnTo>
                  <a:lnTo>
                    <a:pt x="12" y="349"/>
                  </a:lnTo>
                  <a:lnTo>
                    <a:pt x="10" y="346"/>
                  </a:lnTo>
                  <a:lnTo>
                    <a:pt x="10" y="341"/>
                  </a:lnTo>
                  <a:lnTo>
                    <a:pt x="10" y="330"/>
                  </a:lnTo>
                  <a:lnTo>
                    <a:pt x="9" y="310"/>
                  </a:lnTo>
                  <a:lnTo>
                    <a:pt x="7" y="287"/>
                  </a:lnTo>
                  <a:lnTo>
                    <a:pt x="6" y="260"/>
                  </a:lnTo>
                  <a:lnTo>
                    <a:pt x="5" y="231"/>
                  </a:lnTo>
                  <a:lnTo>
                    <a:pt x="3" y="200"/>
                  </a:lnTo>
                  <a:lnTo>
                    <a:pt x="2" y="169"/>
                  </a:lnTo>
                  <a:lnTo>
                    <a:pt x="1" y="141"/>
                  </a:lnTo>
                  <a:lnTo>
                    <a:pt x="1" y="115"/>
                  </a:lnTo>
                  <a:lnTo>
                    <a:pt x="0" y="9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2" y="64"/>
                  </a:lnTo>
                  <a:lnTo>
                    <a:pt x="10" y="56"/>
                  </a:lnTo>
                  <a:lnTo>
                    <a:pt x="21" y="47"/>
                  </a:lnTo>
                  <a:lnTo>
                    <a:pt x="35" y="37"/>
                  </a:lnTo>
                  <a:lnTo>
                    <a:pt x="51" y="27"/>
                  </a:lnTo>
                  <a:lnTo>
                    <a:pt x="65" y="18"/>
                  </a:lnTo>
                  <a:lnTo>
                    <a:pt x="79" y="11"/>
                  </a:lnTo>
                  <a:lnTo>
                    <a:pt x="91" y="5"/>
                  </a:lnTo>
                  <a:lnTo>
                    <a:pt x="98" y="2"/>
                  </a:lnTo>
                  <a:lnTo>
                    <a:pt x="106" y="1"/>
                  </a:lnTo>
                  <a:lnTo>
                    <a:pt x="120" y="1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0" name="Freeform 1394"/>
            <p:cNvSpPr>
              <a:spLocks/>
            </p:cNvSpPr>
            <p:nvPr/>
          </p:nvSpPr>
          <p:spPr bwMode="auto">
            <a:xfrm>
              <a:off x="-3289300" y="465137"/>
              <a:ext cx="579438" cy="522288"/>
            </a:xfrm>
            <a:custGeom>
              <a:avLst/>
              <a:gdLst>
                <a:gd name="T0" fmla="*/ 157 w 365"/>
                <a:gd name="T1" fmla="*/ 0 h 329"/>
                <a:gd name="T2" fmla="*/ 170 w 365"/>
                <a:gd name="T3" fmla="*/ 8 h 329"/>
                <a:gd name="T4" fmla="*/ 196 w 365"/>
                <a:gd name="T5" fmla="*/ 21 h 329"/>
                <a:gd name="T6" fmla="*/ 228 w 365"/>
                <a:gd name="T7" fmla="*/ 30 h 329"/>
                <a:gd name="T8" fmla="*/ 267 w 365"/>
                <a:gd name="T9" fmla="*/ 47 h 329"/>
                <a:gd name="T10" fmla="*/ 313 w 365"/>
                <a:gd name="T11" fmla="*/ 74 h 329"/>
                <a:gd name="T12" fmla="*/ 341 w 365"/>
                <a:gd name="T13" fmla="*/ 90 h 329"/>
                <a:gd name="T14" fmla="*/ 351 w 365"/>
                <a:gd name="T15" fmla="*/ 111 h 329"/>
                <a:gd name="T16" fmla="*/ 360 w 365"/>
                <a:gd name="T17" fmla="*/ 149 h 329"/>
                <a:gd name="T18" fmla="*/ 365 w 365"/>
                <a:gd name="T19" fmla="*/ 190 h 329"/>
                <a:gd name="T20" fmla="*/ 364 w 365"/>
                <a:gd name="T21" fmla="*/ 213 h 329"/>
                <a:gd name="T22" fmla="*/ 358 w 365"/>
                <a:gd name="T23" fmla="*/ 243 h 329"/>
                <a:gd name="T24" fmla="*/ 347 w 365"/>
                <a:gd name="T25" fmla="*/ 280 h 329"/>
                <a:gd name="T26" fmla="*/ 338 w 365"/>
                <a:gd name="T27" fmla="*/ 314 h 329"/>
                <a:gd name="T28" fmla="*/ 333 w 365"/>
                <a:gd name="T29" fmla="*/ 329 h 329"/>
                <a:gd name="T30" fmla="*/ 333 w 365"/>
                <a:gd name="T31" fmla="*/ 290 h 329"/>
                <a:gd name="T32" fmla="*/ 331 w 365"/>
                <a:gd name="T33" fmla="*/ 244 h 329"/>
                <a:gd name="T34" fmla="*/ 322 w 365"/>
                <a:gd name="T35" fmla="*/ 202 h 329"/>
                <a:gd name="T36" fmla="*/ 302 w 365"/>
                <a:gd name="T37" fmla="*/ 170 h 329"/>
                <a:gd name="T38" fmla="*/ 292 w 365"/>
                <a:gd name="T39" fmla="*/ 175 h 329"/>
                <a:gd name="T40" fmla="*/ 265 w 365"/>
                <a:gd name="T41" fmla="*/ 185 h 329"/>
                <a:gd name="T42" fmla="*/ 231 w 365"/>
                <a:gd name="T43" fmla="*/ 198 h 329"/>
                <a:gd name="T44" fmla="*/ 197 w 365"/>
                <a:gd name="T45" fmla="*/ 206 h 329"/>
                <a:gd name="T46" fmla="*/ 173 w 365"/>
                <a:gd name="T47" fmla="*/ 206 h 329"/>
                <a:gd name="T48" fmla="*/ 146 w 365"/>
                <a:gd name="T49" fmla="*/ 198 h 329"/>
                <a:gd name="T50" fmla="*/ 116 w 365"/>
                <a:gd name="T51" fmla="*/ 186 h 329"/>
                <a:gd name="T52" fmla="*/ 88 w 365"/>
                <a:gd name="T53" fmla="*/ 179 h 329"/>
                <a:gd name="T54" fmla="*/ 66 w 365"/>
                <a:gd name="T55" fmla="*/ 180 h 329"/>
                <a:gd name="T56" fmla="*/ 55 w 365"/>
                <a:gd name="T57" fmla="*/ 195 h 329"/>
                <a:gd name="T58" fmla="*/ 50 w 365"/>
                <a:gd name="T59" fmla="*/ 242 h 329"/>
                <a:gd name="T60" fmla="*/ 48 w 365"/>
                <a:gd name="T61" fmla="*/ 289 h 329"/>
                <a:gd name="T62" fmla="*/ 45 w 365"/>
                <a:gd name="T63" fmla="*/ 310 h 329"/>
                <a:gd name="T64" fmla="*/ 36 w 365"/>
                <a:gd name="T65" fmla="*/ 275 h 329"/>
                <a:gd name="T66" fmla="*/ 25 w 365"/>
                <a:gd name="T67" fmla="*/ 230 h 329"/>
                <a:gd name="T68" fmla="*/ 18 w 365"/>
                <a:gd name="T69" fmla="*/ 185 h 329"/>
                <a:gd name="T70" fmla="*/ 15 w 365"/>
                <a:gd name="T71" fmla="*/ 152 h 329"/>
                <a:gd name="T72" fmla="*/ 21 w 365"/>
                <a:gd name="T73" fmla="*/ 129 h 329"/>
                <a:gd name="T74" fmla="*/ 29 w 365"/>
                <a:gd name="T75" fmla="*/ 107 h 329"/>
                <a:gd name="T76" fmla="*/ 33 w 365"/>
                <a:gd name="T77" fmla="*/ 99 h 329"/>
                <a:gd name="T78" fmla="*/ 23 w 365"/>
                <a:gd name="T79" fmla="*/ 99 h 329"/>
                <a:gd name="T80" fmla="*/ 5 w 365"/>
                <a:gd name="T81" fmla="*/ 99 h 329"/>
                <a:gd name="T82" fmla="*/ 1 w 365"/>
                <a:gd name="T83" fmla="*/ 98 h 329"/>
                <a:gd name="T84" fmla="*/ 20 w 365"/>
                <a:gd name="T85" fmla="*/ 88 h 329"/>
                <a:gd name="T86" fmla="*/ 56 w 365"/>
                <a:gd name="T87" fmla="*/ 68 h 329"/>
                <a:gd name="T88" fmla="*/ 83 w 365"/>
                <a:gd name="T89" fmla="*/ 54 h 329"/>
                <a:gd name="T90" fmla="*/ 93 w 365"/>
                <a:gd name="T91" fmla="*/ 50 h 329"/>
                <a:gd name="T92" fmla="*/ 96 w 365"/>
                <a:gd name="T93" fmla="*/ 50 h 329"/>
                <a:gd name="T94" fmla="*/ 95 w 365"/>
                <a:gd name="T95" fmla="*/ 49 h 329"/>
                <a:gd name="T96" fmla="*/ 86 w 365"/>
                <a:gd name="T97" fmla="*/ 50 h 329"/>
                <a:gd name="T98" fmla="*/ 65 w 365"/>
                <a:gd name="T99" fmla="*/ 50 h 329"/>
                <a:gd name="T100" fmla="*/ 51 w 365"/>
                <a:gd name="T101" fmla="*/ 50 h 329"/>
                <a:gd name="T102" fmla="*/ 56 w 365"/>
                <a:gd name="T103" fmla="*/ 48 h 329"/>
                <a:gd name="T104" fmla="*/ 80 w 365"/>
                <a:gd name="T105" fmla="*/ 36 h 329"/>
                <a:gd name="T106" fmla="*/ 123 w 365"/>
                <a:gd name="T107" fmla="*/ 24 h 329"/>
                <a:gd name="T108" fmla="*/ 159 w 365"/>
                <a:gd name="T109" fmla="*/ 22 h 329"/>
                <a:gd name="T110" fmla="*/ 177 w 365"/>
                <a:gd name="T111" fmla="*/ 27 h 329"/>
                <a:gd name="T112" fmla="*/ 173 w 365"/>
                <a:gd name="T113" fmla="*/ 22 h 329"/>
                <a:gd name="T114" fmla="*/ 163 w 365"/>
                <a:gd name="T115" fmla="*/ 9 h 329"/>
                <a:gd name="T116" fmla="*/ 156 w 365"/>
                <a:gd name="T1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329">
                  <a:moveTo>
                    <a:pt x="156" y="0"/>
                  </a:moveTo>
                  <a:lnTo>
                    <a:pt x="157" y="0"/>
                  </a:lnTo>
                  <a:lnTo>
                    <a:pt x="163" y="3"/>
                  </a:lnTo>
                  <a:lnTo>
                    <a:pt x="170" y="8"/>
                  </a:lnTo>
                  <a:lnTo>
                    <a:pt x="182" y="15"/>
                  </a:lnTo>
                  <a:lnTo>
                    <a:pt x="196" y="21"/>
                  </a:lnTo>
                  <a:lnTo>
                    <a:pt x="211" y="26"/>
                  </a:lnTo>
                  <a:lnTo>
                    <a:pt x="228" y="30"/>
                  </a:lnTo>
                  <a:lnTo>
                    <a:pt x="246" y="36"/>
                  </a:lnTo>
                  <a:lnTo>
                    <a:pt x="267" y="47"/>
                  </a:lnTo>
                  <a:lnTo>
                    <a:pt x="292" y="61"/>
                  </a:lnTo>
                  <a:lnTo>
                    <a:pt x="313" y="74"/>
                  </a:lnTo>
                  <a:lnTo>
                    <a:pt x="329" y="84"/>
                  </a:lnTo>
                  <a:lnTo>
                    <a:pt x="341" y="90"/>
                  </a:lnTo>
                  <a:lnTo>
                    <a:pt x="346" y="98"/>
                  </a:lnTo>
                  <a:lnTo>
                    <a:pt x="351" y="111"/>
                  </a:lnTo>
                  <a:lnTo>
                    <a:pt x="355" y="129"/>
                  </a:lnTo>
                  <a:lnTo>
                    <a:pt x="360" y="149"/>
                  </a:lnTo>
                  <a:lnTo>
                    <a:pt x="364" y="170"/>
                  </a:lnTo>
                  <a:lnTo>
                    <a:pt x="365" y="190"/>
                  </a:lnTo>
                  <a:lnTo>
                    <a:pt x="365" y="207"/>
                  </a:lnTo>
                  <a:lnTo>
                    <a:pt x="364" y="213"/>
                  </a:lnTo>
                  <a:lnTo>
                    <a:pt x="361" y="226"/>
                  </a:lnTo>
                  <a:lnTo>
                    <a:pt x="358" y="243"/>
                  </a:lnTo>
                  <a:lnTo>
                    <a:pt x="352" y="261"/>
                  </a:lnTo>
                  <a:lnTo>
                    <a:pt x="347" y="280"/>
                  </a:lnTo>
                  <a:lnTo>
                    <a:pt x="342" y="298"/>
                  </a:lnTo>
                  <a:lnTo>
                    <a:pt x="338" y="314"/>
                  </a:lnTo>
                  <a:lnTo>
                    <a:pt x="335" y="325"/>
                  </a:lnTo>
                  <a:lnTo>
                    <a:pt x="333" y="329"/>
                  </a:lnTo>
                  <a:lnTo>
                    <a:pt x="333" y="311"/>
                  </a:lnTo>
                  <a:lnTo>
                    <a:pt x="333" y="290"/>
                  </a:lnTo>
                  <a:lnTo>
                    <a:pt x="333" y="269"/>
                  </a:lnTo>
                  <a:lnTo>
                    <a:pt x="331" y="244"/>
                  </a:lnTo>
                  <a:lnTo>
                    <a:pt x="328" y="222"/>
                  </a:lnTo>
                  <a:lnTo>
                    <a:pt x="322" y="202"/>
                  </a:lnTo>
                  <a:lnTo>
                    <a:pt x="314" y="184"/>
                  </a:lnTo>
                  <a:lnTo>
                    <a:pt x="302" y="170"/>
                  </a:lnTo>
                  <a:lnTo>
                    <a:pt x="300" y="171"/>
                  </a:lnTo>
                  <a:lnTo>
                    <a:pt x="292" y="175"/>
                  </a:lnTo>
                  <a:lnTo>
                    <a:pt x="281" y="180"/>
                  </a:lnTo>
                  <a:lnTo>
                    <a:pt x="265" y="185"/>
                  </a:lnTo>
                  <a:lnTo>
                    <a:pt x="249" y="192"/>
                  </a:lnTo>
                  <a:lnTo>
                    <a:pt x="231" y="198"/>
                  </a:lnTo>
                  <a:lnTo>
                    <a:pt x="214" y="203"/>
                  </a:lnTo>
                  <a:lnTo>
                    <a:pt x="197" y="206"/>
                  </a:lnTo>
                  <a:lnTo>
                    <a:pt x="183" y="207"/>
                  </a:lnTo>
                  <a:lnTo>
                    <a:pt x="173" y="206"/>
                  </a:lnTo>
                  <a:lnTo>
                    <a:pt x="160" y="203"/>
                  </a:lnTo>
                  <a:lnTo>
                    <a:pt x="146" y="198"/>
                  </a:lnTo>
                  <a:lnTo>
                    <a:pt x="131" y="193"/>
                  </a:lnTo>
                  <a:lnTo>
                    <a:pt x="116" y="186"/>
                  </a:lnTo>
                  <a:lnTo>
                    <a:pt x="101" y="183"/>
                  </a:lnTo>
                  <a:lnTo>
                    <a:pt x="88" y="179"/>
                  </a:lnTo>
                  <a:lnTo>
                    <a:pt x="75" y="178"/>
                  </a:lnTo>
                  <a:lnTo>
                    <a:pt x="66" y="180"/>
                  </a:lnTo>
                  <a:lnTo>
                    <a:pt x="59" y="185"/>
                  </a:lnTo>
                  <a:lnTo>
                    <a:pt x="55" y="195"/>
                  </a:lnTo>
                  <a:lnTo>
                    <a:pt x="51" y="220"/>
                  </a:lnTo>
                  <a:lnTo>
                    <a:pt x="50" y="242"/>
                  </a:lnTo>
                  <a:lnTo>
                    <a:pt x="48" y="263"/>
                  </a:lnTo>
                  <a:lnTo>
                    <a:pt x="48" y="289"/>
                  </a:lnTo>
                  <a:lnTo>
                    <a:pt x="50" y="320"/>
                  </a:lnTo>
                  <a:lnTo>
                    <a:pt x="45" y="310"/>
                  </a:lnTo>
                  <a:lnTo>
                    <a:pt x="41" y="294"/>
                  </a:lnTo>
                  <a:lnTo>
                    <a:pt x="36" y="275"/>
                  </a:lnTo>
                  <a:lnTo>
                    <a:pt x="30" y="253"/>
                  </a:lnTo>
                  <a:lnTo>
                    <a:pt x="25" y="230"/>
                  </a:lnTo>
                  <a:lnTo>
                    <a:pt x="20" y="207"/>
                  </a:lnTo>
                  <a:lnTo>
                    <a:pt x="18" y="185"/>
                  </a:lnTo>
                  <a:lnTo>
                    <a:pt x="15" y="167"/>
                  </a:lnTo>
                  <a:lnTo>
                    <a:pt x="15" y="152"/>
                  </a:lnTo>
                  <a:lnTo>
                    <a:pt x="15" y="143"/>
                  </a:lnTo>
                  <a:lnTo>
                    <a:pt x="21" y="129"/>
                  </a:lnTo>
                  <a:lnTo>
                    <a:pt x="25" y="116"/>
                  </a:lnTo>
                  <a:lnTo>
                    <a:pt x="29" y="107"/>
                  </a:lnTo>
                  <a:lnTo>
                    <a:pt x="32" y="102"/>
                  </a:lnTo>
                  <a:lnTo>
                    <a:pt x="33" y="99"/>
                  </a:lnTo>
                  <a:lnTo>
                    <a:pt x="30" y="99"/>
                  </a:lnTo>
                  <a:lnTo>
                    <a:pt x="23" y="99"/>
                  </a:lnTo>
                  <a:lnTo>
                    <a:pt x="12" y="99"/>
                  </a:lnTo>
                  <a:lnTo>
                    <a:pt x="5" y="99"/>
                  </a:lnTo>
                  <a:lnTo>
                    <a:pt x="0" y="99"/>
                  </a:lnTo>
                  <a:lnTo>
                    <a:pt x="1" y="98"/>
                  </a:lnTo>
                  <a:lnTo>
                    <a:pt x="7" y="94"/>
                  </a:lnTo>
                  <a:lnTo>
                    <a:pt x="20" y="88"/>
                  </a:lnTo>
                  <a:lnTo>
                    <a:pt x="36" y="80"/>
                  </a:lnTo>
                  <a:lnTo>
                    <a:pt x="56" y="68"/>
                  </a:lnTo>
                  <a:lnTo>
                    <a:pt x="72" y="59"/>
                  </a:lnTo>
                  <a:lnTo>
                    <a:pt x="83" y="54"/>
                  </a:lnTo>
                  <a:lnTo>
                    <a:pt x="89" y="50"/>
                  </a:lnTo>
                  <a:lnTo>
                    <a:pt x="93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5" y="49"/>
                  </a:lnTo>
                  <a:lnTo>
                    <a:pt x="93" y="50"/>
                  </a:lnTo>
                  <a:lnTo>
                    <a:pt x="86" y="50"/>
                  </a:lnTo>
                  <a:lnTo>
                    <a:pt x="75" y="50"/>
                  </a:lnTo>
                  <a:lnTo>
                    <a:pt x="65" y="50"/>
                  </a:lnTo>
                  <a:lnTo>
                    <a:pt x="56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6" y="48"/>
                  </a:lnTo>
                  <a:lnTo>
                    <a:pt x="65" y="43"/>
                  </a:lnTo>
                  <a:lnTo>
                    <a:pt x="80" y="36"/>
                  </a:lnTo>
                  <a:lnTo>
                    <a:pt x="100" y="29"/>
                  </a:lnTo>
                  <a:lnTo>
                    <a:pt x="123" y="24"/>
                  </a:lnTo>
                  <a:lnTo>
                    <a:pt x="142" y="22"/>
                  </a:lnTo>
                  <a:lnTo>
                    <a:pt x="159" y="22"/>
                  </a:lnTo>
                  <a:lnTo>
                    <a:pt x="170" y="25"/>
                  </a:lnTo>
                  <a:lnTo>
                    <a:pt x="177" y="27"/>
                  </a:lnTo>
                  <a:lnTo>
                    <a:pt x="177" y="26"/>
                  </a:lnTo>
                  <a:lnTo>
                    <a:pt x="173" y="22"/>
                  </a:lnTo>
                  <a:lnTo>
                    <a:pt x="168" y="16"/>
                  </a:lnTo>
                  <a:lnTo>
                    <a:pt x="163" y="9"/>
                  </a:lnTo>
                  <a:lnTo>
                    <a:pt x="159" y="4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6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1" name="Freeform 1395"/>
            <p:cNvSpPr>
              <a:spLocks/>
            </p:cNvSpPr>
            <p:nvPr/>
          </p:nvSpPr>
          <p:spPr bwMode="auto">
            <a:xfrm>
              <a:off x="-3187700" y="892175"/>
              <a:ext cx="157163" cy="33338"/>
            </a:xfrm>
            <a:custGeom>
              <a:avLst/>
              <a:gdLst>
                <a:gd name="T0" fmla="*/ 67 w 99"/>
                <a:gd name="T1" fmla="*/ 0 h 21"/>
                <a:gd name="T2" fmla="*/ 82 w 99"/>
                <a:gd name="T3" fmla="*/ 1 h 21"/>
                <a:gd name="T4" fmla="*/ 91 w 99"/>
                <a:gd name="T5" fmla="*/ 3 h 21"/>
                <a:gd name="T6" fmla="*/ 96 w 99"/>
                <a:gd name="T7" fmla="*/ 6 h 21"/>
                <a:gd name="T8" fmla="*/ 97 w 99"/>
                <a:gd name="T9" fmla="*/ 9 h 21"/>
                <a:gd name="T10" fmla="*/ 99 w 99"/>
                <a:gd name="T11" fmla="*/ 11 h 21"/>
                <a:gd name="T12" fmla="*/ 97 w 99"/>
                <a:gd name="T13" fmla="*/ 14 h 21"/>
                <a:gd name="T14" fmla="*/ 96 w 99"/>
                <a:gd name="T15" fmla="*/ 16 h 21"/>
                <a:gd name="T16" fmla="*/ 92 w 99"/>
                <a:gd name="T17" fmla="*/ 18 h 21"/>
                <a:gd name="T18" fmla="*/ 90 w 99"/>
                <a:gd name="T19" fmla="*/ 18 h 21"/>
                <a:gd name="T20" fmla="*/ 86 w 99"/>
                <a:gd name="T21" fmla="*/ 19 h 21"/>
                <a:gd name="T22" fmla="*/ 72 w 99"/>
                <a:gd name="T23" fmla="*/ 19 h 21"/>
                <a:gd name="T24" fmla="*/ 60 w 99"/>
                <a:gd name="T25" fmla="*/ 19 h 21"/>
                <a:gd name="T26" fmla="*/ 51 w 99"/>
                <a:gd name="T27" fmla="*/ 18 h 21"/>
                <a:gd name="T28" fmla="*/ 41 w 99"/>
                <a:gd name="T29" fmla="*/ 18 h 21"/>
                <a:gd name="T30" fmla="*/ 27 w 99"/>
                <a:gd name="T31" fmla="*/ 19 h 21"/>
                <a:gd name="T32" fmla="*/ 9 w 99"/>
                <a:gd name="T33" fmla="*/ 21 h 21"/>
                <a:gd name="T34" fmla="*/ 5 w 99"/>
                <a:gd name="T35" fmla="*/ 21 h 21"/>
                <a:gd name="T36" fmla="*/ 2 w 99"/>
                <a:gd name="T37" fmla="*/ 20 h 21"/>
                <a:gd name="T38" fmla="*/ 1 w 99"/>
                <a:gd name="T39" fmla="*/ 19 h 21"/>
                <a:gd name="T40" fmla="*/ 0 w 99"/>
                <a:gd name="T41" fmla="*/ 16 h 21"/>
                <a:gd name="T42" fmla="*/ 1 w 99"/>
                <a:gd name="T43" fmla="*/ 14 h 21"/>
                <a:gd name="T44" fmla="*/ 4 w 99"/>
                <a:gd name="T45" fmla="*/ 10 h 21"/>
                <a:gd name="T46" fmla="*/ 8 w 99"/>
                <a:gd name="T47" fmla="*/ 7 h 21"/>
                <a:gd name="T48" fmla="*/ 18 w 99"/>
                <a:gd name="T49" fmla="*/ 3 h 21"/>
                <a:gd name="T50" fmla="*/ 32 w 99"/>
                <a:gd name="T51" fmla="*/ 1 h 21"/>
                <a:gd name="T52" fmla="*/ 50 w 99"/>
                <a:gd name="T53" fmla="*/ 0 h 21"/>
                <a:gd name="T54" fmla="*/ 67 w 99"/>
                <a:gd name="T5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9" h="21">
                  <a:moveTo>
                    <a:pt x="67" y="0"/>
                  </a:moveTo>
                  <a:lnTo>
                    <a:pt x="82" y="1"/>
                  </a:lnTo>
                  <a:lnTo>
                    <a:pt x="91" y="3"/>
                  </a:lnTo>
                  <a:lnTo>
                    <a:pt x="96" y="6"/>
                  </a:lnTo>
                  <a:lnTo>
                    <a:pt x="97" y="9"/>
                  </a:lnTo>
                  <a:lnTo>
                    <a:pt x="99" y="11"/>
                  </a:lnTo>
                  <a:lnTo>
                    <a:pt x="97" y="14"/>
                  </a:lnTo>
                  <a:lnTo>
                    <a:pt x="96" y="16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86" y="19"/>
                  </a:lnTo>
                  <a:lnTo>
                    <a:pt x="72" y="19"/>
                  </a:lnTo>
                  <a:lnTo>
                    <a:pt x="60" y="19"/>
                  </a:lnTo>
                  <a:lnTo>
                    <a:pt x="51" y="18"/>
                  </a:lnTo>
                  <a:lnTo>
                    <a:pt x="41" y="18"/>
                  </a:lnTo>
                  <a:lnTo>
                    <a:pt x="27" y="19"/>
                  </a:lnTo>
                  <a:lnTo>
                    <a:pt x="9" y="21"/>
                  </a:lnTo>
                  <a:lnTo>
                    <a:pt x="5" y="21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4" y="10"/>
                  </a:lnTo>
                  <a:lnTo>
                    <a:pt x="8" y="7"/>
                  </a:lnTo>
                  <a:lnTo>
                    <a:pt x="18" y="3"/>
                  </a:lnTo>
                  <a:lnTo>
                    <a:pt x="32" y="1"/>
                  </a:lnTo>
                  <a:lnTo>
                    <a:pt x="50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6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2" name="Freeform 1396"/>
            <p:cNvSpPr>
              <a:spLocks/>
            </p:cNvSpPr>
            <p:nvPr/>
          </p:nvSpPr>
          <p:spPr bwMode="auto">
            <a:xfrm>
              <a:off x="-2936875" y="892175"/>
              <a:ext cx="150813" cy="33338"/>
            </a:xfrm>
            <a:custGeom>
              <a:avLst/>
              <a:gdLst>
                <a:gd name="T0" fmla="*/ 29 w 95"/>
                <a:gd name="T1" fmla="*/ 0 h 21"/>
                <a:gd name="T2" fmla="*/ 46 w 95"/>
                <a:gd name="T3" fmla="*/ 0 h 21"/>
                <a:gd name="T4" fmla="*/ 64 w 95"/>
                <a:gd name="T5" fmla="*/ 1 h 21"/>
                <a:gd name="T6" fmla="*/ 78 w 95"/>
                <a:gd name="T7" fmla="*/ 3 h 21"/>
                <a:gd name="T8" fmla="*/ 88 w 95"/>
                <a:gd name="T9" fmla="*/ 7 h 21"/>
                <a:gd name="T10" fmla="*/ 92 w 95"/>
                <a:gd name="T11" fmla="*/ 10 h 21"/>
                <a:gd name="T12" fmla="*/ 93 w 95"/>
                <a:gd name="T13" fmla="*/ 14 h 21"/>
                <a:gd name="T14" fmla="*/ 95 w 95"/>
                <a:gd name="T15" fmla="*/ 16 h 21"/>
                <a:gd name="T16" fmla="*/ 95 w 95"/>
                <a:gd name="T17" fmla="*/ 19 h 21"/>
                <a:gd name="T18" fmla="*/ 93 w 95"/>
                <a:gd name="T19" fmla="*/ 20 h 21"/>
                <a:gd name="T20" fmla="*/ 91 w 95"/>
                <a:gd name="T21" fmla="*/ 21 h 21"/>
                <a:gd name="T22" fmla="*/ 87 w 95"/>
                <a:gd name="T23" fmla="*/ 21 h 21"/>
                <a:gd name="T24" fmla="*/ 69 w 95"/>
                <a:gd name="T25" fmla="*/ 19 h 21"/>
                <a:gd name="T26" fmla="*/ 56 w 95"/>
                <a:gd name="T27" fmla="*/ 18 h 21"/>
                <a:gd name="T28" fmla="*/ 46 w 95"/>
                <a:gd name="T29" fmla="*/ 18 h 21"/>
                <a:gd name="T30" fmla="*/ 37 w 95"/>
                <a:gd name="T31" fmla="*/ 19 h 21"/>
                <a:gd name="T32" fmla="*/ 27 w 95"/>
                <a:gd name="T33" fmla="*/ 19 h 21"/>
                <a:gd name="T34" fmla="*/ 12 w 95"/>
                <a:gd name="T35" fmla="*/ 19 h 21"/>
                <a:gd name="T36" fmla="*/ 9 w 95"/>
                <a:gd name="T37" fmla="*/ 18 h 21"/>
                <a:gd name="T38" fmla="*/ 5 w 95"/>
                <a:gd name="T39" fmla="*/ 18 h 21"/>
                <a:gd name="T40" fmla="*/ 2 w 95"/>
                <a:gd name="T41" fmla="*/ 16 h 21"/>
                <a:gd name="T42" fmla="*/ 1 w 95"/>
                <a:gd name="T43" fmla="*/ 14 h 21"/>
                <a:gd name="T44" fmla="*/ 0 w 95"/>
                <a:gd name="T45" fmla="*/ 11 h 21"/>
                <a:gd name="T46" fmla="*/ 0 w 95"/>
                <a:gd name="T47" fmla="*/ 9 h 21"/>
                <a:gd name="T48" fmla="*/ 2 w 95"/>
                <a:gd name="T49" fmla="*/ 6 h 21"/>
                <a:gd name="T50" fmla="*/ 6 w 95"/>
                <a:gd name="T51" fmla="*/ 3 h 21"/>
                <a:gd name="T52" fmla="*/ 15 w 95"/>
                <a:gd name="T53" fmla="*/ 1 h 21"/>
                <a:gd name="T54" fmla="*/ 29 w 95"/>
                <a:gd name="T5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21">
                  <a:moveTo>
                    <a:pt x="29" y="0"/>
                  </a:moveTo>
                  <a:lnTo>
                    <a:pt x="46" y="0"/>
                  </a:lnTo>
                  <a:lnTo>
                    <a:pt x="64" y="1"/>
                  </a:lnTo>
                  <a:lnTo>
                    <a:pt x="78" y="3"/>
                  </a:lnTo>
                  <a:lnTo>
                    <a:pt x="88" y="7"/>
                  </a:lnTo>
                  <a:lnTo>
                    <a:pt x="92" y="10"/>
                  </a:lnTo>
                  <a:lnTo>
                    <a:pt x="93" y="14"/>
                  </a:lnTo>
                  <a:lnTo>
                    <a:pt x="95" y="16"/>
                  </a:lnTo>
                  <a:lnTo>
                    <a:pt x="95" y="19"/>
                  </a:lnTo>
                  <a:lnTo>
                    <a:pt x="93" y="20"/>
                  </a:lnTo>
                  <a:lnTo>
                    <a:pt x="91" y="21"/>
                  </a:lnTo>
                  <a:lnTo>
                    <a:pt x="87" y="21"/>
                  </a:lnTo>
                  <a:lnTo>
                    <a:pt x="69" y="19"/>
                  </a:lnTo>
                  <a:lnTo>
                    <a:pt x="56" y="18"/>
                  </a:lnTo>
                  <a:lnTo>
                    <a:pt x="46" y="18"/>
                  </a:lnTo>
                  <a:lnTo>
                    <a:pt x="37" y="19"/>
                  </a:lnTo>
                  <a:lnTo>
                    <a:pt x="27" y="19"/>
                  </a:lnTo>
                  <a:lnTo>
                    <a:pt x="12" y="1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6"/>
                  </a:lnTo>
                  <a:lnTo>
                    <a:pt x="6" y="3"/>
                  </a:lnTo>
                  <a:lnTo>
                    <a:pt x="15" y="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3" name="Freeform 1397"/>
            <p:cNvSpPr>
              <a:spLocks/>
            </p:cNvSpPr>
            <p:nvPr/>
          </p:nvSpPr>
          <p:spPr bwMode="auto">
            <a:xfrm>
              <a:off x="-3152775" y="936625"/>
              <a:ext cx="107950" cy="42863"/>
            </a:xfrm>
            <a:custGeom>
              <a:avLst/>
              <a:gdLst>
                <a:gd name="T0" fmla="*/ 32 w 68"/>
                <a:gd name="T1" fmla="*/ 0 h 27"/>
                <a:gd name="T2" fmla="*/ 38 w 68"/>
                <a:gd name="T3" fmla="*/ 1 h 27"/>
                <a:gd name="T4" fmla="*/ 47 w 68"/>
                <a:gd name="T5" fmla="*/ 2 h 27"/>
                <a:gd name="T6" fmla="*/ 56 w 68"/>
                <a:gd name="T7" fmla="*/ 4 h 27"/>
                <a:gd name="T8" fmla="*/ 64 w 68"/>
                <a:gd name="T9" fmla="*/ 8 h 27"/>
                <a:gd name="T10" fmla="*/ 68 w 68"/>
                <a:gd name="T11" fmla="*/ 11 h 27"/>
                <a:gd name="T12" fmla="*/ 64 w 68"/>
                <a:gd name="T13" fmla="*/ 15 h 27"/>
                <a:gd name="T14" fmla="*/ 56 w 68"/>
                <a:gd name="T15" fmla="*/ 20 h 27"/>
                <a:gd name="T16" fmla="*/ 45 w 68"/>
                <a:gd name="T17" fmla="*/ 25 h 27"/>
                <a:gd name="T18" fmla="*/ 32 w 68"/>
                <a:gd name="T19" fmla="*/ 27 h 27"/>
                <a:gd name="T20" fmla="*/ 21 w 68"/>
                <a:gd name="T21" fmla="*/ 25 h 27"/>
                <a:gd name="T22" fmla="*/ 11 w 68"/>
                <a:gd name="T23" fmla="*/ 22 h 27"/>
                <a:gd name="T24" fmla="*/ 3 w 68"/>
                <a:gd name="T25" fmla="*/ 18 h 27"/>
                <a:gd name="T26" fmla="*/ 0 w 68"/>
                <a:gd name="T27" fmla="*/ 14 h 27"/>
                <a:gd name="T28" fmla="*/ 0 w 68"/>
                <a:gd name="T29" fmla="*/ 14 h 27"/>
                <a:gd name="T30" fmla="*/ 0 w 68"/>
                <a:gd name="T31" fmla="*/ 11 h 27"/>
                <a:gd name="T32" fmla="*/ 1 w 68"/>
                <a:gd name="T33" fmla="*/ 10 h 27"/>
                <a:gd name="T34" fmla="*/ 2 w 68"/>
                <a:gd name="T35" fmla="*/ 8 h 27"/>
                <a:gd name="T36" fmla="*/ 9 w 68"/>
                <a:gd name="T37" fmla="*/ 4 h 27"/>
                <a:gd name="T38" fmla="*/ 18 w 68"/>
                <a:gd name="T39" fmla="*/ 1 h 27"/>
                <a:gd name="T40" fmla="*/ 32 w 68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27">
                  <a:moveTo>
                    <a:pt x="32" y="0"/>
                  </a:moveTo>
                  <a:lnTo>
                    <a:pt x="38" y="1"/>
                  </a:lnTo>
                  <a:lnTo>
                    <a:pt x="47" y="2"/>
                  </a:lnTo>
                  <a:lnTo>
                    <a:pt x="56" y="4"/>
                  </a:lnTo>
                  <a:lnTo>
                    <a:pt x="64" y="8"/>
                  </a:lnTo>
                  <a:lnTo>
                    <a:pt x="68" y="11"/>
                  </a:lnTo>
                  <a:lnTo>
                    <a:pt x="64" y="15"/>
                  </a:lnTo>
                  <a:lnTo>
                    <a:pt x="56" y="20"/>
                  </a:lnTo>
                  <a:lnTo>
                    <a:pt x="45" y="25"/>
                  </a:lnTo>
                  <a:lnTo>
                    <a:pt x="32" y="27"/>
                  </a:lnTo>
                  <a:lnTo>
                    <a:pt x="21" y="25"/>
                  </a:lnTo>
                  <a:lnTo>
                    <a:pt x="11" y="22"/>
                  </a:lnTo>
                  <a:lnTo>
                    <a:pt x="3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2" y="8"/>
                  </a:lnTo>
                  <a:lnTo>
                    <a:pt x="9" y="4"/>
                  </a:lnTo>
                  <a:lnTo>
                    <a:pt x="18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4" name="Freeform 1398"/>
            <p:cNvSpPr>
              <a:spLocks/>
            </p:cNvSpPr>
            <p:nvPr/>
          </p:nvSpPr>
          <p:spPr bwMode="auto">
            <a:xfrm>
              <a:off x="-3121025" y="936625"/>
              <a:ext cx="42863" cy="42863"/>
            </a:xfrm>
            <a:custGeom>
              <a:avLst/>
              <a:gdLst>
                <a:gd name="T0" fmla="*/ 14 w 27"/>
                <a:gd name="T1" fmla="*/ 0 h 27"/>
                <a:gd name="T2" fmla="*/ 18 w 27"/>
                <a:gd name="T3" fmla="*/ 1 h 27"/>
                <a:gd name="T4" fmla="*/ 22 w 27"/>
                <a:gd name="T5" fmla="*/ 2 h 27"/>
                <a:gd name="T6" fmla="*/ 25 w 27"/>
                <a:gd name="T7" fmla="*/ 6 h 27"/>
                <a:gd name="T8" fmla="*/ 27 w 27"/>
                <a:gd name="T9" fmla="*/ 10 h 27"/>
                <a:gd name="T10" fmla="*/ 27 w 27"/>
                <a:gd name="T11" fmla="*/ 14 h 27"/>
                <a:gd name="T12" fmla="*/ 26 w 27"/>
                <a:gd name="T13" fmla="*/ 18 h 27"/>
                <a:gd name="T14" fmla="*/ 25 w 27"/>
                <a:gd name="T15" fmla="*/ 22 h 27"/>
                <a:gd name="T16" fmla="*/ 22 w 27"/>
                <a:gd name="T17" fmla="*/ 24 h 27"/>
                <a:gd name="T18" fmla="*/ 18 w 27"/>
                <a:gd name="T19" fmla="*/ 27 h 27"/>
                <a:gd name="T20" fmla="*/ 13 w 27"/>
                <a:gd name="T21" fmla="*/ 27 h 27"/>
                <a:gd name="T22" fmla="*/ 9 w 27"/>
                <a:gd name="T23" fmla="*/ 25 h 27"/>
                <a:gd name="T24" fmla="*/ 5 w 27"/>
                <a:gd name="T25" fmla="*/ 24 h 27"/>
                <a:gd name="T26" fmla="*/ 3 w 27"/>
                <a:gd name="T27" fmla="*/ 20 h 27"/>
                <a:gd name="T28" fmla="*/ 1 w 27"/>
                <a:gd name="T29" fmla="*/ 17 h 27"/>
                <a:gd name="T30" fmla="*/ 0 w 27"/>
                <a:gd name="T31" fmla="*/ 13 h 27"/>
                <a:gd name="T32" fmla="*/ 1 w 27"/>
                <a:gd name="T33" fmla="*/ 9 h 27"/>
                <a:gd name="T34" fmla="*/ 3 w 27"/>
                <a:gd name="T35" fmla="*/ 5 h 27"/>
                <a:gd name="T36" fmla="*/ 7 w 27"/>
                <a:gd name="T37" fmla="*/ 2 h 27"/>
                <a:gd name="T38" fmla="*/ 10 w 27"/>
                <a:gd name="T39" fmla="*/ 0 h 27"/>
                <a:gd name="T40" fmla="*/ 14 w 27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7">
                  <a:moveTo>
                    <a:pt x="14" y="0"/>
                  </a:moveTo>
                  <a:lnTo>
                    <a:pt x="18" y="1"/>
                  </a:lnTo>
                  <a:lnTo>
                    <a:pt x="22" y="2"/>
                  </a:lnTo>
                  <a:lnTo>
                    <a:pt x="25" y="6"/>
                  </a:lnTo>
                  <a:lnTo>
                    <a:pt x="27" y="10"/>
                  </a:lnTo>
                  <a:lnTo>
                    <a:pt x="27" y="14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2" y="24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5"/>
                  </a:lnTo>
                  <a:lnTo>
                    <a:pt x="5" y="24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1" y="9"/>
                  </a:lnTo>
                  <a:lnTo>
                    <a:pt x="3" y="5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37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5" name="Freeform 1399"/>
            <p:cNvSpPr>
              <a:spLocks/>
            </p:cNvSpPr>
            <p:nvPr/>
          </p:nvSpPr>
          <p:spPr bwMode="auto">
            <a:xfrm>
              <a:off x="-3098800" y="942975"/>
              <a:ext cx="14288" cy="14288"/>
            </a:xfrm>
            <a:custGeom>
              <a:avLst/>
              <a:gdLst>
                <a:gd name="T0" fmla="*/ 5 w 9"/>
                <a:gd name="T1" fmla="*/ 0 h 9"/>
                <a:gd name="T2" fmla="*/ 8 w 9"/>
                <a:gd name="T3" fmla="*/ 1 h 9"/>
                <a:gd name="T4" fmla="*/ 9 w 9"/>
                <a:gd name="T5" fmla="*/ 2 h 9"/>
                <a:gd name="T6" fmla="*/ 9 w 9"/>
                <a:gd name="T7" fmla="*/ 5 h 9"/>
                <a:gd name="T8" fmla="*/ 9 w 9"/>
                <a:gd name="T9" fmla="*/ 6 h 9"/>
                <a:gd name="T10" fmla="*/ 8 w 9"/>
                <a:gd name="T11" fmla="*/ 7 h 9"/>
                <a:gd name="T12" fmla="*/ 5 w 9"/>
                <a:gd name="T13" fmla="*/ 9 h 9"/>
                <a:gd name="T14" fmla="*/ 3 w 9"/>
                <a:gd name="T15" fmla="*/ 7 h 9"/>
                <a:gd name="T16" fmla="*/ 2 w 9"/>
                <a:gd name="T17" fmla="*/ 6 h 9"/>
                <a:gd name="T18" fmla="*/ 0 w 9"/>
                <a:gd name="T19" fmla="*/ 4 h 9"/>
                <a:gd name="T20" fmla="*/ 2 w 9"/>
                <a:gd name="T21" fmla="*/ 2 h 9"/>
                <a:gd name="T22" fmla="*/ 3 w 9"/>
                <a:gd name="T23" fmla="*/ 0 h 9"/>
                <a:gd name="T24" fmla="*/ 5 w 9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8" y="1"/>
                  </a:lnTo>
                  <a:lnTo>
                    <a:pt x="9" y="2"/>
                  </a:lnTo>
                  <a:lnTo>
                    <a:pt x="9" y="5"/>
                  </a:lnTo>
                  <a:lnTo>
                    <a:pt x="9" y="6"/>
                  </a:lnTo>
                  <a:lnTo>
                    <a:pt x="8" y="7"/>
                  </a:lnTo>
                  <a:lnTo>
                    <a:pt x="5" y="9"/>
                  </a:lnTo>
                  <a:lnTo>
                    <a:pt x="3" y="7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6" name="Freeform 1400"/>
            <p:cNvSpPr>
              <a:spLocks/>
            </p:cNvSpPr>
            <p:nvPr/>
          </p:nvSpPr>
          <p:spPr bwMode="auto">
            <a:xfrm>
              <a:off x="-3151188" y="936625"/>
              <a:ext cx="103188" cy="14288"/>
            </a:xfrm>
            <a:custGeom>
              <a:avLst/>
              <a:gdLst>
                <a:gd name="T0" fmla="*/ 28 w 65"/>
                <a:gd name="T1" fmla="*/ 0 h 9"/>
                <a:gd name="T2" fmla="*/ 42 w 65"/>
                <a:gd name="T3" fmla="*/ 0 h 9"/>
                <a:gd name="T4" fmla="*/ 55 w 65"/>
                <a:gd name="T5" fmla="*/ 2 h 9"/>
                <a:gd name="T6" fmla="*/ 65 w 65"/>
                <a:gd name="T7" fmla="*/ 9 h 9"/>
                <a:gd name="T8" fmla="*/ 46 w 65"/>
                <a:gd name="T9" fmla="*/ 2 h 9"/>
                <a:gd name="T10" fmla="*/ 28 w 65"/>
                <a:gd name="T11" fmla="*/ 1 h 9"/>
                <a:gd name="T12" fmla="*/ 15 w 65"/>
                <a:gd name="T13" fmla="*/ 2 h 9"/>
                <a:gd name="T14" fmla="*/ 5 w 65"/>
                <a:gd name="T15" fmla="*/ 6 h 9"/>
                <a:gd name="T16" fmla="*/ 0 w 65"/>
                <a:gd name="T17" fmla="*/ 9 h 9"/>
                <a:gd name="T18" fmla="*/ 0 w 65"/>
                <a:gd name="T19" fmla="*/ 9 h 9"/>
                <a:gd name="T20" fmla="*/ 0 w 65"/>
                <a:gd name="T21" fmla="*/ 8 h 9"/>
                <a:gd name="T22" fmla="*/ 1 w 65"/>
                <a:gd name="T23" fmla="*/ 6 h 9"/>
                <a:gd name="T24" fmla="*/ 4 w 65"/>
                <a:gd name="T25" fmla="*/ 5 h 9"/>
                <a:gd name="T26" fmla="*/ 6 w 65"/>
                <a:gd name="T27" fmla="*/ 4 h 9"/>
                <a:gd name="T28" fmla="*/ 11 w 65"/>
                <a:gd name="T29" fmla="*/ 1 h 9"/>
                <a:gd name="T30" fmla="*/ 17 w 65"/>
                <a:gd name="T31" fmla="*/ 0 h 9"/>
                <a:gd name="T32" fmla="*/ 28 w 65"/>
                <a:gd name="T3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9">
                  <a:moveTo>
                    <a:pt x="28" y="0"/>
                  </a:moveTo>
                  <a:lnTo>
                    <a:pt x="42" y="0"/>
                  </a:lnTo>
                  <a:lnTo>
                    <a:pt x="55" y="2"/>
                  </a:lnTo>
                  <a:lnTo>
                    <a:pt x="65" y="9"/>
                  </a:lnTo>
                  <a:lnTo>
                    <a:pt x="46" y="2"/>
                  </a:lnTo>
                  <a:lnTo>
                    <a:pt x="28" y="1"/>
                  </a:lnTo>
                  <a:lnTo>
                    <a:pt x="15" y="2"/>
                  </a:lnTo>
                  <a:lnTo>
                    <a:pt x="5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4" y="5"/>
                  </a:lnTo>
                  <a:lnTo>
                    <a:pt x="6" y="4"/>
                  </a:lnTo>
                  <a:lnTo>
                    <a:pt x="11" y="1"/>
                  </a:lnTo>
                  <a:lnTo>
                    <a:pt x="1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7" name="Freeform 1401"/>
            <p:cNvSpPr>
              <a:spLocks/>
            </p:cNvSpPr>
            <p:nvPr/>
          </p:nvSpPr>
          <p:spPr bwMode="auto">
            <a:xfrm>
              <a:off x="-2921000" y="939800"/>
              <a:ext cx="107950" cy="42863"/>
            </a:xfrm>
            <a:custGeom>
              <a:avLst/>
              <a:gdLst>
                <a:gd name="T0" fmla="*/ 32 w 68"/>
                <a:gd name="T1" fmla="*/ 0 h 27"/>
                <a:gd name="T2" fmla="*/ 38 w 68"/>
                <a:gd name="T3" fmla="*/ 0 h 27"/>
                <a:gd name="T4" fmla="*/ 47 w 68"/>
                <a:gd name="T5" fmla="*/ 2 h 27"/>
                <a:gd name="T6" fmla="*/ 58 w 68"/>
                <a:gd name="T7" fmla="*/ 4 h 27"/>
                <a:gd name="T8" fmla="*/ 65 w 68"/>
                <a:gd name="T9" fmla="*/ 7 h 27"/>
                <a:gd name="T10" fmla="*/ 68 w 68"/>
                <a:gd name="T11" fmla="*/ 11 h 27"/>
                <a:gd name="T12" fmla="*/ 65 w 68"/>
                <a:gd name="T13" fmla="*/ 16 h 27"/>
                <a:gd name="T14" fmla="*/ 58 w 68"/>
                <a:gd name="T15" fmla="*/ 21 h 27"/>
                <a:gd name="T16" fmla="*/ 46 w 68"/>
                <a:gd name="T17" fmla="*/ 25 h 27"/>
                <a:gd name="T18" fmla="*/ 33 w 68"/>
                <a:gd name="T19" fmla="*/ 27 h 27"/>
                <a:gd name="T20" fmla="*/ 23 w 68"/>
                <a:gd name="T21" fmla="*/ 26 h 27"/>
                <a:gd name="T22" fmla="*/ 13 w 68"/>
                <a:gd name="T23" fmla="*/ 22 h 27"/>
                <a:gd name="T24" fmla="*/ 4 w 68"/>
                <a:gd name="T25" fmla="*/ 18 h 27"/>
                <a:gd name="T26" fmla="*/ 0 w 68"/>
                <a:gd name="T27" fmla="*/ 15 h 27"/>
                <a:gd name="T28" fmla="*/ 0 w 68"/>
                <a:gd name="T29" fmla="*/ 13 h 27"/>
                <a:gd name="T30" fmla="*/ 1 w 68"/>
                <a:gd name="T31" fmla="*/ 12 h 27"/>
                <a:gd name="T32" fmla="*/ 1 w 68"/>
                <a:gd name="T33" fmla="*/ 9 h 27"/>
                <a:gd name="T34" fmla="*/ 2 w 68"/>
                <a:gd name="T35" fmla="*/ 7 h 27"/>
                <a:gd name="T36" fmla="*/ 9 w 68"/>
                <a:gd name="T37" fmla="*/ 3 h 27"/>
                <a:gd name="T38" fmla="*/ 19 w 68"/>
                <a:gd name="T39" fmla="*/ 0 h 27"/>
                <a:gd name="T40" fmla="*/ 32 w 68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27">
                  <a:moveTo>
                    <a:pt x="32" y="0"/>
                  </a:moveTo>
                  <a:lnTo>
                    <a:pt x="38" y="0"/>
                  </a:lnTo>
                  <a:lnTo>
                    <a:pt x="47" y="2"/>
                  </a:lnTo>
                  <a:lnTo>
                    <a:pt x="58" y="4"/>
                  </a:lnTo>
                  <a:lnTo>
                    <a:pt x="65" y="7"/>
                  </a:lnTo>
                  <a:lnTo>
                    <a:pt x="68" y="11"/>
                  </a:lnTo>
                  <a:lnTo>
                    <a:pt x="65" y="16"/>
                  </a:lnTo>
                  <a:lnTo>
                    <a:pt x="58" y="21"/>
                  </a:lnTo>
                  <a:lnTo>
                    <a:pt x="46" y="25"/>
                  </a:lnTo>
                  <a:lnTo>
                    <a:pt x="33" y="27"/>
                  </a:lnTo>
                  <a:lnTo>
                    <a:pt x="23" y="26"/>
                  </a:lnTo>
                  <a:lnTo>
                    <a:pt x="13" y="22"/>
                  </a:lnTo>
                  <a:lnTo>
                    <a:pt x="4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1" y="9"/>
                  </a:lnTo>
                  <a:lnTo>
                    <a:pt x="2" y="7"/>
                  </a:lnTo>
                  <a:lnTo>
                    <a:pt x="9" y="3"/>
                  </a:lnTo>
                  <a:lnTo>
                    <a:pt x="19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8" name="Freeform 1402"/>
            <p:cNvSpPr>
              <a:spLocks/>
            </p:cNvSpPr>
            <p:nvPr/>
          </p:nvSpPr>
          <p:spPr bwMode="auto">
            <a:xfrm>
              <a:off x="-2886075" y="938212"/>
              <a:ext cx="42863" cy="44450"/>
            </a:xfrm>
            <a:custGeom>
              <a:avLst/>
              <a:gdLst>
                <a:gd name="T0" fmla="*/ 14 w 27"/>
                <a:gd name="T1" fmla="*/ 0 h 28"/>
                <a:gd name="T2" fmla="*/ 18 w 27"/>
                <a:gd name="T3" fmla="*/ 1 h 28"/>
                <a:gd name="T4" fmla="*/ 22 w 27"/>
                <a:gd name="T5" fmla="*/ 4 h 28"/>
                <a:gd name="T6" fmla="*/ 24 w 27"/>
                <a:gd name="T7" fmla="*/ 7 h 28"/>
                <a:gd name="T8" fmla="*/ 25 w 27"/>
                <a:gd name="T9" fmla="*/ 10 h 28"/>
                <a:gd name="T10" fmla="*/ 27 w 27"/>
                <a:gd name="T11" fmla="*/ 14 h 28"/>
                <a:gd name="T12" fmla="*/ 25 w 27"/>
                <a:gd name="T13" fmla="*/ 19 h 28"/>
                <a:gd name="T14" fmla="*/ 23 w 27"/>
                <a:gd name="T15" fmla="*/ 23 h 28"/>
                <a:gd name="T16" fmla="*/ 20 w 27"/>
                <a:gd name="T17" fmla="*/ 26 h 28"/>
                <a:gd name="T18" fmla="*/ 16 w 27"/>
                <a:gd name="T19" fmla="*/ 27 h 28"/>
                <a:gd name="T20" fmla="*/ 13 w 27"/>
                <a:gd name="T21" fmla="*/ 28 h 28"/>
                <a:gd name="T22" fmla="*/ 9 w 27"/>
                <a:gd name="T23" fmla="*/ 27 h 28"/>
                <a:gd name="T24" fmla="*/ 5 w 27"/>
                <a:gd name="T25" fmla="*/ 24 h 28"/>
                <a:gd name="T26" fmla="*/ 2 w 27"/>
                <a:gd name="T27" fmla="*/ 22 h 28"/>
                <a:gd name="T28" fmla="*/ 0 w 27"/>
                <a:gd name="T29" fmla="*/ 18 h 28"/>
                <a:gd name="T30" fmla="*/ 0 w 27"/>
                <a:gd name="T31" fmla="*/ 14 h 28"/>
                <a:gd name="T32" fmla="*/ 0 w 27"/>
                <a:gd name="T33" fmla="*/ 9 h 28"/>
                <a:gd name="T34" fmla="*/ 2 w 27"/>
                <a:gd name="T35" fmla="*/ 5 h 28"/>
                <a:gd name="T36" fmla="*/ 5 w 27"/>
                <a:gd name="T37" fmla="*/ 3 h 28"/>
                <a:gd name="T38" fmla="*/ 9 w 27"/>
                <a:gd name="T39" fmla="*/ 1 h 28"/>
                <a:gd name="T40" fmla="*/ 14 w 27"/>
                <a:gd name="T4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8">
                  <a:moveTo>
                    <a:pt x="14" y="0"/>
                  </a:moveTo>
                  <a:lnTo>
                    <a:pt x="18" y="1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5" y="10"/>
                  </a:lnTo>
                  <a:lnTo>
                    <a:pt x="27" y="14"/>
                  </a:lnTo>
                  <a:lnTo>
                    <a:pt x="25" y="19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6" y="27"/>
                  </a:lnTo>
                  <a:lnTo>
                    <a:pt x="13" y="28"/>
                  </a:lnTo>
                  <a:lnTo>
                    <a:pt x="9" y="27"/>
                  </a:lnTo>
                  <a:lnTo>
                    <a:pt x="5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37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9" name="Freeform 1403"/>
            <p:cNvSpPr>
              <a:spLocks/>
            </p:cNvSpPr>
            <p:nvPr/>
          </p:nvSpPr>
          <p:spPr bwMode="auto">
            <a:xfrm>
              <a:off x="-2863850" y="946150"/>
              <a:ext cx="14288" cy="12700"/>
            </a:xfrm>
            <a:custGeom>
              <a:avLst/>
              <a:gdLst>
                <a:gd name="T0" fmla="*/ 4 w 9"/>
                <a:gd name="T1" fmla="*/ 0 h 8"/>
                <a:gd name="T2" fmla="*/ 6 w 9"/>
                <a:gd name="T3" fmla="*/ 0 h 8"/>
                <a:gd name="T4" fmla="*/ 9 w 9"/>
                <a:gd name="T5" fmla="*/ 2 h 8"/>
                <a:gd name="T6" fmla="*/ 9 w 9"/>
                <a:gd name="T7" fmla="*/ 4 h 8"/>
                <a:gd name="T8" fmla="*/ 9 w 9"/>
                <a:gd name="T9" fmla="*/ 7 h 8"/>
                <a:gd name="T10" fmla="*/ 6 w 9"/>
                <a:gd name="T11" fmla="*/ 8 h 8"/>
                <a:gd name="T12" fmla="*/ 4 w 9"/>
                <a:gd name="T13" fmla="*/ 8 h 8"/>
                <a:gd name="T14" fmla="*/ 1 w 9"/>
                <a:gd name="T15" fmla="*/ 8 h 8"/>
                <a:gd name="T16" fmla="*/ 0 w 9"/>
                <a:gd name="T17" fmla="*/ 5 h 8"/>
                <a:gd name="T18" fmla="*/ 0 w 9"/>
                <a:gd name="T19" fmla="*/ 4 h 8"/>
                <a:gd name="T20" fmla="*/ 0 w 9"/>
                <a:gd name="T21" fmla="*/ 2 h 8"/>
                <a:gd name="T22" fmla="*/ 2 w 9"/>
                <a:gd name="T23" fmla="*/ 0 h 8"/>
                <a:gd name="T24" fmla="*/ 4 w 9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8">
                  <a:moveTo>
                    <a:pt x="4" y="0"/>
                  </a:moveTo>
                  <a:lnTo>
                    <a:pt x="6" y="0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7"/>
                  </a:lnTo>
                  <a:lnTo>
                    <a:pt x="6" y="8"/>
                  </a:lnTo>
                  <a:lnTo>
                    <a:pt x="4" y="8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0" name="Freeform 1404"/>
            <p:cNvSpPr>
              <a:spLocks/>
            </p:cNvSpPr>
            <p:nvPr/>
          </p:nvSpPr>
          <p:spPr bwMode="auto">
            <a:xfrm>
              <a:off x="-2917825" y="938212"/>
              <a:ext cx="103188" cy="15875"/>
            </a:xfrm>
            <a:custGeom>
              <a:avLst/>
              <a:gdLst>
                <a:gd name="T0" fmla="*/ 29 w 65"/>
                <a:gd name="T1" fmla="*/ 0 h 10"/>
                <a:gd name="T2" fmla="*/ 43 w 65"/>
                <a:gd name="T3" fmla="*/ 1 h 10"/>
                <a:gd name="T4" fmla="*/ 56 w 65"/>
                <a:gd name="T5" fmla="*/ 4 h 10"/>
                <a:gd name="T6" fmla="*/ 65 w 65"/>
                <a:gd name="T7" fmla="*/ 10 h 10"/>
                <a:gd name="T8" fmla="*/ 45 w 65"/>
                <a:gd name="T9" fmla="*/ 3 h 10"/>
                <a:gd name="T10" fmla="*/ 29 w 65"/>
                <a:gd name="T11" fmla="*/ 1 h 10"/>
                <a:gd name="T12" fmla="*/ 15 w 65"/>
                <a:gd name="T13" fmla="*/ 4 h 10"/>
                <a:gd name="T14" fmla="*/ 6 w 65"/>
                <a:gd name="T15" fmla="*/ 8 h 10"/>
                <a:gd name="T16" fmla="*/ 0 w 65"/>
                <a:gd name="T17" fmla="*/ 10 h 10"/>
                <a:gd name="T18" fmla="*/ 0 w 65"/>
                <a:gd name="T19" fmla="*/ 9 h 10"/>
                <a:gd name="T20" fmla="*/ 0 w 65"/>
                <a:gd name="T21" fmla="*/ 9 h 10"/>
                <a:gd name="T22" fmla="*/ 2 w 65"/>
                <a:gd name="T23" fmla="*/ 8 h 10"/>
                <a:gd name="T24" fmla="*/ 4 w 65"/>
                <a:gd name="T25" fmla="*/ 5 h 10"/>
                <a:gd name="T26" fmla="*/ 7 w 65"/>
                <a:gd name="T27" fmla="*/ 4 h 10"/>
                <a:gd name="T28" fmla="*/ 11 w 65"/>
                <a:gd name="T29" fmla="*/ 3 h 10"/>
                <a:gd name="T30" fmla="*/ 17 w 65"/>
                <a:gd name="T31" fmla="*/ 1 h 10"/>
                <a:gd name="T32" fmla="*/ 29 w 65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0">
                  <a:moveTo>
                    <a:pt x="29" y="0"/>
                  </a:moveTo>
                  <a:lnTo>
                    <a:pt x="43" y="1"/>
                  </a:lnTo>
                  <a:lnTo>
                    <a:pt x="56" y="4"/>
                  </a:lnTo>
                  <a:lnTo>
                    <a:pt x="65" y="10"/>
                  </a:lnTo>
                  <a:lnTo>
                    <a:pt x="45" y="3"/>
                  </a:lnTo>
                  <a:lnTo>
                    <a:pt x="29" y="1"/>
                  </a:lnTo>
                  <a:lnTo>
                    <a:pt x="15" y="4"/>
                  </a:lnTo>
                  <a:lnTo>
                    <a:pt x="6" y="8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7" y="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1" name="Freeform 1405"/>
            <p:cNvSpPr>
              <a:spLocks/>
            </p:cNvSpPr>
            <p:nvPr/>
          </p:nvSpPr>
          <p:spPr bwMode="auto">
            <a:xfrm>
              <a:off x="-3073400" y="1187450"/>
              <a:ext cx="176213" cy="22225"/>
            </a:xfrm>
            <a:custGeom>
              <a:avLst/>
              <a:gdLst>
                <a:gd name="T0" fmla="*/ 0 w 111"/>
                <a:gd name="T1" fmla="*/ 0 h 14"/>
                <a:gd name="T2" fmla="*/ 10 w 111"/>
                <a:gd name="T3" fmla="*/ 5 h 14"/>
                <a:gd name="T4" fmla="*/ 23 w 111"/>
                <a:gd name="T5" fmla="*/ 9 h 14"/>
                <a:gd name="T6" fmla="*/ 38 w 111"/>
                <a:gd name="T7" fmla="*/ 10 h 14"/>
                <a:gd name="T8" fmla="*/ 56 w 111"/>
                <a:gd name="T9" fmla="*/ 11 h 14"/>
                <a:gd name="T10" fmla="*/ 73 w 111"/>
                <a:gd name="T11" fmla="*/ 10 h 14"/>
                <a:gd name="T12" fmla="*/ 88 w 111"/>
                <a:gd name="T13" fmla="*/ 9 h 14"/>
                <a:gd name="T14" fmla="*/ 101 w 111"/>
                <a:gd name="T15" fmla="*/ 5 h 14"/>
                <a:gd name="T16" fmla="*/ 111 w 111"/>
                <a:gd name="T17" fmla="*/ 0 h 14"/>
                <a:gd name="T18" fmla="*/ 104 w 111"/>
                <a:gd name="T19" fmla="*/ 6 h 14"/>
                <a:gd name="T20" fmla="*/ 91 w 111"/>
                <a:gd name="T21" fmla="*/ 11 h 14"/>
                <a:gd name="T22" fmla="*/ 74 w 111"/>
                <a:gd name="T23" fmla="*/ 14 h 14"/>
                <a:gd name="T24" fmla="*/ 56 w 111"/>
                <a:gd name="T25" fmla="*/ 14 h 14"/>
                <a:gd name="T26" fmla="*/ 38 w 111"/>
                <a:gd name="T27" fmla="*/ 14 h 14"/>
                <a:gd name="T28" fmla="*/ 21 w 111"/>
                <a:gd name="T29" fmla="*/ 11 h 14"/>
                <a:gd name="T30" fmla="*/ 9 w 111"/>
                <a:gd name="T31" fmla="*/ 6 h 14"/>
                <a:gd name="T32" fmla="*/ 0 w 111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4">
                  <a:moveTo>
                    <a:pt x="0" y="0"/>
                  </a:moveTo>
                  <a:lnTo>
                    <a:pt x="10" y="5"/>
                  </a:lnTo>
                  <a:lnTo>
                    <a:pt x="23" y="9"/>
                  </a:lnTo>
                  <a:lnTo>
                    <a:pt x="38" y="10"/>
                  </a:lnTo>
                  <a:lnTo>
                    <a:pt x="56" y="11"/>
                  </a:lnTo>
                  <a:lnTo>
                    <a:pt x="73" y="10"/>
                  </a:lnTo>
                  <a:lnTo>
                    <a:pt x="88" y="9"/>
                  </a:lnTo>
                  <a:lnTo>
                    <a:pt x="101" y="5"/>
                  </a:lnTo>
                  <a:lnTo>
                    <a:pt x="111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74" y="14"/>
                  </a:lnTo>
                  <a:lnTo>
                    <a:pt x="56" y="14"/>
                  </a:lnTo>
                  <a:lnTo>
                    <a:pt x="38" y="14"/>
                  </a:lnTo>
                  <a:lnTo>
                    <a:pt x="21" y="11"/>
                  </a:lnTo>
                  <a:lnTo>
                    <a:pt x="9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9D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2" name="Freeform 1406"/>
            <p:cNvSpPr>
              <a:spLocks/>
            </p:cNvSpPr>
            <p:nvPr/>
          </p:nvSpPr>
          <p:spPr bwMode="auto">
            <a:xfrm>
              <a:off x="-3043238" y="1230312"/>
              <a:ext cx="106363" cy="11113"/>
            </a:xfrm>
            <a:custGeom>
              <a:avLst/>
              <a:gdLst>
                <a:gd name="T0" fmla="*/ 0 w 67"/>
                <a:gd name="T1" fmla="*/ 0 h 7"/>
                <a:gd name="T2" fmla="*/ 22 w 67"/>
                <a:gd name="T3" fmla="*/ 0 h 7"/>
                <a:gd name="T4" fmla="*/ 45 w 67"/>
                <a:gd name="T5" fmla="*/ 1 h 7"/>
                <a:gd name="T6" fmla="*/ 67 w 67"/>
                <a:gd name="T7" fmla="*/ 0 h 7"/>
                <a:gd name="T8" fmla="*/ 65 w 67"/>
                <a:gd name="T9" fmla="*/ 1 h 7"/>
                <a:gd name="T10" fmla="*/ 64 w 67"/>
                <a:gd name="T11" fmla="*/ 1 h 7"/>
                <a:gd name="T12" fmla="*/ 61 w 67"/>
                <a:gd name="T13" fmla="*/ 3 h 7"/>
                <a:gd name="T14" fmla="*/ 58 w 67"/>
                <a:gd name="T15" fmla="*/ 5 h 7"/>
                <a:gd name="T16" fmla="*/ 54 w 67"/>
                <a:gd name="T17" fmla="*/ 6 h 7"/>
                <a:gd name="T18" fmla="*/ 50 w 67"/>
                <a:gd name="T19" fmla="*/ 7 h 7"/>
                <a:gd name="T20" fmla="*/ 42 w 67"/>
                <a:gd name="T21" fmla="*/ 7 h 7"/>
                <a:gd name="T22" fmla="*/ 32 w 67"/>
                <a:gd name="T23" fmla="*/ 7 h 7"/>
                <a:gd name="T24" fmla="*/ 22 w 67"/>
                <a:gd name="T25" fmla="*/ 7 h 7"/>
                <a:gd name="T26" fmla="*/ 18 w 67"/>
                <a:gd name="T27" fmla="*/ 7 h 7"/>
                <a:gd name="T28" fmla="*/ 17 w 67"/>
                <a:gd name="T29" fmla="*/ 6 h 7"/>
                <a:gd name="T30" fmla="*/ 15 w 67"/>
                <a:gd name="T31" fmla="*/ 6 h 7"/>
                <a:gd name="T32" fmla="*/ 11 w 67"/>
                <a:gd name="T33" fmla="*/ 5 h 7"/>
                <a:gd name="T34" fmla="*/ 9 w 67"/>
                <a:gd name="T35" fmla="*/ 3 h 7"/>
                <a:gd name="T36" fmla="*/ 6 w 67"/>
                <a:gd name="T37" fmla="*/ 1 h 7"/>
                <a:gd name="T38" fmla="*/ 2 w 67"/>
                <a:gd name="T39" fmla="*/ 0 h 7"/>
                <a:gd name="T40" fmla="*/ 1 w 67"/>
                <a:gd name="T41" fmla="*/ 0 h 7"/>
                <a:gd name="T42" fmla="*/ 0 w 67"/>
                <a:gd name="T4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7">
                  <a:moveTo>
                    <a:pt x="0" y="0"/>
                  </a:moveTo>
                  <a:lnTo>
                    <a:pt x="22" y="0"/>
                  </a:lnTo>
                  <a:lnTo>
                    <a:pt x="45" y="1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4" y="1"/>
                  </a:lnTo>
                  <a:lnTo>
                    <a:pt x="61" y="3"/>
                  </a:lnTo>
                  <a:lnTo>
                    <a:pt x="58" y="5"/>
                  </a:lnTo>
                  <a:lnTo>
                    <a:pt x="54" y="6"/>
                  </a:lnTo>
                  <a:lnTo>
                    <a:pt x="50" y="7"/>
                  </a:lnTo>
                  <a:lnTo>
                    <a:pt x="42" y="7"/>
                  </a:lnTo>
                  <a:lnTo>
                    <a:pt x="32" y="7"/>
                  </a:lnTo>
                  <a:lnTo>
                    <a:pt x="22" y="7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9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3" name="Freeform 1407"/>
            <p:cNvSpPr>
              <a:spLocks/>
            </p:cNvSpPr>
            <p:nvPr/>
          </p:nvSpPr>
          <p:spPr bwMode="auto">
            <a:xfrm>
              <a:off x="-3035300" y="1122362"/>
              <a:ext cx="92075" cy="17463"/>
            </a:xfrm>
            <a:custGeom>
              <a:avLst/>
              <a:gdLst>
                <a:gd name="T0" fmla="*/ 28 w 58"/>
                <a:gd name="T1" fmla="*/ 0 h 11"/>
                <a:gd name="T2" fmla="*/ 42 w 58"/>
                <a:gd name="T3" fmla="*/ 0 h 11"/>
                <a:gd name="T4" fmla="*/ 58 w 58"/>
                <a:gd name="T5" fmla="*/ 1 h 11"/>
                <a:gd name="T6" fmla="*/ 56 w 58"/>
                <a:gd name="T7" fmla="*/ 1 h 11"/>
                <a:gd name="T8" fmla="*/ 55 w 58"/>
                <a:gd name="T9" fmla="*/ 2 h 11"/>
                <a:gd name="T10" fmla="*/ 53 w 58"/>
                <a:gd name="T11" fmla="*/ 3 h 11"/>
                <a:gd name="T12" fmla="*/ 50 w 58"/>
                <a:gd name="T13" fmla="*/ 6 h 11"/>
                <a:gd name="T14" fmla="*/ 48 w 58"/>
                <a:gd name="T15" fmla="*/ 7 h 11"/>
                <a:gd name="T16" fmla="*/ 44 w 58"/>
                <a:gd name="T17" fmla="*/ 9 h 11"/>
                <a:gd name="T18" fmla="*/ 41 w 58"/>
                <a:gd name="T19" fmla="*/ 10 h 11"/>
                <a:gd name="T20" fmla="*/ 39 w 58"/>
                <a:gd name="T21" fmla="*/ 10 h 11"/>
                <a:gd name="T22" fmla="*/ 33 w 58"/>
                <a:gd name="T23" fmla="*/ 11 h 11"/>
                <a:gd name="T24" fmla="*/ 30 w 58"/>
                <a:gd name="T25" fmla="*/ 11 h 11"/>
                <a:gd name="T26" fmla="*/ 30 w 58"/>
                <a:gd name="T27" fmla="*/ 11 h 11"/>
                <a:gd name="T28" fmla="*/ 24 w 58"/>
                <a:gd name="T29" fmla="*/ 11 h 11"/>
                <a:gd name="T30" fmla="*/ 19 w 58"/>
                <a:gd name="T31" fmla="*/ 10 h 11"/>
                <a:gd name="T32" fmla="*/ 17 w 58"/>
                <a:gd name="T33" fmla="*/ 10 h 11"/>
                <a:gd name="T34" fmla="*/ 14 w 58"/>
                <a:gd name="T35" fmla="*/ 9 h 11"/>
                <a:gd name="T36" fmla="*/ 10 w 58"/>
                <a:gd name="T37" fmla="*/ 7 h 11"/>
                <a:gd name="T38" fmla="*/ 8 w 58"/>
                <a:gd name="T39" fmla="*/ 6 h 11"/>
                <a:gd name="T40" fmla="*/ 4 w 58"/>
                <a:gd name="T41" fmla="*/ 3 h 11"/>
                <a:gd name="T42" fmla="*/ 3 w 58"/>
                <a:gd name="T43" fmla="*/ 2 h 11"/>
                <a:gd name="T44" fmla="*/ 1 w 58"/>
                <a:gd name="T45" fmla="*/ 1 h 11"/>
                <a:gd name="T46" fmla="*/ 0 w 58"/>
                <a:gd name="T47" fmla="*/ 1 h 11"/>
                <a:gd name="T48" fmla="*/ 15 w 58"/>
                <a:gd name="T49" fmla="*/ 0 h 11"/>
                <a:gd name="T50" fmla="*/ 28 w 58"/>
                <a:gd name="T5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" h="11">
                  <a:moveTo>
                    <a:pt x="28" y="0"/>
                  </a:moveTo>
                  <a:lnTo>
                    <a:pt x="42" y="0"/>
                  </a:lnTo>
                  <a:lnTo>
                    <a:pt x="58" y="1"/>
                  </a:lnTo>
                  <a:lnTo>
                    <a:pt x="56" y="1"/>
                  </a:lnTo>
                  <a:lnTo>
                    <a:pt x="55" y="2"/>
                  </a:lnTo>
                  <a:lnTo>
                    <a:pt x="53" y="3"/>
                  </a:lnTo>
                  <a:lnTo>
                    <a:pt x="50" y="6"/>
                  </a:lnTo>
                  <a:lnTo>
                    <a:pt x="48" y="7"/>
                  </a:lnTo>
                  <a:lnTo>
                    <a:pt x="44" y="9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3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4" y="11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9"/>
                  </a:lnTo>
                  <a:lnTo>
                    <a:pt x="10" y="7"/>
                  </a:lnTo>
                  <a:lnTo>
                    <a:pt x="8" y="6"/>
                  </a:lnTo>
                  <a:lnTo>
                    <a:pt x="4" y="3"/>
                  </a:lnTo>
                  <a:lnTo>
                    <a:pt x="3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5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1B4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4" name="Freeform 1408"/>
            <p:cNvSpPr>
              <a:spLocks/>
            </p:cNvSpPr>
            <p:nvPr/>
          </p:nvSpPr>
          <p:spPr bwMode="auto">
            <a:xfrm>
              <a:off x="-3030538" y="965200"/>
              <a:ext cx="36513" cy="146050"/>
            </a:xfrm>
            <a:custGeom>
              <a:avLst/>
              <a:gdLst>
                <a:gd name="T0" fmla="*/ 23 w 23"/>
                <a:gd name="T1" fmla="*/ 0 h 92"/>
                <a:gd name="T2" fmla="*/ 16 w 23"/>
                <a:gd name="T3" fmla="*/ 73 h 92"/>
                <a:gd name="T4" fmla="*/ 11 w 23"/>
                <a:gd name="T5" fmla="*/ 90 h 92"/>
                <a:gd name="T6" fmla="*/ 0 w 23"/>
                <a:gd name="T7" fmla="*/ 92 h 92"/>
                <a:gd name="T8" fmla="*/ 0 w 23"/>
                <a:gd name="T9" fmla="*/ 92 h 92"/>
                <a:gd name="T10" fmla="*/ 1 w 23"/>
                <a:gd name="T11" fmla="*/ 90 h 92"/>
                <a:gd name="T12" fmla="*/ 2 w 23"/>
                <a:gd name="T13" fmla="*/ 87 h 92"/>
                <a:gd name="T14" fmla="*/ 3 w 23"/>
                <a:gd name="T15" fmla="*/ 84 h 92"/>
                <a:gd name="T16" fmla="*/ 5 w 23"/>
                <a:gd name="T17" fmla="*/ 82 h 92"/>
                <a:gd name="T18" fmla="*/ 6 w 23"/>
                <a:gd name="T19" fmla="*/ 78 h 92"/>
                <a:gd name="T20" fmla="*/ 7 w 23"/>
                <a:gd name="T21" fmla="*/ 76 h 92"/>
                <a:gd name="T22" fmla="*/ 9 w 23"/>
                <a:gd name="T23" fmla="*/ 74 h 92"/>
                <a:gd name="T24" fmla="*/ 10 w 23"/>
                <a:gd name="T25" fmla="*/ 68 h 92"/>
                <a:gd name="T26" fmla="*/ 12 w 23"/>
                <a:gd name="T27" fmla="*/ 56 h 92"/>
                <a:gd name="T28" fmla="*/ 15 w 23"/>
                <a:gd name="T29" fmla="*/ 41 h 92"/>
                <a:gd name="T30" fmla="*/ 19 w 23"/>
                <a:gd name="T31" fmla="*/ 24 h 92"/>
                <a:gd name="T32" fmla="*/ 21 w 23"/>
                <a:gd name="T33" fmla="*/ 10 h 92"/>
                <a:gd name="T34" fmla="*/ 23 w 23"/>
                <a:gd name="T3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92">
                  <a:moveTo>
                    <a:pt x="23" y="0"/>
                  </a:moveTo>
                  <a:lnTo>
                    <a:pt x="16" y="73"/>
                  </a:lnTo>
                  <a:lnTo>
                    <a:pt x="11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1" y="90"/>
                  </a:lnTo>
                  <a:lnTo>
                    <a:pt x="2" y="87"/>
                  </a:lnTo>
                  <a:lnTo>
                    <a:pt x="3" y="84"/>
                  </a:lnTo>
                  <a:lnTo>
                    <a:pt x="5" y="82"/>
                  </a:lnTo>
                  <a:lnTo>
                    <a:pt x="6" y="78"/>
                  </a:lnTo>
                  <a:lnTo>
                    <a:pt x="7" y="76"/>
                  </a:lnTo>
                  <a:lnTo>
                    <a:pt x="9" y="74"/>
                  </a:lnTo>
                  <a:lnTo>
                    <a:pt x="10" y="68"/>
                  </a:lnTo>
                  <a:lnTo>
                    <a:pt x="12" y="56"/>
                  </a:lnTo>
                  <a:lnTo>
                    <a:pt x="15" y="41"/>
                  </a:lnTo>
                  <a:lnTo>
                    <a:pt x="19" y="24"/>
                  </a:lnTo>
                  <a:lnTo>
                    <a:pt x="21" y="1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1B4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5" name="Freeform 1409"/>
            <p:cNvSpPr>
              <a:spLocks/>
            </p:cNvSpPr>
            <p:nvPr/>
          </p:nvSpPr>
          <p:spPr bwMode="auto">
            <a:xfrm>
              <a:off x="-3633788" y="1974850"/>
              <a:ext cx="754063" cy="350838"/>
            </a:xfrm>
            <a:custGeom>
              <a:avLst/>
              <a:gdLst>
                <a:gd name="T0" fmla="*/ 85 w 475"/>
                <a:gd name="T1" fmla="*/ 0 h 221"/>
                <a:gd name="T2" fmla="*/ 128 w 475"/>
                <a:gd name="T3" fmla="*/ 1 h 221"/>
                <a:gd name="T4" fmla="*/ 155 w 475"/>
                <a:gd name="T5" fmla="*/ 5 h 221"/>
                <a:gd name="T6" fmla="*/ 155 w 475"/>
                <a:gd name="T7" fmla="*/ 19 h 221"/>
                <a:gd name="T8" fmla="*/ 155 w 475"/>
                <a:gd name="T9" fmla="*/ 49 h 221"/>
                <a:gd name="T10" fmla="*/ 159 w 475"/>
                <a:gd name="T11" fmla="*/ 75 h 221"/>
                <a:gd name="T12" fmla="*/ 170 w 475"/>
                <a:gd name="T13" fmla="*/ 81 h 221"/>
                <a:gd name="T14" fmla="*/ 205 w 475"/>
                <a:gd name="T15" fmla="*/ 86 h 221"/>
                <a:gd name="T16" fmla="*/ 256 w 475"/>
                <a:gd name="T17" fmla="*/ 91 h 221"/>
                <a:gd name="T18" fmla="*/ 314 w 475"/>
                <a:gd name="T19" fmla="*/ 94 h 221"/>
                <a:gd name="T20" fmla="*/ 365 w 475"/>
                <a:gd name="T21" fmla="*/ 99 h 221"/>
                <a:gd name="T22" fmla="*/ 416 w 475"/>
                <a:gd name="T23" fmla="*/ 105 h 221"/>
                <a:gd name="T24" fmla="*/ 451 w 475"/>
                <a:gd name="T25" fmla="*/ 113 h 221"/>
                <a:gd name="T26" fmla="*/ 466 w 475"/>
                <a:gd name="T27" fmla="*/ 116 h 221"/>
                <a:gd name="T28" fmla="*/ 469 w 475"/>
                <a:gd name="T29" fmla="*/ 121 h 221"/>
                <a:gd name="T30" fmla="*/ 475 w 475"/>
                <a:gd name="T31" fmla="*/ 132 h 221"/>
                <a:gd name="T32" fmla="*/ 467 w 475"/>
                <a:gd name="T33" fmla="*/ 149 h 221"/>
                <a:gd name="T34" fmla="*/ 435 w 475"/>
                <a:gd name="T35" fmla="*/ 167 h 221"/>
                <a:gd name="T36" fmla="*/ 392 w 475"/>
                <a:gd name="T37" fmla="*/ 179 h 221"/>
                <a:gd name="T38" fmla="*/ 328 w 475"/>
                <a:gd name="T39" fmla="*/ 190 h 221"/>
                <a:gd name="T40" fmla="*/ 255 w 475"/>
                <a:gd name="T41" fmla="*/ 200 h 221"/>
                <a:gd name="T42" fmla="*/ 182 w 475"/>
                <a:gd name="T43" fmla="*/ 209 h 221"/>
                <a:gd name="T44" fmla="*/ 118 w 475"/>
                <a:gd name="T45" fmla="*/ 217 h 221"/>
                <a:gd name="T46" fmla="*/ 74 w 475"/>
                <a:gd name="T47" fmla="*/ 221 h 221"/>
                <a:gd name="T48" fmla="*/ 46 w 475"/>
                <a:gd name="T49" fmla="*/ 218 h 221"/>
                <a:gd name="T50" fmla="*/ 22 w 475"/>
                <a:gd name="T51" fmla="*/ 198 h 221"/>
                <a:gd name="T52" fmla="*/ 8 w 475"/>
                <a:gd name="T53" fmla="*/ 163 h 221"/>
                <a:gd name="T54" fmla="*/ 1 w 475"/>
                <a:gd name="T55" fmla="*/ 120 h 221"/>
                <a:gd name="T56" fmla="*/ 0 w 475"/>
                <a:gd name="T57" fmla="*/ 73 h 221"/>
                <a:gd name="T58" fmla="*/ 1 w 475"/>
                <a:gd name="T59" fmla="*/ 32 h 221"/>
                <a:gd name="T60" fmla="*/ 4 w 475"/>
                <a:gd name="T61" fmla="*/ 0 h 221"/>
                <a:gd name="T62" fmla="*/ 20 w 475"/>
                <a:gd name="T63" fmla="*/ 0 h 221"/>
                <a:gd name="T64" fmla="*/ 60 w 475"/>
                <a:gd name="T6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5" h="221">
                  <a:moveTo>
                    <a:pt x="60" y="0"/>
                  </a:moveTo>
                  <a:lnTo>
                    <a:pt x="85" y="0"/>
                  </a:lnTo>
                  <a:lnTo>
                    <a:pt x="108" y="0"/>
                  </a:lnTo>
                  <a:lnTo>
                    <a:pt x="128" y="1"/>
                  </a:lnTo>
                  <a:lnTo>
                    <a:pt x="145" y="3"/>
                  </a:lnTo>
                  <a:lnTo>
                    <a:pt x="155" y="5"/>
                  </a:lnTo>
                  <a:lnTo>
                    <a:pt x="155" y="9"/>
                  </a:lnTo>
                  <a:lnTo>
                    <a:pt x="155" y="19"/>
                  </a:lnTo>
                  <a:lnTo>
                    <a:pt x="155" y="34"/>
                  </a:lnTo>
                  <a:lnTo>
                    <a:pt x="155" y="49"/>
                  </a:lnTo>
                  <a:lnTo>
                    <a:pt x="156" y="63"/>
                  </a:lnTo>
                  <a:lnTo>
                    <a:pt x="159" y="75"/>
                  </a:lnTo>
                  <a:lnTo>
                    <a:pt x="163" y="80"/>
                  </a:lnTo>
                  <a:lnTo>
                    <a:pt x="170" y="81"/>
                  </a:lnTo>
                  <a:lnTo>
                    <a:pt x="186" y="84"/>
                  </a:lnTo>
                  <a:lnTo>
                    <a:pt x="205" y="86"/>
                  </a:lnTo>
                  <a:lnTo>
                    <a:pt x="229" y="89"/>
                  </a:lnTo>
                  <a:lnTo>
                    <a:pt x="256" y="91"/>
                  </a:lnTo>
                  <a:lnTo>
                    <a:pt x="285" y="93"/>
                  </a:lnTo>
                  <a:lnTo>
                    <a:pt x="314" y="94"/>
                  </a:lnTo>
                  <a:lnTo>
                    <a:pt x="340" y="95"/>
                  </a:lnTo>
                  <a:lnTo>
                    <a:pt x="365" y="99"/>
                  </a:lnTo>
                  <a:lnTo>
                    <a:pt x="391" y="102"/>
                  </a:lnTo>
                  <a:lnTo>
                    <a:pt x="416" y="105"/>
                  </a:lnTo>
                  <a:lnTo>
                    <a:pt x="435" y="109"/>
                  </a:lnTo>
                  <a:lnTo>
                    <a:pt x="451" y="113"/>
                  </a:lnTo>
                  <a:lnTo>
                    <a:pt x="462" y="114"/>
                  </a:lnTo>
                  <a:lnTo>
                    <a:pt x="466" y="116"/>
                  </a:lnTo>
                  <a:lnTo>
                    <a:pt x="467" y="117"/>
                  </a:lnTo>
                  <a:lnTo>
                    <a:pt x="469" y="121"/>
                  </a:lnTo>
                  <a:lnTo>
                    <a:pt x="473" y="126"/>
                  </a:lnTo>
                  <a:lnTo>
                    <a:pt x="475" y="132"/>
                  </a:lnTo>
                  <a:lnTo>
                    <a:pt x="473" y="140"/>
                  </a:lnTo>
                  <a:lnTo>
                    <a:pt x="467" y="149"/>
                  </a:lnTo>
                  <a:lnTo>
                    <a:pt x="455" y="158"/>
                  </a:lnTo>
                  <a:lnTo>
                    <a:pt x="435" y="167"/>
                  </a:lnTo>
                  <a:lnTo>
                    <a:pt x="417" y="172"/>
                  </a:lnTo>
                  <a:lnTo>
                    <a:pt x="392" y="179"/>
                  </a:lnTo>
                  <a:lnTo>
                    <a:pt x="363" y="184"/>
                  </a:lnTo>
                  <a:lnTo>
                    <a:pt x="328" y="190"/>
                  </a:lnTo>
                  <a:lnTo>
                    <a:pt x="292" y="195"/>
                  </a:lnTo>
                  <a:lnTo>
                    <a:pt x="255" y="200"/>
                  </a:lnTo>
                  <a:lnTo>
                    <a:pt x="218" y="205"/>
                  </a:lnTo>
                  <a:lnTo>
                    <a:pt x="182" y="209"/>
                  </a:lnTo>
                  <a:lnTo>
                    <a:pt x="147" y="213"/>
                  </a:lnTo>
                  <a:lnTo>
                    <a:pt x="118" y="217"/>
                  </a:lnTo>
                  <a:lnTo>
                    <a:pt x="92" y="220"/>
                  </a:lnTo>
                  <a:lnTo>
                    <a:pt x="74" y="221"/>
                  </a:lnTo>
                  <a:lnTo>
                    <a:pt x="63" y="221"/>
                  </a:lnTo>
                  <a:lnTo>
                    <a:pt x="46" y="218"/>
                  </a:lnTo>
                  <a:lnTo>
                    <a:pt x="33" y="211"/>
                  </a:lnTo>
                  <a:lnTo>
                    <a:pt x="22" y="198"/>
                  </a:lnTo>
                  <a:lnTo>
                    <a:pt x="14" y="181"/>
                  </a:lnTo>
                  <a:lnTo>
                    <a:pt x="8" y="163"/>
                  </a:lnTo>
                  <a:lnTo>
                    <a:pt x="4" y="141"/>
                  </a:lnTo>
                  <a:lnTo>
                    <a:pt x="1" y="120"/>
                  </a:lnTo>
                  <a:lnTo>
                    <a:pt x="0" y="96"/>
                  </a:lnTo>
                  <a:lnTo>
                    <a:pt x="0" y="73"/>
                  </a:lnTo>
                  <a:lnTo>
                    <a:pt x="1" y="52"/>
                  </a:lnTo>
                  <a:lnTo>
                    <a:pt x="1" y="32"/>
                  </a:lnTo>
                  <a:lnTo>
                    <a:pt x="2" y="14"/>
                  </a:lnTo>
                  <a:lnTo>
                    <a:pt x="4" y="0"/>
                  </a:lnTo>
                  <a:lnTo>
                    <a:pt x="9" y="0"/>
                  </a:lnTo>
                  <a:lnTo>
                    <a:pt x="20" y="0"/>
                  </a:lnTo>
                  <a:lnTo>
                    <a:pt x="38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6" name="Freeform 1410"/>
            <p:cNvSpPr>
              <a:spLocks/>
            </p:cNvSpPr>
            <p:nvPr/>
          </p:nvSpPr>
          <p:spPr bwMode="auto">
            <a:xfrm>
              <a:off x="-3414713" y="1979612"/>
              <a:ext cx="420688" cy="247650"/>
            </a:xfrm>
            <a:custGeom>
              <a:avLst/>
              <a:gdLst>
                <a:gd name="T0" fmla="*/ 0 w 265"/>
                <a:gd name="T1" fmla="*/ 0 h 156"/>
                <a:gd name="T2" fmla="*/ 7 w 265"/>
                <a:gd name="T3" fmla="*/ 0 h 156"/>
                <a:gd name="T4" fmla="*/ 13 w 265"/>
                <a:gd name="T5" fmla="*/ 1 h 156"/>
                <a:gd name="T6" fmla="*/ 17 w 265"/>
                <a:gd name="T7" fmla="*/ 2 h 156"/>
                <a:gd name="T8" fmla="*/ 17 w 265"/>
                <a:gd name="T9" fmla="*/ 6 h 156"/>
                <a:gd name="T10" fmla="*/ 17 w 265"/>
                <a:gd name="T11" fmla="*/ 16 h 156"/>
                <a:gd name="T12" fmla="*/ 17 w 265"/>
                <a:gd name="T13" fmla="*/ 31 h 156"/>
                <a:gd name="T14" fmla="*/ 17 w 265"/>
                <a:gd name="T15" fmla="*/ 46 h 156"/>
                <a:gd name="T16" fmla="*/ 18 w 265"/>
                <a:gd name="T17" fmla="*/ 60 h 156"/>
                <a:gd name="T18" fmla="*/ 21 w 265"/>
                <a:gd name="T19" fmla="*/ 72 h 156"/>
                <a:gd name="T20" fmla="*/ 25 w 265"/>
                <a:gd name="T21" fmla="*/ 77 h 156"/>
                <a:gd name="T22" fmla="*/ 34 w 265"/>
                <a:gd name="T23" fmla="*/ 79 h 156"/>
                <a:gd name="T24" fmla="*/ 50 w 265"/>
                <a:gd name="T25" fmla="*/ 81 h 156"/>
                <a:gd name="T26" fmla="*/ 72 w 265"/>
                <a:gd name="T27" fmla="*/ 83 h 156"/>
                <a:gd name="T28" fmla="*/ 99 w 265"/>
                <a:gd name="T29" fmla="*/ 86 h 156"/>
                <a:gd name="T30" fmla="*/ 130 w 265"/>
                <a:gd name="T31" fmla="*/ 88 h 156"/>
                <a:gd name="T32" fmla="*/ 161 w 265"/>
                <a:gd name="T33" fmla="*/ 91 h 156"/>
                <a:gd name="T34" fmla="*/ 184 w 265"/>
                <a:gd name="T35" fmla="*/ 105 h 156"/>
                <a:gd name="T36" fmla="*/ 204 w 265"/>
                <a:gd name="T37" fmla="*/ 119 h 156"/>
                <a:gd name="T38" fmla="*/ 224 w 265"/>
                <a:gd name="T39" fmla="*/ 131 h 156"/>
                <a:gd name="T40" fmla="*/ 240 w 265"/>
                <a:gd name="T41" fmla="*/ 141 h 156"/>
                <a:gd name="T42" fmla="*/ 253 w 265"/>
                <a:gd name="T43" fmla="*/ 150 h 156"/>
                <a:gd name="T44" fmla="*/ 262 w 265"/>
                <a:gd name="T45" fmla="*/ 155 h 156"/>
                <a:gd name="T46" fmla="*/ 265 w 265"/>
                <a:gd name="T47" fmla="*/ 156 h 156"/>
                <a:gd name="T48" fmla="*/ 260 w 265"/>
                <a:gd name="T49" fmla="*/ 155 h 156"/>
                <a:gd name="T50" fmla="*/ 248 w 265"/>
                <a:gd name="T51" fmla="*/ 154 h 156"/>
                <a:gd name="T52" fmla="*/ 230 w 265"/>
                <a:gd name="T53" fmla="*/ 150 h 156"/>
                <a:gd name="T54" fmla="*/ 208 w 265"/>
                <a:gd name="T55" fmla="*/ 145 h 156"/>
                <a:gd name="T56" fmla="*/ 183 w 265"/>
                <a:gd name="T57" fmla="*/ 140 h 156"/>
                <a:gd name="T58" fmla="*/ 154 w 265"/>
                <a:gd name="T59" fmla="*/ 133 h 156"/>
                <a:gd name="T60" fmla="*/ 126 w 265"/>
                <a:gd name="T61" fmla="*/ 127 h 156"/>
                <a:gd name="T62" fmla="*/ 98 w 265"/>
                <a:gd name="T63" fmla="*/ 120 h 156"/>
                <a:gd name="T64" fmla="*/ 71 w 265"/>
                <a:gd name="T65" fmla="*/ 113 h 156"/>
                <a:gd name="T66" fmla="*/ 48 w 265"/>
                <a:gd name="T67" fmla="*/ 106 h 156"/>
                <a:gd name="T68" fmla="*/ 29 w 265"/>
                <a:gd name="T69" fmla="*/ 100 h 156"/>
                <a:gd name="T70" fmla="*/ 16 w 265"/>
                <a:gd name="T71" fmla="*/ 93 h 156"/>
                <a:gd name="T72" fmla="*/ 9 w 265"/>
                <a:gd name="T73" fmla="*/ 88 h 156"/>
                <a:gd name="T74" fmla="*/ 6 w 265"/>
                <a:gd name="T75" fmla="*/ 73 h 156"/>
                <a:gd name="T76" fmla="*/ 3 w 265"/>
                <a:gd name="T77" fmla="*/ 54 h 156"/>
                <a:gd name="T78" fmla="*/ 0 w 265"/>
                <a:gd name="T79" fmla="*/ 33 h 156"/>
                <a:gd name="T80" fmla="*/ 0 w 265"/>
                <a:gd name="T81" fmla="*/ 14 h 156"/>
                <a:gd name="T82" fmla="*/ 0 w 265"/>
                <a:gd name="T8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5" h="156">
                  <a:moveTo>
                    <a:pt x="0" y="0"/>
                  </a:moveTo>
                  <a:lnTo>
                    <a:pt x="7" y="0"/>
                  </a:lnTo>
                  <a:lnTo>
                    <a:pt x="13" y="1"/>
                  </a:lnTo>
                  <a:lnTo>
                    <a:pt x="17" y="2"/>
                  </a:lnTo>
                  <a:lnTo>
                    <a:pt x="17" y="6"/>
                  </a:lnTo>
                  <a:lnTo>
                    <a:pt x="17" y="16"/>
                  </a:lnTo>
                  <a:lnTo>
                    <a:pt x="17" y="31"/>
                  </a:lnTo>
                  <a:lnTo>
                    <a:pt x="17" y="46"/>
                  </a:lnTo>
                  <a:lnTo>
                    <a:pt x="18" y="60"/>
                  </a:lnTo>
                  <a:lnTo>
                    <a:pt x="21" y="72"/>
                  </a:lnTo>
                  <a:lnTo>
                    <a:pt x="25" y="77"/>
                  </a:lnTo>
                  <a:lnTo>
                    <a:pt x="34" y="79"/>
                  </a:lnTo>
                  <a:lnTo>
                    <a:pt x="50" y="81"/>
                  </a:lnTo>
                  <a:lnTo>
                    <a:pt x="72" y="83"/>
                  </a:lnTo>
                  <a:lnTo>
                    <a:pt x="99" y="86"/>
                  </a:lnTo>
                  <a:lnTo>
                    <a:pt x="130" y="88"/>
                  </a:lnTo>
                  <a:lnTo>
                    <a:pt x="161" y="91"/>
                  </a:lnTo>
                  <a:lnTo>
                    <a:pt x="184" y="105"/>
                  </a:lnTo>
                  <a:lnTo>
                    <a:pt x="204" y="119"/>
                  </a:lnTo>
                  <a:lnTo>
                    <a:pt x="224" y="131"/>
                  </a:lnTo>
                  <a:lnTo>
                    <a:pt x="240" y="141"/>
                  </a:lnTo>
                  <a:lnTo>
                    <a:pt x="253" y="150"/>
                  </a:lnTo>
                  <a:lnTo>
                    <a:pt x="262" y="155"/>
                  </a:lnTo>
                  <a:lnTo>
                    <a:pt x="265" y="156"/>
                  </a:lnTo>
                  <a:lnTo>
                    <a:pt x="260" y="155"/>
                  </a:lnTo>
                  <a:lnTo>
                    <a:pt x="248" y="154"/>
                  </a:lnTo>
                  <a:lnTo>
                    <a:pt x="230" y="150"/>
                  </a:lnTo>
                  <a:lnTo>
                    <a:pt x="208" y="145"/>
                  </a:lnTo>
                  <a:lnTo>
                    <a:pt x="183" y="140"/>
                  </a:lnTo>
                  <a:lnTo>
                    <a:pt x="154" y="133"/>
                  </a:lnTo>
                  <a:lnTo>
                    <a:pt x="126" y="127"/>
                  </a:lnTo>
                  <a:lnTo>
                    <a:pt x="98" y="120"/>
                  </a:lnTo>
                  <a:lnTo>
                    <a:pt x="71" y="113"/>
                  </a:lnTo>
                  <a:lnTo>
                    <a:pt x="48" y="106"/>
                  </a:lnTo>
                  <a:lnTo>
                    <a:pt x="29" y="100"/>
                  </a:lnTo>
                  <a:lnTo>
                    <a:pt x="16" y="93"/>
                  </a:lnTo>
                  <a:lnTo>
                    <a:pt x="9" y="88"/>
                  </a:lnTo>
                  <a:lnTo>
                    <a:pt x="6" y="73"/>
                  </a:lnTo>
                  <a:lnTo>
                    <a:pt x="3" y="54"/>
                  </a:lnTo>
                  <a:lnTo>
                    <a:pt x="0" y="33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C2B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7" name="Freeform 1411"/>
            <p:cNvSpPr>
              <a:spLocks/>
            </p:cNvSpPr>
            <p:nvPr/>
          </p:nvSpPr>
          <p:spPr bwMode="auto">
            <a:xfrm>
              <a:off x="-3389313" y="1944687"/>
              <a:ext cx="938213" cy="368300"/>
            </a:xfrm>
            <a:custGeom>
              <a:avLst/>
              <a:gdLst>
                <a:gd name="T0" fmla="*/ 589 w 591"/>
                <a:gd name="T1" fmla="*/ 15 h 232"/>
                <a:gd name="T2" fmla="*/ 586 w 591"/>
                <a:gd name="T3" fmla="*/ 54 h 232"/>
                <a:gd name="T4" fmla="*/ 584 w 591"/>
                <a:gd name="T5" fmla="*/ 100 h 232"/>
                <a:gd name="T6" fmla="*/ 577 w 591"/>
                <a:gd name="T7" fmla="*/ 147 h 232"/>
                <a:gd name="T8" fmla="*/ 567 w 591"/>
                <a:gd name="T9" fmla="*/ 190 h 232"/>
                <a:gd name="T10" fmla="*/ 548 w 591"/>
                <a:gd name="T11" fmla="*/ 221 h 232"/>
                <a:gd name="T12" fmla="*/ 518 w 591"/>
                <a:gd name="T13" fmla="*/ 232 h 232"/>
                <a:gd name="T14" fmla="*/ 490 w 591"/>
                <a:gd name="T15" fmla="*/ 228 h 232"/>
                <a:gd name="T16" fmla="*/ 437 w 591"/>
                <a:gd name="T17" fmla="*/ 219 h 232"/>
                <a:gd name="T18" fmla="*/ 369 w 591"/>
                <a:gd name="T19" fmla="*/ 205 h 232"/>
                <a:gd name="T20" fmla="*/ 292 w 591"/>
                <a:gd name="T21" fmla="*/ 189 h 232"/>
                <a:gd name="T22" fmla="*/ 215 w 591"/>
                <a:gd name="T23" fmla="*/ 171 h 232"/>
                <a:gd name="T24" fmla="*/ 147 w 591"/>
                <a:gd name="T25" fmla="*/ 154 h 232"/>
                <a:gd name="T26" fmla="*/ 97 w 591"/>
                <a:gd name="T27" fmla="*/ 141 h 232"/>
                <a:gd name="T28" fmla="*/ 56 w 591"/>
                <a:gd name="T29" fmla="*/ 126 h 232"/>
                <a:gd name="T30" fmla="*/ 24 w 591"/>
                <a:gd name="T31" fmla="*/ 110 h 232"/>
                <a:gd name="T32" fmla="*/ 10 w 591"/>
                <a:gd name="T33" fmla="*/ 101 h 232"/>
                <a:gd name="T34" fmla="*/ 6 w 591"/>
                <a:gd name="T35" fmla="*/ 97 h 232"/>
                <a:gd name="T36" fmla="*/ 1 w 591"/>
                <a:gd name="T37" fmla="*/ 82 h 232"/>
                <a:gd name="T38" fmla="*/ 0 w 591"/>
                <a:gd name="T39" fmla="*/ 58 h 232"/>
                <a:gd name="T40" fmla="*/ 1 w 591"/>
                <a:gd name="T41" fmla="*/ 45 h 232"/>
                <a:gd name="T42" fmla="*/ 63 w 591"/>
                <a:gd name="T43" fmla="*/ 49 h 232"/>
                <a:gd name="T44" fmla="*/ 145 w 591"/>
                <a:gd name="T45" fmla="*/ 56 h 232"/>
                <a:gd name="T46" fmla="*/ 233 w 591"/>
                <a:gd name="T47" fmla="*/ 67 h 232"/>
                <a:gd name="T48" fmla="*/ 318 w 591"/>
                <a:gd name="T49" fmla="*/ 76 h 232"/>
                <a:gd name="T50" fmla="*/ 382 w 591"/>
                <a:gd name="T51" fmla="*/ 82 h 232"/>
                <a:gd name="T52" fmla="*/ 426 w 591"/>
                <a:gd name="T53" fmla="*/ 83 h 232"/>
                <a:gd name="T54" fmla="*/ 444 w 591"/>
                <a:gd name="T55" fmla="*/ 77 h 232"/>
                <a:gd name="T56" fmla="*/ 451 w 591"/>
                <a:gd name="T57" fmla="*/ 53 h 232"/>
                <a:gd name="T58" fmla="*/ 455 w 591"/>
                <a:gd name="T59" fmla="*/ 31 h 232"/>
                <a:gd name="T60" fmla="*/ 466 w 591"/>
                <a:gd name="T61" fmla="*/ 24 h 232"/>
                <a:gd name="T62" fmla="*/ 500 w 591"/>
                <a:gd name="T63" fmla="*/ 18 h 232"/>
                <a:gd name="T64" fmla="*/ 541 w 591"/>
                <a:gd name="T65" fmla="*/ 9 h 232"/>
                <a:gd name="T66" fmla="*/ 576 w 591"/>
                <a:gd name="T67" fmla="*/ 3 h 232"/>
                <a:gd name="T68" fmla="*/ 591 w 591"/>
                <a:gd name="T6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1" h="232">
                  <a:moveTo>
                    <a:pt x="591" y="0"/>
                  </a:moveTo>
                  <a:lnTo>
                    <a:pt x="589" y="15"/>
                  </a:lnTo>
                  <a:lnTo>
                    <a:pt x="587" y="33"/>
                  </a:lnTo>
                  <a:lnTo>
                    <a:pt x="586" y="54"/>
                  </a:lnTo>
                  <a:lnTo>
                    <a:pt x="585" y="76"/>
                  </a:lnTo>
                  <a:lnTo>
                    <a:pt x="584" y="100"/>
                  </a:lnTo>
                  <a:lnTo>
                    <a:pt x="581" y="124"/>
                  </a:lnTo>
                  <a:lnTo>
                    <a:pt x="577" y="147"/>
                  </a:lnTo>
                  <a:lnTo>
                    <a:pt x="573" y="171"/>
                  </a:lnTo>
                  <a:lnTo>
                    <a:pt x="567" y="190"/>
                  </a:lnTo>
                  <a:lnTo>
                    <a:pt x="558" y="208"/>
                  </a:lnTo>
                  <a:lnTo>
                    <a:pt x="548" y="221"/>
                  </a:lnTo>
                  <a:lnTo>
                    <a:pt x="534" y="228"/>
                  </a:lnTo>
                  <a:lnTo>
                    <a:pt x="518" y="232"/>
                  </a:lnTo>
                  <a:lnTo>
                    <a:pt x="508" y="231"/>
                  </a:lnTo>
                  <a:lnTo>
                    <a:pt x="490" y="228"/>
                  </a:lnTo>
                  <a:lnTo>
                    <a:pt x="467" y="224"/>
                  </a:lnTo>
                  <a:lnTo>
                    <a:pt x="437" y="219"/>
                  </a:lnTo>
                  <a:lnTo>
                    <a:pt x="405" y="212"/>
                  </a:lnTo>
                  <a:lnTo>
                    <a:pt x="369" y="205"/>
                  </a:lnTo>
                  <a:lnTo>
                    <a:pt x="331" y="196"/>
                  </a:lnTo>
                  <a:lnTo>
                    <a:pt x="292" y="189"/>
                  </a:lnTo>
                  <a:lnTo>
                    <a:pt x="253" y="180"/>
                  </a:lnTo>
                  <a:lnTo>
                    <a:pt x="215" y="171"/>
                  </a:lnTo>
                  <a:lnTo>
                    <a:pt x="179" y="163"/>
                  </a:lnTo>
                  <a:lnTo>
                    <a:pt x="147" y="154"/>
                  </a:lnTo>
                  <a:lnTo>
                    <a:pt x="119" y="147"/>
                  </a:lnTo>
                  <a:lnTo>
                    <a:pt x="97" y="141"/>
                  </a:lnTo>
                  <a:lnTo>
                    <a:pt x="81" y="136"/>
                  </a:lnTo>
                  <a:lnTo>
                    <a:pt x="56" y="126"/>
                  </a:lnTo>
                  <a:lnTo>
                    <a:pt x="38" y="118"/>
                  </a:lnTo>
                  <a:lnTo>
                    <a:pt x="24" y="110"/>
                  </a:lnTo>
                  <a:lnTo>
                    <a:pt x="15" y="105"/>
                  </a:lnTo>
                  <a:lnTo>
                    <a:pt x="10" y="101"/>
                  </a:lnTo>
                  <a:lnTo>
                    <a:pt x="7" y="99"/>
                  </a:lnTo>
                  <a:lnTo>
                    <a:pt x="6" y="97"/>
                  </a:lnTo>
                  <a:lnTo>
                    <a:pt x="4" y="92"/>
                  </a:lnTo>
                  <a:lnTo>
                    <a:pt x="1" y="82"/>
                  </a:lnTo>
                  <a:lnTo>
                    <a:pt x="0" y="69"/>
                  </a:lnTo>
                  <a:lnTo>
                    <a:pt x="0" y="58"/>
                  </a:lnTo>
                  <a:lnTo>
                    <a:pt x="0" y="49"/>
                  </a:lnTo>
                  <a:lnTo>
                    <a:pt x="1" y="45"/>
                  </a:lnTo>
                  <a:lnTo>
                    <a:pt x="29" y="46"/>
                  </a:lnTo>
                  <a:lnTo>
                    <a:pt x="63" y="49"/>
                  </a:lnTo>
                  <a:lnTo>
                    <a:pt x="102" y="53"/>
                  </a:lnTo>
                  <a:lnTo>
                    <a:pt x="145" y="56"/>
                  </a:lnTo>
                  <a:lnTo>
                    <a:pt x="188" y="62"/>
                  </a:lnTo>
                  <a:lnTo>
                    <a:pt x="233" y="67"/>
                  </a:lnTo>
                  <a:lnTo>
                    <a:pt x="277" y="72"/>
                  </a:lnTo>
                  <a:lnTo>
                    <a:pt x="318" y="76"/>
                  </a:lnTo>
                  <a:lnTo>
                    <a:pt x="353" y="79"/>
                  </a:lnTo>
                  <a:lnTo>
                    <a:pt x="382" y="82"/>
                  </a:lnTo>
                  <a:lnTo>
                    <a:pt x="407" y="83"/>
                  </a:lnTo>
                  <a:lnTo>
                    <a:pt x="426" y="83"/>
                  </a:lnTo>
                  <a:lnTo>
                    <a:pt x="439" y="82"/>
                  </a:lnTo>
                  <a:lnTo>
                    <a:pt x="444" y="77"/>
                  </a:lnTo>
                  <a:lnTo>
                    <a:pt x="448" y="65"/>
                  </a:lnTo>
                  <a:lnTo>
                    <a:pt x="451" y="53"/>
                  </a:lnTo>
                  <a:lnTo>
                    <a:pt x="454" y="41"/>
                  </a:lnTo>
                  <a:lnTo>
                    <a:pt x="455" y="31"/>
                  </a:lnTo>
                  <a:lnTo>
                    <a:pt x="455" y="27"/>
                  </a:lnTo>
                  <a:lnTo>
                    <a:pt x="466" y="24"/>
                  </a:lnTo>
                  <a:lnTo>
                    <a:pt x="481" y="22"/>
                  </a:lnTo>
                  <a:lnTo>
                    <a:pt x="500" y="18"/>
                  </a:lnTo>
                  <a:lnTo>
                    <a:pt x="521" y="13"/>
                  </a:lnTo>
                  <a:lnTo>
                    <a:pt x="541" y="9"/>
                  </a:lnTo>
                  <a:lnTo>
                    <a:pt x="560" y="6"/>
                  </a:lnTo>
                  <a:lnTo>
                    <a:pt x="576" y="3"/>
                  </a:lnTo>
                  <a:lnTo>
                    <a:pt x="587" y="1"/>
                  </a:lnTo>
                  <a:lnTo>
                    <a:pt x="591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8" name="Freeform 1412"/>
            <p:cNvSpPr>
              <a:spLocks/>
            </p:cNvSpPr>
            <p:nvPr/>
          </p:nvSpPr>
          <p:spPr bwMode="auto">
            <a:xfrm>
              <a:off x="-3389313" y="1957387"/>
              <a:ext cx="887413" cy="150813"/>
            </a:xfrm>
            <a:custGeom>
              <a:avLst/>
              <a:gdLst>
                <a:gd name="T0" fmla="*/ 554 w 559"/>
                <a:gd name="T1" fmla="*/ 1 h 95"/>
                <a:gd name="T2" fmla="*/ 559 w 559"/>
                <a:gd name="T3" fmla="*/ 6 h 95"/>
                <a:gd name="T4" fmla="*/ 559 w 559"/>
                <a:gd name="T5" fmla="*/ 11 h 95"/>
                <a:gd name="T6" fmla="*/ 554 w 559"/>
                <a:gd name="T7" fmla="*/ 19 h 95"/>
                <a:gd name="T8" fmla="*/ 549 w 559"/>
                <a:gd name="T9" fmla="*/ 24 h 95"/>
                <a:gd name="T10" fmla="*/ 545 w 559"/>
                <a:gd name="T11" fmla="*/ 28 h 95"/>
                <a:gd name="T12" fmla="*/ 545 w 559"/>
                <a:gd name="T13" fmla="*/ 30 h 95"/>
                <a:gd name="T14" fmla="*/ 545 w 559"/>
                <a:gd name="T15" fmla="*/ 45 h 95"/>
                <a:gd name="T16" fmla="*/ 535 w 559"/>
                <a:gd name="T17" fmla="*/ 57 h 95"/>
                <a:gd name="T18" fmla="*/ 509 w 559"/>
                <a:gd name="T19" fmla="*/ 61 h 95"/>
                <a:gd name="T20" fmla="*/ 476 w 559"/>
                <a:gd name="T21" fmla="*/ 63 h 95"/>
                <a:gd name="T22" fmla="*/ 458 w 559"/>
                <a:gd name="T23" fmla="*/ 65 h 95"/>
                <a:gd name="T24" fmla="*/ 458 w 559"/>
                <a:gd name="T25" fmla="*/ 74 h 95"/>
                <a:gd name="T26" fmla="*/ 455 w 559"/>
                <a:gd name="T27" fmla="*/ 87 h 95"/>
                <a:gd name="T28" fmla="*/ 439 w 559"/>
                <a:gd name="T29" fmla="*/ 95 h 95"/>
                <a:gd name="T30" fmla="*/ 403 w 559"/>
                <a:gd name="T31" fmla="*/ 93 h 95"/>
                <a:gd name="T32" fmla="*/ 346 w 559"/>
                <a:gd name="T33" fmla="*/ 88 h 95"/>
                <a:gd name="T34" fmla="*/ 277 w 559"/>
                <a:gd name="T35" fmla="*/ 82 h 95"/>
                <a:gd name="T36" fmla="*/ 201 w 559"/>
                <a:gd name="T37" fmla="*/ 74 h 95"/>
                <a:gd name="T38" fmla="*/ 128 w 559"/>
                <a:gd name="T39" fmla="*/ 65 h 95"/>
                <a:gd name="T40" fmla="*/ 64 w 559"/>
                <a:gd name="T41" fmla="*/ 57 h 95"/>
                <a:gd name="T42" fmla="*/ 15 w 559"/>
                <a:gd name="T43" fmla="*/ 52 h 95"/>
                <a:gd name="T44" fmla="*/ 0 w 559"/>
                <a:gd name="T45" fmla="*/ 45 h 95"/>
                <a:gd name="T46" fmla="*/ 0 w 559"/>
                <a:gd name="T47" fmla="*/ 38 h 95"/>
                <a:gd name="T48" fmla="*/ 29 w 559"/>
                <a:gd name="T49" fmla="*/ 38 h 95"/>
                <a:gd name="T50" fmla="*/ 102 w 559"/>
                <a:gd name="T51" fmla="*/ 45 h 95"/>
                <a:gd name="T52" fmla="*/ 188 w 559"/>
                <a:gd name="T53" fmla="*/ 54 h 95"/>
                <a:gd name="T54" fmla="*/ 277 w 559"/>
                <a:gd name="T55" fmla="*/ 64 h 95"/>
                <a:gd name="T56" fmla="*/ 353 w 559"/>
                <a:gd name="T57" fmla="*/ 71 h 95"/>
                <a:gd name="T58" fmla="*/ 407 w 559"/>
                <a:gd name="T59" fmla="*/ 75 h 95"/>
                <a:gd name="T60" fmla="*/ 439 w 559"/>
                <a:gd name="T61" fmla="*/ 74 h 95"/>
                <a:gd name="T62" fmla="*/ 448 w 559"/>
                <a:gd name="T63" fmla="*/ 57 h 95"/>
                <a:gd name="T64" fmla="*/ 454 w 559"/>
                <a:gd name="T65" fmla="*/ 30 h 95"/>
                <a:gd name="T66" fmla="*/ 482 w 559"/>
                <a:gd name="T67" fmla="*/ 15 h 95"/>
                <a:gd name="T68" fmla="*/ 530 w 559"/>
                <a:gd name="T69" fmla="*/ 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9" h="95">
                  <a:moveTo>
                    <a:pt x="551" y="0"/>
                  </a:moveTo>
                  <a:lnTo>
                    <a:pt x="554" y="1"/>
                  </a:lnTo>
                  <a:lnTo>
                    <a:pt x="557" y="3"/>
                  </a:lnTo>
                  <a:lnTo>
                    <a:pt x="559" y="6"/>
                  </a:lnTo>
                  <a:lnTo>
                    <a:pt x="559" y="9"/>
                  </a:lnTo>
                  <a:lnTo>
                    <a:pt x="559" y="11"/>
                  </a:lnTo>
                  <a:lnTo>
                    <a:pt x="557" y="15"/>
                  </a:lnTo>
                  <a:lnTo>
                    <a:pt x="554" y="19"/>
                  </a:lnTo>
                  <a:lnTo>
                    <a:pt x="551" y="21"/>
                  </a:lnTo>
                  <a:lnTo>
                    <a:pt x="549" y="24"/>
                  </a:lnTo>
                  <a:lnTo>
                    <a:pt x="548" y="27"/>
                  </a:lnTo>
                  <a:lnTo>
                    <a:pt x="545" y="28"/>
                  </a:lnTo>
                  <a:lnTo>
                    <a:pt x="545" y="28"/>
                  </a:lnTo>
                  <a:lnTo>
                    <a:pt x="545" y="30"/>
                  </a:lnTo>
                  <a:lnTo>
                    <a:pt x="546" y="37"/>
                  </a:lnTo>
                  <a:lnTo>
                    <a:pt x="545" y="45"/>
                  </a:lnTo>
                  <a:lnTo>
                    <a:pt x="543" y="51"/>
                  </a:lnTo>
                  <a:lnTo>
                    <a:pt x="535" y="57"/>
                  </a:lnTo>
                  <a:lnTo>
                    <a:pt x="525" y="60"/>
                  </a:lnTo>
                  <a:lnTo>
                    <a:pt x="509" y="61"/>
                  </a:lnTo>
                  <a:lnTo>
                    <a:pt x="491" y="63"/>
                  </a:lnTo>
                  <a:lnTo>
                    <a:pt x="476" y="63"/>
                  </a:lnTo>
                  <a:lnTo>
                    <a:pt x="463" y="64"/>
                  </a:lnTo>
                  <a:lnTo>
                    <a:pt x="458" y="65"/>
                  </a:lnTo>
                  <a:lnTo>
                    <a:pt x="458" y="69"/>
                  </a:lnTo>
                  <a:lnTo>
                    <a:pt x="458" y="74"/>
                  </a:lnTo>
                  <a:lnTo>
                    <a:pt x="458" y="80"/>
                  </a:lnTo>
                  <a:lnTo>
                    <a:pt x="455" y="87"/>
                  </a:lnTo>
                  <a:lnTo>
                    <a:pt x="446" y="93"/>
                  </a:lnTo>
                  <a:lnTo>
                    <a:pt x="439" y="95"/>
                  </a:lnTo>
                  <a:lnTo>
                    <a:pt x="423" y="93"/>
                  </a:lnTo>
                  <a:lnTo>
                    <a:pt x="403" y="93"/>
                  </a:lnTo>
                  <a:lnTo>
                    <a:pt x="377" y="91"/>
                  </a:lnTo>
                  <a:lnTo>
                    <a:pt x="346" y="88"/>
                  </a:lnTo>
                  <a:lnTo>
                    <a:pt x="313" y="86"/>
                  </a:lnTo>
                  <a:lnTo>
                    <a:pt x="277" y="82"/>
                  </a:lnTo>
                  <a:lnTo>
                    <a:pt x="240" y="78"/>
                  </a:lnTo>
                  <a:lnTo>
                    <a:pt x="201" y="74"/>
                  </a:lnTo>
                  <a:lnTo>
                    <a:pt x="164" y="69"/>
                  </a:lnTo>
                  <a:lnTo>
                    <a:pt x="128" y="65"/>
                  </a:lnTo>
                  <a:lnTo>
                    <a:pt x="93" y="61"/>
                  </a:lnTo>
                  <a:lnTo>
                    <a:pt x="64" y="57"/>
                  </a:lnTo>
                  <a:lnTo>
                    <a:pt x="37" y="55"/>
                  </a:lnTo>
                  <a:lnTo>
                    <a:pt x="15" y="52"/>
                  </a:lnTo>
                  <a:lnTo>
                    <a:pt x="0" y="50"/>
                  </a:lnTo>
                  <a:lnTo>
                    <a:pt x="0" y="45"/>
                  </a:lnTo>
                  <a:lnTo>
                    <a:pt x="0" y="41"/>
                  </a:lnTo>
                  <a:lnTo>
                    <a:pt x="0" y="38"/>
                  </a:lnTo>
                  <a:lnTo>
                    <a:pt x="1" y="37"/>
                  </a:lnTo>
                  <a:lnTo>
                    <a:pt x="29" y="38"/>
                  </a:lnTo>
                  <a:lnTo>
                    <a:pt x="63" y="41"/>
                  </a:lnTo>
                  <a:lnTo>
                    <a:pt x="102" y="45"/>
                  </a:lnTo>
                  <a:lnTo>
                    <a:pt x="145" y="48"/>
                  </a:lnTo>
                  <a:lnTo>
                    <a:pt x="188" y="54"/>
                  </a:lnTo>
                  <a:lnTo>
                    <a:pt x="233" y="59"/>
                  </a:lnTo>
                  <a:lnTo>
                    <a:pt x="277" y="64"/>
                  </a:lnTo>
                  <a:lnTo>
                    <a:pt x="318" y="68"/>
                  </a:lnTo>
                  <a:lnTo>
                    <a:pt x="353" y="71"/>
                  </a:lnTo>
                  <a:lnTo>
                    <a:pt x="382" y="74"/>
                  </a:lnTo>
                  <a:lnTo>
                    <a:pt x="407" y="75"/>
                  </a:lnTo>
                  <a:lnTo>
                    <a:pt x="426" y="75"/>
                  </a:lnTo>
                  <a:lnTo>
                    <a:pt x="439" y="74"/>
                  </a:lnTo>
                  <a:lnTo>
                    <a:pt x="444" y="68"/>
                  </a:lnTo>
                  <a:lnTo>
                    <a:pt x="448" y="57"/>
                  </a:lnTo>
                  <a:lnTo>
                    <a:pt x="451" y="43"/>
                  </a:lnTo>
                  <a:lnTo>
                    <a:pt x="454" y="30"/>
                  </a:lnTo>
                  <a:lnTo>
                    <a:pt x="455" y="21"/>
                  </a:lnTo>
                  <a:lnTo>
                    <a:pt x="482" y="15"/>
                  </a:lnTo>
                  <a:lnTo>
                    <a:pt x="505" y="9"/>
                  </a:lnTo>
                  <a:lnTo>
                    <a:pt x="530" y="3"/>
                  </a:lnTo>
                  <a:lnTo>
                    <a:pt x="551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9" name="Freeform 1413"/>
            <p:cNvSpPr>
              <a:spLocks/>
            </p:cNvSpPr>
            <p:nvPr/>
          </p:nvSpPr>
          <p:spPr bwMode="auto">
            <a:xfrm>
              <a:off x="-2876550" y="1849437"/>
              <a:ext cx="376238" cy="227013"/>
            </a:xfrm>
            <a:custGeom>
              <a:avLst/>
              <a:gdLst>
                <a:gd name="T0" fmla="*/ 225 w 237"/>
                <a:gd name="T1" fmla="*/ 1 h 143"/>
                <a:gd name="T2" fmla="*/ 230 w 237"/>
                <a:gd name="T3" fmla="*/ 5 h 143"/>
                <a:gd name="T4" fmla="*/ 231 w 237"/>
                <a:gd name="T5" fmla="*/ 10 h 143"/>
                <a:gd name="T6" fmla="*/ 228 w 237"/>
                <a:gd name="T7" fmla="*/ 15 h 143"/>
                <a:gd name="T8" fmla="*/ 223 w 237"/>
                <a:gd name="T9" fmla="*/ 20 h 143"/>
                <a:gd name="T10" fmla="*/ 204 w 237"/>
                <a:gd name="T11" fmla="*/ 27 h 143"/>
                <a:gd name="T12" fmla="*/ 180 w 237"/>
                <a:gd name="T13" fmla="*/ 34 h 143"/>
                <a:gd name="T14" fmla="*/ 164 w 237"/>
                <a:gd name="T15" fmla="*/ 41 h 143"/>
                <a:gd name="T16" fmla="*/ 167 w 237"/>
                <a:gd name="T17" fmla="*/ 41 h 143"/>
                <a:gd name="T18" fmla="*/ 190 w 237"/>
                <a:gd name="T19" fmla="*/ 36 h 143"/>
                <a:gd name="T20" fmla="*/ 218 w 237"/>
                <a:gd name="T21" fmla="*/ 32 h 143"/>
                <a:gd name="T22" fmla="*/ 234 w 237"/>
                <a:gd name="T23" fmla="*/ 32 h 143"/>
                <a:gd name="T24" fmla="*/ 237 w 237"/>
                <a:gd name="T25" fmla="*/ 37 h 143"/>
                <a:gd name="T26" fmla="*/ 236 w 237"/>
                <a:gd name="T27" fmla="*/ 45 h 143"/>
                <a:gd name="T28" fmla="*/ 231 w 237"/>
                <a:gd name="T29" fmla="*/ 51 h 143"/>
                <a:gd name="T30" fmla="*/ 216 w 237"/>
                <a:gd name="T31" fmla="*/ 56 h 143"/>
                <a:gd name="T32" fmla="*/ 184 w 237"/>
                <a:gd name="T33" fmla="*/ 63 h 143"/>
                <a:gd name="T34" fmla="*/ 154 w 237"/>
                <a:gd name="T35" fmla="*/ 69 h 143"/>
                <a:gd name="T36" fmla="*/ 140 w 237"/>
                <a:gd name="T37" fmla="*/ 71 h 143"/>
                <a:gd name="T38" fmla="*/ 154 w 237"/>
                <a:gd name="T39" fmla="*/ 70 h 143"/>
                <a:gd name="T40" fmla="*/ 185 w 237"/>
                <a:gd name="T41" fmla="*/ 70 h 143"/>
                <a:gd name="T42" fmla="*/ 217 w 237"/>
                <a:gd name="T43" fmla="*/ 71 h 143"/>
                <a:gd name="T44" fmla="*/ 232 w 237"/>
                <a:gd name="T45" fmla="*/ 73 h 143"/>
                <a:gd name="T46" fmla="*/ 227 w 237"/>
                <a:gd name="T47" fmla="*/ 82 h 143"/>
                <a:gd name="T48" fmla="*/ 216 w 237"/>
                <a:gd name="T49" fmla="*/ 91 h 143"/>
                <a:gd name="T50" fmla="*/ 204 w 237"/>
                <a:gd name="T51" fmla="*/ 93 h 143"/>
                <a:gd name="T52" fmla="*/ 177 w 237"/>
                <a:gd name="T53" fmla="*/ 96 h 143"/>
                <a:gd name="T54" fmla="*/ 145 w 237"/>
                <a:gd name="T55" fmla="*/ 98 h 143"/>
                <a:gd name="T56" fmla="*/ 123 w 237"/>
                <a:gd name="T57" fmla="*/ 101 h 143"/>
                <a:gd name="T58" fmla="*/ 125 w 237"/>
                <a:gd name="T59" fmla="*/ 101 h 143"/>
                <a:gd name="T60" fmla="*/ 149 w 237"/>
                <a:gd name="T61" fmla="*/ 102 h 143"/>
                <a:gd name="T62" fmla="*/ 180 w 237"/>
                <a:gd name="T63" fmla="*/ 105 h 143"/>
                <a:gd name="T64" fmla="*/ 203 w 237"/>
                <a:gd name="T65" fmla="*/ 107 h 143"/>
                <a:gd name="T66" fmla="*/ 207 w 237"/>
                <a:gd name="T67" fmla="*/ 114 h 143"/>
                <a:gd name="T68" fmla="*/ 203 w 237"/>
                <a:gd name="T69" fmla="*/ 120 h 143"/>
                <a:gd name="T70" fmla="*/ 194 w 237"/>
                <a:gd name="T71" fmla="*/ 124 h 143"/>
                <a:gd name="T72" fmla="*/ 182 w 237"/>
                <a:gd name="T73" fmla="*/ 125 h 143"/>
                <a:gd name="T74" fmla="*/ 157 w 237"/>
                <a:gd name="T75" fmla="*/ 124 h 143"/>
                <a:gd name="T76" fmla="*/ 135 w 237"/>
                <a:gd name="T77" fmla="*/ 127 h 143"/>
                <a:gd name="T78" fmla="*/ 126 w 237"/>
                <a:gd name="T79" fmla="*/ 128 h 143"/>
                <a:gd name="T80" fmla="*/ 118 w 237"/>
                <a:gd name="T81" fmla="*/ 133 h 143"/>
                <a:gd name="T82" fmla="*/ 107 w 237"/>
                <a:gd name="T83" fmla="*/ 142 h 143"/>
                <a:gd name="T84" fmla="*/ 103 w 237"/>
                <a:gd name="T85" fmla="*/ 143 h 143"/>
                <a:gd name="T86" fmla="*/ 96 w 237"/>
                <a:gd name="T87" fmla="*/ 143 h 143"/>
                <a:gd name="T88" fmla="*/ 73 w 237"/>
                <a:gd name="T89" fmla="*/ 143 h 143"/>
                <a:gd name="T90" fmla="*/ 32 w 237"/>
                <a:gd name="T91" fmla="*/ 141 h 143"/>
                <a:gd name="T92" fmla="*/ 4 w 237"/>
                <a:gd name="T93" fmla="*/ 137 h 143"/>
                <a:gd name="T94" fmla="*/ 68 w 237"/>
                <a:gd name="T95" fmla="*/ 63 h 143"/>
                <a:gd name="T96" fmla="*/ 85 w 237"/>
                <a:gd name="T97" fmla="*/ 45 h 143"/>
                <a:gd name="T98" fmla="*/ 113 w 237"/>
                <a:gd name="T99" fmla="*/ 24 h 143"/>
                <a:gd name="T100" fmla="*/ 141 w 237"/>
                <a:gd name="T101" fmla="*/ 14 h 143"/>
                <a:gd name="T102" fmla="*/ 178 w 237"/>
                <a:gd name="T103" fmla="*/ 5 h 143"/>
                <a:gd name="T104" fmla="*/ 211 w 237"/>
                <a:gd name="T105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7" h="143">
                  <a:moveTo>
                    <a:pt x="221" y="0"/>
                  </a:moveTo>
                  <a:lnTo>
                    <a:pt x="225" y="1"/>
                  </a:lnTo>
                  <a:lnTo>
                    <a:pt x="227" y="2"/>
                  </a:lnTo>
                  <a:lnTo>
                    <a:pt x="230" y="5"/>
                  </a:lnTo>
                  <a:lnTo>
                    <a:pt x="230" y="7"/>
                  </a:lnTo>
                  <a:lnTo>
                    <a:pt x="231" y="10"/>
                  </a:lnTo>
                  <a:lnTo>
                    <a:pt x="230" y="12"/>
                  </a:lnTo>
                  <a:lnTo>
                    <a:pt x="228" y="15"/>
                  </a:lnTo>
                  <a:lnTo>
                    <a:pt x="227" y="18"/>
                  </a:lnTo>
                  <a:lnTo>
                    <a:pt x="223" y="20"/>
                  </a:lnTo>
                  <a:lnTo>
                    <a:pt x="216" y="23"/>
                  </a:lnTo>
                  <a:lnTo>
                    <a:pt x="204" y="27"/>
                  </a:lnTo>
                  <a:lnTo>
                    <a:pt x="193" y="32"/>
                  </a:lnTo>
                  <a:lnTo>
                    <a:pt x="180" y="34"/>
                  </a:lnTo>
                  <a:lnTo>
                    <a:pt x="171" y="38"/>
                  </a:lnTo>
                  <a:lnTo>
                    <a:pt x="164" y="41"/>
                  </a:lnTo>
                  <a:lnTo>
                    <a:pt x="163" y="41"/>
                  </a:lnTo>
                  <a:lnTo>
                    <a:pt x="167" y="41"/>
                  </a:lnTo>
                  <a:lnTo>
                    <a:pt x="177" y="38"/>
                  </a:lnTo>
                  <a:lnTo>
                    <a:pt x="190" y="36"/>
                  </a:lnTo>
                  <a:lnTo>
                    <a:pt x="204" y="33"/>
                  </a:lnTo>
                  <a:lnTo>
                    <a:pt x="218" y="32"/>
                  </a:lnTo>
                  <a:lnTo>
                    <a:pt x="228" y="30"/>
                  </a:lnTo>
                  <a:lnTo>
                    <a:pt x="234" y="32"/>
                  </a:lnTo>
                  <a:lnTo>
                    <a:pt x="236" y="34"/>
                  </a:lnTo>
                  <a:lnTo>
                    <a:pt x="237" y="37"/>
                  </a:lnTo>
                  <a:lnTo>
                    <a:pt x="237" y="41"/>
                  </a:lnTo>
                  <a:lnTo>
                    <a:pt x="236" y="45"/>
                  </a:lnTo>
                  <a:lnTo>
                    <a:pt x="234" y="47"/>
                  </a:lnTo>
                  <a:lnTo>
                    <a:pt x="231" y="51"/>
                  </a:lnTo>
                  <a:lnTo>
                    <a:pt x="226" y="54"/>
                  </a:lnTo>
                  <a:lnTo>
                    <a:pt x="216" y="56"/>
                  </a:lnTo>
                  <a:lnTo>
                    <a:pt x="200" y="59"/>
                  </a:lnTo>
                  <a:lnTo>
                    <a:pt x="184" y="63"/>
                  </a:lnTo>
                  <a:lnTo>
                    <a:pt x="168" y="66"/>
                  </a:lnTo>
                  <a:lnTo>
                    <a:pt x="154" y="69"/>
                  </a:lnTo>
                  <a:lnTo>
                    <a:pt x="144" y="70"/>
                  </a:lnTo>
                  <a:lnTo>
                    <a:pt x="140" y="71"/>
                  </a:lnTo>
                  <a:lnTo>
                    <a:pt x="144" y="71"/>
                  </a:lnTo>
                  <a:lnTo>
                    <a:pt x="154" y="70"/>
                  </a:lnTo>
                  <a:lnTo>
                    <a:pt x="168" y="70"/>
                  </a:lnTo>
                  <a:lnTo>
                    <a:pt x="185" y="70"/>
                  </a:lnTo>
                  <a:lnTo>
                    <a:pt x="202" y="70"/>
                  </a:lnTo>
                  <a:lnTo>
                    <a:pt x="217" y="71"/>
                  </a:lnTo>
                  <a:lnTo>
                    <a:pt x="227" y="71"/>
                  </a:lnTo>
                  <a:lnTo>
                    <a:pt x="232" y="73"/>
                  </a:lnTo>
                  <a:lnTo>
                    <a:pt x="231" y="77"/>
                  </a:lnTo>
                  <a:lnTo>
                    <a:pt x="227" y="82"/>
                  </a:lnTo>
                  <a:lnTo>
                    <a:pt x="222" y="87"/>
                  </a:lnTo>
                  <a:lnTo>
                    <a:pt x="216" y="91"/>
                  </a:lnTo>
                  <a:lnTo>
                    <a:pt x="211" y="93"/>
                  </a:lnTo>
                  <a:lnTo>
                    <a:pt x="204" y="93"/>
                  </a:lnTo>
                  <a:lnTo>
                    <a:pt x="193" y="95"/>
                  </a:lnTo>
                  <a:lnTo>
                    <a:pt x="177" y="96"/>
                  </a:lnTo>
                  <a:lnTo>
                    <a:pt x="160" y="97"/>
                  </a:lnTo>
                  <a:lnTo>
                    <a:pt x="145" y="98"/>
                  </a:lnTo>
                  <a:lnTo>
                    <a:pt x="132" y="100"/>
                  </a:lnTo>
                  <a:lnTo>
                    <a:pt x="123" y="101"/>
                  </a:lnTo>
                  <a:lnTo>
                    <a:pt x="121" y="101"/>
                  </a:lnTo>
                  <a:lnTo>
                    <a:pt x="125" y="101"/>
                  </a:lnTo>
                  <a:lnTo>
                    <a:pt x="135" y="102"/>
                  </a:lnTo>
                  <a:lnTo>
                    <a:pt x="149" y="102"/>
                  </a:lnTo>
                  <a:lnTo>
                    <a:pt x="164" y="104"/>
                  </a:lnTo>
                  <a:lnTo>
                    <a:pt x="180" y="105"/>
                  </a:lnTo>
                  <a:lnTo>
                    <a:pt x="194" y="106"/>
                  </a:lnTo>
                  <a:lnTo>
                    <a:pt x="203" y="107"/>
                  </a:lnTo>
                  <a:lnTo>
                    <a:pt x="207" y="110"/>
                  </a:lnTo>
                  <a:lnTo>
                    <a:pt x="207" y="114"/>
                  </a:lnTo>
                  <a:lnTo>
                    <a:pt x="205" y="116"/>
                  </a:lnTo>
                  <a:lnTo>
                    <a:pt x="203" y="120"/>
                  </a:lnTo>
                  <a:lnTo>
                    <a:pt x="199" y="123"/>
                  </a:lnTo>
                  <a:lnTo>
                    <a:pt x="194" y="124"/>
                  </a:lnTo>
                  <a:lnTo>
                    <a:pt x="187" y="125"/>
                  </a:lnTo>
                  <a:lnTo>
                    <a:pt x="182" y="125"/>
                  </a:lnTo>
                  <a:lnTo>
                    <a:pt x="171" y="124"/>
                  </a:lnTo>
                  <a:lnTo>
                    <a:pt x="157" y="124"/>
                  </a:lnTo>
                  <a:lnTo>
                    <a:pt x="145" y="125"/>
                  </a:lnTo>
                  <a:lnTo>
                    <a:pt x="135" y="127"/>
                  </a:lnTo>
                  <a:lnTo>
                    <a:pt x="128" y="128"/>
                  </a:lnTo>
                  <a:lnTo>
                    <a:pt x="126" y="128"/>
                  </a:lnTo>
                  <a:lnTo>
                    <a:pt x="123" y="129"/>
                  </a:lnTo>
                  <a:lnTo>
                    <a:pt x="118" y="133"/>
                  </a:lnTo>
                  <a:lnTo>
                    <a:pt x="112" y="138"/>
                  </a:lnTo>
                  <a:lnTo>
                    <a:pt x="107" y="142"/>
                  </a:lnTo>
                  <a:lnTo>
                    <a:pt x="103" y="143"/>
                  </a:lnTo>
                  <a:lnTo>
                    <a:pt x="103" y="143"/>
                  </a:lnTo>
                  <a:lnTo>
                    <a:pt x="101" y="143"/>
                  </a:lnTo>
                  <a:lnTo>
                    <a:pt x="96" y="143"/>
                  </a:lnTo>
                  <a:lnTo>
                    <a:pt x="87" y="143"/>
                  </a:lnTo>
                  <a:lnTo>
                    <a:pt x="73" y="143"/>
                  </a:lnTo>
                  <a:lnTo>
                    <a:pt x="51" y="142"/>
                  </a:lnTo>
                  <a:lnTo>
                    <a:pt x="32" y="141"/>
                  </a:lnTo>
                  <a:lnTo>
                    <a:pt x="16" y="139"/>
                  </a:lnTo>
                  <a:lnTo>
                    <a:pt x="4" y="137"/>
                  </a:lnTo>
                  <a:lnTo>
                    <a:pt x="0" y="137"/>
                  </a:lnTo>
                  <a:lnTo>
                    <a:pt x="68" y="63"/>
                  </a:lnTo>
                  <a:lnTo>
                    <a:pt x="75" y="55"/>
                  </a:lnTo>
                  <a:lnTo>
                    <a:pt x="85" y="45"/>
                  </a:lnTo>
                  <a:lnTo>
                    <a:pt x="98" y="34"/>
                  </a:lnTo>
                  <a:lnTo>
                    <a:pt x="113" y="24"/>
                  </a:lnTo>
                  <a:lnTo>
                    <a:pt x="127" y="18"/>
                  </a:lnTo>
                  <a:lnTo>
                    <a:pt x="141" y="14"/>
                  </a:lnTo>
                  <a:lnTo>
                    <a:pt x="159" y="9"/>
                  </a:lnTo>
                  <a:lnTo>
                    <a:pt x="178" y="5"/>
                  </a:lnTo>
                  <a:lnTo>
                    <a:pt x="196" y="2"/>
                  </a:lnTo>
                  <a:lnTo>
                    <a:pt x="211" y="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0" name="Freeform 1414"/>
            <p:cNvSpPr>
              <a:spLocks/>
            </p:cNvSpPr>
            <p:nvPr/>
          </p:nvSpPr>
          <p:spPr bwMode="auto">
            <a:xfrm>
              <a:off x="-2949575" y="4997450"/>
              <a:ext cx="412750" cy="204788"/>
            </a:xfrm>
            <a:custGeom>
              <a:avLst/>
              <a:gdLst>
                <a:gd name="T0" fmla="*/ 131 w 260"/>
                <a:gd name="T1" fmla="*/ 0 h 129"/>
                <a:gd name="T2" fmla="*/ 155 w 260"/>
                <a:gd name="T3" fmla="*/ 3 h 129"/>
                <a:gd name="T4" fmla="*/ 180 w 260"/>
                <a:gd name="T5" fmla="*/ 9 h 129"/>
                <a:gd name="T6" fmla="*/ 201 w 260"/>
                <a:gd name="T7" fmla="*/ 19 h 129"/>
                <a:gd name="T8" fmla="*/ 222 w 260"/>
                <a:gd name="T9" fmla="*/ 34 h 129"/>
                <a:gd name="T10" fmla="*/ 239 w 260"/>
                <a:gd name="T11" fmla="*/ 52 h 129"/>
                <a:gd name="T12" fmla="*/ 251 w 260"/>
                <a:gd name="T13" fmla="*/ 75 h 129"/>
                <a:gd name="T14" fmla="*/ 260 w 260"/>
                <a:gd name="T15" fmla="*/ 103 h 129"/>
                <a:gd name="T16" fmla="*/ 260 w 260"/>
                <a:gd name="T17" fmla="*/ 109 h 129"/>
                <a:gd name="T18" fmla="*/ 260 w 260"/>
                <a:gd name="T19" fmla="*/ 116 h 129"/>
                <a:gd name="T20" fmla="*/ 257 w 260"/>
                <a:gd name="T21" fmla="*/ 121 h 129"/>
                <a:gd name="T22" fmla="*/ 250 w 260"/>
                <a:gd name="T23" fmla="*/ 125 h 129"/>
                <a:gd name="T24" fmla="*/ 242 w 260"/>
                <a:gd name="T25" fmla="*/ 126 h 129"/>
                <a:gd name="T26" fmla="*/ 227 w 260"/>
                <a:gd name="T27" fmla="*/ 127 h 129"/>
                <a:gd name="T28" fmla="*/ 205 w 260"/>
                <a:gd name="T29" fmla="*/ 127 h 129"/>
                <a:gd name="T30" fmla="*/ 181 w 260"/>
                <a:gd name="T31" fmla="*/ 129 h 129"/>
                <a:gd name="T32" fmla="*/ 153 w 260"/>
                <a:gd name="T33" fmla="*/ 129 h 129"/>
                <a:gd name="T34" fmla="*/ 123 w 260"/>
                <a:gd name="T35" fmla="*/ 129 h 129"/>
                <a:gd name="T36" fmla="*/ 94 w 260"/>
                <a:gd name="T37" fmla="*/ 129 h 129"/>
                <a:gd name="T38" fmla="*/ 68 w 260"/>
                <a:gd name="T39" fmla="*/ 129 h 129"/>
                <a:gd name="T40" fmla="*/ 45 w 260"/>
                <a:gd name="T41" fmla="*/ 129 h 129"/>
                <a:gd name="T42" fmla="*/ 28 w 260"/>
                <a:gd name="T43" fmla="*/ 127 h 129"/>
                <a:gd name="T44" fmla="*/ 19 w 260"/>
                <a:gd name="T45" fmla="*/ 127 h 129"/>
                <a:gd name="T46" fmla="*/ 13 w 260"/>
                <a:gd name="T47" fmla="*/ 125 h 129"/>
                <a:gd name="T48" fmla="*/ 8 w 260"/>
                <a:gd name="T49" fmla="*/ 123 h 129"/>
                <a:gd name="T50" fmla="*/ 5 w 260"/>
                <a:gd name="T51" fmla="*/ 121 h 129"/>
                <a:gd name="T52" fmla="*/ 2 w 260"/>
                <a:gd name="T53" fmla="*/ 118 h 129"/>
                <a:gd name="T54" fmla="*/ 1 w 260"/>
                <a:gd name="T55" fmla="*/ 116 h 129"/>
                <a:gd name="T56" fmla="*/ 0 w 260"/>
                <a:gd name="T57" fmla="*/ 113 h 129"/>
                <a:gd name="T58" fmla="*/ 0 w 260"/>
                <a:gd name="T59" fmla="*/ 111 h 129"/>
                <a:gd name="T60" fmla="*/ 0 w 260"/>
                <a:gd name="T61" fmla="*/ 109 h 129"/>
                <a:gd name="T62" fmla="*/ 0 w 260"/>
                <a:gd name="T63" fmla="*/ 103 h 129"/>
                <a:gd name="T64" fmla="*/ 0 w 260"/>
                <a:gd name="T65" fmla="*/ 94 h 129"/>
                <a:gd name="T66" fmla="*/ 1 w 260"/>
                <a:gd name="T67" fmla="*/ 86 h 129"/>
                <a:gd name="T68" fmla="*/ 0 w 260"/>
                <a:gd name="T69" fmla="*/ 81 h 129"/>
                <a:gd name="T70" fmla="*/ 2 w 260"/>
                <a:gd name="T71" fmla="*/ 63 h 129"/>
                <a:gd name="T72" fmla="*/ 11 w 260"/>
                <a:gd name="T73" fmla="*/ 46 h 129"/>
                <a:gd name="T74" fmla="*/ 24 w 260"/>
                <a:gd name="T75" fmla="*/ 32 h 129"/>
                <a:gd name="T76" fmla="*/ 41 w 260"/>
                <a:gd name="T77" fmla="*/ 21 h 129"/>
                <a:gd name="T78" fmla="*/ 62 w 260"/>
                <a:gd name="T79" fmla="*/ 10 h 129"/>
                <a:gd name="T80" fmla="*/ 83 w 260"/>
                <a:gd name="T81" fmla="*/ 4 h 129"/>
                <a:gd name="T82" fmla="*/ 106 w 260"/>
                <a:gd name="T83" fmla="*/ 0 h 129"/>
                <a:gd name="T84" fmla="*/ 131 w 260"/>
                <a:gd name="T85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0" h="129">
                  <a:moveTo>
                    <a:pt x="131" y="0"/>
                  </a:moveTo>
                  <a:lnTo>
                    <a:pt x="155" y="3"/>
                  </a:lnTo>
                  <a:lnTo>
                    <a:pt x="180" y="9"/>
                  </a:lnTo>
                  <a:lnTo>
                    <a:pt x="201" y="19"/>
                  </a:lnTo>
                  <a:lnTo>
                    <a:pt x="222" y="34"/>
                  </a:lnTo>
                  <a:lnTo>
                    <a:pt x="239" y="52"/>
                  </a:lnTo>
                  <a:lnTo>
                    <a:pt x="251" y="75"/>
                  </a:lnTo>
                  <a:lnTo>
                    <a:pt x="260" y="103"/>
                  </a:lnTo>
                  <a:lnTo>
                    <a:pt x="260" y="109"/>
                  </a:lnTo>
                  <a:lnTo>
                    <a:pt x="260" y="116"/>
                  </a:lnTo>
                  <a:lnTo>
                    <a:pt x="257" y="121"/>
                  </a:lnTo>
                  <a:lnTo>
                    <a:pt x="250" y="125"/>
                  </a:lnTo>
                  <a:lnTo>
                    <a:pt x="242" y="126"/>
                  </a:lnTo>
                  <a:lnTo>
                    <a:pt x="227" y="127"/>
                  </a:lnTo>
                  <a:lnTo>
                    <a:pt x="205" y="127"/>
                  </a:lnTo>
                  <a:lnTo>
                    <a:pt x="181" y="129"/>
                  </a:lnTo>
                  <a:lnTo>
                    <a:pt x="153" y="129"/>
                  </a:lnTo>
                  <a:lnTo>
                    <a:pt x="123" y="129"/>
                  </a:lnTo>
                  <a:lnTo>
                    <a:pt x="94" y="129"/>
                  </a:lnTo>
                  <a:lnTo>
                    <a:pt x="68" y="129"/>
                  </a:lnTo>
                  <a:lnTo>
                    <a:pt x="45" y="129"/>
                  </a:lnTo>
                  <a:lnTo>
                    <a:pt x="28" y="127"/>
                  </a:lnTo>
                  <a:lnTo>
                    <a:pt x="19" y="127"/>
                  </a:lnTo>
                  <a:lnTo>
                    <a:pt x="13" y="125"/>
                  </a:lnTo>
                  <a:lnTo>
                    <a:pt x="8" y="123"/>
                  </a:lnTo>
                  <a:lnTo>
                    <a:pt x="5" y="121"/>
                  </a:lnTo>
                  <a:lnTo>
                    <a:pt x="2" y="118"/>
                  </a:lnTo>
                  <a:lnTo>
                    <a:pt x="1" y="116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0" y="103"/>
                  </a:lnTo>
                  <a:lnTo>
                    <a:pt x="0" y="94"/>
                  </a:lnTo>
                  <a:lnTo>
                    <a:pt x="1" y="86"/>
                  </a:lnTo>
                  <a:lnTo>
                    <a:pt x="0" y="81"/>
                  </a:lnTo>
                  <a:lnTo>
                    <a:pt x="2" y="63"/>
                  </a:lnTo>
                  <a:lnTo>
                    <a:pt x="11" y="46"/>
                  </a:lnTo>
                  <a:lnTo>
                    <a:pt x="24" y="32"/>
                  </a:lnTo>
                  <a:lnTo>
                    <a:pt x="41" y="21"/>
                  </a:lnTo>
                  <a:lnTo>
                    <a:pt x="62" y="10"/>
                  </a:lnTo>
                  <a:lnTo>
                    <a:pt x="83" y="4"/>
                  </a:lnTo>
                  <a:lnTo>
                    <a:pt x="106" y="0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58481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1" name="Freeform 1415"/>
            <p:cNvSpPr>
              <a:spLocks/>
            </p:cNvSpPr>
            <p:nvPr/>
          </p:nvSpPr>
          <p:spPr bwMode="auto">
            <a:xfrm>
              <a:off x="-3232150" y="496887"/>
              <a:ext cx="463550" cy="276225"/>
            </a:xfrm>
            <a:custGeom>
              <a:avLst/>
              <a:gdLst>
                <a:gd name="T0" fmla="*/ 155 w 292"/>
                <a:gd name="T1" fmla="*/ 4 h 174"/>
                <a:gd name="T2" fmla="*/ 192 w 292"/>
                <a:gd name="T3" fmla="*/ 22 h 174"/>
                <a:gd name="T4" fmla="*/ 246 w 292"/>
                <a:gd name="T5" fmla="*/ 52 h 174"/>
                <a:gd name="T6" fmla="*/ 275 w 292"/>
                <a:gd name="T7" fmla="*/ 75 h 174"/>
                <a:gd name="T8" fmla="*/ 290 w 292"/>
                <a:gd name="T9" fmla="*/ 95 h 174"/>
                <a:gd name="T10" fmla="*/ 286 w 292"/>
                <a:gd name="T11" fmla="*/ 92 h 174"/>
                <a:gd name="T12" fmla="*/ 246 w 292"/>
                <a:gd name="T13" fmla="*/ 68 h 174"/>
                <a:gd name="T14" fmla="*/ 200 w 292"/>
                <a:gd name="T15" fmla="*/ 47 h 174"/>
                <a:gd name="T16" fmla="*/ 178 w 292"/>
                <a:gd name="T17" fmla="*/ 39 h 174"/>
                <a:gd name="T18" fmla="*/ 219 w 292"/>
                <a:gd name="T19" fmla="*/ 66 h 174"/>
                <a:gd name="T20" fmla="*/ 204 w 292"/>
                <a:gd name="T21" fmla="*/ 64 h 174"/>
                <a:gd name="T22" fmla="*/ 172 w 292"/>
                <a:gd name="T23" fmla="*/ 64 h 174"/>
                <a:gd name="T24" fmla="*/ 161 w 292"/>
                <a:gd name="T25" fmla="*/ 64 h 174"/>
                <a:gd name="T26" fmla="*/ 189 w 292"/>
                <a:gd name="T27" fmla="*/ 70 h 174"/>
                <a:gd name="T28" fmla="*/ 229 w 292"/>
                <a:gd name="T29" fmla="*/ 84 h 174"/>
                <a:gd name="T30" fmla="*/ 251 w 292"/>
                <a:gd name="T31" fmla="*/ 93 h 174"/>
                <a:gd name="T32" fmla="*/ 227 w 292"/>
                <a:gd name="T33" fmla="*/ 93 h 174"/>
                <a:gd name="T34" fmla="*/ 184 w 292"/>
                <a:gd name="T35" fmla="*/ 96 h 174"/>
                <a:gd name="T36" fmla="*/ 138 w 292"/>
                <a:gd name="T37" fmla="*/ 104 h 174"/>
                <a:gd name="T38" fmla="*/ 112 w 292"/>
                <a:gd name="T39" fmla="*/ 109 h 174"/>
                <a:gd name="T40" fmla="*/ 139 w 292"/>
                <a:gd name="T41" fmla="*/ 107 h 174"/>
                <a:gd name="T42" fmla="*/ 205 w 292"/>
                <a:gd name="T43" fmla="*/ 105 h 174"/>
                <a:gd name="T44" fmla="*/ 256 w 292"/>
                <a:gd name="T45" fmla="*/ 106 h 174"/>
                <a:gd name="T46" fmla="*/ 252 w 292"/>
                <a:gd name="T47" fmla="*/ 106 h 174"/>
                <a:gd name="T48" fmla="*/ 204 w 292"/>
                <a:gd name="T49" fmla="*/ 115 h 174"/>
                <a:gd name="T50" fmla="*/ 177 w 292"/>
                <a:gd name="T51" fmla="*/ 133 h 174"/>
                <a:gd name="T52" fmla="*/ 233 w 292"/>
                <a:gd name="T53" fmla="*/ 125 h 174"/>
                <a:gd name="T54" fmla="*/ 205 w 292"/>
                <a:gd name="T55" fmla="*/ 138 h 174"/>
                <a:gd name="T56" fmla="*/ 183 w 292"/>
                <a:gd name="T57" fmla="*/ 156 h 174"/>
                <a:gd name="T58" fmla="*/ 255 w 292"/>
                <a:gd name="T59" fmla="*/ 142 h 174"/>
                <a:gd name="T60" fmla="*/ 219 w 292"/>
                <a:gd name="T61" fmla="*/ 160 h 174"/>
                <a:gd name="T62" fmla="*/ 179 w 292"/>
                <a:gd name="T63" fmla="*/ 174 h 174"/>
                <a:gd name="T64" fmla="*/ 130 w 292"/>
                <a:gd name="T65" fmla="*/ 168 h 174"/>
                <a:gd name="T66" fmla="*/ 77 w 292"/>
                <a:gd name="T67" fmla="*/ 152 h 174"/>
                <a:gd name="T68" fmla="*/ 80 w 292"/>
                <a:gd name="T69" fmla="*/ 146 h 174"/>
                <a:gd name="T70" fmla="*/ 133 w 292"/>
                <a:gd name="T71" fmla="*/ 143 h 174"/>
                <a:gd name="T72" fmla="*/ 150 w 292"/>
                <a:gd name="T73" fmla="*/ 141 h 174"/>
                <a:gd name="T74" fmla="*/ 101 w 292"/>
                <a:gd name="T75" fmla="*/ 122 h 174"/>
                <a:gd name="T76" fmla="*/ 42 w 292"/>
                <a:gd name="T77" fmla="*/ 119 h 174"/>
                <a:gd name="T78" fmla="*/ 32 w 292"/>
                <a:gd name="T79" fmla="*/ 122 h 174"/>
                <a:gd name="T80" fmla="*/ 66 w 292"/>
                <a:gd name="T81" fmla="*/ 100 h 174"/>
                <a:gd name="T82" fmla="*/ 123 w 292"/>
                <a:gd name="T83" fmla="*/ 83 h 174"/>
                <a:gd name="T84" fmla="*/ 169 w 292"/>
                <a:gd name="T85" fmla="*/ 83 h 174"/>
                <a:gd name="T86" fmla="*/ 178 w 292"/>
                <a:gd name="T87" fmla="*/ 84 h 174"/>
                <a:gd name="T88" fmla="*/ 143 w 292"/>
                <a:gd name="T89" fmla="*/ 74 h 174"/>
                <a:gd name="T90" fmla="*/ 84 w 292"/>
                <a:gd name="T91" fmla="*/ 68 h 174"/>
                <a:gd name="T92" fmla="*/ 27 w 292"/>
                <a:gd name="T93" fmla="*/ 70 h 174"/>
                <a:gd name="T94" fmla="*/ 0 w 292"/>
                <a:gd name="T95" fmla="*/ 72 h 174"/>
                <a:gd name="T96" fmla="*/ 21 w 292"/>
                <a:gd name="T97" fmla="*/ 63 h 174"/>
                <a:gd name="T98" fmla="*/ 69 w 292"/>
                <a:gd name="T99" fmla="*/ 47 h 174"/>
                <a:gd name="T100" fmla="*/ 127 w 292"/>
                <a:gd name="T101" fmla="*/ 47 h 174"/>
                <a:gd name="T102" fmla="*/ 166 w 292"/>
                <a:gd name="T103" fmla="*/ 51 h 174"/>
                <a:gd name="T104" fmla="*/ 160 w 292"/>
                <a:gd name="T105" fmla="*/ 45 h 174"/>
                <a:gd name="T106" fmla="*/ 111 w 292"/>
                <a:gd name="T107" fmla="*/ 25 h 174"/>
                <a:gd name="T108" fmla="*/ 64 w 292"/>
                <a:gd name="T109" fmla="*/ 20 h 174"/>
                <a:gd name="T110" fmla="*/ 55 w 292"/>
                <a:gd name="T111" fmla="*/ 19 h 174"/>
                <a:gd name="T112" fmla="*/ 98 w 292"/>
                <a:gd name="T113" fmla="*/ 13 h 174"/>
                <a:gd name="T114" fmla="*/ 154 w 292"/>
                <a:gd name="T115" fmla="*/ 18 h 174"/>
                <a:gd name="T116" fmla="*/ 174 w 292"/>
                <a:gd name="T117" fmla="*/ 29 h 174"/>
                <a:gd name="T118" fmla="*/ 174 w 292"/>
                <a:gd name="T119" fmla="*/ 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174">
                  <a:moveTo>
                    <a:pt x="145" y="0"/>
                  </a:moveTo>
                  <a:lnTo>
                    <a:pt x="147" y="1"/>
                  </a:lnTo>
                  <a:lnTo>
                    <a:pt x="155" y="4"/>
                  </a:lnTo>
                  <a:lnTo>
                    <a:pt x="165" y="9"/>
                  </a:lnTo>
                  <a:lnTo>
                    <a:pt x="178" y="15"/>
                  </a:lnTo>
                  <a:lnTo>
                    <a:pt x="192" y="22"/>
                  </a:lnTo>
                  <a:lnTo>
                    <a:pt x="209" y="30"/>
                  </a:lnTo>
                  <a:lnTo>
                    <a:pt x="227" y="41"/>
                  </a:lnTo>
                  <a:lnTo>
                    <a:pt x="246" y="52"/>
                  </a:lnTo>
                  <a:lnTo>
                    <a:pt x="261" y="64"/>
                  </a:lnTo>
                  <a:lnTo>
                    <a:pt x="273" y="73"/>
                  </a:lnTo>
                  <a:lnTo>
                    <a:pt x="275" y="75"/>
                  </a:lnTo>
                  <a:lnTo>
                    <a:pt x="279" y="81"/>
                  </a:lnTo>
                  <a:lnTo>
                    <a:pt x="286" y="88"/>
                  </a:lnTo>
                  <a:lnTo>
                    <a:pt x="290" y="95"/>
                  </a:lnTo>
                  <a:lnTo>
                    <a:pt x="292" y="97"/>
                  </a:lnTo>
                  <a:lnTo>
                    <a:pt x="291" y="96"/>
                  </a:lnTo>
                  <a:lnTo>
                    <a:pt x="286" y="92"/>
                  </a:lnTo>
                  <a:lnTo>
                    <a:pt x="275" y="86"/>
                  </a:lnTo>
                  <a:lnTo>
                    <a:pt x="263" y="77"/>
                  </a:lnTo>
                  <a:lnTo>
                    <a:pt x="246" y="68"/>
                  </a:lnTo>
                  <a:lnTo>
                    <a:pt x="231" y="60"/>
                  </a:lnTo>
                  <a:lnTo>
                    <a:pt x="214" y="52"/>
                  </a:lnTo>
                  <a:lnTo>
                    <a:pt x="200" y="47"/>
                  </a:lnTo>
                  <a:lnTo>
                    <a:pt x="188" y="43"/>
                  </a:lnTo>
                  <a:lnTo>
                    <a:pt x="180" y="41"/>
                  </a:lnTo>
                  <a:lnTo>
                    <a:pt x="178" y="39"/>
                  </a:lnTo>
                  <a:lnTo>
                    <a:pt x="220" y="66"/>
                  </a:lnTo>
                  <a:lnTo>
                    <a:pt x="220" y="66"/>
                  </a:lnTo>
                  <a:lnTo>
                    <a:pt x="219" y="66"/>
                  </a:lnTo>
                  <a:lnTo>
                    <a:pt x="215" y="65"/>
                  </a:lnTo>
                  <a:lnTo>
                    <a:pt x="210" y="65"/>
                  </a:lnTo>
                  <a:lnTo>
                    <a:pt x="204" y="64"/>
                  </a:lnTo>
                  <a:lnTo>
                    <a:pt x="195" y="63"/>
                  </a:lnTo>
                  <a:lnTo>
                    <a:pt x="183" y="63"/>
                  </a:lnTo>
                  <a:lnTo>
                    <a:pt x="172" y="64"/>
                  </a:lnTo>
                  <a:lnTo>
                    <a:pt x="163" y="64"/>
                  </a:lnTo>
                  <a:lnTo>
                    <a:pt x="160" y="64"/>
                  </a:lnTo>
                  <a:lnTo>
                    <a:pt x="161" y="64"/>
                  </a:lnTo>
                  <a:lnTo>
                    <a:pt x="166" y="65"/>
                  </a:lnTo>
                  <a:lnTo>
                    <a:pt x="175" y="66"/>
                  </a:lnTo>
                  <a:lnTo>
                    <a:pt x="189" y="70"/>
                  </a:lnTo>
                  <a:lnTo>
                    <a:pt x="202" y="74"/>
                  </a:lnTo>
                  <a:lnTo>
                    <a:pt x="216" y="78"/>
                  </a:lnTo>
                  <a:lnTo>
                    <a:pt x="229" y="84"/>
                  </a:lnTo>
                  <a:lnTo>
                    <a:pt x="241" y="88"/>
                  </a:lnTo>
                  <a:lnTo>
                    <a:pt x="248" y="92"/>
                  </a:lnTo>
                  <a:lnTo>
                    <a:pt x="251" y="93"/>
                  </a:lnTo>
                  <a:lnTo>
                    <a:pt x="248" y="93"/>
                  </a:lnTo>
                  <a:lnTo>
                    <a:pt x="240" y="93"/>
                  </a:lnTo>
                  <a:lnTo>
                    <a:pt x="227" y="93"/>
                  </a:lnTo>
                  <a:lnTo>
                    <a:pt x="211" y="93"/>
                  </a:lnTo>
                  <a:lnTo>
                    <a:pt x="197" y="95"/>
                  </a:lnTo>
                  <a:lnTo>
                    <a:pt x="184" y="96"/>
                  </a:lnTo>
                  <a:lnTo>
                    <a:pt x="169" y="98"/>
                  </a:lnTo>
                  <a:lnTo>
                    <a:pt x="154" y="101"/>
                  </a:lnTo>
                  <a:lnTo>
                    <a:pt x="138" y="104"/>
                  </a:lnTo>
                  <a:lnTo>
                    <a:pt x="125" y="106"/>
                  </a:lnTo>
                  <a:lnTo>
                    <a:pt x="116" y="109"/>
                  </a:lnTo>
                  <a:lnTo>
                    <a:pt x="112" y="109"/>
                  </a:lnTo>
                  <a:lnTo>
                    <a:pt x="114" y="110"/>
                  </a:lnTo>
                  <a:lnTo>
                    <a:pt x="123" y="109"/>
                  </a:lnTo>
                  <a:lnTo>
                    <a:pt x="139" y="107"/>
                  </a:lnTo>
                  <a:lnTo>
                    <a:pt x="164" y="106"/>
                  </a:lnTo>
                  <a:lnTo>
                    <a:pt x="183" y="105"/>
                  </a:lnTo>
                  <a:lnTo>
                    <a:pt x="205" y="105"/>
                  </a:lnTo>
                  <a:lnTo>
                    <a:pt x="225" y="105"/>
                  </a:lnTo>
                  <a:lnTo>
                    <a:pt x="243" y="105"/>
                  </a:lnTo>
                  <a:lnTo>
                    <a:pt x="256" y="106"/>
                  </a:lnTo>
                  <a:lnTo>
                    <a:pt x="263" y="106"/>
                  </a:lnTo>
                  <a:lnTo>
                    <a:pt x="261" y="106"/>
                  </a:lnTo>
                  <a:lnTo>
                    <a:pt x="252" y="106"/>
                  </a:lnTo>
                  <a:lnTo>
                    <a:pt x="237" y="107"/>
                  </a:lnTo>
                  <a:lnTo>
                    <a:pt x="219" y="111"/>
                  </a:lnTo>
                  <a:lnTo>
                    <a:pt x="204" y="115"/>
                  </a:lnTo>
                  <a:lnTo>
                    <a:pt x="192" y="122"/>
                  </a:lnTo>
                  <a:lnTo>
                    <a:pt x="183" y="128"/>
                  </a:lnTo>
                  <a:lnTo>
                    <a:pt x="177" y="133"/>
                  </a:lnTo>
                  <a:lnTo>
                    <a:pt x="175" y="134"/>
                  </a:lnTo>
                  <a:lnTo>
                    <a:pt x="234" y="124"/>
                  </a:lnTo>
                  <a:lnTo>
                    <a:pt x="233" y="125"/>
                  </a:lnTo>
                  <a:lnTo>
                    <a:pt x="228" y="128"/>
                  </a:lnTo>
                  <a:lnTo>
                    <a:pt x="219" y="132"/>
                  </a:lnTo>
                  <a:lnTo>
                    <a:pt x="205" y="138"/>
                  </a:lnTo>
                  <a:lnTo>
                    <a:pt x="192" y="145"/>
                  </a:lnTo>
                  <a:lnTo>
                    <a:pt x="186" y="151"/>
                  </a:lnTo>
                  <a:lnTo>
                    <a:pt x="183" y="156"/>
                  </a:lnTo>
                  <a:lnTo>
                    <a:pt x="182" y="158"/>
                  </a:lnTo>
                  <a:lnTo>
                    <a:pt x="257" y="141"/>
                  </a:lnTo>
                  <a:lnTo>
                    <a:pt x="255" y="142"/>
                  </a:lnTo>
                  <a:lnTo>
                    <a:pt x="246" y="147"/>
                  </a:lnTo>
                  <a:lnTo>
                    <a:pt x="234" y="154"/>
                  </a:lnTo>
                  <a:lnTo>
                    <a:pt x="219" y="160"/>
                  </a:lnTo>
                  <a:lnTo>
                    <a:pt x="202" y="166"/>
                  </a:lnTo>
                  <a:lnTo>
                    <a:pt x="189" y="172"/>
                  </a:lnTo>
                  <a:lnTo>
                    <a:pt x="179" y="174"/>
                  </a:lnTo>
                  <a:lnTo>
                    <a:pt x="175" y="174"/>
                  </a:lnTo>
                  <a:lnTo>
                    <a:pt x="152" y="172"/>
                  </a:lnTo>
                  <a:lnTo>
                    <a:pt x="130" y="168"/>
                  </a:lnTo>
                  <a:lnTo>
                    <a:pt x="110" y="161"/>
                  </a:lnTo>
                  <a:lnTo>
                    <a:pt x="92" y="156"/>
                  </a:lnTo>
                  <a:lnTo>
                    <a:pt x="77" y="152"/>
                  </a:lnTo>
                  <a:lnTo>
                    <a:pt x="66" y="149"/>
                  </a:lnTo>
                  <a:lnTo>
                    <a:pt x="61" y="147"/>
                  </a:lnTo>
                  <a:lnTo>
                    <a:pt x="80" y="146"/>
                  </a:lnTo>
                  <a:lnTo>
                    <a:pt x="97" y="145"/>
                  </a:lnTo>
                  <a:lnTo>
                    <a:pt x="114" y="143"/>
                  </a:lnTo>
                  <a:lnTo>
                    <a:pt x="133" y="143"/>
                  </a:lnTo>
                  <a:lnTo>
                    <a:pt x="157" y="146"/>
                  </a:lnTo>
                  <a:lnTo>
                    <a:pt x="155" y="145"/>
                  </a:lnTo>
                  <a:lnTo>
                    <a:pt x="150" y="141"/>
                  </a:lnTo>
                  <a:lnTo>
                    <a:pt x="138" y="134"/>
                  </a:lnTo>
                  <a:lnTo>
                    <a:pt x="123" y="128"/>
                  </a:lnTo>
                  <a:lnTo>
                    <a:pt x="101" y="122"/>
                  </a:lnTo>
                  <a:lnTo>
                    <a:pt x="77" y="118"/>
                  </a:lnTo>
                  <a:lnTo>
                    <a:pt x="57" y="118"/>
                  </a:lnTo>
                  <a:lnTo>
                    <a:pt x="42" y="119"/>
                  </a:lnTo>
                  <a:lnTo>
                    <a:pt x="33" y="122"/>
                  </a:lnTo>
                  <a:lnTo>
                    <a:pt x="29" y="123"/>
                  </a:lnTo>
                  <a:lnTo>
                    <a:pt x="32" y="122"/>
                  </a:lnTo>
                  <a:lnTo>
                    <a:pt x="39" y="116"/>
                  </a:lnTo>
                  <a:lnTo>
                    <a:pt x="51" y="109"/>
                  </a:lnTo>
                  <a:lnTo>
                    <a:pt x="66" y="100"/>
                  </a:lnTo>
                  <a:lnTo>
                    <a:pt x="88" y="91"/>
                  </a:lnTo>
                  <a:lnTo>
                    <a:pt x="105" y="86"/>
                  </a:lnTo>
                  <a:lnTo>
                    <a:pt x="123" y="83"/>
                  </a:lnTo>
                  <a:lnTo>
                    <a:pt x="141" y="82"/>
                  </a:lnTo>
                  <a:lnTo>
                    <a:pt x="156" y="83"/>
                  </a:lnTo>
                  <a:lnTo>
                    <a:pt x="169" y="83"/>
                  </a:lnTo>
                  <a:lnTo>
                    <a:pt x="177" y="84"/>
                  </a:lnTo>
                  <a:lnTo>
                    <a:pt x="180" y="84"/>
                  </a:lnTo>
                  <a:lnTo>
                    <a:pt x="178" y="84"/>
                  </a:lnTo>
                  <a:lnTo>
                    <a:pt x="172" y="82"/>
                  </a:lnTo>
                  <a:lnTo>
                    <a:pt x="160" y="78"/>
                  </a:lnTo>
                  <a:lnTo>
                    <a:pt x="143" y="74"/>
                  </a:lnTo>
                  <a:lnTo>
                    <a:pt x="121" y="70"/>
                  </a:lnTo>
                  <a:lnTo>
                    <a:pt x="104" y="68"/>
                  </a:lnTo>
                  <a:lnTo>
                    <a:pt x="84" y="68"/>
                  </a:lnTo>
                  <a:lnTo>
                    <a:pt x="64" y="68"/>
                  </a:lnTo>
                  <a:lnTo>
                    <a:pt x="44" y="69"/>
                  </a:lnTo>
                  <a:lnTo>
                    <a:pt x="27" y="70"/>
                  </a:lnTo>
                  <a:lnTo>
                    <a:pt x="12" y="70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2" y="70"/>
                  </a:lnTo>
                  <a:lnTo>
                    <a:pt x="10" y="68"/>
                  </a:lnTo>
                  <a:lnTo>
                    <a:pt x="21" y="63"/>
                  </a:lnTo>
                  <a:lnTo>
                    <a:pt x="36" y="57"/>
                  </a:lnTo>
                  <a:lnTo>
                    <a:pt x="52" y="52"/>
                  </a:lnTo>
                  <a:lnTo>
                    <a:pt x="69" y="47"/>
                  </a:lnTo>
                  <a:lnTo>
                    <a:pt x="87" y="46"/>
                  </a:lnTo>
                  <a:lnTo>
                    <a:pt x="107" y="46"/>
                  </a:lnTo>
                  <a:lnTo>
                    <a:pt x="127" y="47"/>
                  </a:lnTo>
                  <a:lnTo>
                    <a:pt x="143" y="48"/>
                  </a:lnTo>
                  <a:lnTo>
                    <a:pt x="157" y="50"/>
                  </a:lnTo>
                  <a:lnTo>
                    <a:pt x="166" y="51"/>
                  </a:lnTo>
                  <a:lnTo>
                    <a:pt x="169" y="51"/>
                  </a:lnTo>
                  <a:lnTo>
                    <a:pt x="168" y="50"/>
                  </a:lnTo>
                  <a:lnTo>
                    <a:pt x="160" y="45"/>
                  </a:lnTo>
                  <a:lnTo>
                    <a:pt x="147" y="37"/>
                  </a:lnTo>
                  <a:lnTo>
                    <a:pt x="128" y="29"/>
                  </a:lnTo>
                  <a:lnTo>
                    <a:pt x="111" y="25"/>
                  </a:lnTo>
                  <a:lnTo>
                    <a:pt x="95" y="22"/>
                  </a:lnTo>
                  <a:lnTo>
                    <a:pt x="78" y="20"/>
                  </a:lnTo>
                  <a:lnTo>
                    <a:pt x="64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5" y="19"/>
                  </a:lnTo>
                  <a:lnTo>
                    <a:pt x="64" y="16"/>
                  </a:lnTo>
                  <a:lnTo>
                    <a:pt x="79" y="14"/>
                  </a:lnTo>
                  <a:lnTo>
                    <a:pt x="98" y="13"/>
                  </a:lnTo>
                  <a:lnTo>
                    <a:pt x="121" y="13"/>
                  </a:lnTo>
                  <a:lnTo>
                    <a:pt x="139" y="15"/>
                  </a:lnTo>
                  <a:lnTo>
                    <a:pt x="154" y="18"/>
                  </a:lnTo>
                  <a:lnTo>
                    <a:pt x="164" y="23"/>
                  </a:lnTo>
                  <a:lnTo>
                    <a:pt x="170" y="27"/>
                  </a:lnTo>
                  <a:lnTo>
                    <a:pt x="174" y="29"/>
                  </a:lnTo>
                  <a:lnTo>
                    <a:pt x="175" y="30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2" name="Freeform 1416"/>
            <p:cNvSpPr>
              <a:spLocks/>
            </p:cNvSpPr>
            <p:nvPr/>
          </p:nvSpPr>
          <p:spPr bwMode="auto">
            <a:xfrm>
              <a:off x="-3251200" y="612775"/>
              <a:ext cx="146050" cy="288925"/>
            </a:xfrm>
            <a:custGeom>
              <a:avLst/>
              <a:gdLst>
                <a:gd name="T0" fmla="*/ 54 w 92"/>
                <a:gd name="T1" fmla="*/ 0 h 182"/>
                <a:gd name="T2" fmla="*/ 51 w 92"/>
                <a:gd name="T3" fmla="*/ 1 h 182"/>
                <a:gd name="T4" fmla="*/ 48 w 92"/>
                <a:gd name="T5" fmla="*/ 5 h 182"/>
                <a:gd name="T6" fmla="*/ 39 w 92"/>
                <a:gd name="T7" fmla="*/ 10 h 182"/>
                <a:gd name="T8" fmla="*/ 26 w 92"/>
                <a:gd name="T9" fmla="*/ 25 h 182"/>
                <a:gd name="T10" fmla="*/ 18 w 92"/>
                <a:gd name="T11" fmla="*/ 40 h 182"/>
                <a:gd name="T12" fmla="*/ 24 w 92"/>
                <a:gd name="T13" fmla="*/ 36 h 182"/>
                <a:gd name="T14" fmla="*/ 48 w 92"/>
                <a:gd name="T15" fmla="*/ 22 h 182"/>
                <a:gd name="T16" fmla="*/ 74 w 92"/>
                <a:gd name="T17" fmla="*/ 10 h 182"/>
                <a:gd name="T18" fmla="*/ 92 w 92"/>
                <a:gd name="T19" fmla="*/ 5 h 182"/>
                <a:gd name="T20" fmla="*/ 82 w 92"/>
                <a:gd name="T21" fmla="*/ 10 h 182"/>
                <a:gd name="T22" fmla="*/ 58 w 92"/>
                <a:gd name="T23" fmla="*/ 23 h 182"/>
                <a:gd name="T24" fmla="*/ 35 w 92"/>
                <a:gd name="T25" fmla="*/ 41 h 182"/>
                <a:gd name="T26" fmla="*/ 18 w 92"/>
                <a:gd name="T27" fmla="*/ 60 h 182"/>
                <a:gd name="T28" fmla="*/ 13 w 92"/>
                <a:gd name="T29" fmla="*/ 72 h 182"/>
                <a:gd name="T30" fmla="*/ 14 w 92"/>
                <a:gd name="T31" fmla="*/ 74 h 182"/>
                <a:gd name="T32" fmla="*/ 28 w 92"/>
                <a:gd name="T33" fmla="*/ 68 h 182"/>
                <a:gd name="T34" fmla="*/ 42 w 92"/>
                <a:gd name="T35" fmla="*/ 61 h 182"/>
                <a:gd name="T36" fmla="*/ 45 w 92"/>
                <a:gd name="T37" fmla="*/ 61 h 182"/>
                <a:gd name="T38" fmla="*/ 35 w 92"/>
                <a:gd name="T39" fmla="*/ 70 h 182"/>
                <a:gd name="T40" fmla="*/ 21 w 92"/>
                <a:gd name="T41" fmla="*/ 83 h 182"/>
                <a:gd name="T42" fmla="*/ 14 w 92"/>
                <a:gd name="T43" fmla="*/ 100 h 182"/>
                <a:gd name="T44" fmla="*/ 14 w 92"/>
                <a:gd name="T45" fmla="*/ 132 h 182"/>
                <a:gd name="T46" fmla="*/ 15 w 92"/>
                <a:gd name="T47" fmla="*/ 164 h 182"/>
                <a:gd name="T48" fmla="*/ 18 w 92"/>
                <a:gd name="T49" fmla="*/ 182 h 182"/>
                <a:gd name="T50" fmla="*/ 15 w 92"/>
                <a:gd name="T51" fmla="*/ 176 h 182"/>
                <a:gd name="T52" fmla="*/ 10 w 92"/>
                <a:gd name="T53" fmla="*/ 155 h 182"/>
                <a:gd name="T54" fmla="*/ 4 w 92"/>
                <a:gd name="T55" fmla="*/ 129 h 182"/>
                <a:gd name="T56" fmla="*/ 0 w 92"/>
                <a:gd name="T57" fmla="*/ 99 h 182"/>
                <a:gd name="T58" fmla="*/ 0 w 92"/>
                <a:gd name="T59" fmla="*/ 68 h 182"/>
                <a:gd name="T60" fmla="*/ 0 w 92"/>
                <a:gd name="T61" fmla="*/ 51 h 182"/>
                <a:gd name="T62" fmla="*/ 15 w 92"/>
                <a:gd name="T63" fmla="*/ 25 h 182"/>
                <a:gd name="T64" fmla="*/ 40 w 92"/>
                <a:gd name="T65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82">
                  <a:moveTo>
                    <a:pt x="54" y="0"/>
                  </a:moveTo>
                  <a:lnTo>
                    <a:pt x="54" y="0"/>
                  </a:lnTo>
                  <a:lnTo>
                    <a:pt x="53" y="0"/>
                  </a:lnTo>
                  <a:lnTo>
                    <a:pt x="51" y="1"/>
                  </a:lnTo>
                  <a:lnTo>
                    <a:pt x="50" y="2"/>
                  </a:lnTo>
                  <a:lnTo>
                    <a:pt x="48" y="5"/>
                  </a:lnTo>
                  <a:lnTo>
                    <a:pt x="44" y="8"/>
                  </a:lnTo>
                  <a:lnTo>
                    <a:pt x="39" y="10"/>
                  </a:lnTo>
                  <a:lnTo>
                    <a:pt x="32" y="17"/>
                  </a:lnTo>
                  <a:lnTo>
                    <a:pt x="26" y="25"/>
                  </a:lnTo>
                  <a:lnTo>
                    <a:pt x="22" y="33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35" y="29"/>
                  </a:lnTo>
                  <a:lnTo>
                    <a:pt x="48" y="22"/>
                  </a:lnTo>
                  <a:lnTo>
                    <a:pt x="60" y="15"/>
                  </a:lnTo>
                  <a:lnTo>
                    <a:pt x="74" y="10"/>
                  </a:lnTo>
                  <a:lnTo>
                    <a:pt x="85" y="6"/>
                  </a:lnTo>
                  <a:lnTo>
                    <a:pt x="92" y="5"/>
                  </a:lnTo>
                  <a:lnTo>
                    <a:pt x="90" y="6"/>
                  </a:lnTo>
                  <a:lnTo>
                    <a:pt x="82" y="10"/>
                  </a:lnTo>
                  <a:lnTo>
                    <a:pt x="71" y="15"/>
                  </a:lnTo>
                  <a:lnTo>
                    <a:pt x="58" y="23"/>
                  </a:lnTo>
                  <a:lnTo>
                    <a:pt x="46" y="32"/>
                  </a:lnTo>
                  <a:lnTo>
                    <a:pt x="35" y="41"/>
                  </a:lnTo>
                  <a:lnTo>
                    <a:pt x="24" y="52"/>
                  </a:lnTo>
                  <a:lnTo>
                    <a:pt x="18" y="60"/>
                  </a:lnTo>
                  <a:lnTo>
                    <a:pt x="14" y="67"/>
                  </a:lnTo>
                  <a:lnTo>
                    <a:pt x="13" y="72"/>
                  </a:lnTo>
                  <a:lnTo>
                    <a:pt x="13" y="74"/>
                  </a:lnTo>
                  <a:lnTo>
                    <a:pt x="14" y="74"/>
                  </a:lnTo>
                  <a:lnTo>
                    <a:pt x="21" y="72"/>
                  </a:lnTo>
                  <a:lnTo>
                    <a:pt x="28" y="68"/>
                  </a:lnTo>
                  <a:lnTo>
                    <a:pt x="36" y="64"/>
                  </a:lnTo>
                  <a:lnTo>
                    <a:pt x="42" y="61"/>
                  </a:lnTo>
                  <a:lnTo>
                    <a:pt x="45" y="60"/>
                  </a:lnTo>
                  <a:lnTo>
                    <a:pt x="45" y="61"/>
                  </a:lnTo>
                  <a:lnTo>
                    <a:pt x="40" y="64"/>
                  </a:lnTo>
                  <a:lnTo>
                    <a:pt x="35" y="70"/>
                  </a:lnTo>
                  <a:lnTo>
                    <a:pt x="27" y="77"/>
                  </a:lnTo>
                  <a:lnTo>
                    <a:pt x="21" y="83"/>
                  </a:lnTo>
                  <a:lnTo>
                    <a:pt x="17" y="91"/>
                  </a:lnTo>
                  <a:lnTo>
                    <a:pt x="14" y="100"/>
                  </a:lnTo>
                  <a:lnTo>
                    <a:pt x="14" y="114"/>
                  </a:lnTo>
                  <a:lnTo>
                    <a:pt x="14" y="132"/>
                  </a:lnTo>
                  <a:lnTo>
                    <a:pt x="15" y="149"/>
                  </a:lnTo>
                  <a:lnTo>
                    <a:pt x="15" y="164"/>
                  </a:lnTo>
                  <a:lnTo>
                    <a:pt x="17" y="177"/>
                  </a:lnTo>
                  <a:lnTo>
                    <a:pt x="18" y="182"/>
                  </a:lnTo>
                  <a:lnTo>
                    <a:pt x="17" y="181"/>
                  </a:lnTo>
                  <a:lnTo>
                    <a:pt x="15" y="176"/>
                  </a:lnTo>
                  <a:lnTo>
                    <a:pt x="13" y="167"/>
                  </a:lnTo>
                  <a:lnTo>
                    <a:pt x="10" y="155"/>
                  </a:lnTo>
                  <a:lnTo>
                    <a:pt x="8" y="142"/>
                  </a:lnTo>
                  <a:lnTo>
                    <a:pt x="4" y="129"/>
                  </a:lnTo>
                  <a:lnTo>
                    <a:pt x="3" y="115"/>
                  </a:lnTo>
                  <a:lnTo>
                    <a:pt x="0" y="99"/>
                  </a:lnTo>
                  <a:lnTo>
                    <a:pt x="0" y="83"/>
                  </a:lnTo>
                  <a:lnTo>
                    <a:pt x="0" y="68"/>
                  </a:lnTo>
                  <a:lnTo>
                    <a:pt x="0" y="56"/>
                  </a:lnTo>
                  <a:lnTo>
                    <a:pt x="0" y="51"/>
                  </a:lnTo>
                  <a:lnTo>
                    <a:pt x="6" y="40"/>
                  </a:lnTo>
                  <a:lnTo>
                    <a:pt x="15" y="25"/>
                  </a:lnTo>
                  <a:lnTo>
                    <a:pt x="27" y="13"/>
                  </a:lnTo>
                  <a:lnTo>
                    <a:pt x="40" y="4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3" name="Freeform 1417"/>
            <p:cNvSpPr>
              <a:spLocks/>
            </p:cNvSpPr>
            <p:nvPr/>
          </p:nvSpPr>
          <p:spPr bwMode="auto">
            <a:xfrm>
              <a:off x="-2763838" y="635000"/>
              <a:ext cx="42863" cy="304800"/>
            </a:xfrm>
            <a:custGeom>
              <a:avLst/>
              <a:gdLst>
                <a:gd name="T0" fmla="*/ 6 w 27"/>
                <a:gd name="T1" fmla="*/ 0 h 192"/>
                <a:gd name="T2" fmla="*/ 14 w 27"/>
                <a:gd name="T3" fmla="*/ 46 h 192"/>
                <a:gd name="T4" fmla="*/ 21 w 27"/>
                <a:gd name="T5" fmla="*/ 28 h 192"/>
                <a:gd name="T6" fmla="*/ 21 w 27"/>
                <a:gd name="T7" fmla="*/ 32 h 192"/>
                <a:gd name="T8" fmla="*/ 23 w 27"/>
                <a:gd name="T9" fmla="*/ 41 h 192"/>
                <a:gd name="T10" fmla="*/ 23 w 27"/>
                <a:gd name="T11" fmla="*/ 54 h 192"/>
                <a:gd name="T12" fmla="*/ 24 w 27"/>
                <a:gd name="T13" fmla="*/ 69 h 192"/>
                <a:gd name="T14" fmla="*/ 25 w 27"/>
                <a:gd name="T15" fmla="*/ 83 h 192"/>
                <a:gd name="T16" fmla="*/ 27 w 27"/>
                <a:gd name="T17" fmla="*/ 96 h 192"/>
                <a:gd name="T18" fmla="*/ 25 w 27"/>
                <a:gd name="T19" fmla="*/ 106 h 192"/>
                <a:gd name="T20" fmla="*/ 24 w 27"/>
                <a:gd name="T21" fmla="*/ 121 h 192"/>
                <a:gd name="T22" fmla="*/ 20 w 27"/>
                <a:gd name="T23" fmla="*/ 137 h 192"/>
                <a:gd name="T24" fmla="*/ 18 w 27"/>
                <a:gd name="T25" fmla="*/ 154 h 192"/>
                <a:gd name="T26" fmla="*/ 14 w 27"/>
                <a:gd name="T27" fmla="*/ 169 h 192"/>
                <a:gd name="T28" fmla="*/ 11 w 27"/>
                <a:gd name="T29" fmla="*/ 182 h 192"/>
                <a:gd name="T30" fmla="*/ 9 w 27"/>
                <a:gd name="T31" fmla="*/ 191 h 192"/>
                <a:gd name="T32" fmla="*/ 7 w 27"/>
                <a:gd name="T33" fmla="*/ 192 h 192"/>
                <a:gd name="T34" fmla="*/ 9 w 27"/>
                <a:gd name="T35" fmla="*/ 187 h 192"/>
                <a:gd name="T36" fmla="*/ 9 w 27"/>
                <a:gd name="T37" fmla="*/ 177 h 192"/>
                <a:gd name="T38" fmla="*/ 10 w 27"/>
                <a:gd name="T39" fmla="*/ 164 h 192"/>
                <a:gd name="T40" fmla="*/ 11 w 27"/>
                <a:gd name="T41" fmla="*/ 150 h 192"/>
                <a:gd name="T42" fmla="*/ 13 w 27"/>
                <a:gd name="T43" fmla="*/ 137 h 192"/>
                <a:gd name="T44" fmla="*/ 14 w 27"/>
                <a:gd name="T45" fmla="*/ 127 h 192"/>
                <a:gd name="T46" fmla="*/ 14 w 27"/>
                <a:gd name="T47" fmla="*/ 115 h 192"/>
                <a:gd name="T48" fmla="*/ 14 w 27"/>
                <a:gd name="T49" fmla="*/ 104 h 192"/>
                <a:gd name="T50" fmla="*/ 14 w 27"/>
                <a:gd name="T51" fmla="*/ 95 h 192"/>
                <a:gd name="T52" fmla="*/ 13 w 27"/>
                <a:gd name="T53" fmla="*/ 91 h 192"/>
                <a:gd name="T54" fmla="*/ 13 w 27"/>
                <a:gd name="T55" fmla="*/ 92 h 192"/>
                <a:gd name="T56" fmla="*/ 13 w 27"/>
                <a:gd name="T57" fmla="*/ 94 h 192"/>
                <a:gd name="T58" fmla="*/ 11 w 27"/>
                <a:gd name="T59" fmla="*/ 96 h 192"/>
                <a:gd name="T60" fmla="*/ 10 w 27"/>
                <a:gd name="T61" fmla="*/ 99 h 192"/>
                <a:gd name="T62" fmla="*/ 9 w 27"/>
                <a:gd name="T63" fmla="*/ 103 h 192"/>
                <a:gd name="T64" fmla="*/ 7 w 27"/>
                <a:gd name="T65" fmla="*/ 105 h 192"/>
                <a:gd name="T66" fmla="*/ 6 w 27"/>
                <a:gd name="T67" fmla="*/ 108 h 192"/>
                <a:gd name="T68" fmla="*/ 5 w 27"/>
                <a:gd name="T69" fmla="*/ 110 h 192"/>
                <a:gd name="T70" fmla="*/ 4 w 27"/>
                <a:gd name="T71" fmla="*/ 112 h 192"/>
                <a:gd name="T72" fmla="*/ 4 w 27"/>
                <a:gd name="T73" fmla="*/ 113 h 192"/>
                <a:gd name="T74" fmla="*/ 4 w 27"/>
                <a:gd name="T75" fmla="*/ 112 h 192"/>
                <a:gd name="T76" fmla="*/ 5 w 27"/>
                <a:gd name="T77" fmla="*/ 105 h 192"/>
                <a:gd name="T78" fmla="*/ 7 w 27"/>
                <a:gd name="T79" fmla="*/ 96 h 192"/>
                <a:gd name="T80" fmla="*/ 9 w 27"/>
                <a:gd name="T81" fmla="*/ 86 h 192"/>
                <a:gd name="T82" fmla="*/ 11 w 27"/>
                <a:gd name="T83" fmla="*/ 76 h 192"/>
                <a:gd name="T84" fmla="*/ 13 w 27"/>
                <a:gd name="T85" fmla="*/ 68 h 192"/>
                <a:gd name="T86" fmla="*/ 13 w 27"/>
                <a:gd name="T87" fmla="*/ 64 h 192"/>
                <a:gd name="T88" fmla="*/ 13 w 27"/>
                <a:gd name="T89" fmla="*/ 62 h 192"/>
                <a:gd name="T90" fmla="*/ 13 w 27"/>
                <a:gd name="T91" fmla="*/ 60 h 192"/>
                <a:gd name="T92" fmla="*/ 13 w 27"/>
                <a:gd name="T93" fmla="*/ 60 h 192"/>
                <a:gd name="T94" fmla="*/ 13 w 27"/>
                <a:gd name="T95" fmla="*/ 60 h 192"/>
                <a:gd name="T96" fmla="*/ 13 w 27"/>
                <a:gd name="T97" fmla="*/ 60 h 192"/>
                <a:gd name="T98" fmla="*/ 13 w 27"/>
                <a:gd name="T99" fmla="*/ 60 h 192"/>
                <a:gd name="T100" fmla="*/ 0 w 27"/>
                <a:gd name="T101" fmla="*/ 77 h 192"/>
                <a:gd name="T102" fmla="*/ 5 w 27"/>
                <a:gd name="T103" fmla="*/ 51 h 192"/>
                <a:gd name="T104" fmla="*/ 6 w 27"/>
                <a:gd name="T105" fmla="*/ 27 h 192"/>
                <a:gd name="T106" fmla="*/ 6 w 27"/>
                <a:gd name="T10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192">
                  <a:moveTo>
                    <a:pt x="6" y="0"/>
                  </a:moveTo>
                  <a:lnTo>
                    <a:pt x="14" y="46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41"/>
                  </a:lnTo>
                  <a:lnTo>
                    <a:pt x="23" y="54"/>
                  </a:lnTo>
                  <a:lnTo>
                    <a:pt x="24" y="69"/>
                  </a:lnTo>
                  <a:lnTo>
                    <a:pt x="25" y="83"/>
                  </a:lnTo>
                  <a:lnTo>
                    <a:pt x="27" y="96"/>
                  </a:lnTo>
                  <a:lnTo>
                    <a:pt x="25" y="106"/>
                  </a:lnTo>
                  <a:lnTo>
                    <a:pt x="24" y="121"/>
                  </a:lnTo>
                  <a:lnTo>
                    <a:pt x="20" y="137"/>
                  </a:lnTo>
                  <a:lnTo>
                    <a:pt x="18" y="154"/>
                  </a:lnTo>
                  <a:lnTo>
                    <a:pt x="14" y="169"/>
                  </a:lnTo>
                  <a:lnTo>
                    <a:pt x="11" y="182"/>
                  </a:lnTo>
                  <a:lnTo>
                    <a:pt x="9" y="191"/>
                  </a:lnTo>
                  <a:lnTo>
                    <a:pt x="7" y="192"/>
                  </a:lnTo>
                  <a:lnTo>
                    <a:pt x="9" y="187"/>
                  </a:lnTo>
                  <a:lnTo>
                    <a:pt x="9" y="177"/>
                  </a:lnTo>
                  <a:lnTo>
                    <a:pt x="10" y="164"/>
                  </a:lnTo>
                  <a:lnTo>
                    <a:pt x="11" y="150"/>
                  </a:lnTo>
                  <a:lnTo>
                    <a:pt x="13" y="137"/>
                  </a:lnTo>
                  <a:lnTo>
                    <a:pt x="14" y="127"/>
                  </a:lnTo>
                  <a:lnTo>
                    <a:pt x="14" y="115"/>
                  </a:lnTo>
                  <a:lnTo>
                    <a:pt x="14" y="104"/>
                  </a:lnTo>
                  <a:lnTo>
                    <a:pt x="14" y="95"/>
                  </a:lnTo>
                  <a:lnTo>
                    <a:pt x="13" y="91"/>
                  </a:lnTo>
                  <a:lnTo>
                    <a:pt x="13" y="92"/>
                  </a:lnTo>
                  <a:lnTo>
                    <a:pt x="13" y="94"/>
                  </a:lnTo>
                  <a:lnTo>
                    <a:pt x="11" y="96"/>
                  </a:lnTo>
                  <a:lnTo>
                    <a:pt x="10" y="99"/>
                  </a:lnTo>
                  <a:lnTo>
                    <a:pt x="9" y="103"/>
                  </a:lnTo>
                  <a:lnTo>
                    <a:pt x="7" y="105"/>
                  </a:lnTo>
                  <a:lnTo>
                    <a:pt x="6" y="108"/>
                  </a:lnTo>
                  <a:lnTo>
                    <a:pt x="5" y="110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5" y="105"/>
                  </a:lnTo>
                  <a:lnTo>
                    <a:pt x="7" y="96"/>
                  </a:lnTo>
                  <a:lnTo>
                    <a:pt x="9" y="86"/>
                  </a:lnTo>
                  <a:lnTo>
                    <a:pt x="11" y="76"/>
                  </a:lnTo>
                  <a:lnTo>
                    <a:pt x="13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0" y="77"/>
                  </a:lnTo>
                  <a:lnTo>
                    <a:pt x="5" y="51"/>
                  </a:lnTo>
                  <a:lnTo>
                    <a:pt x="6" y="2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4" name="Freeform 1418"/>
            <p:cNvSpPr>
              <a:spLocks/>
            </p:cNvSpPr>
            <p:nvPr/>
          </p:nvSpPr>
          <p:spPr bwMode="auto">
            <a:xfrm>
              <a:off x="-3635375" y="1619250"/>
              <a:ext cx="1201738" cy="447675"/>
            </a:xfrm>
            <a:custGeom>
              <a:avLst/>
              <a:gdLst>
                <a:gd name="T0" fmla="*/ 615 w 757"/>
                <a:gd name="T1" fmla="*/ 15 h 282"/>
                <a:gd name="T2" fmla="*/ 619 w 757"/>
                <a:gd name="T3" fmla="*/ 74 h 282"/>
                <a:gd name="T4" fmla="*/ 622 w 757"/>
                <a:gd name="T5" fmla="*/ 132 h 282"/>
                <a:gd name="T6" fmla="*/ 630 w 757"/>
                <a:gd name="T7" fmla="*/ 143 h 282"/>
                <a:gd name="T8" fmla="*/ 667 w 757"/>
                <a:gd name="T9" fmla="*/ 136 h 282"/>
                <a:gd name="T10" fmla="*/ 704 w 757"/>
                <a:gd name="T11" fmla="*/ 136 h 282"/>
                <a:gd name="T12" fmla="*/ 718 w 757"/>
                <a:gd name="T13" fmla="*/ 156 h 282"/>
                <a:gd name="T14" fmla="*/ 714 w 757"/>
                <a:gd name="T15" fmla="*/ 166 h 282"/>
                <a:gd name="T16" fmla="*/ 715 w 757"/>
                <a:gd name="T17" fmla="*/ 172 h 282"/>
                <a:gd name="T18" fmla="*/ 723 w 757"/>
                <a:gd name="T19" fmla="*/ 190 h 282"/>
                <a:gd name="T20" fmla="*/ 739 w 757"/>
                <a:gd name="T21" fmla="*/ 192 h 282"/>
                <a:gd name="T22" fmla="*/ 746 w 757"/>
                <a:gd name="T23" fmla="*/ 192 h 282"/>
                <a:gd name="T24" fmla="*/ 754 w 757"/>
                <a:gd name="T25" fmla="*/ 168 h 282"/>
                <a:gd name="T26" fmla="*/ 757 w 757"/>
                <a:gd name="T27" fmla="*/ 204 h 282"/>
                <a:gd name="T28" fmla="*/ 750 w 757"/>
                <a:gd name="T29" fmla="*/ 205 h 282"/>
                <a:gd name="T30" fmla="*/ 735 w 757"/>
                <a:gd name="T31" fmla="*/ 208 h 282"/>
                <a:gd name="T32" fmla="*/ 689 w 757"/>
                <a:gd name="T33" fmla="*/ 215 h 282"/>
                <a:gd name="T34" fmla="*/ 644 w 757"/>
                <a:gd name="T35" fmla="*/ 215 h 282"/>
                <a:gd name="T36" fmla="*/ 618 w 757"/>
                <a:gd name="T37" fmla="*/ 216 h 282"/>
                <a:gd name="T38" fmla="*/ 646 w 757"/>
                <a:gd name="T39" fmla="*/ 211 h 282"/>
                <a:gd name="T40" fmla="*/ 694 w 757"/>
                <a:gd name="T41" fmla="*/ 201 h 282"/>
                <a:gd name="T42" fmla="*/ 712 w 757"/>
                <a:gd name="T43" fmla="*/ 192 h 282"/>
                <a:gd name="T44" fmla="*/ 715 w 757"/>
                <a:gd name="T45" fmla="*/ 182 h 282"/>
                <a:gd name="T46" fmla="*/ 706 w 757"/>
                <a:gd name="T47" fmla="*/ 175 h 282"/>
                <a:gd name="T48" fmla="*/ 668 w 757"/>
                <a:gd name="T49" fmla="*/ 181 h 282"/>
                <a:gd name="T50" fmla="*/ 641 w 757"/>
                <a:gd name="T51" fmla="*/ 186 h 282"/>
                <a:gd name="T52" fmla="*/ 658 w 757"/>
                <a:gd name="T53" fmla="*/ 179 h 282"/>
                <a:gd name="T54" fmla="*/ 694 w 757"/>
                <a:gd name="T55" fmla="*/ 168 h 282"/>
                <a:gd name="T56" fmla="*/ 706 w 757"/>
                <a:gd name="T57" fmla="*/ 160 h 282"/>
                <a:gd name="T58" fmla="*/ 708 w 757"/>
                <a:gd name="T59" fmla="*/ 152 h 282"/>
                <a:gd name="T60" fmla="*/ 703 w 757"/>
                <a:gd name="T61" fmla="*/ 146 h 282"/>
                <a:gd name="T62" fmla="*/ 671 w 757"/>
                <a:gd name="T63" fmla="*/ 147 h 282"/>
                <a:gd name="T64" fmla="*/ 617 w 757"/>
                <a:gd name="T65" fmla="*/ 159 h 282"/>
                <a:gd name="T66" fmla="*/ 576 w 757"/>
                <a:gd name="T67" fmla="*/ 179 h 282"/>
                <a:gd name="T68" fmla="*/ 546 w 757"/>
                <a:gd name="T69" fmla="*/ 208 h 282"/>
                <a:gd name="T70" fmla="*/ 432 w 757"/>
                <a:gd name="T71" fmla="*/ 277 h 282"/>
                <a:gd name="T72" fmla="*/ 300 w 757"/>
                <a:gd name="T73" fmla="*/ 261 h 282"/>
                <a:gd name="T74" fmla="*/ 184 w 757"/>
                <a:gd name="T75" fmla="*/ 251 h 282"/>
                <a:gd name="T76" fmla="*/ 156 w 757"/>
                <a:gd name="T77" fmla="*/ 232 h 282"/>
                <a:gd name="T78" fmla="*/ 128 w 757"/>
                <a:gd name="T79" fmla="*/ 225 h 282"/>
                <a:gd name="T80" fmla="*/ 56 w 757"/>
                <a:gd name="T81" fmla="*/ 224 h 282"/>
                <a:gd name="T82" fmla="*/ 6 w 757"/>
                <a:gd name="T83" fmla="*/ 224 h 282"/>
                <a:gd name="T84" fmla="*/ 195 w 757"/>
                <a:gd name="T85" fmla="*/ 11 h 282"/>
                <a:gd name="T86" fmla="*/ 192 w 757"/>
                <a:gd name="T87" fmla="*/ 46 h 282"/>
                <a:gd name="T88" fmla="*/ 188 w 757"/>
                <a:gd name="T89" fmla="*/ 122 h 282"/>
                <a:gd name="T90" fmla="*/ 184 w 757"/>
                <a:gd name="T91" fmla="*/ 199 h 282"/>
                <a:gd name="T92" fmla="*/ 186 w 757"/>
                <a:gd name="T93" fmla="*/ 234 h 282"/>
                <a:gd name="T94" fmla="*/ 222 w 757"/>
                <a:gd name="T95" fmla="*/ 241 h 282"/>
                <a:gd name="T96" fmla="*/ 300 w 757"/>
                <a:gd name="T97" fmla="*/ 251 h 282"/>
                <a:gd name="T98" fmla="*/ 390 w 757"/>
                <a:gd name="T99" fmla="*/ 260 h 282"/>
                <a:gd name="T100" fmla="*/ 456 w 757"/>
                <a:gd name="T101" fmla="*/ 268 h 282"/>
                <a:gd name="T102" fmla="*/ 474 w 757"/>
                <a:gd name="T103" fmla="*/ 268 h 282"/>
                <a:gd name="T104" fmla="*/ 500 w 757"/>
                <a:gd name="T105" fmla="*/ 243 h 282"/>
                <a:gd name="T106" fmla="*/ 536 w 757"/>
                <a:gd name="T107" fmla="*/ 208 h 282"/>
                <a:gd name="T108" fmla="*/ 562 w 757"/>
                <a:gd name="T109" fmla="*/ 182 h 282"/>
                <a:gd name="T110" fmla="*/ 590 w 757"/>
                <a:gd name="T111" fmla="*/ 160 h 282"/>
                <a:gd name="T112" fmla="*/ 615 w 757"/>
                <a:gd name="T113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7" h="282">
                  <a:moveTo>
                    <a:pt x="615" y="0"/>
                  </a:moveTo>
                  <a:lnTo>
                    <a:pt x="615" y="4"/>
                  </a:lnTo>
                  <a:lnTo>
                    <a:pt x="615" y="15"/>
                  </a:lnTo>
                  <a:lnTo>
                    <a:pt x="617" y="32"/>
                  </a:lnTo>
                  <a:lnTo>
                    <a:pt x="618" y="52"/>
                  </a:lnTo>
                  <a:lnTo>
                    <a:pt x="619" y="74"/>
                  </a:lnTo>
                  <a:lnTo>
                    <a:pt x="619" y="96"/>
                  </a:lnTo>
                  <a:lnTo>
                    <a:pt x="621" y="115"/>
                  </a:lnTo>
                  <a:lnTo>
                    <a:pt x="622" y="132"/>
                  </a:lnTo>
                  <a:lnTo>
                    <a:pt x="623" y="142"/>
                  </a:lnTo>
                  <a:lnTo>
                    <a:pt x="624" y="146"/>
                  </a:lnTo>
                  <a:lnTo>
                    <a:pt x="630" y="143"/>
                  </a:lnTo>
                  <a:lnTo>
                    <a:pt x="638" y="141"/>
                  </a:lnTo>
                  <a:lnTo>
                    <a:pt x="653" y="138"/>
                  </a:lnTo>
                  <a:lnTo>
                    <a:pt x="667" y="136"/>
                  </a:lnTo>
                  <a:lnTo>
                    <a:pt x="682" y="133"/>
                  </a:lnTo>
                  <a:lnTo>
                    <a:pt x="695" y="134"/>
                  </a:lnTo>
                  <a:lnTo>
                    <a:pt x="704" y="136"/>
                  </a:lnTo>
                  <a:lnTo>
                    <a:pt x="713" y="143"/>
                  </a:lnTo>
                  <a:lnTo>
                    <a:pt x="718" y="150"/>
                  </a:lnTo>
                  <a:lnTo>
                    <a:pt x="718" y="156"/>
                  </a:lnTo>
                  <a:lnTo>
                    <a:pt x="717" y="161"/>
                  </a:lnTo>
                  <a:lnTo>
                    <a:pt x="715" y="164"/>
                  </a:lnTo>
                  <a:lnTo>
                    <a:pt x="714" y="166"/>
                  </a:lnTo>
                  <a:lnTo>
                    <a:pt x="714" y="168"/>
                  </a:lnTo>
                  <a:lnTo>
                    <a:pt x="714" y="169"/>
                  </a:lnTo>
                  <a:lnTo>
                    <a:pt x="715" y="172"/>
                  </a:lnTo>
                  <a:lnTo>
                    <a:pt x="717" y="177"/>
                  </a:lnTo>
                  <a:lnTo>
                    <a:pt x="719" y="184"/>
                  </a:lnTo>
                  <a:lnTo>
                    <a:pt x="723" y="190"/>
                  </a:lnTo>
                  <a:lnTo>
                    <a:pt x="728" y="192"/>
                  </a:lnTo>
                  <a:lnTo>
                    <a:pt x="733" y="192"/>
                  </a:lnTo>
                  <a:lnTo>
                    <a:pt x="739" y="192"/>
                  </a:lnTo>
                  <a:lnTo>
                    <a:pt x="742" y="192"/>
                  </a:lnTo>
                  <a:lnTo>
                    <a:pt x="745" y="192"/>
                  </a:lnTo>
                  <a:lnTo>
                    <a:pt x="746" y="192"/>
                  </a:lnTo>
                  <a:lnTo>
                    <a:pt x="749" y="116"/>
                  </a:lnTo>
                  <a:lnTo>
                    <a:pt x="751" y="143"/>
                  </a:lnTo>
                  <a:lnTo>
                    <a:pt x="754" y="168"/>
                  </a:lnTo>
                  <a:lnTo>
                    <a:pt x="755" y="187"/>
                  </a:lnTo>
                  <a:lnTo>
                    <a:pt x="757" y="199"/>
                  </a:lnTo>
                  <a:lnTo>
                    <a:pt x="757" y="204"/>
                  </a:lnTo>
                  <a:lnTo>
                    <a:pt x="755" y="204"/>
                  </a:lnTo>
                  <a:lnTo>
                    <a:pt x="754" y="204"/>
                  </a:lnTo>
                  <a:lnTo>
                    <a:pt x="750" y="205"/>
                  </a:lnTo>
                  <a:lnTo>
                    <a:pt x="746" y="205"/>
                  </a:lnTo>
                  <a:lnTo>
                    <a:pt x="742" y="206"/>
                  </a:lnTo>
                  <a:lnTo>
                    <a:pt x="735" y="208"/>
                  </a:lnTo>
                  <a:lnTo>
                    <a:pt x="722" y="210"/>
                  </a:lnTo>
                  <a:lnTo>
                    <a:pt x="706" y="213"/>
                  </a:lnTo>
                  <a:lnTo>
                    <a:pt x="689" y="215"/>
                  </a:lnTo>
                  <a:lnTo>
                    <a:pt x="674" y="215"/>
                  </a:lnTo>
                  <a:lnTo>
                    <a:pt x="659" y="215"/>
                  </a:lnTo>
                  <a:lnTo>
                    <a:pt x="644" y="215"/>
                  </a:lnTo>
                  <a:lnTo>
                    <a:pt x="631" y="215"/>
                  </a:lnTo>
                  <a:lnTo>
                    <a:pt x="622" y="216"/>
                  </a:lnTo>
                  <a:lnTo>
                    <a:pt x="618" y="216"/>
                  </a:lnTo>
                  <a:lnTo>
                    <a:pt x="622" y="215"/>
                  </a:lnTo>
                  <a:lnTo>
                    <a:pt x="632" y="214"/>
                  </a:lnTo>
                  <a:lnTo>
                    <a:pt x="646" y="211"/>
                  </a:lnTo>
                  <a:lnTo>
                    <a:pt x="662" y="208"/>
                  </a:lnTo>
                  <a:lnTo>
                    <a:pt x="678" y="204"/>
                  </a:lnTo>
                  <a:lnTo>
                    <a:pt x="694" y="201"/>
                  </a:lnTo>
                  <a:lnTo>
                    <a:pt x="704" y="199"/>
                  </a:lnTo>
                  <a:lnTo>
                    <a:pt x="709" y="196"/>
                  </a:lnTo>
                  <a:lnTo>
                    <a:pt x="712" y="192"/>
                  </a:lnTo>
                  <a:lnTo>
                    <a:pt x="714" y="190"/>
                  </a:lnTo>
                  <a:lnTo>
                    <a:pt x="715" y="186"/>
                  </a:lnTo>
                  <a:lnTo>
                    <a:pt x="715" y="182"/>
                  </a:lnTo>
                  <a:lnTo>
                    <a:pt x="714" y="179"/>
                  </a:lnTo>
                  <a:lnTo>
                    <a:pt x="712" y="177"/>
                  </a:lnTo>
                  <a:lnTo>
                    <a:pt x="706" y="175"/>
                  </a:lnTo>
                  <a:lnTo>
                    <a:pt x="696" y="177"/>
                  </a:lnTo>
                  <a:lnTo>
                    <a:pt x="682" y="178"/>
                  </a:lnTo>
                  <a:lnTo>
                    <a:pt x="668" y="181"/>
                  </a:lnTo>
                  <a:lnTo>
                    <a:pt x="655" y="183"/>
                  </a:lnTo>
                  <a:lnTo>
                    <a:pt x="645" y="186"/>
                  </a:lnTo>
                  <a:lnTo>
                    <a:pt x="641" y="186"/>
                  </a:lnTo>
                  <a:lnTo>
                    <a:pt x="642" y="186"/>
                  </a:lnTo>
                  <a:lnTo>
                    <a:pt x="649" y="183"/>
                  </a:lnTo>
                  <a:lnTo>
                    <a:pt x="658" y="179"/>
                  </a:lnTo>
                  <a:lnTo>
                    <a:pt x="671" y="177"/>
                  </a:lnTo>
                  <a:lnTo>
                    <a:pt x="682" y="172"/>
                  </a:lnTo>
                  <a:lnTo>
                    <a:pt x="694" y="168"/>
                  </a:lnTo>
                  <a:lnTo>
                    <a:pt x="701" y="165"/>
                  </a:lnTo>
                  <a:lnTo>
                    <a:pt x="705" y="163"/>
                  </a:lnTo>
                  <a:lnTo>
                    <a:pt x="706" y="160"/>
                  </a:lnTo>
                  <a:lnTo>
                    <a:pt x="708" y="157"/>
                  </a:lnTo>
                  <a:lnTo>
                    <a:pt x="709" y="155"/>
                  </a:lnTo>
                  <a:lnTo>
                    <a:pt x="708" y="152"/>
                  </a:lnTo>
                  <a:lnTo>
                    <a:pt x="708" y="150"/>
                  </a:lnTo>
                  <a:lnTo>
                    <a:pt x="705" y="147"/>
                  </a:lnTo>
                  <a:lnTo>
                    <a:pt x="703" y="146"/>
                  </a:lnTo>
                  <a:lnTo>
                    <a:pt x="699" y="145"/>
                  </a:lnTo>
                  <a:lnTo>
                    <a:pt x="686" y="146"/>
                  </a:lnTo>
                  <a:lnTo>
                    <a:pt x="671" y="147"/>
                  </a:lnTo>
                  <a:lnTo>
                    <a:pt x="651" y="151"/>
                  </a:lnTo>
                  <a:lnTo>
                    <a:pt x="633" y="155"/>
                  </a:lnTo>
                  <a:lnTo>
                    <a:pt x="617" y="159"/>
                  </a:lnTo>
                  <a:lnTo>
                    <a:pt x="605" y="163"/>
                  </a:lnTo>
                  <a:lnTo>
                    <a:pt x="591" y="169"/>
                  </a:lnTo>
                  <a:lnTo>
                    <a:pt x="576" y="179"/>
                  </a:lnTo>
                  <a:lnTo>
                    <a:pt x="563" y="190"/>
                  </a:lnTo>
                  <a:lnTo>
                    <a:pt x="553" y="200"/>
                  </a:lnTo>
                  <a:lnTo>
                    <a:pt x="546" y="208"/>
                  </a:lnTo>
                  <a:lnTo>
                    <a:pt x="478" y="282"/>
                  </a:lnTo>
                  <a:lnTo>
                    <a:pt x="473" y="281"/>
                  </a:lnTo>
                  <a:lnTo>
                    <a:pt x="432" y="277"/>
                  </a:lnTo>
                  <a:lnTo>
                    <a:pt x="388" y="272"/>
                  </a:lnTo>
                  <a:lnTo>
                    <a:pt x="343" y="267"/>
                  </a:lnTo>
                  <a:lnTo>
                    <a:pt x="300" y="261"/>
                  </a:lnTo>
                  <a:lnTo>
                    <a:pt x="257" y="258"/>
                  </a:lnTo>
                  <a:lnTo>
                    <a:pt x="218" y="254"/>
                  </a:lnTo>
                  <a:lnTo>
                    <a:pt x="184" y="251"/>
                  </a:lnTo>
                  <a:lnTo>
                    <a:pt x="156" y="250"/>
                  </a:lnTo>
                  <a:lnTo>
                    <a:pt x="156" y="240"/>
                  </a:lnTo>
                  <a:lnTo>
                    <a:pt x="156" y="232"/>
                  </a:lnTo>
                  <a:lnTo>
                    <a:pt x="156" y="229"/>
                  </a:lnTo>
                  <a:lnTo>
                    <a:pt x="146" y="227"/>
                  </a:lnTo>
                  <a:lnTo>
                    <a:pt x="128" y="225"/>
                  </a:lnTo>
                  <a:lnTo>
                    <a:pt x="105" y="224"/>
                  </a:lnTo>
                  <a:lnTo>
                    <a:pt x="80" y="224"/>
                  </a:lnTo>
                  <a:lnTo>
                    <a:pt x="56" y="224"/>
                  </a:lnTo>
                  <a:lnTo>
                    <a:pt x="33" y="224"/>
                  </a:lnTo>
                  <a:lnTo>
                    <a:pt x="18" y="224"/>
                  </a:lnTo>
                  <a:lnTo>
                    <a:pt x="6" y="224"/>
                  </a:lnTo>
                  <a:lnTo>
                    <a:pt x="0" y="224"/>
                  </a:lnTo>
                  <a:lnTo>
                    <a:pt x="147" y="210"/>
                  </a:lnTo>
                  <a:lnTo>
                    <a:pt x="195" y="11"/>
                  </a:lnTo>
                  <a:lnTo>
                    <a:pt x="195" y="15"/>
                  </a:lnTo>
                  <a:lnTo>
                    <a:pt x="193" y="27"/>
                  </a:lnTo>
                  <a:lnTo>
                    <a:pt x="192" y="46"/>
                  </a:lnTo>
                  <a:lnTo>
                    <a:pt x="191" y="68"/>
                  </a:lnTo>
                  <a:lnTo>
                    <a:pt x="189" y="93"/>
                  </a:lnTo>
                  <a:lnTo>
                    <a:pt x="188" y="122"/>
                  </a:lnTo>
                  <a:lnTo>
                    <a:pt x="186" y="148"/>
                  </a:lnTo>
                  <a:lnTo>
                    <a:pt x="184" y="175"/>
                  </a:lnTo>
                  <a:lnTo>
                    <a:pt x="184" y="199"/>
                  </a:lnTo>
                  <a:lnTo>
                    <a:pt x="184" y="216"/>
                  </a:lnTo>
                  <a:lnTo>
                    <a:pt x="184" y="229"/>
                  </a:lnTo>
                  <a:lnTo>
                    <a:pt x="186" y="234"/>
                  </a:lnTo>
                  <a:lnTo>
                    <a:pt x="191" y="236"/>
                  </a:lnTo>
                  <a:lnTo>
                    <a:pt x="202" y="238"/>
                  </a:lnTo>
                  <a:lnTo>
                    <a:pt x="222" y="241"/>
                  </a:lnTo>
                  <a:lnTo>
                    <a:pt x="245" y="243"/>
                  </a:lnTo>
                  <a:lnTo>
                    <a:pt x="272" y="247"/>
                  </a:lnTo>
                  <a:lnTo>
                    <a:pt x="300" y="251"/>
                  </a:lnTo>
                  <a:lnTo>
                    <a:pt x="331" y="254"/>
                  </a:lnTo>
                  <a:lnTo>
                    <a:pt x="360" y="258"/>
                  </a:lnTo>
                  <a:lnTo>
                    <a:pt x="390" y="260"/>
                  </a:lnTo>
                  <a:lnTo>
                    <a:pt x="415" y="264"/>
                  </a:lnTo>
                  <a:lnTo>
                    <a:pt x="438" y="267"/>
                  </a:lnTo>
                  <a:lnTo>
                    <a:pt x="456" y="268"/>
                  </a:lnTo>
                  <a:lnTo>
                    <a:pt x="468" y="269"/>
                  </a:lnTo>
                  <a:lnTo>
                    <a:pt x="472" y="269"/>
                  </a:lnTo>
                  <a:lnTo>
                    <a:pt x="474" y="268"/>
                  </a:lnTo>
                  <a:lnTo>
                    <a:pt x="479" y="261"/>
                  </a:lnTo>
                  <a:lnTo>
                    <a:pt x="488" y="254"/>
                  </a:lnTo>
                  <a:lnTo>
                    <a:pt x="500" y="243"/>
                  </a:lnTo>
                  <a:lnTo>
                    <a:pt x="511" y="232"/>
                  </a:lnTo>
                  <a:lnTo>
                    <a:pt x="524" y="219"/>
                  </a:lnTo>
                  <a:lnTo>
                    <a:pt x="536" y="208"/>
                  </a:lnTo>
                  <a:lnTo>
                    <a:pt x="547" y="197"/>
                  </a:lnTo>
                  <a:lnTo>
                    <a:pt x="556" y="188"/>
                  </a:lnTo>
                  <a:lnTo>
                    <a:pt x="562" y="182"/>
                  </a:lnTo>
                  <a:lnTo>
                    <a:pt x="570" y="174"/>
                  </a:lnTo>
                  <a:lnTo>
                    <a:pt x="581" y="166"/>
                  </a:lnTo>
                  <a:lnTo>
                    <a:pt x="590" y="160"/>
                  </a:lnTo>
                  <a:lnTo>
                    <a:pt x="596" y="155"/>
                  </a:lnTo>
                  <a:lnTo>
                    <a:pt x="599" y="154"/>
                  </a:lnTo>
                  <a:lnTo>
                    <a:pt x="615" y="0"/>
                  </a:lnTo>
                  <a:close/>
                </a:path>
              </a:pathLst>
            </a:custGeom>
            <a:solidFill>
              <a:srgbClr val="00001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5" name="Freeform 1419"/>
            <p:cNvSpPr>
              <a:spLocks/>
            </p:cNvSpPr>
            <p:nvPr/>
          </p:nvSpPr>
          <p:spPr bwMode="auto">
            <a:xfrm>
              <a:off x="-2611438" y="1852612"/>
              <a:ext cx="100013" cy="58738"/>
            </a:xfrm>
            <a:custGeom>
              <a:avLst/>
              <a:gdLst>
                <a:gd name="T0" fmla="*/ 60 w 63"/>
                <a:gd name="T1" fmla="*/ 0 h 37"/>
                <a:gd name="T2" fmla="*/ 63 w 63"/>
                <a:gd name="T3" fmla="*/ 3 h 37"/>
                <a:gd name="T4" fmla="*/ 63 w 63"/>
                <a:gd name="T5" fmla="*/ 7 h 37"/>
                <a:gd name="T6" fmla="*/ 63 w 63"/>
                <a:gd name="T7" fmla="*/ 9 h 37"/>
                <a:gd name="T8" fmla="*/ 63 w 63"/>
                <a:gd name="T9" fmla="*/ 13 h 37"/>
                <a:gd name="T10" fmla="*/ 60 w 63"/>
                <a:gd name="T11" fmla="*/ 16 h 37"/>
                <a:gd name="T12" fmla="*/ 56 w 63"/>
                <a:gd name="T13" fmla="*/ 18 h 37"/>
                <a:gd name="T14" fmla="*/ 46 w 63"/>
                <a:gd name="T15" fmla="*/ 22 h 37"/>
                <a:gd name="T16" fmla="*/ 35 w 63"/>
                <a:gd name="T17" fmla="*/ 26 h 37"/>
                <a:gd name="T18" fmla="*/ 22 w 63"/>
                <a:gd name="T19" fmla="*/ 30 h 37"/>
                <a:gd name="T20" fmla="*/ 9 w 63"/>
                <a:gd name="T21" fmla="*/ 34 h 37"/>
                <a:gd name="T22" fmla="*/ 0 w 63"/>
                <a:gd name="T23" fmla="*/ 37 h 37"/>
                <a:gd name="T24" fmla="*/ 10 w 63"/>
                <a:gd name="T25" fmla="*/ 32 h 37"/>
                <a:gd name="T26" fmla="*/ 24 w 63"/>
                <a:gd name="T27" fmla="*/ 27 h 37"/>
                <a:gd name="T28" fmla="*/ 38 w 63"/>
                <a:gd name="T29" fmla="*/ 21 h 37"/>
                <a:gd name="T30" fmla="*/ 50 w 63"/>
                <a:gd name="T31" fmla="*/ 14 h 37"/>
                <a:gd name="T32" fmla="*/ 56 w 63"/>
                <a:gd name="T33" fmla="*/ 9 h 37"/>
                <a:gd name="T34" fmla="*/ 59 w 63"/>
                <a:gd name="T35" fmla="*/ 4 h 37"/>
                <a:gd name="T36" fmla="*/ 60 w 63"/>
                <a:gd name="T3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37">
                  <a:moveTo>
                    <a:pt x="60" y="0"/>
                  </a:moveTo>
                  <a:lnTo>
                    <a:pt x="63" y="3"/>
                  </a:lnTo>
                  <a:lnTo>
                    <a:pt x="63" y="7"/>
                  </a:lnTo>
                  <a:lnTo>
                    <a:pt x="63" y="9"/>
                  </a:lnTo>
                  <a:lnTo>
                    <a:pt x="63" y="13"/>
                  </a:lnTo>
                  <a:lnTo>
                    <a:pt x="60" y="16"/>
                  </a:lnTo>
                  <a:lnTo>
                    <a:pt x="56" y="18"/>
                  </a:lnTo>
                  <a:lnTo>
                    <a:pt x="46" y="22"/>
                  </a:lnTo>
                  <a:lnTo>
                    <a:pt x="35" y="26"/>
                  </a:lnTo>
                  <a:lnTo>
                    <a:pt x="22" y="30"/>
                  </a:lnTo>
                  <a:lnTo>
                    <a:pt x="9" y="34"/>
                  </a:lnTo>
                  <a:lnTo>
                    <a:pt x="0" y="37"/>
                  </a:lnTo>
                  <a:lnTo>
                    <a:pt x="10" y="32"/>
                  </a:lnTo>
                  <a:lnTo>
                    <a:pt x="24" y="27"/>
                  </a:lnTo>
                  <a:lnTo>
                    <a:pt x="38" y="21"/>
                  </a:lnTo>
                  <a:lnTo>
                    <a:pt x="50" y="14"/>
                  </a:lnTo>
                  <a:lnTo>
                    <a:pt x="56" y="9"/>
                  </a:lnTo>
                  <a:lnTo>
                    <a:pt x="59" y="4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6" name="Freeform 1420"/>
            <p:cNvSpPr>
              <a:spLocks/>
            </p:cNvSpPr>
            <p:nvPr/>
          </p:nvSpPr>
          <p:spPr bwMode="auto">
            <a:xfrm>
              <a:off x="-2654300" y="1901825"/>
              <a:ext cx="153988" cy="60325"/>
            </a:xfrm>
            <a:custGeom>
              <a:avLst/>
              <a:gdLst>
                <a:gd name="T0" fmla="*/ 96 w 97"/>
                <a:gd name="T1" fmla="*/ 0 h 38"/>
                <a:gd name="T2" fmla="*/ 97 w 97"/>
                <a:gd name="T3" fmla="*/ 3 h 38"/>
                <a:gd name="T4" fmla="*/ 97 w 97"/>
                <a:gd name="T5" fmla="*/ 6 h 38"/>
                <a:gd name="T6" fmla="*/ 96 w 97"/>
                <a:gd name="T7" fmla="*/ 10 h 38"/>
                <a:gd name="T8" fmla="*/ 94 w 97"/>
                <a:gd name="T9" fmla="*/ 14 h 38"/>
                <a:gd name="T10" fmla="*/ 91 w 97"/>
                <a:gd name="T11" fmla="*/ 18 h 38"/>
                <a:gd name="T12" fmla="*/ 86 w 97"/>
                <a:gd name="T13" fmla="*/ 21 h 38"/>
                <a:gd name="T14" fmla="*/ 76 w 97"/>
                <a:gd name="T15" fmla="*/ 23 h 38"/>
                <a:gd name="T16" fmla="*/ 60 w 97"/>
                <a:gd name="T17" fmla="*/ 26 h 38"/>
                <a:gd name="T18" fmla="*/ 44 w 97"/>
                <a:gd name="T19" fmla="*/ 30 h 38"/>
                <a:gd name="T20" fmla="*/ 28 w 97"/>
                <a:gd name="T21" fmla="*/ 33 h 38"/>
                <a:gd name="T22" fmla="*/ 14 w 97"/>
                <a:gd name="T23" fmla="*/ 36 h 38"/>
                <a:gd name="T24" fmla="*/ 4 w 97"/>
                <a:gd name="T25" fmla="*/ 37 h 38"/>
                <a:gd name="T26" fmla="*/ 0 w 97"/>
                <a:gd name="T27" fmla="*/ 38 h 38"/>
                <a:gd name="T28" fmla="*/ 4 w 97"/>
                <a:gd name="T29" fmla="*/ 37 h 38"/>
                <a:gd name="T30" fmla="*/ 12 w 97"/>
                <a:gd name="T31" fmla="*/ 36 h 38"/>
                <a:gd name="T32" fmla="*/ 23 w 97"/>
                <a:gd name="T33" fmla="*/ 32 h 38"/>
                <a:gd name="T34" fmla="*/ 37 w 97"/>
                <a:gd name="T35" fmla="*/ 30 h 38"/>
                <a:gd name="T36" fmla="*/ 51 w 97"/>
                <a:gd name="T37" fmla="*/ 26 h 38"/>
                <a:gd name="T38" fmla="*/ 64 w 97"/>
                <a:gd name="T39" fmla="*/ 22 h 38"/>
                <a:gd name="T40" fmla="*/ 74 w 97"/>
                <a:gd name="T41" fmla="*/ 18 h 38"/>
                <a:gd name="T42" fmla="*/ 82 w 97"/>
                <a:gd name="T43" fmla="*/ 15 h 38"/>
                <a:gd name="T44" fmla="*/ 86 w 97"/>
                <a:gd name="T45" fmla="*/ 13 h 38"/>
                <a:gd name="T46" fmla="*/ 90 w 97"/>
                <a:gd name="T47" fmla="*/ 9 h 38"/>
                <a:gd name="T48" fmla="*/ 92 w 97"/>
                <a:gd name="T49" fmla="*/ 6 h 38"/>
                <a:gd name="T50" fmla="*/ 95 w 97"/>
                <a:gd name="T51" fmla="*/ 3 h 38"/>
                <a:gd name="T52" fmla="*/ 95 w 97"/>
                <a:gd name="T53" fmla="*/ 0 h 38"/>
                <a:gd name="T54" fmla="*/ 96 w 97"/>
                <a:gd name="T5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7" h="38">
                  <a:moveTo>
                    <a:pt x="96" y="0"/>
                  </a:moveTo>
                  <a:lnTo>
                    <a:pt x="97" y="3"/>
                  </a:lnTo>
                  <a:lnTo>
                    <a:pt x="97" y="6"/>
                  </a:lnTo>
                  <a:lnTo>
                    <a:pt x="96" y="10"/>
                  </a:lnTo>
                  <a:lnTo>
                    <a:pt x="94" y="14"/>
                  </a:lnTo>
                  <a:lnTo>
                    <a:pt x="91" y="18"/>
                  </a:lnTo>
                  <a:lnTo>
                    <a:pt x="86" y="21"/>
                  </a:lnTo>
                  <a:lnTo>
                    <a:pt x="76" y="23"/>
                  </a:lnTo>
                  <a:lnTo>
                    <a:pt x="60" y="26"/>
                  </a:lnTo>
                  <a:lnTo>
                    <a:pt x="44" y="30"/>
                  </a:lnTo>
                  <a:lnTo>
                    <a:pt x="28" y="33"/>
                  </a:lnTo>
                  <a:lnTo>
                    <a:pt x="14" y="36"/>
                  </a:lnTo>
                  <a:lnTo>
                    <a:pt x="4" y="37"/>
                  </a:lnTo>
                  <a:lnTo>
                    <a:pt x="0" y="38"/>
                  </a:lnTo>
                  <a:lnTo>
                    <a:pt x="4" y="37"/>
                  </a:lnTo>
                  <a:lnTo>
                    <a:pt x="12" y="36"/>
                  </a:lnTo>
                  <a:lnTo>
                    <a:pt x="23" y="32"/>
                  </a:lnTo>
                  <a:lnTo>
                    <a:pt x="37" y="30"/>
                  </a:lnTo>
                  <a:lnTo>
                    <a:pt x="51" y="26"/>
                  </a:lnTo>
                  <a:lnTo>
                    <a:pt x="64" y="22"/>
                  </a:lnTo>
                  <a:lnTo>
                    <a:pt x="74" y="18"/>
                  </a:lnTo>
                  <a:lnTo>
                    <a:pt x="82" y="15"/>
                  </a:lnTo>
                  <a:lnTo>
                    <a:pt x="86" y="13"/>
                  </a:lnTo>
                  <a:lnTo>
                    <a:pt x="90" y="9"/>
                  </a:lnTo>
                  <a:lnTo>
                    <a:pt x="92" y="6"/>
                  </a:lnTo>
                  <a:lnTo>
                    <a:pt x="95" y="3"/>
                  </a:lnTo>
                  <a:lnTo>
                    <a:pt x="95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7" name="Freeform 1421"/>
            <p:cNvSpPr>
              <a:spLocks/>
            </p:cNvSpPr>
            <p:nvPr/>
          </p:nvSpPr>
          <p:spPr bwMode="auto">
            <a:xfrm>
              <a:off x="-2682875" y="1965325"/>
              <a:ext cx="174625" cy="44450"/>
            </a:xfrm>
            <a:custGeom>
              <a:avLst/>
              <a:gdLst>
                <a:gd name="T0" fmla="*/ 110 w 110"/>
                <a:gd name="T1" fmla="*/ 0 h 28"/>
                <a:gd name="T2" fmla="*/ 110 w 110"/>
                <a:gd name="T3" fmla="*/ 2 h 28"/>
                <a:gd name="T4" fmla="*/ 110 w 110"/>
                <a:gd name="T5" fmla="*/ 6 h 28"/>
                <a:gd name="T6" fmla="*/ 109 w 110"/>
                <a:gd name="T7" fmla="*/ 10 h 28"/>
                <a:gd name="T8" fmla="*/ 106 w 110"/>
                <a:gd name="T9" fmla="*/ 14 h 28"/>
                <a:gd name="T10" fmla="*/ 104 w 110"/>
                <a:gd name="T11" fmla="*/ 16 h 28"/>
                <a:gd name="T12" fmla="*/ 101 w 110"/>
                <a:gd name="T13" fmla="*/ 18 h 28"/>
                <a:gd name="T14" fmla="*/ 98 w 110"/>
                <a:gd name="T15" fmla="*/ 19 h 28"/>
                <a:gd name="T16" fmla="*/ 94 w 110"/>
                <a:gd name="T17" fmla="*/ 20 h 28"/>
                <a:gd name="T18" fmla="*/ 90 w 110"/>
                <a:gd name="T19" fmla="*/ 20 h 28"/>
                <a:gd name="T20" fmla="*/ 89 w 110"/>
                <a:gd name="T21" fmla="*/ 20 h 28"/>
                <a:gd name="T22" fmla="*/ 81 w 110"/>
                <a:gd name="T23" fmla="*/ 20 h 28"/>
                <a:gd name="T24" fmla="*/ 67 w 110"/>
                <a:gd name="T25" fmla="*/ 22 h 28"/>
                <a:gd name="T26" fmla="*/ 50 w 110"/>
                <a:gd name="T27" fmla="*/ 23 h 28"/>
                <a:gd name="T28" fmla="*/ 32 w 110"/>
                <a:gd name="T29" fmla="*/ 24 h 28"/>
                <a:gd name="T30" fmla="*/ 15 w 110"/>
                <a:gd name="T31" fmla="*/ 25 h 28"/>
                <a:gd name="T32" fmla="*/ 9 w 110"/>
                <a:gd name="T33" fmla="*/ 27 h 28"/>
                <a:gd name="T34" fmla="*/ 4 w 110"/>
                <a:gd name="T35" fmla="*/ 27 h 28"/>
                <a:gd name="T36" fmla="*/ 0 w 110"/>
                <a:gd name="T37" fmla="*/ 28 h 28"/>
                <a:gd name="T38" fmla="*/ 3 w 110"/>
                <a:gd name="T39" fmla="*/ 27 h 28"/>
                <a:gd name="T40" fmla="*/ 5 w 110"/>
                <a:gd name="T41" fmla="*/ 27 h 28"/>
                <a:gd name="T42" fmla="*/ 9 w 110"/>
                <a:gd name="T43" fmla="*/ 27 h 28"/>
                <a:gd name="T44" fmla="*/ 15 w 110"/>
                <a:gd name="T45" fmla="*/ 25 h 28"/>
                <a:gd name="T46" fmla="*/ 32 w 110"/>
                <a:gd name="T47" fmla="*/ 23 h 28"/>
                <a:gd name="T48" fmla="*/ 53 w 110"/>
                <a:gd name="T49" fmla="*/ 20 h 28"/>
                <a:gd name="T50" fmla="*/ 71 w 110"/>
                <a:gd name="T51" fmla="*/ 18 h 28"/>
                <a:gd name="T52" fmla="*/ 86 w 110"/>
                <a:gd name="T53" fmla="*/ 15 h 28"/>
                <a:gd name="T54" fmla="*/ 89 w 110"/>
                <a:gd name="T55" fmla="*/ 14 h 28"/>
                <a:gd name="T56" fmla="*/ 90 w 110"/>
                <a:gd name="T57" fmla="*/ 13 h 28"/>
                <a:gd name="T58" fmla="*/ 91 w 110"/>
                <a:gd name="T59" fmla="*/ 11 h 28"/>
                <a:gd name="T60" fmla="*/ 91 w 110"/>
                <a:gd name="T61" fmla="*/ 11 h 28"/>
                <a:gd name="T62" fmla="*/ 99 w 110"/>
                <a:gd name="T63" fmla="*/ 9 h 28"/>
                <a:gd name="T64" fmla="*/ 103 w 110"/>
                <a:gd name="T65" fmla="*/ 6 h 28"/>
                <a:gd name="T66" fmla="*/ 106 w 110"/>
                <a:gd name="T67" fmla="*/ 5 h 28"/>
                <a:gd name="T68" fmla="*/ 108 w 110"/>
                <a:gd name="T69" fmla="*/ 2 h 28"/>
                <a:gd name="T70" fmla="*/ 109 w 110"/>
                <a:gd name="T71" fmla="*/ 1 h 28"/>
                <a:gd name="T72" fmla="*/ 109 w 110"/>
                <a:gd name="T73" fmla="*/ 1 h 28"/>
                <a:gd name="T74" fmla="*/ 110 w 110"/>
                <a:gd name="T7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28">
                  <a:moveTo>
                    <a:pt x="110" y="0"/>
                  </a:moveTo>
                  <a:lnTo>
                    <a:pt x="110" y="2"/>
                  </a:lnTo>
                  <a:lnTo>
                    <a:pt x="110" y="6"/>
                  </a:lnTo>
                  <a:lnTo>
                    <a:pt x="109" y="10"/>
                  </a:lnTo>
                  <a:lnTo>
                    <a:pt x="106" y="14"/>
                  </a:lnTo>
                  <a:lnTo>
                    <a:pt x="104" y="16"/>
                  </a:lnTo>
                  <a:lnTo>
                    <a:pt x="101" y="18"/>
                  </a:lnTo>
                  <a:lnTo>
                    <a:pt x="98" y="19"/>
                  </a:lnTo>
                  <a:lnTo>
                    <a:pt x="94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1" y="20"/>
                  </a:lnTo>
                  <a:lnTo>
                    <a:pt x="67" y="22"/>
                  </a:lnTo>
                  <a:lnTo>
                    <a:pt x="50" y="23"/>
                  </a:lnTo>
                  <a:lnTo>
                    <a:pt x="32" y="24"/>
                  </a:lnTo>
                  <a:lnTo>
                    <a:pt x="15" y="25"/>
                  </a:lnTo>
                  <a:lnTo>
                    <a:pt x="9" y="27"/>
                  </a:lnTo>
                  <a:lnTo>
                    <a:pt x="4" y="27"/>
                  </a:lnTo>
                  <a:lnTo>
                    <a:pt x="0" y="28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15" y="25"/>
                  </a:lnTo>
                  <a:lnTo>
                    <a:pt x="32" y="23"/>
                  </a:lnTo>
                  <a:lnTo>
                    <a:pt x="53" y="20"/>
                  </a:lnTo>
                  <a:lnTo>
                    <a:pt x="71" y="18"/>
                  </a:lnTo>
                  <a:lnTo>
                    <a:pt x="86" y="15"/>
                  </a:lnTo>
                  <a:lnTo>
                    <a:pt x="89" y="14"/>
                  </a:lnTo>
                  <a:lnTo>
                    <a:pt x="90" y="13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9" y="9"/>
                  </a:lnTo>
                  <a:lnTo>
                    <a:pt x="103" y="6"/>
                  </a:lnTo>
                  <a:lnTo>
                    <a:pt x="106" y="5"/>
                  </a:lnTo>
                  <a:lnTo>
                    <a:pt x="108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8" name="Freeform 1422"/>
            <p:cNvSpPr>
              <a:spLocks/>
            </p:cNvSpPr>
            <p:nvPr/>
          </p:nvSpPr>
          <p:spPr bwMode="auto">
            <a:xfrm>
              <a:off x="-2771775" y="2033587"/>
              <a:ext cx="220663" cy="42863"/>
            </a:xfrm>
            <a:custGeom>
              <a:avLst/>
              <a:gdLst>
                <a:gd name="T0" fmla="*/ 139 w 139"/>
                <a:gd name="T1" fmla="*/ 0 h 27"/>
                <a:gd name="T2" fmla="*/ 137 w 139"/>
                <a:gd name="T3" fmla="*/ 4 h 27"/>
                <a:gd name="T4" fmla="*/ 133 w 139"/>
                <a:gd name="T5" fmla="*/ 7 h 27"/>
                <a:gd name="T6" fmla="*/ 128 w 139"/>
                <a:gd name="T7" fmla="*/ 8 h 27"/>
                <a:gd name="T8" fmla="*/ 121 w 139"/>
                <a:gd name="T9" fmla="*/ 9 h 27"/>
                <a:gd name="T10" fmla="*/ 116 w 139"/>
                <a:gd name="T11" fmla="*/ 9 h 27"/>
                <a:gd name="T12" fmla="*/ 105 w 139"/>
                <a:gd name="T13" fmla="*/ 8 h 27"/>
                <a:gd name="T14" fmla="*/ 91 w 139"/>
                <a:gd name="T15" fmla="*/ 8 h 27"/>
                <a:gd name="T16" fmla="*/ 78 w 139"/>
                <a:gd name="T17" fmla="*/ 9 h 27"/>
                <a:gd name="T18" fmla="*/ 68 w 139"/>
                <a:gd name="T19" fmla="*/ 11 h 27"/>
                <a:gd name="T20" fmla="*/ 64 w 139"/>
                <a:gd name="T21" fmla="*/ 11 h 27"/>
                <a:gd name="T22" fmla="*/ 61 w 139"/>
                <a:gd name="T23" fmla="*/ 12 h 27"/>
                <a:gd name="T24" fmla="*/ 60 w 139"/>
                <a:gd name="T25" fmla="*/ 12 h 27"/>
                <a:gd name="T26" fmla="*/ 60 w 139"/>
                <a:gd name="T27" fmla="*/ 12 h 27"/>
                <a:gd name="T28" fmla="*/ 59 w 139"/>
                <a:gd name="T29" fmla="*/ 13 h 27"/>
                <a:gd name="T30" fmla="*/ 57 w 139"/>
                <a:gd name="T31" fmla="*/ 15 h 27"/>
                <a:gd name="T32" fmla="*/ 55 w 139"/>
                <a:gd name="T33" fmla="*/ 16 h 27"/>
                <a:gd name="T34" fmla="*/ 51 w 139"/>
                <a:gd name="T35" fmla="*/ 18 h 27"/>
                <a:gd name="T36" fmla="*/ 48 w 139"/>
                <a:gd name="T37" fmla="*/ 21 h 27"/>
                <a:gd name="T38" fmla="*/ 44 w 139"/>
                <a:gd name="T39" fmla="*/ 23 h 27"/>
                <a:gd name="T40" fmla="*/ 42 w 139"/>
                <a:gd name="T41" fmla="*/ 25 h 27"/>
                <a:gd name="T42" fmla="*/ 39 w 139"/>
                <a:gd name="T43" fmla="*/ 26 h 27"/>
                <a:gd name="T44" fmla="*/ 37 w 139"/>
                <a:gd name="T45" fmla="*/ 27 h 27"/>
                <a:gd name="T46" fmla="*/ 37 w 139"/>
                <a:gd name="T47" fmla="*/ 27 h 27"/>
                <a:gd name="T48" fmla="*/ 35 w 139"/>
                <a:gd name="T49" fmla="*/ 27 h 27"/>
                <a:gd name="T50" fmla="*/ 30 w 139"/>
                <a:gd name="T51" fmla="*/ 27 h 27"/>
                <a:gd name="T52" fmla="*/ 21 w 139"/>
                <a:gd name="T53" fmla="*/ 27 h 27"/>
                <a:gd name="T54" fmla="*/ 7 w 139"/>
                <a:gd name="T55" fmla="*/ 27 h 27"/>
                <a:gd name="T56" fmla="*/ 0 w 139"/>
                <a:gd name="T57" fmla="*/ 27 h 27"/>
                <a:gd name="T58" fmla="*/ 2 w 139"/>
                <a:gd name="T59" fmla="*/ 26 h 27"/>
                <a:gd name="T60" fmla="*/ 14 w 139"/>
                <a:gd name="T61" fmla="*/ 22 h 27"/>
                <a:gd name="T62" fmla="*/ 25 w 139"/>
                <a:gd name="T63" fmla="*/ 17 h 27"/>
                <a:gd name="T64" fmla="*/ 35 w 139"/>
                <a:gd name="T65" fmla="*/ 13 h 27"/>
                <a:gd name="T66" fmla="*/ 42 w 139"/>
                <a:gd name="T67" fmla="*/ 9 h 27"/>
                <a:gd name="T68" fmla="*/ 46 w 139"/>
                <a:gd name="T69" fmla="*/ 8 h 27"/>
                <a:gd name="T70" fmla="*/ 47 w 139"/>
                <a:gd name="T71" fmla="*/ 7 h 27"/>
                <a:gd name="T72" fmla="*/ 50 w 139"/>
                <a:gd name="T73" fmla="*/ 7 h 27"/>
                <a:gd name="T74" fmla="*/ 53 w 139"/>
                <a:gd name="T75" fmla="*/ 7 h 27"/>
                <a:gd name="T76" fmla="*/ 60 w 139"/>
                <a:gd name="T77" fmla="*/ 6 h 27"/>
                <a:gd name="T78" fmla="*/ 68 w 139"/>
                <a:gd name="T79" fmla="*/ 6 h 27"/>
                <a:gd name="T80" fmla="*/ 86 w 139"/>
                <a:gd name="T81" fmla="*/ 4 h 27"/>
                <a:gd name="T82" fmla="*/ 103 w 139"/>
                <a:gd name="T83" fmla="*/ 4 h 27"/>
                <a:gd name="T84" fmla="*/ 119 w 139"/>
                <a:gd name="T85" fmla="*/ 4 h 27"/>
                <a:gd name="T86" fmla="*/ 128 w 139"/>
                <a:gd name="T87" fmla="*/ 3 h 27"/>
                <a:gd name="T88" fmla="*/ 134 w 139"/>
                <a:gd name="T89" fmla="*/ 2 h 27"/>
                <a:gd name="T90" fmla="*/ 139 w 139"/>
                <a:gd name="T9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9" h="27">
                  <a:moveTo>
                    <a:pt x="139" y="0"/>
                  </a:moveTo>
                  <a:lnTo>
                    <a:pt x="137" y="4"/>
                  </a:lnTo>
                  <a:lnTo>
                    <a:pt x="133" y="7"/>
                  </a:lnTo>
                  <a:lnTo>
                    <a:pt x="128" y="8"/>
                  </a:lnTo>
                  <a:lnTo>
                    <a:pt x="121" y="9"/>
                  </a:lnTo>
                  <a:lnTo>
                    <a:pt x="116" y="9"/>
                  </a:lnTo>
                  <a:lnTo>
                    <a:pt x="105" y="8"/>
                  </a:lnTo>
                  <a:lnTo>
                    <a:pt x="91" y="8"/>
                  </a:lnTo>
                  <a:lnTo>
                    <a:pt x="78" y="9"/>
                  </a:lnTo>
                  <a:lnTo>
                    <a:pt x="68" y="11"/>
                  </a:lnTo>
                  <a:lnTo>
                    <a:pt x="64" y="11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9" y="13"/>
                  </a:lnTo>
                  <a:lnTo>
                    <a:pt x="57" y="15"/>
                  </a:lnTo>
                  <a:lnTo>
                    <a:pt x="55" y="16"/>
                  </a:lnTo>
                  <a:lnTo>
                    <a:pt x="51" y="18"/>
                  </a:lnTo>
                  <a:lnTo>
                    <a:pt x="48" y="21"/>
                  </a:lnTo>
                  <a:lnTo>
                    <a:pt x="44" y="23"/>
                  </a:lnTo>
                  <a:lnTo>
                    <a:pt x="42" y="25"/>
                  </a:lnTo>
                  <a:lnTo>
                    <a:pt x="39" y="26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0" y="27"/>
                  </a:lnTo>
                  <a:lnTo>
                    <a:pt x="21" y="27"/>
                  </a:lnTo>
                  <a:lnTo>
                    <a:pt x="7" y="27"/>
                  </a:lnTo>
                  <a:lnTo>
                    <a:pt x="0" y="27"/>
                  </a:lnTo>
                  <a:lnTo>
                    <a:pt x="2" y="26"/>
                  </a:lnTo>
                  <a:lnTo>
                    <a:pt x="14" y="22"/>
                  </a:lnTo>
                  <a:lnTo>
                    <a:pt x="25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6" y="8"/>
                  </a:lnTo>
                  <a:lnTo>
                    <a:pt x="47" y="7"/>
                  </a:lnTo>
                  <a:lnTo>
                    <a:pt x="50" y="7"/>
                  </a:lnTo>
                  <a:lnTo>
                    <a:pt x="53" y="7"/>
                  </a:lnTo>
                  <a:lnTo>
                    <a:pt x="60" y="6"/>
                  </a:lnTo>
                  <a:lnTo>
                    <a:pt x="68" y="6"/>
                  </a:lnTo>
                  <a:lnTo>
                    <a:pt x="86" y="4"/>
                  </a:lnTo>
                  <a:lnTo>
                    <a:pt x="103" y="4"/>
                  </a:lnTo>
                  <a:lnTo>
                    <a:pt x="119" y="4"/>
                  </a:lnTo>
                  <a:lnTo>
                    <a:pt x="128" y="3"/>
                  </a:lnTo>
                  <a:lnTo>
                    <a:pt x="134" y="2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9" name="Freeform 1423"/>
            <p:cNvSpPr>
              <a:spLocks/>
            </p:cNvSpPr>
            <p:nvPr/>
          </p:nvSpPr>
          <p:spPr bwMode="auto">
            <a:xfrm>
              <a:off x="-3381375" y="2076450"/>
              <a:ext cx="920750" cy="236538"/>
            </a:xfrm>
            <a:custGeom>
              <a:avLst/>
              <a:gdLst>
                <a:gd name="T0" fmla="*/ 580 w 580"/>
                <a:gd name="T1" fmla="*/ 0 h 149"/>
                <a:gd name="T2" fmla="*/ 577 w 580"/>
                <a:gd name="T3" fmla="*/ 25 h 149"/>
                <a:gd name="T4" fmla="*/ 575 w 580"/>
                <a:gd name="T5" fmla="*/ 48 h 149"/>
                <a:gd name="T6" fmla="*/ 572 w 580"/>
                <a:gd name="T7" fmla="*/ 70 h 149"/>
                <a:gd name="T8" fmla="*/ 567 w 580"/>
                <a:gd name="T9" fmla="*/ 91 h 149"/>
                <a:gd name="T10" fmla="*/ 561 w 580"/>
                <a:gd name="T11" fmla="*/ 109 h 149"/>
                <a:gd name="T12" fmla="*/ 552 w 580"/>
                <a:gd name="T13" fmla="*/ 126 h 149"/>
                <a:gd name="T14" fmla="*/ 541 w 580"/>
                <a:gd name="T15" fmla="*/ 138 h 149"/>
                <a:gd name="T16" fmla="*/ 529 w 580"/>
                <a:gd name="T17" fmla="*/ 147 h 149"/>
                <a:gd name="T18" fmla="*/ 513 w 580"/>
                <a:gd name="T19" fmla="*/ 149 h 149"/>
                <a:gd name="T20" fmla="*/ 505 w 580"/>
                <a:gd name="T21" fmla="*/ 148 h 149"/>
                <a:gd name="T22" fmla="*/ 493 w 580"/>
                <a:gd name="T23" fmla="*/ 147 h 149"/>
                <a:gd name="T24" fmla="*/ 476 w 580"/>
                <a:gd name="T25" fmla="*/ 144 h 149"/>
                <a:gd name="T26" fmla="*/ 455 w 580"/>
                <a:gd name="T27" fmla="*/ 140 h 149"/>
                <a:gd name="T28" fmla="*/ 431 w 580"/>
                <a:gd name="T29" fmla="*/ 135 h 149"/>
                <a:gd name="T30" fmla="*/ 396 w 580"/>
                <a:gd name="T31" fmla="*/ 129 h 149"/>
                <a:gd name="T32" fmla="*/ 358 w 580"/>
                <a:gd name="T33" fmla="*/ 121 h 149"/>
                <a:gd name="T34" fmla="*/ 318 w 580"/>
                <a:gd name="T35" fmla="*/ 112 h 149"/>
                <a:gd name="T36" fmla="*/ 276 w 580"/>
                <a:gd name="T37" fmla="*/ 103 h 149"/>
                <a:gd name="T38" fmla="*/ 239 w 580"/>
                <a:gd name="T39" fmla="*/ 94 h 149"/>
                <a:gd name="T40" fmla="*/ 204 w 580"/>
                <a:gd name="T41" fmla="*/ 86 h 149"/>
                <a:gd name="T42" fmla="*/ 169 w 580"/>
                <a:gd name="T43" fmla="*/ 79 h 149"/>
                <a:gd name="T44" fmla="*/ 140 w 580"/>
                <a:gd name="T45" fmla="*/ 71 h 149"/>
                <a:gd name="T46" fmla="*/ 113 w 580"/>
                <a:gd name="T47" fmla="*/ 63 h 149"/>
                <a:gd name="T48" fmla="*/ 91 w 580"/>
                <a:gd name="T49" fmla="*/ 58 h 149"/>
                <a:gd name="T50" fmla="*/ 76 w 580"/>
                <a:gd name="T51" fmla="*/ 53 h 149"/>
                <a:gd name="T52" fmla="*/ 51 w 580"/>
                <a:gd name="T53" fmla="*/ 43 h 149"/>
                <a:gd name="T54" fmla="*/ 33 w 580"/>
                <a:gd name="T55" fmla="*/ 35 h 149"/>
                <a:gd name="T56" fmla="*/ 19 w 580"/>
                <a:gd name="T57" fmla="*/ 27 h 149"/>
                <a:gd name="T58" fmla="*/ 10 w 580"/>
                <a:gd name="T59" fmla="*/ 22 h 149"/>
                <a:gd name="T60" fmla="*/ 5 w 580"/>
                <a:gd name="T61" fmla="*/ 18 h 149"/>
                <a:gd name="T62" fmla="*/ 2 w 580"/>
                <a:gd name="T63" fmla="*/ 16 h 149"/>
                <a:gd name="T64" fmla="*/ 1 w 580"/>
                <a:gd name="T65" fmla="*/ 14 h 149"/>
                <a:gd name="T66" fmla="*/ 0 w 580"/>
                <a:gd name="T67" fmla="*/ 13 h 149"/>
                <a:gd name="T68" fmla="*/ 14 w 580"/>
                <a:gd name="T69" fmla="*/ 17 h 149"/>
                <a:gd name="T70" fmla="*/ 31 w 580"/>
                <a:gd name="T71" fmla="*/ 21 h 149"/>
                <a:gd name="T72" fmla="*/ 63 w 580"/>
                <a:gd name="T73" fmla="*/ 29 h 149"/>
                <a:gd name="T74" fmla="*/ 100 w 580"/>
                <a:gd name="T75" fmla="*/ 36 h 149"/>
                <a:gd name="T76" fmla="*/ 141 w 580"/>
                <a:gd name="T77" fmla="*/ 47 h 149"/>
                <a:gd name="T78" fmla="*/ 183 w 580"/>
                <a:gd name="T79" fmla="*/ 57 h 149"/>
                <a:gd name="T80" fmla="*/ 226 w 580"/>
                <a:gd name="T81" fmla="*/ 67 h 149"/>
                <a:gd name="T82" fmla="*/ 268 w 580"/>
                <a:gd name="T83" fmla="*/ 76 h 149"/>
                <a:gd name="T84" fmla="*/ 307 w 580"/>
                <a:gd name="T85" fmla="*/ 86 h 149"/>
                <a:gd name="T86" fmla="*/ 341 w 580"/>
                <a:gd name="T87" fmla="*/ 94 h 149"/>
                <a:gd name="T88" fmla="*/ 369 w 580"/>
                <a:gd name="T89" fmla="*/ 100 h 149"/>
                <a:gd name="T90" fmla="*/ 394 w 580"/>
                <a:gd name="T91" fmla="*/ 106 h 149"/>
                <a:gd name="T92" fmla="*/ 410 w 580"/>
                <a:gd name="T93" fmla="*/ 109 h 149"/>
                <a:gd name="T94" fmla="*/ 434 w 580"/>
                <a:gd name="T95" fmla="*/ 115 h 149"/>
                <a:gd name="T96" fmla="*/ 462 w 580"/>
                <a:gd name="T97" fmla="*/ 120 h 149"/>
                <a:gd name="T98" fmla="*/ 485 w 580"/>
                <a:gd name="T99" fmla="*/ 124 h 149"/>
                <a:gd name="T100" fmla="*/ 503 w 580"/>
                <a:gd name="T101" fmla="*/ 124 h 149"/>
                <a:gd name="T102" fmla="*/ 518 w 580"/>
                <a:gd name="T103" fmla="*/ 121 h 149"/>
                <a:gd name="T104" fmla="*/ 531 w 580"/>
                <a:gd name="T105" fmla="*/ 113 h 149"/>
                <a:gd name="T106" fmla="*/ 538 w 580"/>
                <a:gd name="T107" fmla="*/ 106 h 149"/>
                <a:gd name="T108" fmla="*/ 544 w 580"/>
                <a:gd name="T109" fmla="*/ 91 h 149"/>
                <a:gd name="T110" fmla="*/ 553 w 580"/>
                <a:gd name="T111" fmla="*/ 72 h 149"/>
                <a:gd name="T112" fmla="*/ 562 w 580"/>
                <a:gd name="T113" fmla="*/ 50 h 149"/>
                <a:gd name="T114" fmla="*/ 571 w 580"/>
                <a:gd name="T115" fmla="*/ 26 h 149"/>
                <a:gd name="T116" fmla="*/ 580 w 580"/>
                <a:gd name="T117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0" h="149">
                  <a:moveTo>
                    <a:pt x="580" y="0"/>
                  </a:moveTo>
                  <a:lnTo>
                    <a:pt x="577" y="25"/>
                  </a:lnTo>
                  <a:lnTo>
                    <a:pt x="575" y="48"/>
                  </a:lnTo>
                  <a:lnTo>
                    <a:pt x="572" y="70"/>
                  </a:lnTo>
                  <a:lnTo>
                    <a:pt x="567" y="91"/>
                  </a:lnTo>
                  <a:lnTo>
                    <a:pt x="561" y="109"/>
                  </a:lnTo>
                  <a:lnTo>
                    <a:pt x="552" y="126"/>
                  </a:lnTo>
                  <a:lnTo>
                    <a:pt x="541" y="138"/>
                  </a:lnTo>
                  <a:lnTo>
                    <a:pt x="529" y="147"/>
                  </a:lnTo>
                  <a:lnTo>
                    <a:pt x="513" y="149"/>
                  </a:lnTo>
                  <a:lnTo>
                    <a:pt x="505" y="148"/>
                  </a:lnTo>
                  <a:lnTo>
                    <a:pt x="493" y="147"/>
                  </a:lnTo>
                  <a:lnTo>
                    <a:pt x="476" y="144"/>
                  </a:lnTo>
                  <a:lnTo>
                    <a:pt x="455" y="140"/>
                  </a:lnTo>
                  <a:lnTo>
                    <a:pt x="431" y="135"/>
                  </a:lnTo>
                  <a:lnTo>
                    <a:pt x="396" y="129"/>
                  </a:lnTo>
                  <a:lnTo>
                    <a:pt x="358" y="121"/>
                  </a:lnTo>
                  <a:lnTo>
                    <a:pt x="318" y="112"/>
                  </a:lnTo>
                  <a:lnTo>
                    <a:pt x="276" y="103"/>
                  </a:lnTo>
                  <a:lnTo>
                    <a:pt x="239" y="94"/>
                  </a:lnTo>
                  <a:lnTo>
                    <a:pt x="204" y="86"/>
                  </a:lnTo>
                  <a:lnTo>
                    <a:pt x="169" y="79"/>
                  </a:lnTo>
                  <a:lnTo>
                    <a:pt x="140" y="71"/>
                  </a:lnTo>
                  <a:lnTo>
                    <a:pt x="113" y="63"/>
                  </a:lnTo>
                  <a:lnTo>
                    <a:pt x="91" y="58"/>
                  </a:lnTo>
                  <a:lnTo>
                    <a:pt x="76" y="53"/>
                  </a:lnTo>
                  <a:lnTo>
                    <a:pt x="51" y="43"/>
                  </a:lnTo>
                  <a:lnTo>
                    <a:pt x="33" y="35"/>
                  </a:lnTo>
                  <a:lnTo>
                    <a:pt x="19" y="27"/>
                  </a:lnTo>
                  <a:lnTo>
                    <a:pt x="10" y="22"/>
                  </a:lnTo>
                  <a:lnTo>
                    <a:pt x="5" y="18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3"/>
                  </a:lnTo>
                  <a:lnTo>
                    <a:pt x="14" y="17"/>
                  </a:lnTo>
                  <a:lnTo>
                    <a:pt x="31" y="21"/>
                  </a:lnTo>
                  <a:lnTo>
                    <a:pt x="63" y="29"/>
                  </a:lnTo>
                  <a:lnTo>
                    <a:pt x="100" y="36"/>
                  </a:lnTo>
                  <a:lnTo>
                    <a:pt x="141" y="47"/>
                  </a:lnTo>
                  <a:lnTo>
                    <a:pt x="183" y="57"/>
                  </a:lnTo>
                  <a:lnTo>
                    <a:pt x="226" y="67"/>
                  </a:lnTo>
                  <a:lnTo>
                    <a:pt x="268" y="76"/>
                  </a:lnTo>
                  <a:lnTo>
                    <a:pt x="307" y="86"/>
                  </a:lnTo>
                  <a:lnTo>
                    <a:pt x="341" y="94"/>
                  </a:lnTo>
                  <a:lnTo>
                    <a:pt x="369" y="100"/>
                  </a:lnTo>
                  <a:lnTo>
                    <a:pt x="394" y="106"/>
                  </a:lnTo>
                  <a:lnTo>
                    <a:pt x="410" y="109"/>
                  </a:lnTo>
                  <a:lnTo>
                    <a:pt x="434" y="115"/>
                  </a:lnTo>
                  <a:lnTo>
                    <a:pt x="462" y="120"/>
                  </a:lnTo>
                  <a:lnTo>
                    <a:pt x="485" y="124"/>
                  </a:lnTo>
                  <a:lnTo>
                    <a:pt x="503" y="124"/>
                  </a:lnTo>
                  <a:lnTo>
                    <a:pt x="518" y="121"/>
                  </a:lnTo>
                  <a:lnTo>
                    <a:pt x="531" y="113"/>
                  </a:lnTo>
                  <a:lnTo>
                    <a:pt x="538" y="106"/>
                  </a:lnTo>
                  <a:lnTo>
                    <a:pt x="544" y="91"/>
                  </a:lnTo>
                  <a:lnTo>
                    <a:pt x="553" y="72"/>
                  </a:lnTo>
                  <a:lnTo>
                    <a:pt x="562" y="50"/>
                  </a:lnTo>
                  <a:lnTo>
                    <a:pt x="571" y="26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0" name="Freeform 1424"/>
            <p:cNvSpPr>
              <a:spLocks/>
            </p:cNvSpPr>
            <p:nvPr/>
          </p:nvSpPr>
          <p:spPr bwMode="auto">
            <a:xfrm>
              <a:off x="-3633788" y="1974850"/>
              <a:ext cx="690563" cy="350838"/>
            </a:xfrm>
            <a:custGeom>
              <a:avLst/>
              <a:gdLst>
                <a:gd name="T0" fmla="*/ 23 w 435"/>
                <a:gd name="T1" fmla="*/ 0 h 221"/>
                <a:gd name="T2" fmla="*/ 22 w 435"/>
                <a:gd name="T3" fmla="*/ 30 h 221"/>
                <a:gd name="T4" fmla="*/ 22 w 435"/>
                <a:gd name="T5" fmla="*/ 62 h 221"/>
                <a:gd name="T6" fmla="*/ 23 w 435"/>
                <a:gd name="T7" fmla="*/ 93 h 221"/>
                <a:gd name="T8" fmla="*/ 25 w 435"/>
                <a:gd name="T9" fmla="*/ 120 h 221"/>
                <a:gd name="T10" fmla="*/ 31 w 435"/>
                <a:gd name="T11" fmla="*/ 144 h 221"/>
                <a:gd name="T12" fmla="*/ 38 w 435"/>
                <a:gd name="T13" fmla="*/ 166 h 221"/>
                <a:gd name="T14" fmla="*/ 46 w 435"/>
                <a:gd name="T15" fmla="*/ 182 h 221"/>
                <a:gd name="T16" fmla="*/ 56 w 435"/>
                <a:gd name="T17" fmla="*/ 194 h 221"/>
                <a:gd name="T18" fmla="*/ 67 w 435"/>
                <a:gd name="T19" fmla="*/ 199 h 221"/>
                <a:gd name="T20" fmla="*/ 73 w 435"/>
                <a:gd name="T21" fmla="*/ 199 h 221"/>
                <a:gd name="T22" fmla="*/ 85 w 435"/>
                <a:gd name="T23" fmla="*/ 199 h 221"/>
                <a:gd name="T24" fmla="*/ 101 w 435"/>
                <a:gd name="T25" fmla="*/ 196 h 221"/>
                <a:gd name="T26" fmla="*/ 122 w 435"/>
                <a:gd name="T27" fmla="*/ 195 h 221"/>
                <a:gd name="T28" fmla="*/ 158 w 435"/>
                <a:gd name="T29" fmla="*/ 190 h 221"/>
                <a:gd name="T30" fmla="*/ 199 w 435"/>
                <a:gd name="T31" fmla="*/ 185 h 221"/>
                <a:gd name="T32" fmla="*/ 244 w 435"/>
                <a:gd name="T33" fmla="*/ 180 h 221"/>
                <a:gd name="T34" fmla="*/ 289 w 435"/>
                <a:gd name="T35" fmla="*/ 175 h 221"/>
                <a:gd name="T36" fmla="*/ 331 w 435"/>
                <a:gd name="T37" fmla="*/ 168 h 221"/>
                <a:gd name="T38" fmla="*/ 369 w 435"/>
                <a:gd name="T39" fmla="*/ 163 h 221"/>
                <a:gd name="T40" fmla="*/ 403 w 435"/>
                <a:gd name="T41" fmla="*/ 159 h 221"/>
                <a:gd name="T42" fmla="*/ 435 w 435"/>
                <a:gd name="T43" fmla="*/ 167 h 221"/>
                <a:gd name="T44" fmla="*/ 414 w 435"/>
                <a:gd name="T45" fmla="*/ 173 h 221"/>
                <a:gd name="T46" fmla="*/ 386 w 435"/>
                <a:gd name="T47" fmla="*/ 180 h 221"/>
                <a:gd name="T48" fmla="*/ 351 w 435"/>
                <a:gd name="T49" fmla="*/ 186 h 221"/>
                <a:gd name="T50" fmla="*/ 313 w 435"/>
                <a:gd name="T51" fmla="*/ 191 h 221"/>
                <a:gd name="T52" fmla="*/ 273 w 435"/>
                <a:gd name="T53" fmla="*/ 198 h 221"/>
                <a:gd name="T54" fmla="*/ 231 w 435"/>
                <a:gd name="T55" fmla="*/ 203 h 221"/>
                <a:gd name="T56" fmla="*/ 191 w 435"/>
                <a:gd name="T57" fmla="*/ 208 h 221"/>
                <a:gd name="T58" fmla="*/ 153 w 435"/>
                <a:gd name="T59" fmla="*/ 213 h 221"/>
                <a:gd name="T60" fmla="*/ 119 w 435"/>
                <a:gd name="T61" fmla="*/ 217 h 221"/>
                <a:gd name="T62" fmla="*/ 93 w 435"/>
                <a:gd name="T63" fmla="*/ 220 h 221"/>
                <a:gd name="T64" fmla="*/ 74 w 435"/>
                <a:gd name="T65" fmla="*/ 221 h 221"/>
                <a:gd name="T66" fmla="*/ 63 w 435"/>
                <a:gd name="T67" fmla="*/ 221 h 221"/>
                <a:gd name="T68" fmla="*/ 46 w 435"/>
                <a:gd name="T69" fmla="*/ 218 h 221"/>
                <a:gd name="T70" fmla="*/ 33 w 435"/>
                <a:gd name="T71" fmla="*/ 211 h 221"/>
                <a:gd name="T72" fmla="*/ 22 w 435"/>
                <a:gd name="T73" fmla="*/ 198 h 221"/>
                <a:gd name="T74" fmla="*/ 14 w 435"/>
                <a:gd name="T75" fmla="*/ 181 h 221"/>
                <a:gd name="T76" fmla="*/ 8 w 435"/>
                <a:gd name="T77" fmla="*/ 163 h 221"/>
                <a:gd name="T78" fmla="*/ 4 w 435"/>
                <a:gd name="T79" fmla="*/ 141 h 221"/>
                <a:gd name="T80" fmla="*/ 1 w 435"/>
                <a:gd name="T81" fmla="*/ 120 h 221"/>
                <a:gd name="T82" fmla="*/ 0 w 435"/>
                <a:gd name="T83" fmla="*/ 96 h 221"/>
                <a:gd name="T84" fmla="*/ 0 w 435"/>
                <a:gd name="T85" fmla="*/ 73 h 221"/>
                <a:gd name="T86" fmla="*/ 1 w 435"/>
                <a:gd name="T87" fmla="*/ 52 h 221"/>
                <a:gd name="T88" fmla="*/ 1 w 435"/>
                <a:gd name="T89" fmla="*/ 32 h 221"/>
                <a:gd name="T90" fmla="*/ 2 w 435"/>
                <a:gd name="T91" fmla="*/ 14 h 221"/>
                <a:gd name="T92" fmla="*/ 4 w 435"/>
                <a:gd name="T93" fmla="*/ 0 h 221"/>
                <a:gd name="T94" fmla="*/ 23 w 435"/>
                <a:gd name="T9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5" h="221">
                  <a:moveTo>
                    <a:pt x="23" y="0"/>
                  </a:moveTo>
                  <a:lnTo>
                    <a:pt x="22" y="30"/>
                  </a:lnTo>
                  <a:lnTo>
                    <a:pt x="22" y="62"/>
                  </a:lnTo>
                  <a:lnTo>
                    <a:pt x="23" y="93"/>
                  </a:lnTo>
                  <a:lnTo>
                    <a:pt x="25" y="120"/>
                  </a:lnTo>
                  <a:lnTo>
                    <a:pt x="31" y="144"/>
                  </a:lnTo>
                  <a:lnTo>
                    <a:pt x="38" y="166"/>
                  </a:lnTo>
                  <a:lnTo>
                    <a:pt x="46" y="182"/>
                  </a:lnTo>
                  <a:lnTo>
                    <a:pt x="56" y="194"/>
                  </a:lnTo>
                  <a:lnTo>
                    <a:pt x="67" y="199"/>
                  </a:lnTo>
                  <a:lnTo>
                    <a:pt x="73" y="199"/>
                  </a:lnTo>
                  <a:lnTo>
                    <a:pt x="85" y="199"/>
                  </a:lnTo>
                  <a:lnTo>
                    <a:pt x="101" y="196"/>
                  </a:lnTo>
                  <a:lnTo>
                    <a:pt x="122" y="195"/>
                  </a:lnTo>
                  <a:lnTo>
                    <a:pt x="158" y="190"/>
                  </a:lnTo>
                  <a:lnTo>
                    <a:pt x="199" y="185"/>
                  </a:lnTo>
                  <a:lnTo>
                    <a:pt x="244" y="180"/>
                  </a:lnTo>
                  <a:lnTo>
                    <a:pt x="289" y="175"/>
                  </a:lnTo>
                  <a:lnTo>
                    <a:pt x="331" y="168"/>
                  </a:lnTo>
                  <a:lnTo>
                    <a:pt x="369" y="163"/>
                  </a:lnTo>
                  <a:lnTo>
                    <a:pt x="403" y="159"/>
                  </a:lnTo>
                  <a:lnTo>
                    <a:pt x="435" y="167"/>
                  </a:lnTo>
                  <a:lnTo>
                    <a:pt x="414" y="173"/>
                  </a:lnTo>
                  <a:lnTo>
                    <a:pt x="386" y="180"/>
                  </a:lnTo>
                  <a:lnTo>
                    <a:pt x="351" y="186"/>
                  </a:lnTo>
                  <a:lnTo>
                    <a:pt x="313" y="191"/>
                  </a:lnTo>
                  <a:lnTo>
                    <a:pt x="273" y="198"/>
                  </a:lnTo>
                  <a:lnTo>
                    <a:pt x="231" y="203"/>
                  </a:lnTo>
                  <a:lnTo>
                    <a:pt x="191" y="208"/>
                  </a:lnTo>
                  <a:lnTo>
                    <a:pt x="153" y="213"/>
                  </a:lnTo>
                  <a:lnTo>
                    <a:pt x="119" y="217"/>
                  </a:lnTo>
                  <a:lnTo>
                    <a:pt x="93" y="220"/>
                  </a:lnTo>
                  <a:lnTo>
                    <a:pt x="74" y="221"/>
                  </a:lnTo>
                  <a:lnTo>
                    <a:pt x="63" y="221"/>
                  </a:lnTo>
                  <a:lnTo>
                    <a:pt x="46" y="218"/>
                  </a:lnTo>
                  <a:lnTo>
                    <a:pt x="33" y="211"/>
                  </a:lnTo>
                  <a:lnTo>
                    <a:pt x="22" y="198"/>
                  </a:lnTo>
                  <a:lnTo>
                    <a:pt x="14" y="181"/>
                  </a:lnTo>
                  <a:lnTo>
                    <a:pt x="8" y="163"/>
                  </a:lnTo>
                  <a:lnTo>
                    <a:pt x="4" y="141"/>
                  </a:lnTo>
                  <a:lnTo>
                    <a:pt x="1" y="120"/>
                  </a:lnTo>
                  <a:lnTo>
                    <a:pt x="0" y="96"/>
                  </a:lnTo>
                  <a:lnTo>
                    <a:pt x="0" y="73"/>
                  </a:lnTo>
                  <a:lnTo>
                    <a:pt x="1" y="52"/>
                  </a:lnTo>
                  <a:lnTo>
                    <a:pt x="1" y="32"/>
                  </a:lnTo>
                  <a:lnTo>
                    <a:pt x="2" y="14"/>
                  </a:lnTo>
                  <a:lnTo>
                    <a:pt x="4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1" name="Freeform 1425"/>
            <p:cNvSpPr>
              <a:spLocks/>
            </p:cNvSpPr>
            <p:nvPr/>
          </p:nvSpPr>
          <p:spPr bwMode="auto">
            <a:xfrm>
              <a:off x="-2554288" y="1846262"/>
              <a:ext cx="44450" cy="36513"/>
            </a:xfrm>
            <a:custGeom>
              <a:avLst/>
              <a:gdLst>
                <a:gd name="T0" fmla="*/ 23 w 28"/>
                <a:gd name="T1" fmla="*/ 0 h 23"/>
                <a:gd name="T2" fmla="*/ 24 w 28"/>
                <a:gd name="T3" fmla="*/ 0 h 23"/>
                <a:gd name="T4" fmla="*/ 25 w 28"/>
                <a:gd name="T5" fmla="*/ 3 h 23"/>
                <a:gd name="T6" fmla="*/ 27 w 28"/>
                <a:gd name="T7" fmla="*/ 5 h 23"/>
                <a:gd name="T8" fmla="*/ 28 w 28"/>
                <a:gd name="T9" fmla="*/ 8 h 23"/>
                <a:gd name="T10" fmla="*/ 28 w 28"/>
                <a:gd name="T11" fmla="*/ 12 h 23"/>
                <a:gd name="T12" fmla="*/ 28 w 28"/>
                <a:gd name="T13" fmla="*/ 14 h 23"/>
                <a:gd name="T14" fmla="*/ 27 w 28"/>
                <a:gd name="T15" fmla="*/ 16 h 23"/>
                <a:gd name="T16" fmla="*/ 22 w 28"/>
                <a:gd name="T17" fmla="*/ 17 h 23"/>
                <a:gd name="T18" fmla="*/ 15 w 28"/>
                <a:gd name="T19" fmla="*/ 20 h 23"/>
                <a:gd name="T20" fmla="*/ 9 w 28"/>
                <a:gd name="T21" fmla="*/ 22 h 23"/>
                <a:gd name="T22" fmla="*/ 5 w 28"/>
                <a:gd name="T23" fmla="*/ 23 h 23"/>
                <a:gd name="T24" fmla="*/ 0 w 28"/>
                <a:gd name="T25" fmla="*/ 4 h 23"/>
                <a:gd name="T26" fmla="*/ 11 w 28"/>
                <a:gd name="T27" fmla="*/ 2 h 23"/>
                <a:gd name="T28" fmla="*/ 23 w 28"/>
                <a:gd name="T2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3">
                  <a:moveTo>
                    <a:pt x="23" y="0"/>
                  </a:moveTo>
                  <a:lnTo>
                    <a:pt x="24" y="0"/>
                  </a:lnTo>
                  <a:lnTo>
                    <a:pt x="25" y="3"/>
                  </a:lnTo>
                  <a:lnTo>
                    <a:pt x="27" y="5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7" y="16"/>
                  </a:lnTo>
                  <a:lnTo>
                    <a:pt x="22" y="17"/>
                  </a:lnTo>
                  <a:lnTo>
                    <a:pt x="15" y="20"/>
                  </a:lnTo>
                  <a:lnTo>
                    <a:pt x="9" y="22"/>
                  </a:lnTo>
                  <a:lnTo>
                    <a:pt x="5" y="23"/>
                  </a:lnTo>
                  <a:lnTo>
                    <a:pt x="0" y="4"/>
                  </a:lnTo>
                  <a:lnTo>
                    <a:pt x="11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2" name="Freeform 1426"/>
            <p:cNvSpPr>
              <a:spLocks/>
            </p:cNvSpPr>
            <p:nvPr/>
          </p:nvSpPr>
          <p:spPr bwMode="auto">
            <a:xfrm>
              <a:off x="-2540000" y="1895475"/>
              <a:ext cx="39688" cy="33338"/>
            </a:xfrm>
            <a:custGeom>
              <a:avLst/>
              <a:gdLst>
                <a:gd name="T0" fmla="*/ 20 w 25"/>
                <a:gd name="T1" fmla="*/ 0 h 21"/>
                <a:gd name="T2" fmla="*/ 22 w 25"/>
                <a:gd name="T3" fmla="*/ 1 h 21"/>
                <a:gd name="T4" fmla="*/ 23 w 25"/>
                <a:gd name="T5" fmla="*/ 3 h 21"/>
                <a:gd name="T6" fmla="*/ 24 w 25"/>
                <a:gd name="T7" fmla="*/ 5 h 21"/>
                <a:gd name="T8" fmla="*/ 25 w 25"/>
                <a:gd name="T9" fmla="*/ 8 h 21"/>
                <a:gd name="T10" fmla="*/ 25 w 25"/>
                <a:gd name="T11" fmla="*/ 10 h 21"/>
                <a:gd name="T12" fmla="*/ 24 w 25"/>
                <a:gd name="T13" fmla="*/ 13 h 21"/>
                <a:gd name="T14" fmla="*/ 24 w 25"/>
                <a:gd name="T15" fmla="*/ 14 h 21"/>
                <a:gd name="T16" fmla="*/ 22 w 25"/>
                <a:gd name="T17" fmla="*/ 16 h 21"/>
                <a:gd name="T18" fmla="*/ 19 w 25"/>
                <a:gd name="T19" fmla="*/ 16 h 21"/>
                <a:gd name="T20" fmla="*/ 16 w 25"/>
                <a:gd name="T21" fmla="*/ 17 h 21"/>
                <a:gd name="T22" fmla="*/ 13 w 25"/>
                <a:gd name="T23" fmla="*/ 18 h 21"/>
                <a:gd name="T24" fmla="*/ 10 w 25"/>
                <a:gd name="T25" fmla="*/ 19 h 21"/>
                <a:gd name="T26" fmla="*/ 8 w 25"/>
                <a:gd name="T27" fmla="*/ 21 h 21"/>
                <a:gd name="T28" fmla="*/ 5 w 25"/>
                <a:gd name="T29" fmla="*/ 21 h 21"/>
                <a:gd name="T30" fmla="*/ 5 w 25"/>
                <a:gd name="T31" fmla="*/ 21 h 21"/>
                <a:gd name="T32" fmla="*/ 0 w 25"/>
                <a:gd name="T33" fmla="*/ 4 h 21"/>
                <a:gd name="T34" fmla="*/ 5 w 25"/>
                <a:gd name="T35" fmla="*/ 3 h 21"/>
                <a:gd name="T36" fmla="*/ 9 w 25"/>
                <a:gd name="T37" fmla="*/ 1 h 21"/>
                <a:gd name="T38" fmla="*/ 14 w 25"/>
                <a:gd name="T39" fmla="*/ 0 h 21"/>
                <a:gd name="T40" fmla="*/ 20 w 25"/>
                <a:gd name="T4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1">
                  <a:moveTo>
                    <a:pt x="20" y="0"/>
                  </a:moveTo>
                  <a:lnTo>
                    <a:pt x="22" y="1"/>
                  </a:lnTo>
                  <a:lnTo>
                    <a:pt x="23" y="3"/>
                  </a:lnTo>
                  <a:lnTo>
                    <a:pt x="24" y="5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19" y="16"/>
                  </a:lnTo>
                  <a:lnTo>
                    <a:pt x="16" y="17"/>
                  </a:lnTo>
                  <a:lnTo>
                    <a:pt x="13" y="18"/>
                  </a:lnTo>
                  <a:lnTo>
                    <a:pt x="10" y="19"/>
                  </a:lnTo>
                  <a:lnTo>
                    <a:pt x="8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0" y="4"/>
                  </a:lnTo>
                  <a:lnTo>
                    <a:pt x="5" y="3"/>
                  </a:lnTo>
                  <a:lnTo>
                    <a:pt x="9" y="1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3" name="Freeform 1427"/>
            <p:cNvSpPr>
              <a:spLocks/>
            </p:cNvSpPr>
            <p:nvPr/>
          </p:nvSpPr>
          <p:spPr bwMode="auto">
            <a:xfrm>
              <a:off x="-2546350" y="1962150"/>
              <a:ext cx="34925" cy="26988"/>
            </a:xfrm>
            <a:custGeom>
              <a:avLst/>
              <a:gdLst>
                <a:gd name="T0" fmla="*/ 0 w 22"/>
                <a:gd name="T1" fmla="*/ 0 h 17"/>
                <a:gd name="T2" fmla="*/ 5 w 22"/>
                <a:gd name="T3" fmla="*/ 0 h 17"/>
                <a:gd name="T4" fmla="*/ 9 w 22"/>
                <a:gd name="T5" fmla="*/ 0 h 17"/>
                <a:gd name="T6" fmla="*/ 14 w 22"/>
                <a:gd name="T7" fmla="*/ 0 h 17"/>
                <a:gd name="T8" fmla="*/ 19 w 22"/>
                <a:gd name="T9" fmla="*/ 2 h 17"/>
                <a:gd name="T10" fmla="*/ 20 w 22"/>
                <a:gd name="T11" fmla="*/ 3 h 17"/>
                <a:gd name="T12" fmla="*/ 22 w 22"/>
                <a:gd name="T13" fmla="*/ 4 h 17"/>
                <a:gd name="T14" fmla="*/ 22 w 22"/>
                <a:gd name="T15" fmla="*/ 7 h 17"/>
                <a:gd name="T16" fmla="*/ 22 w 22"/>
                <a:gd name="T17" fmla="*/ 9 h 17"/>
                <a:gd name="T18" fmla="*/ 22 w 22"/>
                <a:gd name="T19" fmla="*/ 12 h 17"/>
                <a:gd name="T20" fmla="*/ 20 w 22"/>
                <a:gd name="T21" fmla="*/ 15 h 17"/>
                <a:gd name="T22" fmla="*/ 19 w 22"/>
                <a:gd name="T23" fmla="*/ 15 h 17"/>
                <a:gd name="T24" fmla="*/ 18 w 22"/>
                <a:gd name="T25" fmla="*/ 16 h 17"/>
                <a:gd name="T26" fmla="*/ 14 w 22"/>
                <a:gd name="T27" fmla="*/ 16 h 17"/>
                <a:gd name="T28" fmla="*/ 10 w 22"/>
                <a:gd name="T29" fmla="*/ 16 h 17"/>
                <a:gd name="T30" fmla="*/ 8 w 22"/>
                <a:gd name="T31" fmla="*/ 16 h 17"/>
                <a:gd name="T32" fmla="*/ 4 w 22"/>
                <a:gd name="T33" fmla="*/ 16 h 17"/>
                <a:gd name="T34" fmla="*/ 1 w 22"/>
                <a:gd name="T35" fmla="*/ 16 h 17"/>
                <a:gd name="T36" fmla="*/ 0 w 22"/>
                <a:gd name="T37" fmla="*/ 17 h 17"/>
                <a:gd name="T38" fmla="*/ 0 w 22"/>
                <a:gd name="T3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" h="17">
                  <a:moveTo>
                    <a:pt x="0" y="0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0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4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1" y="16"/>
                  </a:ln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4" name="Freeform 1428"/>
            <p:cNvSpPr>
              <a:spLocks/>
            </p:cNvSpPr>
            <p:nvPr/>
          </p:nvSpPr>
          <p:spPr bwMode="auto">
            <a:xfrm>
              <a:off x="-2576513" y="2016125"/>
              <a:ext cx="28575" cy="22225"/>
            </a:xfrm>
            <a:custGeom>
              <a:avLst/>
              <a:gdLst>
                <a:gd name="T0" fmla="*/ 0 w 18"/>
                <a:gd name="T1" fmla="*/ 0 h 14"/>
                <a:gd name="T2" fmla="*/ 4 w 18"/>
                <a:gd name="T3" fmla="*/ 0 h 14"/>
                <a:gd name="T4" fmla="*/ 7 w 18"/>
                <a:gd name="T5" fmla="*/ 0 h 14"/>
                <a:gd name="T6" fmla="*/ 11 w 18"/>
                <a:gd name="T7" fmla="*/ 0 h 14"/>
                <a:gd name="T8" fmla="*/ 15 w 18"/>
                <a:gd name="T9" fmla="*/ 1 h 14"/>
                <a:gd name="T10" fmla="*/ 16 w 18"/>
                <a:gd name="T11" fmla="*/ 2 h 14"/>
                <a:gd name="T12" fmla="*/ 18 w 18"/>
                <a:gd name="T13" fmla="*/ 4 h 14"/>
                <a:gd name="T14" fmla="*/ 18 w 18"/>
                <a:gd name="T15" fmla="*/ 6 h 14"/>
                <a:gd name="T16" fmla="*/ 16 w 18"/>
                <a:gd name="T17" fmla="*/ 9 h 14"/>
                <a:gd name="T18" fmla="*/ 16 w 18"/>
                <a:gd name="T19" fmla="*/ 11 h 14"/>
                <a:gd name="T20" fmla="*/ 15 w 18"/>
                <a:gd name="T21" fmla="*/ 13 h 14"/>
                <a:gd name="T22" fmla="*/ 14 w 18"/>
                <a:gd name="T23" fmla="*/ 13 h 14"/>
                <a:gd name="T24" fmla="*/ 10 w 18"/>
                <a:gd name="T25" fmla="*/ 13 h 14"/>
                <a:gd name="T26" fmla="*/ 6 w 18"/>
                <a:gd name="T27" fmla="*/ 13 h 14"/>
                <a:gd name="T28" fmla="*/ 4 w 18"/>
                <a:gd name="T29" fmla="*/ 14 h 14"/>
                <a:gd name="T30" fmla="*/ 1 w 18"/>
                <a:gd name="T31" fmla="*/ 14 h 14"/>
                <a:gd name="T32" fmla="*/ 0 w 18"/>
                <a:gd name="T33" fmla="*/ 14 h 14"/>
                <a:gd name="T34" fmla="*/ 0 w 18"/>
                <a:gd name="T3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0" y="0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1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6" y="13"/>
                  </a:lnTo>
                  <a:lnTo>
                    <a:pt x="4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5" name="Freeform 1429"/>
            <p:cNvSpPr>
              <a:spLocks/>
            </p:cNvSpPr>
            <p:nvPr/>
          </p:nvSpPr>
          <p:spPr bwMode="auto">
            <a:xfrm>
              <a:off x="-3789363" y="5105400"/>
              <a:ext cx="600075" cy="77788"/>
            </a:xfrm>
            <a:custGeom>
              <a:avLst/>
              <a:gdLst>
                <a:gd name="T0" fmla="*/ 35 w 378"/>
                <a:gd name="T1" fmla="*/ 0 h 49"/>
                <a:gd name="T2" fmla="*/ 43 w 378"/>
                <a:gd name="T3" fmla="*/ 4 h 49"/>
                <a:gd name="T4" fmla="*/ 59 w 378"/>
                <a:gd name="T5" fmla="*/ 9 h 49"/>
                <a:gd name="T6" fmla="*/ 81 w 378"/>
                <a:gd name="T7" fmla="*/ 13 h 49"/>
                <a:gd name="T8" fmla="*/ 109 w 378"/>
                <a:gd name="T9" fmla="*/ 16 h 49"/>
                <a:gd name="T10" fmla="*/ 145 w 378"/>
                <a:gd name="T11" fmla="*/ 18 h 49"/>
                <a:gd name="T12" fmla="*/ 188 w 378"/>
                <a:gd name="T13" fmla="*/ 19 h 49"/>
                <a:gd name="T14" fmla="*/ 236 w 378"/>
                <a:gd name="T15" fmla="*/ 21 h 49"/>
                <a:gd name="T16" fmla="*/ 271 w 378"/>
                <a:gd name="T17" fmla="*/ 21 h 49"/>
                <a:gd name="T18" fmla="*/ 301 w 378"/>
                <a:gd name="T19" fmla="*/ 18 h 49"/>
                <a:gd name="T20" fmla="*/ 326 w 378"/>
                <a:gd name="T21" fmla="*/ 16 h 49"/>
                <a:gd name="T22" fmla="*/ 347 w 378"/>
                <a:gd name="T23" fmla="*/ 12 h 49"/>
                <a:gd name="T24" fmla="*/ 363 w 378"/>
                <a:gd name="T25" fmla="*/ 8 h 49"/>
                <a:gd name="T26" fmla="*/ 376 w 378"/>
                <a:gd name="T27" fmla="*/ 4 h 49"/>
                <a:gd name="T28" fmla="*/ 378 w 378"/>
                <a:gd name="T29" fmla="*/ 13 h 49"/>
                <a:gd name="T30" fmla="*/ 378 w 378"/>
                <a:gd name="T31" fmla="*/ 22 h 49"/>
                <a:gd name="T32" fmla="*/ 378 w 378"/>
                <a:gd name="T33" fmla="*/ 25 h 49"/>
                <a:gd name="T34" fmla="*/ 378 w 378"/>
                <a:gd name="T35" fmla="*/ 27 h 49"/>
                <a:gd name="T36" fmla="*/ 378 w 378"/>
                <a:gd name="T37" fmla="*/ 30 h 49"/>
                <a:gd name="T38" fmla="*/ 378 w 378"/>
                <a:gd name="T39" fmla="*/ 34 h 49"/>
                <a:gd name="T40" fmla="*/ 378 w 378"/>
                <a:gd name="T41" fmla="*/ 36 h 49"/>
                <a:gd name="T42" fmla="*/ 376 w 378"/>
                <a:gd name="T43" fmla="*/ 37 h 49"/>
                <a:gd name="T44" fmla="*/ 376 w 378"/>
                <a:gd name="T45" fmla="*/ 40 h 49"/>
                <a:gd name="T46" fmla="*/ 375 w 378"/>
                <a:gd name="T47" fmla="*/ 40 h 49"/>
                <a:gd name="T48" fmla="*/ 372 w 378"/>
                <a:gd name="T49" fmla="*/ 41 h 49"/>
                <a:gd name="T50" fmla="*/ 370 w 378"/>
                <a:gd name="T51" fmla="*/ 43 h 49"/>
                <a:gd name="T52" fmla="*/ 365 w 378"/>
                <a:gd name="T53" fmla="*/ 44 h 49"/>
                <a:gd name="T54" fmla="*/ 358 w 378"/>
                <a:gd name="T55" fmla="*/ 45 h 49"/>
                <a:gd name="T56" fmla="*/ 349 w 378"/>
                <a:gd name="T57" fmla="*/ 46 h 49"/>
                <a:gd name="T58" fmla="*/ 334 w 378"/>
                <a:gd name="T59" fmla="*/ 46 h 49"/>
                <a:gd name="T60" fmla="*/ 311 w 378"/>
                <a:gd name="T61" fmla="*/ 48 h 49"/>
                <a:gd name="T62" fmla="*/ 283 w 378"/>
                <a:gd name="T63" fmla="*/ 48 h 49"/>
                <a:gd name="T64" fmla="*/ 252 w 378"/>
                <a:gd name="T65" fmla="*/ 49 h 49"/>
                <a:gd name="T66" fmla="*/ 217 w 378"/>
                <a:gd name="T67" fmla="*/ 49 h 49"/>
                <a:gd name="T68" fmla="*/ 183 w 378"/>
                <a:gd name="T69" fmla="*/ 49 h 49"/>
                <a:gd name="T70" fmla="*/ 147 w 378"/>
                <a:gd name="T71" fmla="*/ 49 h 49"/>
                <a:gd name="T72" fmla="*/ 113 w 378"/>
                <a:gd name="T73" fmla="*/ 49 h 49"/>
                <a:gd name="T74" fmla="*/ 82 w 378"/>
                <a:gd name="T75" fmla="*/ 48 h 49"/>
                <a:gd name="T76" fmla="*/ 55 w 378"/>
                <a:gd name="T77" fmla="*/ 48 h 49"/>
                <a:gd name="T78" fmla="*/ 34 w 378"/>
                <a:gd name="T79" fmla="*/ 48 h 49"/>
                <a:gd name="T80" fmla="*/ 18 w 378"/>
                <a:gd name="T81" fmla="*/ 46 h 49"/>
                <a:gd name="T82" fmla="*/ 12 w 378"/>
                <a:gd name="T83" fmla="*/ 45 h 49"/>
                <a:gd name="T84" fmla="*/ 4 w 378"/>
                <a:gd name="T85" fmla="*/ 41 h 49"/>
                <a:gd name="T86" fmla="*/ 2 w 378"/>
                <a:gd name="T87" fmla="*/ 36 h 49"/>
                <a:gd name="T88" fmla="*/ 0 w 378"/>
                <a:gd name="T89" fmla="*/ 30 h 49"/>
                <a:gd name="T90" fmla="*/ 2 w 378"/>
                <a:gd name="T91" fmla="*/ 23 h 49"/>
                <a:gd name="T92" fmla="*/ 4 w 378"/>
                <a:gd name="T93" fmla="*/ 18 h 49"/>
                <a:gd name="T94" fmla="*/ 11 w 378"/>
                <a:gd name="T95" fmla="*/ 13 h 49"/>
                <a:gd name="T96" fmla="*/ 21 w 378"/>
                <a:gd name="T97" fmla="*/ 7 h 49"/>
                <a:gd name="T98" fmla="*/ 35 w 378"/>
                <a:gd name="T9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8" h="49">
                  <a:moveTo>
                    <a:pt x="35" y="0"/>
                  </a:moveTo>
                  <a:lnTo>
                    <a:pt x="43" y="4"/>
                  </a:lnTo>
                  <a:lnTo>
                    <a:pt x="59" y="9"/>
                  </a:lnTo>
                  <a:lnTo>
                    <a:pt x="81" y="13"/>
                  </a:lnTo>
                  <a:lnTo>
                    <a:pt x="109" y="16"/>
                  </a:lnTo>
                  <a:lnTo>
                    <a:pt x="145" y="18"/>
                  </a:lnTo>
                  <a:lnTo>
                    <a:pt x="188" y="19"/>
                  </a:lnTo>
                  <a:lnTo>
                    <a:pt x="236" y="21"/>
                  </a:lnTo>
                  <a:lnTo>
                    <a:pt x="271" y="21"/>
                  </a:lnTo>
                  <a:lnTo>
                    <a:pt x="301" y="18"/>
                  </a:lnTo>
                  <a:lnTo>
                    <a:pt x="326" y="16"/>
                  </a:lnTo>
                  <a:lnTo>
                    <a:pt x="347" y="12"/>
                  </a:lnTo>
                  <a:lnTo>
                    <a:pt x="363" y="8"/>
                  </a:lnTo>
                  <a:lnTo>
                    <a:pt x="376" y="4"/>
                  </a:lnTo>
                  <a:lnTo>
                    <a:pt x="378" y="13"/>
                  </a:lnTo>
                  <a:lnTo>
                    <a:pt x="378" y="22"/>
                  </a:lnTo>
                  <a:lnTo>
                    <a:pt x="378" y="25"/>
                  </a:lnTo>
                  <a:lnTo>
                    <a:pt x="378" y="27"/>
                  </a:lnTo>
                  <a:lnTo>
                    <a:pt x="378" y="30"/>
                  </a:lnTo>
                  <a:lnTo>
                    <a:pt x="378" y="34"/>
                  </a:lnTo>
                  <a:lnTo>
                    <a:pt x="378" y="36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5" y="40"/>
                  </a:lnTo>
                  <a:lnTo>
                    <a:pt x="372" y="41"/>
                  </a:lnTo>
                  <a:lnTo>
                    <a:pt x="370" y="43"/>
                  </a:lnTo>
                  <a:lnTo>
                    <a:pt x="365" y="44"/>
                  </a:lnTo>
                  <a:lnTo>
                    <a:pt x="358" y="45"/>
                  </a:lnTo>
                  <a:lnTo>
                    <a:pt x="349" y="46"/>
                  </a:lnTo>
                  <a:lnTo>
                    <a:pt x="334" y="46"/>
                  </a:lnTo>
                  <a:lnTo>
                    <a:pt x="311" y="48"/>
                  </a:lnTo>
                  <a:lnTo>
                    <a:pt x="283" y="48"/>
                  </a:lnTo>
                  <a:lnTo>
                    <a:pt x="252" y="49"/>
                  </a:lnTo>
                  <a:lnTo>
                    <a:pt x="217" y="49"/>
                  </a:lnTo>
                  <a:lnTo>
                    <a:pt x="183" y="49"/>
                  </a:lnTo>
                  <a:lnTo>
                    <a:pt x="147" y="49"/>
                  </a:lnTo>
                  <a:lnTo>
                    <a:pt x="113" y="49"/>
                  </a:lnTo>
                  <a:lnTo>
                    <a:pt x="82" y="48"/>
                  </a:lnTo>
                  <a:lnTo>
                    <a:pt x="55" y="48"/>
                  </a:lnTo>
                  <a:lnTo>
                    <a:pt x="34" y="48"/>
                  </a:lnTo>
                  <a:lnTo>
                    <a:pt x="18" y="46"/>
                  </a:lnTo>
                  <a:lnTo>
                    <a:pt x="12" y="45"/>
                  </a:lnTo>
                  <a:lnTo>
                    <a:pt x="4" y="41"/>
                  </a:lnTo>
                  <a:lnTo>
                    <a:pt x="2" y="36"/>
                  </a:lnTo>
                  <a:lnTo>
                    <a:pt x="0" y="30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11" y="13"/>
                  </a:lnTo>
                  <a:lnTo>
                    <a:pt x="21" y="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6" name="Freeform 1430"/>
            <p:cNvSpPr>
              <a:spLocks/>
            </p:cNvSpPr>
            <p:nvPr/>
          </p:nvSpPr>
          <p:spPr bwMode="auto">
            <a:xfrm>
              <a:off x="-2949575" y="5116513"/>
              <a:ext cx="412750" cy="85725"/>
            </a:xfrm>
            <a:custGeom>
              <a:avLst/>
              <a:gdLst>
                <a:gd name="T0" fmla="*/ 122 w 260"/>
                <a:gd name="T1" fmla="*/ 0 h 54"/>
                <a:gd name="T2" fmla="*/ 156 w 260"/>
                <a:gd name="T3" fmla="*/ 1 h 54"/>
                <a:gd name="T4" fmla="*/ 173 w 260"/>
                <a:gd name="T5" fmla="*/ 2 h 54"/>
                <a:gd name="T6" fmla="*/ 186 w 260"/>
                <a:gd name="T7" fmla="*/ 5 h 54"/>
                <a:gd name="T8" fmla="*/ 198 w 260"/>
                <a:gd name="T9" fmla="*/ 7 h 54"/>
                <a:gd name="T10" fmla="*/ 209 w 260"/>
                <a:gd name="T11" fmla="*/ 11 h 54"/>
                <a:gd name="T12" fmla="*/ 226 w 260"/>
                <a:gd name="T13" fmla="*/ 16 h 54"/>
                <a:gd name="T14" fmla="*/ 244 w 260"/>
                <a:gd name="T15" fmla="*/ 21 h 54"/>
                <a:gd name="T16" fmla="*/ 259 w 260"/>
                <a:gd name="T17" fmla="*/ 21 h 54"/>
                <a:gd name="T18" fmla="*/ 260 w 260"/>
                <a:gd name="T19" fmla="*/ 28 h 54"/>
                <a:gd name="T20" fmla="*/ 260 w 260"/>
                <a:gd name="T21" fmla="*/ 34 h 54"/>
                <a:gd name="T22" fmla="*/ 260 w 260"/>
                <a:gd name="T23" fmla="*/ 41 h 54"/>
                <a:gd name="T24" fmla="*/ 257 w 260"/>
                <a:gd name="T25" fmla="*/ 46 h 54"/>
                <a:gd name="T26" fmla="*/ 250 w 260"/>
                <a:gd name="T27" fmla="*/ 50 h 54"/>
                <a:gd name="T28" fmla="*/ 242 w 260"/>
                <a:gd name="T29" fmla="*/ 51 h 54"/>
                <a:gd name="T30" fmla="*/ 227 w 260"/>
                <a:gd name="T31" fmla="*/ 52 h 54"/>
                <a:gd name="T32" fmla="*/ 205 w 260"/>
                <a:gd name="T33" fmla="*/ 52 h 54"/>
                <a:gd name="T34" fmla="*/ 181 w 260"/>
                <a:gd name="T35" fmla="*/ 54 h 54"/>
                <a:gd name="T36" fmla="*/ 153 w 260"/>
                <a:gd name="T37" fmla="*/ 54 h 54"/>
                <a:gd name="T38" fmla="*/ 123 w 260"/>
                <a:gd name="T39" fmla="*/ 54 h 54"/>
                <a:gd name="T40" fmla="*/ 94 w 260"/>
                <a:gd name="T41" fmla="*/ 54 h 54"/>
                <a:gd name="T42" fmla="*/ 68 w 260"/>
                <a:gd name="T43" fmla="*/ 54 h 54"/>
                <a:gd name="T44" fmla="*/ 45 w 260"/>
                <a:gd name="T45" fmla="*/ 54 h 54"/>
                <a:gd name="T46" fmla="*/ 28 w 260"/>
                <a:gd name="T47" fmla="*/ 52 h 54"/>
                <a:gd name="T48" fmla="*/ 19 w 260"/>
                <a:gd name="T49" fmla="*/ 52 h 54"/>
                <a:gd name="T50" fmla="*/ 13 w 260"/>
                <a:gd name="T51" fmla="*/ 50 h 54"/>
                <a:gd name="T52" fmla="*/ 8 w 260"/>
                <a:gd name="T53" fmla="*/ 48 h 54"/>
                <a:gd name="T54" fmla="*/ 5 w 260"/>
                <a:gd name="T55" fmla="*/ 46 h 54"/>
                <a:gd name="T56" fmla="*/ 2 w 260"/>
                <a:gd name="T57" fmla="*/ 43 h 54"/>
                <a:gd name="T58" fmla="*/ 1 w 260"/>
                <a:gd name="T59" fmla="*/ 41 h 54"/>
                <a:gd name="T60" fmla="*/ 0 w 260"/>
                <a:gd name="T61" fmla="*/ 38 h 54"/>
                <a:gd name="T62" fmla="*/ 0 w 260"/>
                <a:gd name="T63" fmla="*/ 36 h 54"/>
                <a:gd name="T64" fmla="*/ 0 w 260"/>
                <a:gd name="T65" fmla="*/ 34 h 54"/>
                <a:gd name="T66" fmla="*/ 0 w 260"/>
                <a:gd name="T67" fmla="*/ 28 h 54"/>
                <a:gd name="T68" fmla="*/ 0 w 260"/>
                <a:gd name="T69" fmla="*/ 19 h 54"/>
                <a:gd name="T70" fmla="*/ 1 w 260"/>
                <a:gd name="T71" fmla="*/ 11 h 54"/>
                <a:gd name="T72" fmla="*/ 11 w 260"/>
                <a:gd name="T73" fmla="*/ 12 h 54"/>
                <a:gd name="T74" fmla="*/ 23 w 260"/>
                <a:gd name="T75" fmla="*/ 12 h 54"/>
                <a:gd name="T76" fmla="*/ 37 w 260"/>
                <a:gd name="T77" fmla="*/ 12 h 54"/>
                <a:gd name="T78" fmla="*/ 55 w 260"/>
                <a:gd name="T79" fmla="*/ 10 h 54"/>
                <a:gd name="T80" fmla="*/ 90 w 260"/>
                <a:gd name="T81" fmla="*/ 3 h 54"/>
                <a:gd name="T82" fmla="*/ 122 w 260"/>
                <a:gd name="T8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0" h="54">
                  <a:moveTo>
                    <a:pt x="122" y="0"/>
                  </a:moveTo>
                  <a:lnTo>
                    <a:pt x="156" y="1"/>
                  </a:lnTo>
                  <a:lnTo>
                    <a:pt x="173" y="2"/>
                  </a:lnTo>
                  <a:lnTo>
                    <a:pt x="186" y="5"/>
                  </a:lnTo>
                  <a:lnTo>
                    <a:pt x="198" y="7"/>
                  </a:lnTo>
                  <a:lnTo>
                    <a:pt x="209" y="11"/>
                  </a:lnTo>
                  <a:lnTo>
                    <a:pt x="226" y="16"/>
                  </a:lnTo>
                  <a:lnTo>
                    <a:pt x="244" y="21"/>
                  </a:lnTo>
                  <a:lnTo>
                    <a:pt x="259" y="21"/>
                  </a:lnTo>
                  <a:lnTo>
                    <a:pt x="260" y="28"/>
                  </a:lnTo>
                  <a:lnTo>
                    <a:pt x="260" y="34"/>
                  </a:lnTo>
                  <a:lnTo>
                    <a:pt x="260" y="41"/>
                  </a:lnTo>
                  <a:lnTo>
                    <a:pt x="257" y="46"/>
                  </a:lnTo>
                  <a:lnTo>
                    <a:pt x="250" y="50"/>
                  </a:lnTo>
                  <a:lnTo>
                    <a:pt x="242" y="51"/>
                  </a:lnTo>
                  <a:lnTo>
                    <a:pt x="227" y="52"/>
                  </a:lnTo>
                  <a:lnTo>
                    <a:pt x="205" y="52"/>
                  </a:lnTo>
                  <a:lnTo>
                    <a:pt x="181" y="54"/>
                  </a:lnTo>
                  <a:lnTo>
                    <a:pt x="153" y="54"/>
                  </a:lnTo>
                  <a:lnTo>
                    <a:pt x="123" y="54"/>
                  </a:lnTo>
                  <a:lnTo>
                    <a:pt x="94" y="54"/>
                  </a:lnTo>
                  <a:lnTo>
                    <a:pt x="68" y="54"/>
                  </a:lnTo>
                  <a:lnTo>
                    <a:pt x="45" y="54"/>
                  </a:lnTo>
                  <a:lnTo>
                    <a:pt x="28" y="52"/>
                  </a:lnTo>
                  <a:lnTo>
                    <a:pt x="19" y="52"/>
                  </a:lnTo>
                  <a:lnTo>
                    <a:pt x="13" y="50"/>
                  </a:lnTo>
                  <a:lnTo>
                    <a:pt x="8" y="48"/>
                  </a:lnTo>
                  <a:lnTo>
                    <a:pt x="5" y="46"/>
                  </a:lnTo>
                  <a:lnTo>
                    <a:pt x="2" y="43"/>
                  </a:lnTo>
                  <a:lnTo>
                    <a:pt x="1" y="41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19"/>
                  </a:lnTo>
                  <a:lnTo>
                    <a:pt x="1" y="11"/>
                  </a:lnTo>
                  <a:lnTo>
                    <a:pt x="11" y="12"/>
                  </a:lnTo>
                  <a:lnTo>
                    <a:pt x="23" y="12"/>
                  </a:lnTo>
                  <a:lnTo>
                    <a:pt x="37" y="12"/>
                  </a:lnTo>
                  <a:lnTo>
                    <a:pt x="55" y="10"/>
                  </a:lnTo>
                  <a:lnTo>
                    <a:pt x="90" y="3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7" name="Freeform 1431"/>
            <p:cNvSpPr>
              <a:spLocks/>
            </p:cNvSpPr>
            <p:nvPr/>
          </p:nvSpPr>
          <p:spPr bwMode="auto">
            <a:xfrm>
              <a:off x="-2992438" y="3005138"/>
              <a:ext cx="325438" cy="895350"/>
            </a:xfrm>
            <a:custGeom>
              <a:avLst/>
              <a:gdLst>
                <a:gd name="T0" fmla="*/ 133 w 205"/>
                <a:gd name="T1" fmla="*/ 0 h 564"/>
                <a:gd name="T2" fmla="*/ 145 w 205"/>
                <a:gd name="T3" fmla="*/ 2 h 564"/>
                <a:gd name="T4" fmla="*/ 153 w 205"/>
                <a:gd name="T5" fmla="*/ 8 h 564"/>
                <a:gd name="T6" fmla="*/ 158 w 205"/>
                <a:gd name="T7" fmla="*/ 18 h 564"/>
                <a:gd name="T8" fmla="*/ 162 w 205"/>
                <a:gd name="T9" fmla="*/ 36 h 564"/>
                <a:gd name="T10" fmla="*/ 165 w 205"/>
                <a:gd name="T11" fmla="*/ 62 h 564"/>
                <a:gd name="T12" fmla="*/ 169 w 205"/>
                <a:gd name="T13" fmla="*/ 91 h 564"/>
                <a:gd name="T14" fmla="*/ 174 w 205"/>
                <a:gd name="T15" fmla="*/ 126 h 564"/>
                <a:gd name="T16" fmla="*/ 178 w 205"/>
                <a:gd name="T17" fmla="*/ 165 h 564"/>
                <a:gd name="T18" fmla="*/ 182 w 205"/>
                <a:gd name="T19" fmla="*/ 204 h 564"/>
                <a:gd name="T20" fmla="*/ 186 w 205"/>
                <a:gd name="T21" fmla="*/ 245 h 564"/>
                <a:gd name="T22" fmla="*/ 189 w 205"/>
                <a:gd name="T23" fmla="*/ 287 h 564"/>
                <a:gd name="T24" fmla="*/ 192 w 205"/>
                <a:gd name="T25" fmla="*/ 325 h 564"/>
                <a:gd name="T26" fmla="*/ 195 w 205"/>
                <a:gd name="T27" fmla="*/ 362 h 564"/>
                <a:gd name="T28" fmla="*/ 198 w 205"/>
                <a:gd name="T29" fmla="*/ 396 h 564"/>
                <a:gd name="T30" fmla="*/ 200 w 205"/>
                <a:gd name="T31" fmla="*/ 425 h 564"/>
                <a:gd name="T32" fmla="*/ 201 w 205"/>
                <a:gd name="T33" fmla="*/ 448 h 564"/>
                <a:gd name="T34" fmla="*/ 203 w 205"/>
                <a:gd name="T35" fmla="*/ 464 h 564"/>
                <a:gd name="T36" fmla="*/ 204 w 205"/>
                <a:gd name="T37" fmla="*/ 471 h 564"/>
                <a:gd name="T38" fmla="*/ 205 w 205"/>
                <a:gd name="T39" fmla="*/ 480 h 564"/>
                <a:gd name="T40" fmla="*/ 205 w 205"/>
                <a:gd name="T41" fmla="*/ 492 h 564"/>
                <a:gd name="T42" fmla="*/ 205 w 205"/>
                <a:gd name="T43" fmla="*/ 505 h 564"/>
                <a:gd name="T44" fmla="*/ 201 w 205"/>
                <a:gd name="T45" fmla="*/ 519 h 564"/>
                <a:gd name="T46" fmla="*/ 196 w 205"/>
                <a:gd name="T47" fmla="*/ 533 h 564"/>
                <a:gd name="T48" fmla="*/ 189 w 205"/>
                <a:gd name="T49" fmla="*/ 544 h 564"/>
                <a:gd name="T50" fmla="*/ 177 w 205"/>
                <a:gd name="T51" fmla="*/ 555 h 564"/>
                <a:gd name="T52" fmla="*/ 162 w 205"/>
                <a:gd name="T53" fmla="*/ 561 h 564"/>
                <a:gd name="T54" fmla="*/ 141 w 205"/>
                <a:gd name="T55" fmla="*/ 564 h 564"/>
                <a:gd name="T56" fmla="*/ 122 w 205"/>
                <a:gd name="T57" fmla="*/ 559 h 564"/>
                <a:gd name="T58" fmla="*/ 104 w 205"/>
                <a:gd name="T59" fmla="*/ 547 h 564"/>
                <a:gd name="T60" fmla="*/ 89 w 205"/>
                <a:gd name="T61" fmla="*/ 529 h 564"/>
                <a:gd name="T62" fmla="*/ 74 w 205"/>
                <a:gd name="T63" fmla="*/ 506 h 564"/>
                <a:gd name="T64" fmla="*/ 64 w 205"/>
                <a:gd name="T65" fmla="*/ 478 h 564"/>
                <a:gd name="T66" fmla="*/ 58 w 205"/>
                <a:gd name="T67" fmla="*/ 446 h 564"/>
                <a:gd name="T68" fmla="*/ 54 w 205"/>
                <a:gd name="T69" fmla="*/ 425 h 564"/>
                <a:gd name="T70" fmla="*/ 50 w 205"/>
                <a:gd name="T71" fmla="*/ 398 h 564"/>
                <a:gd name="T72" fmla="*/ 46 w 205"/>
                <a:gd name="T73" fmla="*/ 369 h 564"/>
                <a:gd name="T74" fmla="*/ 41 w 205"/>
                <a:gd name="T75" fmla="*/ 334 h 564"/>
                <a:gd name="T76" fmla="*/ 37 w 205"/>
                <a:gd name="T77" fmla="*/ 298 h 564"/>
                <a:gd name="T78" fmla="*/ 32 w 205"/>
                <a:gd name="T79" fmla="*/ 261 h 564"/>
                <a:gd name="T80" fmla="*/ 27 w 205"/>
                <a:gd name="T81" fmla="*/ 224 h 564"/>
                <a:gd name="T82" fmla="*/ 22 w 205"/>
                <a:gd name="T83" fmla="*/ 188 h 564"/>
                <a:gd name="T84" fmla="*/ 17 w 205"/>
                <a:gd name="T85" fmla="*/ 153 h 564"/>
                <a:gd name="T86" fmla="*/ 12 w 205"/>
                <a:gd name="T87" fmla="*/ 121 h 564"/>
                <a:gd name="T88" fmla="*/ 8 w 205"/>
                <a:gd name="T89" fmla="*/ 93 h 564"/>
                <a:gd name="T90" fmla="*/ 5 w 205"/>
                <a:gd name="T91" fmla="*/ 71 h 564"/>
                <a:gd name="T92" fmla="*/ 1 w 205"/>
                <a:gd name="T93" fmla="*/ 54 h 564"/>
                <a:gd name="T94" fmla="*/ 0 w 205"/>
                <a:gd name="T95" fmla="*/ 45 h 564"/>
                <a:gd name="T96" fmla="*/ 3 w 205"/>
                <a:gd name="T97" fmla="*/ 44 h 564"/>
                <a:gd name="T98" fmla="*/ 10 w 205"/>
                <a:gd name="T99" fmla="*/ 40 h 564"/>
                <a:gd name="T100" fmla="*/ 21 w 205"/>
                <a:gd name="T101" fmla="*/ 35 h 564"/>
                <a:gd name="T102" fmla="*/ 35 w 205"/>
                <a:gd name="T103" fmla="*/ 29 h 564"/>
                <a:gd name="T104" fmla="*/ 51 w 205"/>
                <a:gd name="T105" fmla="*/ 21 h 564"/>
                <a:gd name="T106" fmla="*/ 68 w 205"/>
                <a:gd name="T107" fmla="*/ 15 h 564"/>
                <a:gd name="T108" fmla="*/ 86 w 205"/>
                <a:gd name="T109" fmla="*/ 8 h 564"/>
                <a:gd name="T110" fmla="*/ 104 w 205"/>
                <a:gd name="T111" fmla="*/ 3 h 564"/>
                <a:gd name="T112" fmla="*/ 119 w 205"/>
                <a:gd name="T113" fmla="*/ 0 h 564"/>
                <a:gd name="T114" fmla="*/ 133 w 205"/>
                <a:gd name="T115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5" h="564">
                  <a:moveTo>
                    <a:pt x="133" y="0"/>
                  </a:moveTo>
                  <a:lnTo>
                    <a:pt x="145" y="2"/>
                  </a:lnTo>
                  <a:lnTo>
                    <a:pt x="153" y="8"/>
                  </a:lnTo>
                  <a:lnTo>
                    <a:pt x="158" y="18"/>
                  </a:lnTo>
                  <a:lnTo>
                    <a:pt x="162" y="36"/>
                  </a:lnTo>
                  <a:lnTo>
                    <a:pt x="165" y="62"/>
                  </a:lnTo>
                  <a:lnTo>
                    <a:pt x="169" y="91"/>
                  </a:lnTo>
                  <a:lnTo>
                    <a:pt x="174" y="126"/>
                  </a:lnTo>
                  <a:lnTo>
                    <a:pt x="178" y="165"/>
                  </a:lnTo>
                  <a:lnTo>
                    <a:pt x="182" y="204"/>
                  </a:lnTo>
                  <a:lnTo>
                    <a:pt x="186" y="245"/>
                  </a:lnTo>
                  <a:lnTo>
                    <a:pt x="189" y="287"/>
                  </a:lnTo>
                  <a:lnTo>
                    <a:pt x="192" y="325"/>
                  </a:lnTo>
                  <a:lnTo>
                    <a:pt x="195" y="362"/>
                  </a:lnTo>
                  <a:lnTo>
                    <a:pt x="198" y="396"/>
                  </a:lnTo>
                  <a:lnTo>
                    <a:pt x="200" y="425"/>
                  </a:lnTo>
                  <a:lnTo>
                    <a:pt x="201" y="448"/>
                  </a:lnTo>
                  <a:lnTo>
                    <a:pt x="203" y="464"/>
                  </a:lnTo>
                  <a:lnTo>
                    <a:pt x="204" y="471"/>
                  </a:lnTo>
                  <a:lnTo>
                    <a:pt x="205" y="480"/>
                  </a:lnTo>
                  <a:lnTo>
                    <a:pt x="205" y="492"/>
                  </a:lnTo>
                  <a:lnTo>
                    <a:pt x="205" y="505"/>
                  </a:lnTo>
                  <a:lnTo>
                    <a:pt x="201" y="519"/>
                  </a:lnTo>
                  <a:lnTo>
                    <a:pt x="196" y="533"/>
                  </a:lnTo>
                  <a:lnTo>
                    <a:pt x="189" y="544"/>
                  </a:lnTo>
                  <a:lnTo>
                    <a:pt x="177" y="555"/>
                  </a:lnTo>
                  <a:lnTo>
                    <a:pt x="162" y="561"/>
                  </a:lnTo>
                  <a:lnTo>
                    <a:pt x="141" y="564"/>
                  </a:lnTo>
                  <a:lnTo>
                    <a:pt x="122" y="559"/>
                  </a:lnTo>
                  <a:lnTo>
                    <a:pt x="104" y="547"/>
                  </a:lnTo>
                  <a:lnTo>
                    <a:pt x="89" y="529"/>
                  </a:lnTo>
                  <a:lnTo>
                    <a:pt x="74" y="506"/>
                  </a:lnTo>
                  <a:lnTo>
                    <a:pt x="64" y="478"/>
                  </a:lnTo>
                  <a:lnTo>
                    <a:pt x="58" y="446"/>
                  </a:lnTo>
                  <a:lnTo>
                    <a:pt x="54" y="425"/>
                  </a:lnTo>
                  <a:lnTo>
                    <a:pt x="50" y="398"/>
                  </a:lnTo>
                  <a:lnTo>
                    <a:pt x="46" y="369"/>
                  </a:lnTo>
                  <a:lnTo>
                    <a:pt x="41" y="334"/>
                  </a:lnTo>
                  <a:lnTo>
                    <a:pt x="37" y="298"/>
                  </a:lnTo>
                  <a:lnTo>
                    <a:pt x="32" y="261"/>
                  </a:lnTo>
                  <a:lnTo>
                    <a:pt x="27" y="224"/>
                  </a:lnTo>
                  <a:lnTo>
                    <a:pt x="22" y="188"/>
                  </a:lnTo>
                  <a:lnTo>
                    <a:pt x="17" y="153"/>
                  </a:lnTo>
                  <a:lnTo>
                    <a:pt x="12" y="121"/>
                  </a:lnTo>
                  <a:lnTo>
                    <a:pt x="8" y="93"/>
                  </a:lnTo>
                  <a:lnTo>
                    <a:pt x="5" y="71"/>
                  </a:lnTo>
                  <a:lnTo>
                    <a:pt x="1" y="54"/>
                  </a:lnTo>
                  <a:lnTo>
                    <a:pt x="0" y="45"/>
                  </a:lnTo>
                  <a:lnTo>
                    <a:pt x="3" y="44"/>
                  </a:lnTo>
                  <a:lnTo>
                    <a:pt x="10" y="40"/>
                  </a:lnTo>
                  <a:lnTo>
                    <a:pt x="21" y="35"/>
                  </a:lnTo>
                  <a:lnTo>
                    <a:pt x="35" y="29"/>
                  </a:lnTo>
                  <a:lnTo>
                    <a:pt x="51" y="21"/>
                  </a:lnTo>
                  <a:lnTo>
                    <a:pt x="68" y="15"/>
                  </a:lnTo>
                  <a:lnTo>
                    <a:pt x="86" y="8"/>
                  </a:lnTo>
                  <a:lnTo>
                    <a:pt x="104" y="3"/>
                  </a:lnTo>
                  <a:lnTo>
                    <a:pt x="119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8" name="Freeform 1432"/>
            <p:cNvSpPr>
              <a:spLocks/>
            </p:cNvSpPr>
            <p:nvPr/>
          </p:nvSpPr>
          <p:spPr bwMode="auto">
            <a:xfrm>
              <a:off x="-3502025" y="3041650"/>
              <a:ext cx="263525" cy="793750"/>
            </a:xfrm>
            <a:custGeom>
              <a:avLst/>
              <a:gdLst>
                <a:gd name="T0" fmla="*/ 72 w 166"/>
                <a:gd name="T1" fmla="*/ 0 h 500"/>
                <a:gd name="T2" fmla="*/ 90 w 166"/>
                <a:gd name="T3" fmla="*/ 3 h 500"/>
                <a:gd name="T4" fmla="*/ 109 w 166"/>
                <a:gd name="T5" fmla="*/ 7 h 500"/>
                <a:gd name="T6" fmla="*/ 126 w 166"/>
                <a:gd name="T7" fmla="*/ 12 h 500"/>
                <a:gd name="T8" fmla="*/ 143 w 166"/>
                <a:gd name="T9" fmla="*/ 17 h 500"/>
                <a:gd name="T10" fmla="*/ 154 w 166"/>
                <a:gd name="T11" fmla="*/ 21 h 500"/>
                <a:gd name="T12" fmla="*/ 163 w 166"/>
                <a:gd name="T13" fmla="*/ 25 h 500"/>
                <a:gd name="T14" fmla="*/ 166 w 166"/>
                <a:gd name="T15" fmla="*/ 26 h 500"/>
                <a:gd name="T16" fmla="*/ 166 w 166"/>
                <a:gd name="T17" fmla="*/ 34 h 500"/>
                <a:gd name="T18" fmla="*/ 164 w 166"/>
                <a:gd name="T19" fmla="*/ 49 h 500"/>
                <a:gd name="T20" fmla="*/ 162 w 166"/>
                <a:gd name="T21" fmla="*/ 72 h 500"/>
                <a:gd name="T22" fmla="*/ 159 w 166"/>
                <a:gd name="T23" fmla="*/ 102 h 500"/>
                <a:gd name="T24" fmla="*/ 157 w 166"/>
                <a:gd name="T25" fmla="*/ 135 h 500"/>
                <a:gd name="T26" fmla="*/ 153 w 166"/>
                <a:gd name="T27" fmla="*/ 171 h 500"/>
                <a:gd name="T28" fmla="*/ 149 w 166"/>
                <a:gd name="T29" fmla="*/ 210 h 500"/>
                <a:gd name="T30" fmla="*/ 145 w 166"/>
                <a:gd name="T31" fmla="*/ 249 h 500"/>
                <a:gd name="T32" fmla="*/ 140 w 166"/>
                <a:gd name="T33" fmla="*/ 289 h 500"/>
                <a:gd name="T34" fmla="*/ 135 w 166"/>
                <a:gd name="T35" fmla="*/ 328 h 500"/>
                <a:gd name="T36" fmla="*/ 131 w 166"/>
                <a:gd name="T37" fmla="*/ 362 h 500"/>
                <a:gd name="T38" fmla="*/ 126 w 166"/>
                <a:gd name="T39" fmla="*/ 393 h 500"/>
                <a:gd name="T40" fmla="*/ 121 w 166"/>
                <a:gd name="T41" fmla="*/ 419 h 500"/>
                <a:gd name="T42" fmla="*/ 114 w 166"/>
                <a:gd name="T43" fmla="*/ 438 h 500"/>
                <a:gd name="T44" fmla="*/ 104 w 166"/>
                <a:gd name="T45" fmla="*/ 460 h 500"/>
                <a:gd name="T46" fmla="*/ 91 w 166"/>
                <a:gd name="T47" fmla="*/ 476 h 500"/>
                <a:gd name="T48" fmla="*/ 75 w 166"/>
                <a:gd name="T49" fmla="*/ 489 h 500"/>
                <a:gd name="T50" fmla="*/ 58 w 166"/>
                <a:gd name="T51" fmla="*/ 496 h 500"/>
                <a:gd name="T52" fmla="*/ 41 w 166"/>
                <a:gd name="T53" fmla="*/ 500 h 500"/>
                <a:gd name="T54" fmla="*/ 26 w 166"/>
                <a:gd name="T55" fmla="*/ 500 h 500"/>
                <a:gd name="T56" fmla="*/ 13 w 166"/>
                <a:gd name="T57" fmla="*/ 496 h 500"/>
                <a:gd name="T58" fmla="*/ 4 w 166"/>
                <a:gd name="T59" fmla="*/ 489 h 500"/>
                <a:gd name="T60" fmla="*/ 0 w 166"/>
                <a:gd name="T61" fmla="*/ 479 h 500"/>
                <a:gd name="T62" fmla="*/ 0 w 166"/>
                <a:gd name="T63" fmla="*/ 468 h 500"/>
                <a:gd name="T64" fmla="*/ 0 w 166"/>
                <a:gd name="T65" fmla="*/ 448 h 500"/>
                <a:gd name="T66" fmla="*/ 0 w 166"/>
                <a:gd name="T67" fmla="*/ 423 h 500"/>
                <a:gd name="T68" fmla="*/ 0 w 166"/>
                <a:gd name="T69" fmla="*/ 389 h 500"/>
                <a:gd name="T70" fmla="*/ 2 w 166"/>
                <a:gd name="T71" fmla="*/ 353 h 500"/>
                <a:gd name="T72" fmla="*/ 2 w 166"/>
                <a:gd name="T73" fmla="*/ 312 h 500"/>
                <a:gd name="T74" fmla="*/ 3 w 166"/>
                <a:gd name="T75" fmla="*/ 270 h 500"/>
                <a:gd name="T76" fmla="*/ 5 w 166"/>
                <a:gd name="T77" fmla="*/ 228 h 500"/>
                <a:gd name="T78" fmla="*/ 7 w 166"/>
                <a:gd name="T79" fmla="*/ 185 h 500"/>
                <a:gd name="T80" fmla="*/ 9 w 166"/>
                <a:gd name="T81" fmla="*/ 145 h 500"/>
                <a:gd name="T82" fmla="*/ 13 w 166"/>
                <a:gd name="T83" fmla="*/ 107 h 500"/>
                <a:gd name="T84" fmla="*/ 16 w 166"/>
                <a:gd name="T85" fmla="*/ 75 h 500"/>
                <a:gd name="T86" fmla="*/ 21 w 166"/>
                <a:gd name="T87" fmla="*/ 48 h 500"/>
                <a:gd name="T88" fmla="*/ 25 w 166"/>
                <a:gd name="T89" fmla="*/ 27 h 500"/>
                <a:gd name="T90" fmla="*/ 30 w 166"/>
                <a:gd name="T91" fmla="*/ 15 h 500"/>
                <a:gd name="T92" fmla="*/ 41 w 166"/>
                <a:gd name="T93" fmla="*/ 6 h 500"/>
                <a:gd name="T94" fmla="*/ 55 w 166"/>
                <a:gd name="T95" fmla="*/ 2 h 500"/>
                <a:gd name="T96" fmla="*/ 72 w 166"/>
                <a:gd name="T9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6" h="500">
                  <a:moveTo>
                    <a:pt x="72" y="0"/>
                  </a:moveTo>
                  <a:lnTo>
                    <a:pt x="90" y="3"/>
                  </a:lnTo>
                  <a:lnTo>
                    <a:pt x="109" y="7"/>
                  </a:lnTo>
                  <a:lnTo>
                    <a:pt x="126" y="12"/>
                  </a:lnTo>
                  <a:lnTo>
                    <a:pt x="143" y="17"/>
                  </a:lnTo>
                  <a:lnTo>
                    <a:pt x="154" y="21"/>
                  </a:lnTo>
                  <a:lnTo>
                    <a:pt x="163" y="25"/>
                  </a:lnTo>
                  <a:lnTo>
                    <a:pt x="166" y="26"/>
                  </a:lnTo>
                  <a:lnTo>
                    <a:pt x="166" y="34"/>
                  </a:lnTo>
                  <a:lnTo>
                    <a:pt x="164" y="49"/>
                  </a:lnTo>
                  <a:lnTo>
                    <a:pt x="162" y="72"/>
                  </a:lnTo>
                  <a:lnTo>
                    <a:pt x="159" y="102"/>
                  </a:lnTo>
                  <a:lnTo>
                    <a:pt x="157" y="135"/>
                  </a:lnTo>
                  <a:lnTo>
                    <a:pt x="153" y="171"/>
                  </a:lnTo>
                  <a:lnTo>
                    <a:pt x="149" y="210"/>
                  </a:lnTo>
                  <a:lnTo>
                    <a:pt x="145" y="249"/>
                  </a:lnTo>
                  <a:lnTo>
                    <a:pt x="140" y="289"/>
                  </a:lnTo>
                  <a:lnTo>
                    <a:pt x="135" y="328"/>
                  </a:lnTo>
                  <a:lnTo>
                    <a:pt x="131" y="362"/>
                  </a:lnTo>
                  <a:lnTo>
                    <a:pt x="126" y="393"/>
                  </a:lnTo>
                  <a:lnTo>
                    <a:pt x="121" y="419"/>
                  </a:lnTo>
                  <a:lnTo>
                    <a:pt x="114" y="438"/>
                  </a:lnTo>
                  <a:lnTo>
                    <a:pt x="104" y="460"/>
                  </a:lnTo>
                  <a:lnTo>
                    <a:pt x="91" y="476"/>
                  </a:lnTo>
                  <a:lnTo>
                    <a:pt x="75" y="489"/>
                  </a:lnTo>
                  <a:lnTo>
                    <a:pt x="58" y="496"/>
                  </a:lnTo>
                  <a:lnTo>
                    <a:pt x="41" y="500"/>
                  </a:lnTo>
                  <a:lnTo>
                    <a:pt x="26" y="500"/>
                  </a:lnTo>
                  <a:lnTo>
                    <a:pt x="13" y="496"/>
                  </a:lnTo>
                  <a:lnTo>
                    <a:pt x="4" y="489"/>
                  </a:lnTo>
                  <a:lnTo>
                    <a:pt x="0" y="479"/>
                  </a:lnTo>
                  <a:lnTo>
                    <a:pt x="0" y="468"/>
                  </a:lnTo>
                  <a:lnTo>
                    <a:pt x="0" y="448"/>
                  </a:lnTo>
                  <a:lnTo>
                    <a:pt x="0" y="423"/>
                  </a:lnTo>
                  <a:lnTo>
                    <a:pt x="0" y="389"/>
                  </a:lnTo>
                  <a:lnTo>
                    <a:pt x="2" y="353"/>
                  </a:lnTo>
                  <a:lnTo>
                    <a:pt x="2" y="312"/>
                  </a:lnTo>
                  <a:lnTo>
                    <a:pt x="3" y="270"/>
                  </a:lnTo>
                  <a:lnTo>
                    <a:pt x="5" y="228"/>
                  </a:lnTo>
                  <a:lnTo>
                    <a:pt x="7" y="185"/>
                  </a:lnTo>
                  <a:lnTo>
                    <a:pt x="9" y="145"/>
                  </a:lnTo>
                  <a:lnTo>
                    <a:pt x="13" y="107"/>
                  </a:lnTo>
                  <a:lnTo>
                    <a:pt x="16" y="75"/>
                  </a:lnTo>
                  <a:lnTo>
                    <a:pt x="21" y="48"/>
                  </a:lnTo>
                  <a:lnTo>
                    <a:pt x="25" y="27"/>
                  </a:lnTo>
                  <a:lnTo>
                    <a:pt x="30" y="15"/>
                  </a:lnTo>
                  <a:lnTo>
                    <a:pt x="41" y="6"/>
                  </a:lnTo>
                  <a:lnTo>
                    <a:pt x="55" y="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9" name="Freeform 1433"/>
            <p:cNvSpPr>
              <a:spLocks/>
            </p:cNvSpPr>
            <p:nvPr/>
          </p:nvSpPr>
          <p:spPr bwMode="auto">
            <a:xfrm>
              <a:off x="-3495675" y="3095625"/>
              <a:ext cx="944563" cy="2000250"/>
            </a:xfrm>
            <a:custGeom>
              <a:avLst/>
              <a:gdLst>
                <a:gd name="T0" fmla="*/ 267 w 595"/>
                <a:gd name="T1" fmla="*/ 4 h 1260"/>
                <a:gd name="T2" fmla="*/ 304 w 595"/>
                <a:gd name="T3" fmla="*/ 56 h 1260"/>
                <a:gd name="T4" fmla="*/ 330 w 595"/>
                <a:gd name="T5" fmla="*/ 155 h 1260"/>
                <a:gd name="T6" fmla="*/ 362 w 595"/>
                <a:gd name="T7" fmla="*/ 305 h 1260"/>
                <a:gd name="T8" fmla="*/ 381 w 595"/>
                <a:gd name="T9" fmla="*/ 422 h 1260"/>
                <a:gd name="T10" fmla="*/ 412 w 595"/>
                <a:gd name="T11" fmla="*/ 531 h 1260"/>
                <a:gd name="T12" fmla="*/ 416 w 595"/>
                <a:gd name="T13" fmla="*/ 698 h 1260"/>
                <a:gd name="T14" fmla="*/ 416 w 595"/>
                <a:gd name="T15" fmla="*/ 884 h 1260"/>
                <a:gd name="T16" fmla="*/ 413 w 595"/>
                <a:gd name="T17" fmla="*/ 1030 h 1260"/>
                <a:gd name="T18" fmla="*/ 417 w 595"/>
                <a:gd name="T19" fmla="*/ 1089 h 1260"/>
                <a:gd name="T20" fmla="*/ 444 w 595"/>
                <a:gd name="T21" fmla="*/ 1116 h 1260"/>
                <a:gd name="T22" fmla="*/ 425 w 595"/>
                <a:gd name="T23" fmla="*/ 1156 h 1260"/>
                <a:gd name="T24" fmla="*/ 414 w 595"/>
                <a:gd name="T25" fmla="*/ 1179 h 1260"/>
                <a:gd name="T26" fmla="*/ 458 w 595"/>
                <a:gd name="T27" fmla="*/ 1174 h 1260"/>
                <a:gd name="T28" fmla="*/ 558 w 595"/>
                <a:gd name="T29" fmla="*/ 1182 h 1260"/>
                <a:gd name="T30" fmla="*/ 593 w 595"/>
                <a:gd name="T31" fmla="*/ 1216 h 1260"/>
                <a:gd name="T32" fmla="*/ 584 w 595"/>
                <a:gd name="T33" fmla="*/ 1247 h 1260"/>
                <a:gd name="T34" fmla="*/ 517 w 595"/>
                <a:gd name="T35" fmla="*/ 1205 h 1260"/>
                <a:gd name="T36" fmla="*/ 417 w 595"/>
                <a:gd name="T37" fmla="*/ 1205 h 1260"/>
                <a:gd name="T38" fmla="*/ 359 w 595"/>
                <a:gd name="T39" fmla="*/ 1233 h 1260"/>
                <a:gd name="T40" fmla="*/ 362 w 595"/>
                <a:gd name="T41" fmla="*/ 1217 h 1260"/>
                <a:gd name="T42" fmla="*/ 364 w 595"/>
                <a:gd name="T43" fmla="*/ 1205 h 1260"/>
                <a:gd name="T44" fmla="*/ 381 w 595"/>
                <a:gd name="T45" fmla="*/ 1153 h 1260"/>
                <a:gd name="T46" fmla="*/ 388 w 595"/>
                <a:gd name="T47" fmla="*/ 1116 h 1260"/>
                <a:gd name="T48" fmla="*/ 370 w 595"/>
                <a:gd name="T49" fmla="*/ 912 h 1260"/>
                <a:gd name="T50" fmla="*/ 371 w 595"/>
                <a:gd name="T51" fmla="*/ 640 h 1260"/>
                <a:gd name="T52" fmla="*/ 350 w 595"/>
                <a:gd name="T53" fmla="*/ 455 h 1260"/>
                <a:gd name="T54" fmla="*/ 326 w 595"/>
                <a:gd name="T55" fmla="*/ 328 h 1260"/>
                <a:gd name="T56" fmla="*/ 294 w 595"/>
                <a:gd name="T57" fmla="*/ 177 h 1260"/>
                <a:gd name="T58" fmla="*/ 266 w 595"/>
                <a:gd name="T59" fmla="*/ 59 h 1260"/>
                <a:gd name="T60" fmla="*/ 248 w 595"/>
                <a:gd name="T61" fmla="*/ 23 h 1260"/>
                <a:gd name="T62" fmla="*/ 232 w 595"/>
                <a:gd name="T63" fmla="*/ 49 h 1260"/>
                <a:gd name="T64" fmla="*/ 219 w 595"/>
                <a:gd name="T65" fmla="*/ 137 h 1260"/>
                <a:gd name="T66" fmla="*/ 205 w 595"/>
                <a:gd name="T67" fmla="*/ 255 h 1260"/>
                <a:gd name="T68" fmla="*/ 198 w 595"/>
                <a:gd name="T69" fmla="*/ 324 h 1260"/>
                <a:gd name="T70" fmla="*/ 186 w 595"/>
                <a:gd name="T71" fmla="*/ 387 h 1260"/>
                <a:gd name="T72" fmla="*/ 173 w 595"/>
                <a:gd name="T73" fmla="*/ 458 h 1260"/>
                <a:gd name="T74" fmla="*/ 182 w 595"/>
                <a:gd name="T75" fmla="*/ 552 h 1260"/>
                <a:gd name="T76" fmla="*/ 191 w 595"/>
                <a:gd name="T77" fmla="*/ 644 h 1260"/>
                <a:gd name="T78" fmla="*/ 196 w 595"/>
                <a:gd name="T79" fmla="*/ 782 h 1260"/>
                <a:gd name="T80" fmla="*/ 202 w 595"/>
                <a:gd name="T81" fmla="*/ 962 h 1260"/>
                <a:gd name="T82" fmla="*/ 205 w 595"/>
                <a:gd name="T83" fmla="*/ 1121 h 1260"/>
                <a:gd name="T84" fmla="*/ 207 w 595"/>
                <a:gd name="T85" fmla="*/ 1197 h 1260"/>
                <a:gd name="T86" fmla="*/ 202 w 595"/>
                <a:gd name="T87" fmla="*/ 1260 h 1260"/>
                <a:gd name="T88" fmla="*/ 81 w 595"/>
                <a:gd name="T89" fmla="*/ 1221 h 1260"/>
                <a:gd name="T90" fmla="*/ 0 w 595"/>
                <a:gd name="T91" fmla="*/ 1184 h 1260"/>
                <a:gd name="T92" fmla="*/ 14 w 595"/>
                <a:gd name="T93" fmla="*/ 1187 h 1260"/>
                <a:gd name="T94" fmla="*/ 110 w 595"/>
                <a:gd name="T95" fmla="*/ 1202 h 1260"/>
                <a:gd name="T96" fmla="*/ 175 w 595"/>
                <a:gd name="T97" fmla="*/ 1207 h 1260"/>
                <a:gd name="T98" fmla="*/ 193 w 595"/>
                <a:gd name="T99" fmla="*/ 1173 h 1260"/>
                <a:gd name="T100" fmla="*/ 177 w 595"/>
                <a:gd name="T101" fmla="*/ 1092 h 1260"/>
                <a:gd name="T102" fmla="*/ 166 w 595"/>
                <a:gd name="T103" fmla="*/ 988 h 1260"/>
                <a:gd name="T104" fmla="*/ 157 w 595"/>
                <a:gd name="T105" fmla="*/ 812 h 1260"/>
                <a:gd name="T106" fmla="*/ 150 w 595"/>
                <a:gd name="T107" fmla="*/ 623 h 1260"/>
                <a:gd name="T108" fmla="*/ 145 w 595"/>
                <a:gd name="T109" fmla="*/ 496 h 1260"/>
                <a:gd name="T110" fmla="*/ 150 w 595"/>
                <a:gd name="T111" fmla="*/ 430 h 1260"/>
                <a:gd name="T112" fmla="*/ 168 w 595"/>
                <a:gd name="T113" fmla="*/ 298 h 1260"/>
                <a:gd name="T114" fmla="*/ 191 w 595"/>
                <a:gd name="T115" fmla="*/ 147 h 1260"/>
                <a:gd name="T116" fmla="*/ 209 w 595"/>
                <a:gd name="T117" fmla="*/ 40 h 1260"/>
                <a:gd name="T118" fmla="*/ 230 w 595"/>
                <a:gd name="T119" fmla="*/ 6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5" h="1260">
                  <a:moveTo>
                    <a:pt x="252" y="0"/>
                  </a:moveTo>
                  <a:lnTo>
                    <a:pt x="259" y="1"/>
                  </a:lnTo>
                  <a:lnTo>
                    <a:pt x="261" y="1"/>
                  </a:lnTo>
                  <a:lnTo>
                    <a:pt x="267" y="4"/>
                  </a:lnTo>
                  <a:lnTo>
                    <a:pt x="275" y="9"/>
                  </a:lnTo>
                  <a:lnTo>
                    <a:pt x="284" y="19"/>
                  </a:lnTo>
                  <a:lnTo>
                    <a:pt x="294" y="34"/>
                  </a:lnTo>
                  <a:lnTo>
                    <a:pt x="304" y="56"/>
                  </a:lnTo>
                  <a:lnTo>
                    <a:pt x="309" y="72"/>
                  </a:lnTo>
                  <a:lnTo>
                    <a:pt x="316" y="95"/>
                  </a:lnTo>
                  <a:lnTo>
                    <a:pt x="322" y="123"/>
                  </a:lnTo>
                  <a:lnTo>
                    <a:pt x="330" y="155"/>
                  </a:lnTo>
                  <a:lnTo>
                    <a:pt x="338" y="191"/>
                  </a:lnTo>
                  <a:lnTo>
                    <a:pt x="345" y="230"/>
                  </a:lnTo>
                  <a:lnTo>
                    <a:pt x="354" y="268"/>
                  </a:lnTo>
                  <a:lnTo>
                    <a:pt x="362" y="305"/>
                  </a:lnTo>
                  <a:lnTo>
                    <a:pt x="367" y="339"/>
                  </a:lnTo>
                  <a:lnTo>
                    <a:pt x="371" y="366"/>
                  </a:lnTo>
                  <a:lnTo>
                    <a:pt x="375" y="389"/>
                  </a:lnTo>
                  <a:lnTo>
                    <a:pt x="381" y="422"/>
                  </a:lnTo>
                  <a:lnTo>
                    <a:pt x="393" y="450"/>
                  </a:lnTo>
                  <a:lnTo>
                    <a:pt x="407" y="473"/>
                  </a:lnTo>
                  <a:lnTo>
                    <a:pt x="409" y="499"/>
                  </a:lnTo>
                  <a:lnTo>
                    <a:pt x="412" y="531"/>
                  </a:lnTo>
                  <a:lnTo>
                    <a:pt x="413" y="568"/>
                  </a:lnTo>
                  <a:lnTo>
                    <a:pt x="414" y="608"/>
                  </a:lnTo>
                  <a:lnTo>
                    <a:pt x="416" y="652"/>
                  </a:lnTo>
                  <a:lnTo>
                    <a:pt x="416" y="698"/>
                  </a:lnTo>
                  <a:lnTo>
                    <a:pt x="416" y="745"/>
                  </a:lnTo>
                  <a:lnTo>
                    <a:pt x="416" y="793"/>
                  </a:lnTo>
                  <a:lnTo>
                    <a:pt x="416" y="839"/>
                  </a:lnTo>
                  <a:lnTo>
                    <a:pt x="416" y="884"/>
                  </a:lnTo>
                  <a:lnTo>
                    <a:pt x="414" y="926"/>
                  </a:lnTo>
                  <a:lnTo>
                    <a:pt x="414" y="966"/>
                  </a:lnTo>
                  <a:lnTo>
                    <a:pt x="414" y="1001"/>
                  </a:lnTo>
                  <a:lnTo>
                    <a:pt x="413" y="1030"/>
                  </a:lnTo>
                  <a:lnTo>
                    <a:pt x="413" y="1053"/>
                  </a:lnTo>
                  <a:lnTo>
                    <a:pt x="413" y="1069"/>
                  </a:lnTo>
                  <a:lnTo>
                    <a:pt x="413" y="1076"/>
                  </a:lnTo>
                  <a:lnTo>
                    <a:pt x="417" y="1089"/>
                  </a:lnTo>
                  <a:lnTo>
                    <a:pt x="422" y="1099"/>
                  </a:lnTo>
                  <a:lnTo>
                    <a:pt x="431" y="1106"/>
                  </a:lnTo>
                  <a:lnTo>
                    <a:pt x="440" y="1111"/>
                  </a:lnTo>
                  <a:lnTo>
                    <a:pt x="444" y="1116"/>
                  </a:lnTo>
                  <a:lnTo>
                    <a:pt x="444" y="1123"/>
                  </a:lnTo>
                  <a:lnTo>
                    <a:pt x="439" y="1133"/>
                  </a:lnTo>
                  <a:lnTo>
                    <a:pt x="432" y="1144"/>
                  </a:lnTo>
                  <a:lnTo>
                    <a:pt x="425" y="1156"/>
                  </a:lnTo>
                  <a:lnTo>
                    <a:pt x="416" y="1167"/>
                  </a:lnTo>
                  <a:lnTo>
                    <a:pt x="411" y="1174"/>
                  </a:lnTo>
                  <a:lnTo>
                    <a:pt x="411" y="1178"/>
                  </a:lnTo>
                  <a:lnTo>
                    <a:pt x="414" y="1179"/>
                  </a:lnTo>
                  <a:lnTo>
                    <a:pt x="421" y="1179"/>
                  </a:lnTo>
                  <a:lnTo>
                    <a:pt x="431" y="1178"/>
                  </a:lnTo>
                  <a:lnTo>
                    <a:pt x="443" y="1175"/>
                  </a:lnTo>
                  <a:lnTo>
                    <a:pt x="458" y="1174"/>
                  </a:lnTo>
                  <a:lnTo>
                    <a:pt x="475" y="1173"/>
                  </a:lnTo>
                  <a:lnTo>
                    <a:pt x="503" y="1173"/>
                  </a:lnTo>
                  <a:lnTo>
                    <a:pt x="533" y="1175"/>
                  </a:lnTo>
                  <a:lnTo>
                    <a:pt x="558" y="1182"/>
                  </a:lnTo>
                  <a:lnTo>
                    <a:pt x="580" y="1188"/>
                  </a:lnTo>
                  <a:lnTo>
                    <a:pt x="594" y="1196"/>
                  </a:lnTo>
                  <a:lnTo>
                    <a:pt x="595" y="1205"/>
                  </a:lnTo>
                  <a:lnTo>
                    <a:pt x="593" y="1216"/>
                  </a:lnTo>
                  <a:lnTo>
                    <a:pt x="590" y="1228"/>
                  </a:lnTo>
                  <a:lnTo>
                    <a:pt x="588" y="1238"/>
                  </a:lnTo>
                  <a:lnTo>
                    <a:pt x="585" y="1247"/>
                  </a:lnTo>
                  <a:lnTo>
                    <a:pt x="584" y="1247"/>
                  </a:lnTo>
                  <a:lnTo>
                    <a:pt x="580" y="1247"/>
                  </a:lnTo>
                  <a:lnTo>
                    <a:pt x="562" y="1229"/>
                  </a:lnTo>
                  <a:lnTo>
                    <a:pt x="542" y="1215"/>
                  </a:lnTo>
                  <a:lnTo>
                    <a:pt x="517" y="1205"/>
                  </a:lnTo>
                  <a:lnTo>
                    <a:pt x="493" y="1199"/>
                  </a:lnTo>
                  <a:lnTo>
                    <a:pt x="467" y="1198"/>
                  </a:lnTo>
                  <a:lnTo>
                    <a:pt x="441" y="1199"/>
                  </a:lnTo>
                  <a:lnTo>
                    <a:pt x="417" y="1205"/>
                  </a:lnTo>
                  <a:lnTo>
                    <a:pt x="395" y="1212"/>
                  </a:lnTo>
                  <a:lnTo>
                    <a:pt x="376" y="1224"/>
                  </a:lnTo>
                  <a:lnTo>
                    <a:pt x="361" y="1238"/>
                  </a:lnTo>
                  <a:lnTo>
                    <a:pt x="359" y="1233"/>
                  </a:lnTo>
                  <a:lnTo>
                    <a:pt x="359" y="1229"/>
                  </a:lnTo>
                  <a:lnTo>
                    <a:pt x="361" y="1223"/>
                  </a:lnTo>
                  <a:lnTo>
                    <a:pt x="361" y="1220"/>
                  </a:lnTo>
                  <a:lnTo>
                    <a:pt x="362" y="1217"/>
                  </a:lnTo>
                  <a:lnTo>
                    <a:pt x="363" y="1215"/>
                  </a:lnTo>
                  <a:lnTo>
                    <a:pt x="364" y="1212"/>
                  </a:lnTo>
                  <a:lnTo>
                    <a:pt x="364" y="1210"/>
                  </a:lnTo>
                  <a:lnTo>
                    <a:pt x="364" y="1205"/>
                  </a:lnTo>
                  <a:lnTo>
                    <a:pt x="364" y="1196"/>
                  </a:lnTo>
                  <a:lnTo>
                    <a:pt x="368" y="1183"/>
                  </a:lnTo>
                  <a:lnTo>
                    <a:pt x="375" y="1169"/>
                  </a:lnTo>
                  <a:lnTo>
                    <a:pt x="381" y="1153"/>
                  </a:lnTo>
                  <a:lnTo>
                    <a:pt x="385" y="1142"/>
                  </a:lnTo>
                  <a:lnTo>
                    <a:pt x="388" y="1133"/>
                  </a:lnTo>
                  <a:lnTo>
                    <a:pt x="389" y="1125"/>
                  </a:lnTo>
                  <a:lnTo>
                    <a:pt x="388" y="1116"/>
                  </a:lnTo>
                  <a:lnTo>
                    <a:pt x="385" y="1103"/>
                  </a:lnTo>
                  <a:lnTo>
                    <a:pt x="376" y="1039"/>
                  </a:lnTo>
                  <a:lnTo>
                    <a:pt x="371" y="976"/>
                  </a:lnTo>
                  <a:lnTo>
                    <a:pt x="370" y="912"/>
                  </a:lnTo>
                  <a:lnTo>
                    <a:pt x="370" y="847"/>
                  </a:lnTo>
                  <a:lnTo>
                    <a:pt x="371" y="779"/>
                  </a:lnTo>
                  <a:lnTo>
                    <a:pt x="372" y="711"/>
                  </a:lnTo>
                  <a:lnTo>
                    <a:pt x="371" y="640"/>
                  </a:lnTo>
                  <a:lnTo>
                    <a:pt x="367" y="567"/>
                  </a:lnTo>
                  <a:lnTo>
                    <a:pt x="357" y="491"/>
                  </a:lnTo>
                  <a:lnTo>
                    <a:pt x="354" y="476"/>
                  </a:lnTo>
                  <a:lnTo>
                    <a:pt x="350" y="455"/>
                  </a:lnTo>
                  <a:lnTo>
                    <a:pt x="345" y="428"/>
                  </a:lnTo>
                  <a:lnTo>
                    <a:pt x="340" y="399"/>
                  </a:lnTo>
                  <a:lnTo>
                    <a:pt x="332" y="364"/>
                  </a:lnTo>
                  <a:lnTo>
                    <a:pt x="326" y="328"/>
                  </a:lnTo>
                  <a:lnTo>
                    <a:pt x="318" y="291"/>
                  </a:lnTo>
                  <a:lnTo>
                    <a:pt x="309" y="253"/>
                  </a:lnTo>
                  <a:lnTo>
                    <a:pt x="302" y="214"/>
                  </a:lnTo>
                  <a:lnTo>
                    <a:pt x="294" y="177"/>
                  </a:lnTo>
                  <a:lnTo>
                    <a:pt x="285" y="142"/>
                  </a:lnTo>
                  <a:lnTo>
                    <a:pt x="278" y="110"/>
                  </a:lnTo>
                  <a:lnTo>
                    <a:pt x="271" y="82"/>
                  </a:lnTo>
                  <a:lnTo>
                    <a:pt x="266" y="59"/>
                  </a:lnTo>
                  <a:lnTo>
                    <a:pt x="261" y="40"/>
                  </a:lnTo>
                  <a:lnTo>
                    <a:pt x="257" y="28"/>
                  </a:lnTo>
                  <a:lnTo>
                    <a:pt x="254" y="24"/>
                  </a:lnTo>
                  <a:lnTo>
                    <a:pt x="248" y="23"/>
                  </a:lnTo>
                  <a:lnTo>
                    <a:pt x="243" y="24"/>
                  </a:lnTo>
                  <a:lnTo>
                    <a:pt x="237" y="29"/>
                  </a:lnTo>
                  <a:lnTo>
                    <a:pt x="234" y="40"/>
                  </a:lnTo>
                  <a:lnTo>
                    <a:pt x="232" y="49"/>
                  </a:lnTo>
                  <a:lnTo>
                    <a:pt x="230" y="63"/>
                  </a:lnTo>
                  <a:lnTo>
                    <a:pt x="227" y="83"/>
                  </a:lnTo>
                  <a:lnTo>
                    <a:pt x="223" y="109"/>
                  </a:lnTo>
                  <a:lnTo>
                    <a:pt x="219" y="137"/>
                  </a:lnTo>
                  <a:lnTo>
                    <a:pt x="216" y="167"/>
                  </a:lnTo>
                  <a:lnTo>
                    <a:pt x="212" y="197"/>
                  </a:lnTo>
                  <a:lnTo>
                    <a:pt x="209" y="228"/>
                  </a:lnTo>
                  <a:lnTo>
                    <a:pt x="205" y="255"/>
                  </a:lnTo>
                  <a:lnTo>
                    <a:pt x="203" y="281"/>
                  </a:lnTo>
                  <a:lnTo>
                    <a:pt x="200" y="301"/>
                  </a:lnTo>
                  <a:lnTo>
                    <a:pt x="198" y="317"/>
                  </a:lnTo>
                  <a:lnTo>
                    <a:pt x="198" y="324"/>
                  </a:lnTo>
                  <a:lnTo>
                    <a:pt x="196" y="333"/>
                  </a:lnTo>
                  <a:lnTo>
                    <a:pt x="194" y="349"/>
                  </a:lnTo>
                  <a:lnTo>
                    <a:pt x="190" y="367"/>
                  </a:lnTo>
                  <a:lnTo>
                    <a:pt x="186" y="387"/>
                  </a:lnTo>
                  <a:lnTo>
                    <a:pt x="181" y="409"/>
                  </a:lnTo>
                  <a:lnTo>
                    <a:pt x="178" y="428"/>
                  </a:lnTo>
                  <a:lnTo>
                    <a:pt x="175" y="445"/>
                  </a:lnTo>
                  <a:lnTo>
                    <a:pt x="173" y="458"/>
                  </a:lnTo>
                  <a:lnTo>
                    <a:pt x="175" y="475"/>
                  </a:lnTo>
                  <a:lnTo>
                    <a:pt x="176" y="498"/>
                  </a:lnTo>
                  <a:lnTo>
                    <a:pt x="178" y="523"/>
                  </a:lnTo>
                  <a:lnTo>
                    <a:pt x="182" y="552"/>
                  </a:lnTo>
                  <a:lnTo>
                    <a:pt x="186" y="581"/>
                  </a:lnTo>
                  <a:lnTo>
                    <a:pt x="190" y="611"/>
                  </a:lnTo>
                  <a:lnTo>
                    <a:pt x="191" y="623"/>
                  </a:lnTo>
                  <a:lnTo>
                    <a:pt x="191" y="644"/>
                  </a:lnTo>
                  <a:lnTo>
                    <a:pt x="193" y="671"/>
                  </a:lnTo>
                  <a:lnTo>
                    <a:pt x="194" y="704"/>
                  </a:lnTo>
                  <a:lnTo>
                    <a:pt x="195" y="741"/>
                  </a:lnTo>
                  <a:lnTo>
                    <a:pt x="196" y="782"/>
                  </a:lnTo>
                  <a:lnTo>
                    <a:pt x="198" y="825"/>
                  </a:lnTo>
                  <a:lnTo>
                    <a:pt x="199" y="871"/>
                  </a:lnTo>
                  <a:lnTo>
                    <a:pt x="200" y="916"/>
                  </a:lnTo>
                  <a:lnTo>
                    <a:pt x="202" y="962"/>
                  </a:lnTo>
                  <a:lnTo>
                    <a:pt x="203" y="1006"/>
                  </a:lnTo>
                  <a:lnTo>
                    <a:pt x="204" y="1048"/>
                  </a:lnTo>
                  <a:lnTo>
                    <a:pt x="205" y="1087"/>
                  </a:lnTo>
                  <a:lnTo>
                    <a:pt x="205" y="1121"/>
                  </a:lnTo>
                  <a:lnTo>
                    <a:pt x="207" y="1151"/>
                  </a:lnTo>
                  <a:lnTo>
                    <a:pt x="207" y="1174"/>
                  </a:lnTo>
                  <a:lnTo>
                    <a:pt x="207" y="1189"/>
                  </a:lnTo>
                  <a:lnTo>
                    <a:pt x="207" y="1197"/>
                  </a:lnTo>
                  <a:lnTo>
                    <a:pt x="207" y="1210"/>
                  </a:lnTo>
                  <a:lnTo>
                    <a:pt x="205" y="1225"/>
                  </a:lnTo>
                  <a:lnTo>
                    <a:pt x="204" y="1243"/>
                  </a:lnTo>
                  <a:lnTo>
                    <a:pt x="202" y="1260"/>
                  </a:lnTo>
                  <a:lnTo>
                    <a:pt x="190" y="1257"/>
                  </a:lnTo>
                  <a:lnTo>
                    <a:pt x="155" y="1248"/>
                  </a:lnTo>
                  <a:lnTo>
                    <a:pt x="119" y="1237"/>
                  </a:lnTo>
                  <a:lnTo>
                    <a:pt x="81" y="1221"/>
                  </a:lnTo>
                  <a:lnTo>
                    <a:pt x="45" y="1206"/>
                  </a:lnTo>
                  <a:lnTo>
                    <a:pt x="10" y="1189"/>
                  </a:lnTo>
                  <a:lnTo>
                    <a:pt x="0" y="1184"/>
                  </a:lnTo>
                  <a:lnTo>
                    <a:pt x="0" y="1184"/>
                  </a:lnTo>
                  <a:lnTo>
                    <a:pt x="3" y="1184"/>
                  </a:lnTo>
                  <a:lnTo>
                    <a:pt x="5" y="1184"/>
                  </a:lnTo>
                  <a:lnTo>
                    <a:pt x="9" y="1185"/>
                  </a:lnTo>
                  <a:lnTo>
                    <a:pt x="14" y="1187"/>
                  </a:lnTo>
                  <a:lnTo>
                    <a:pt x="33" y="1189"/>
                  </a:lnTo>
                  <a:lnTo>
                    <a:pt x="57" y="1193"/>
                  </a:lnTo>
                  <a:lnTo>
                    <a:pt x="83" y="1198"/>
                  </a:lnTo>
                  <a:lnTo>
                    <a:pt x="110" y="1202"/>
                  </a:lnTo>
                  <a:lnTo>
                    <a:pt x="130" y="1205"/>
                  </a:lnTo>
                  <a:lnTo>
                    <a:pt x="149" y="1206"/>
                  </a:lnTo>
                  <a:lnTo>
                    <a:pt x="163" y="1207"/>
                  </a:lnTo>
                  <a:lnTo>
                    <a:pt x="175" y="1207"/>
                  </a:lnTo>
                  <a:lnTo>
                    <a:pt x="184" y="1203"/>
                  </a:lnTo>
                  <a:lnTo>
                    <a:pt x="190" y="1197"/>
                  </a:lnTo>
                  <a:lnTo>
                    <a:pt x="193" y="1187"/>
                  </a:lnTo>
                  <a:lnTo>
                    <a:pt x="193" y="1173"/>
                  </a:lnTo>
                  <a:lnTo>
                    <a:pt x="191" y="1156"/>
                  </a:lnTo>
                  <a:lnTo>
                    <a:pt x="187" y="1137"/>
                  </a:lnTo>
                  <a:lnTo>
                    <a:pt x="182" y="1116"/>
                  </a:lnTo>
                  <a:lnTo>
                    <a:pt x="177" y="1092"/>
                  </a:lnTo>
                  <a:lnTo>
                    <a:pt x="173" y="1067"/>
                  </a:lnTo>
                  <a:lnTo>
                    <a:pt x="171" y="1048"/>
                  </a:lnTo>
                  <a:lnTo>
                    <a:pt x="168" y="1021"/>
                  </a:lnTo>
                  <a:lnTo>
                    <a:pt x="166" y="988"/>
                  </a:lnTo>
                  <a:lnTo>
                    <a:pt x="163" y="949"/>
                  </a:lnTo>
                  <a:lnTo>
                    <a:pt x="160" y="906"/>
                  </a:lnTo>
                  <a:lnTo>
                    <a:pt x="158" y="859"/>
                  </a:lnTo>
                  <a:lnTo>
                    <a:pt x="157" y="812"/>
                  </a:lnTo>
                  <a:lnTo>
                    <a:pt x="154" y="763"/>
                  </a:lnTo>
                  <a:lnTo>
                    <a:pt x="153" y="714"/>
                  </a:lnTo>
                  <a:lnTo>
                    <a:pt x="151" y="667"/>
                  </a:lnTo>
                  <a:lnTo>
                    <a:pt x="150" y="623"/>
                  </a:lnTo>
                  <a:lnTo>
                    <a:pt x="149" y="582"/>
                  </a:lnTo>
                  <a:lnTo>
                    <a:pt x="148" y="548"/>
                  </a:lnTo>
                  <a:lnTo>
                    <a:pt x="146" y="518"/>
                  </a:lnTo>
                  <a:lnTo>
                    <a:pt x="145" y="496"/>
                  </a:lnTo>
                  <a:lnTo>
                    <a:pt x="145" y="484"/>
                  </a:lnTo>
                  <a:lnTo>
                    <a:pt x="145" y="472"/>
                  </a:lnTo>
                  <a:lnTo>
                    <a:pt x="148" y="454"/>
                  </a:lnTo>
                  <a:lnTo>
                    <a:pt x="150" y="430"/>
                  </a:lnTo>
                  <a:lnTo>
                    <a:pt x="153" y="401"/>
                  </a:lnTo>
                  <a:lnTo>
                    <a:pt x="158" y="369"/>
                  </a:lnTo>
                  <a:lnTo>
                    <a:pt x="162" y="335"/>
                  </a:lnTo>
                  <a:lnTo>
                    <a:pt x="168" y="298"/>
                  </a:lnTo>
                  <a:lnTo>
                    <a:pt x="173" y="259"/>
                  </a:lnTo>
                  <a:lnTo>
                    <a:pt x="180" y="221"/>
                  </a:lnTo>
                  <a:lnTo>
                    <a:pt x="185" y="183"/>
                  </a:lnTo>
                  <a:lnTo>
                    <a:pt x="191" y="147"/>
                  </a:lnTo>
                  <a:lnTo>
                    <a:pt x="196" y="114"/>
                  </a:lnTo>
                  <a:lnTo>
                    <a:pt x="202" y="85"/>
                  </a:lnTo>
                  <a:lnTo>
                    <a:pt x="205" y="59"/>
                  </a:lnTo>
                  <a:lnTo>
                    <a:pt x="209" y="40"/>
                  </a:lnTo>
                  <a:lnTo>
                    <a:pt x="212" y="26"/>
                  </a:lnTo>
                  <a:lnTo>
                    <a:pt x="214" y="19"/>
                  </a:lnTo>
                  <a:lnTo>
                    <a:pt x="221" y="11"/>
                  </a:lnTo>
                  <a:lnTo>
                    <a:pt x="230" y="6"/>
                  </a:lnTo>
                  <a:lnTo>
                    <a:pt x="241" y="1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80" name="Group 4679"/>
          <p:cNvGrpSpPr/>
          <p:nvPr/>
        </p:nvGrpSpPr>
        <p:grpSpPr>
          <a:xfrm>
            <a:off x="7550889" y="2956249"/>
            <a:ext cx="118687" cy="420646"/>
            <a:chOff x="9828213" y="341313"/>
            <a:chExt cx="747713" cy="2676525"/>
          </a:xfrm>
        </p:grpSpPr>
        <p:sp>
          <p:nvSpPr>
            <p:cNvPr id="4681" name="Freeform 1521"/>
            <p:cNvSpPr>
              <a:spLocks/>
            </p:cNvSpPr>
            <p:nvPr/>
          </p:nvSpPr>
          <p:spPr bwMode="auto">
            <a:xfrm>
              <a:off x="9972676" y="460375"/>
              <a:ext cx="171450" cy="107950"/>
            </a:xfrm>
            <a:custGeom>
              <a:avLst/>
              <a:gdLst>
                <a:gd name="T0" fmla="*/ 106 w 108"/>
                <a:gd name="T1" fmla="*/ 0 h 68"/>
                <a:gd name="T2" fmla="*/ 108 w 108"/>
                <a:gd name="T3" fmla="*/ 14 h 68"/>
                <a:gd name="T4" fmla="*/ 104 w 108"/>
                <a:gd name="T5" fmla="*/ 29 h 68"/>
                <a:gd name="T6" fmla="*/ 97 w 108"/>
                <a:gd name="T7" fmla="*/ 44 h 68"/>
                <a:gd name="T8" fmla="*/ 84 w 108"/>
                <a:gd name="T9" fmla="*/ 55 h 68"/>
                <a:gd name="T10" fmla="*/ 67 w 108"/>
                <a:gd name="T11" fmla="*/ 64 h 68"/>
                <a:gd name="T12" fmla="*/ 48 w 108"/>
                <a:gd name="T13" fmla="*/ 68 h 68"/>
                <a:gd name="T14" fmla="*/ 25 w 108"/>
                <a:gd name="T15" fmla="*/ 67 h 68"/>
                <a:gd name="T16" fmla="*/ 0 w 108"/>
                <a:gd name="T17" fmla="*/ 59 h 68"/>
                <a:gd name="T18" fmla="*/ 22 w 108"/>
                <a:gd name="T19" fmla="*/ 56 h 68"/>
                <a:gd name="T20" fmla="*/ 43 w 108"/>
                <a:gd name="T21" fmla="*/ 51 h 68"/>
                <a:gd name="T22" fmla="*/ 63 w 108"/>
                <a:gd name="T23" fmla="*/ 42 h 68"/>
                <a:gd name="T24" fmla="*/ 80 w 108"/>
                <a:gd name="T25" fmla="*/ 32 h 68"/>
                <a:gd name="T26" fmla="*/ 94 w 108"/>
                <a:gd name="T27" fmla="*/ 22 h 68"/>
                <a:gd name="T28" fmla="*/ 103 w 108"/>
                <a:gd name="T29" fmla="*/ 10 h 68"/>
                <a:gd name="T30" fmla="*/ 106 w 108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68">
                  <a:moveTo>
                    <a:pt x="106" y="0"/>
                  </a:moveTo>
                  <a:lnTo>
                    <a:pt x="108" y="14"/>
                  </a:lnTo>
                  <a:lnTo>
                    <a:pt x="104" y="29"/>
                  </a:lnTo>
                  <a:lnTo>
                    <a:pt x="97" y="44"/>
                  </a:lnTo>
                  <a:lnTo>
                    <a:pt x="84" y="55"/>
                  </a:lnTo>
                  <a:lnTo>
                    <a:pt x="67" y="64"/>
                  </a:lnTo>
                  <a:lnTo>
                    <a:pt x="48" y="68"/>
                  </a:lnTo>
                  <a:lnTo>
                    <a:pt x="25" y="67"/>
                  </a:lnTo>
                  <a:lnTo>
                    <a:pt x="0" y="59"/>
                  </a:lnTo>
                  <a:lnTo>
                    <a:pt x="22" y="56"/>
                  </a:lnTo>
                  <a:lnTo>
                    <a:pt x="43" y="51"/>
                  </a:lnTo>
                  <a:lnTo>
                    <a:pt x="63" y="42"/>
                  </a:lnTo>
                  <a:lnTo>
                    <a:pt x="80" y="32"/>
                  </a:lnTo>
                  <a:lnTo>
                    <a:pt x="94" y="22"/>
                  </a:lnTo>
                  <a:lnTo>
                    <a:pt x="103" y="1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2" name="Freeform 1522"/>
            <p:cNvSpPr>
              <a:spLocks/>
            </p:cNvSpPr>
            <p:nvPr/>
          </p:nvSpPr>
          <p:spPr bwMode="auto">
            <a:xfrm>
              <a:off x="9967913" y="422275"/>
              <a:ext cx="169863" cy="109538"/>
            </a:xfrm>
            <a:custGeom>
              <a:avLst/>
              <a:gdLst>
                <a:gd name="T0" fmla="*/ 105 w 107"/>
                <a:gd name="T1" fmla="*/ 0 h 69"/>
                <a:gd name="T2" fmla="*/ 107 w 107"/>
                <a:gd name="T3" fmla="*/ 15 h 69"/>
                <a:gd name="T4" fmla="*/ 103 w 107"/>
                <a:gd name="T5" fmla="*/ 29 h 69"/>
                <a:gd name="T6" fmla="*/ 96 w 107"/>
                <a:gd name="T7" fmla="*/ 43 h 69"/>
                <a:gd name="T8" fmla="*/ 83 w 107"/>
                <a:gd name="T9" fmla="*/ 56 h 69"/>
                <a:gd name="T10" fmla="*/ 66 w 107"/>
                <a:gd name="T11" fmla="*/ 65 h 69"/>
                <a:gd name="T12" fmla="*/ 47 w 107"/>
                <a:gd name="T13" fmla="*/ 69 h 69"/>
                <a:gd name="T14" fmla="*/ 24 w 107"/>
                <a:gd name="T15" fmla="*/ 68 h 69"/>
                <a:gd name="T16" fmla="*/ 0 w 107"/>
                <a:gd name="T17" fmla="*/ 59 h 69"/>
                <a:gd name="T18" fmla="*/ 21 w 107"/>
                <a:gd name="T19" fmla="*/ 57 h 69"/>
                <a:gd name="T20" fmla="*/ 43 w 107"/>
                <a:gd name="T21" fmla="*/ 51 h 69"/>
                <a:gd name="T22" fmla="*/ 62 w 107"/>
                <a:gd name="T23" fmla="*/ 43 h 69"/>
                <a:gd name="T24" fmla="*/ 80 w 107"/>
                <a:gd name="T25" fmla="*/ 33 h 69"/>
                <a:gd name="T26" fmla="*/ 93 w 107"/>
                <a:gd name="T27" fmla="*/ 21 h 69"/>
                <a:gd name="T28" fmla="*/ 102 w 107"/>
                <a:gd name="T29" fmla="*/ 10 h 69"/>
                <a:gd name="T30" fmla="*/ 105 w 107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9">
                  <a:moveTo>
                    <a:pt x="105" y="0"/>
                  </a:moveTo>
                  <a:lnTo>
                    <a:pt x="107" y="15"/>
                  </a:lnTo>
                  <a:lnTo>
                    <a:pt x="103" y="29"/>
                  </a:lnTo>
                  <a:lnTo>
                    <a:pt x="96" y="43"/>
                  </a:lnTo>
                  <a:lnTo>
                    <a:pt x="83" y="56"/>
                  </a:lnTo>
                  <a:lnTo>
                    <a:pt x="66" y="65"/>
                  </a:lnTo>
                  <a:lnTo>
                    <a:pt x="47" y="69"/>
                  </a:lnTo>
                  <a:lnTo>
                    <a:pt x="24" y="68"/>
                  </a:lnTo>
                  <a:lnTo>
                    <a:pt x="0" y="59"/>
                  </a:lnTo>
                  <a:lnTo>
                    <a:pt x="21" y="57"/>
                  </a:lnTo>
                  <a:lnTo>
                    <a:pt x="43" y="51"/>
                  </a:lnTo>
                  <a:lnTo>
                    <a:pt x="62" y="43"/>
                  </a:lnTo>
                  <a:lnTo>
                    <a:pt x="80" y="33"/>
                  </a:lnTo>
                  <a:lnTo>
                    <a:pt x="93" y="21"/>
                  </a:lnTo>
                  <a:lnTo>
                    <a:pt x="102" y="10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3" name="Freeform 1524"/>
            <p:cNvSpPr>
              <a:spLocks/>
            </p:cNvSpPr>
            <p:nvPr/>
          </p:nvSpPr>
          <p:spPr bwMode="auto">
            <a:xfrm>
              <a:off x="10036176" y="2038350"/>
              <a:ext cx="133350" cy="798513"/>
            </a:xfrm>
            <a:custGeom>
              <a:avLst/>
              <a:gdLst>
                <a:gd name="T0" fmla="*/ 22 w 84"/>
                <a:gd name="T1" fmla="*/ 0 h 503"/>
                <a:gd name="T2" fmla="*/ 28 w 84"/>
                <a:gd name="T3" fmla="*/ 3 h 503"/>
                <a:gd name="T4" fmla="*/ 36 w 84"/>
                <a:gd name="T5" fmla="*/ 11 h 503"/>
                <a:gd name="T6" fmla="*/ 44 w 84"/>
                <a:gd name="T7" fmla="*/ 22 h 503"/>
                <a:gd name="T8" fmla="*/ 52 w 84"/>
                <a:gd name="T9" fmla="*/ 36 h 503"/>
                <a:gd name="T10" fmla="*/ 59 w 84"/>
                <a:gd name="T11" fmla="*/ 54 h 503"/>
                <a:gd name="T12" fmla="*/ 66 w 84"/>
                <a:gd name="T13" fmla="*/ 73 h 503"/>
                <a:gd name="T14" fmla="*/ 72 w 84"/>
                <a:gd name="T15" fmla="*/ 96 h 503"/>
                <a:gd name="T16" fmla="*/ 77 w 84"/>
                <a:gd name="T17" fmla="*/ 120 h 503"/>
                <a:gd name="T18" fmla="*/ 81 w 84"/>
                <a:gd name="T19" fmla="*/ 145 h 503"/>
                <a:gd name="T20" fmla="*/ 82 w 84"/>
                <a:gd name="T21" fmla="*/ 171 h 503"/>
                <a:gd name="T22" fmla="*/ 84 w 84"/>
                <a:gd name="T23" fmla="*/ 197 h 503"/>
                <a:gd name="T24" fmla="*/ 81 w 84"/>
                <a:gd name="T25" fmla="*/ 222 h 503"/>
                <a:gd name="T26" fmla="*/ 80 w 84"/>
                <a:gd name="T27" fmla="*/ 239 h 503"/>
                <a:gd name="T28" fmla="*/ 78 w 84"/>
                <a:gd name="T29" fmla="*/ 262 h 503"/>
                <a:gd name="T30" fmla="*/ 77 w 84"/>
                <a:gd name="T31" fmla="*/ 289 h 503"/>
                <a:gd name="T32" fmla="*/ 76 w 84"/>
                <a:gd name="T33" fmla="*/ 318 h 503"/>
                <a:gd name="T34" fmla="*/ 73 w 84"/>
                <a:gd name="T35" fmla="*/ 349 h 503"/>
                <a:gd name="T36" fmla="*/ 71 w 84"/>
                <a:gd name="T37" fmla="*/ 381 h 503"/>
                <a:gd name="T38" fmla="*/ 67 w 84"/>
                <a:gd name="T39" fmla="*/ 412 h 503"/>
                <a:gd name="T40" fmla="*/ 63 w 84"/>
                <a:gd name="T41" fmla="*/ 440 h 503"/>
                <a:gd name="T42" fmla="*/ 58 w 84"/>
                <a:gd name="T43" fmla="*/ 465 h 503"/>
                <a:gd name="T44" fmla="*/ 52 w 84"/>
                <a:gd name="T45" fmla="*/ 484 h 503"/>
                <a:gd name="T46" fmla="*/ 43 w 84"/>
                <a:gd name="T47" fmla="*/ 498 h 503"/>
                <a:gd name="T48" fmla="*/ 35 w 84"/>
                <a:gd name="T49" fmla="*/ 503 h 503"/>
                <a:gd name="T50" fmla="*/ 30 w 84"/>
                <a:gd name="T51" fmla="*/ 501 h 503"/>
                <a:gd name="T52" fmla="*/ 23 w 84"/>
                <a:gd name="T53" fmla="*/ 490 h 503"/>
                <a:gd name="T54" fmla="*/ 19 w 84"/>
                <a:gd name="T55" fmla="*/ 475 h 503"/>
                <a:gd name="T56" fmla="*/ 16 w 84"/>
                <a:gd name="T57" fmla="*/ 454 h 503"/>
                <a:gd name="T58" fmla="*/ 13 w 84"/>
                <a:gd name="T59" fmla="*/ 430 h 503"/>
                <a:gd name="T60" fmla="*/ 10 w 84"/>
                <a:gd name="T61" fmla="*/ 402 h 503"/>
                <a:gd name="T62" fmla="*/ 9 w 84"/>
                <a:gd name="T63" fmla="*/ 372 h 503"/>
                <a:gd name="T64" fmla="*/ 8 w 84"/>
                <a:gd name="T65" fmla="*/ 340 h 503"/>
                <a:gd name="T66" fmla="*/ 8 w 84"/>
                <a:gd name="T67" fmla="*/ 307 h 503"/>
                <a:gd name="T68" fmla="*/ 7 w 84"/>
                <a:gd name="T69" fmla="*/ 274 h 503"/>
                <a:gd name="T70" fmla="*/ 7 w 84"/>
                <a:gd name="T71" fmla="*/ 241 h 503"/>
                <a:gd name="T72" fmla="*/ 5 w 84"/>
                <a:gd name="T73" fmla="*/ 211 h 503"/>
                <a:gd name="T74" fmla="*/ 5 w 84"/>
                <a:gd name="T75" fmla="*/ 182 h 503"/>
                <a:gd name="T76" fmla="*/ 4 w 84"/>
                <a:gd name="T77" fmla="*/ 158 h 503"/>
                <a:gd name="T78" fmla="*/ 3 w 84"/>
                <a:gd name="T79" fmla="*/ 138 h 503"/>
                <a:gd name="T80" fmla="*/ 0 w 84"/>
                <a:gd name="T81" fmla="*/ 98 h 503"/>
                <a:gd name="T82" fmla="*/ 0 w 84"/>
                <a:gd name="T83" fmla="*/ 66 h 503"/>
                <a:gd name="T84" fmla="*/ 1 w 84"/>
                <a:gd name="T85" fmla="*/ 40 h 503"/>
                <a:gd name="T86" fmla="*/ 5 w 84"/>
                <a:gd name="T87" fmla="*/ 22 h 503"/>
                <a:gd name="T88" fmla="*/ 9 w 84"/>
                <a:gd name="T89" fmla="*/ 9 h 503"/>
                <a:gd name="T90" fmla="*/ 16 w 84"/>
                <a:gd name="T91" fmla="*/ 2 h 503"/>
                <a:gd name="T92" fmla="*/ 22 w 84"/>
                <a:gd name="T9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4" h="503">
                  <a:moveTo>
                    <a:pt x="22" y="0"/>
                  </a:moveTo>
                  <a:lnTo>
                    <a:pt x="28" y="3"/>
                  </a:lnTo>
                  <a:lnTo>
                    <a:pt x="36" y="11"/>
                  </a:lnTo>
                  <a:lnTo>
                    <a:pt x="44" y="22"/>
                  </a:lnTo>
                  <a:lnTo>
                    <a:pt x="52" y="36"/>
                  </a:lnTo>
                  <a:lnTo>
                    <a:pt x="59" y="54"/>
                  </a:lnTo>
                  <a:lnTo>
                    <a:pt x="66" y="73"/>
                  </a:lnTo>
                  <a:lnTo>
                    <a:pt x="72" y="96"/>
                  </a:lnTo>
                  <a:lnTo>
                    <a:pt x="77" y="120"/>
                  </a:lnTo>
                  <a:lnTo>
                    <a:pt x="81" y="145"/>
                  </a:lnTo>
                  <a:lnTo>
                    <a:pt x="82" y="171"/>
                  </a:lnTo>
                  <a:lnTo>
                    <a:pt x="84" y="197"/>
                  </a:lnTo>
                  <a:lnTo>
                    <a:pt x="81" y="222"/>
                  </a:lnTo>
                  <a:lnTo>
                    <a:pt x="80" y="239"/>
                  </a:lnTo>
                  <a:lnTo>
                    <a:pt x="78" y="262"/>
                  </a:lnTo>
                  <a:lnTo>
                    <a:pt x="77" y="289"/>
                  </a:lnTo>
                  <a:lnTo>
                    <a:pt x="76" y="318"/>
                  </a:lnTo>
                  <a:lnTo>
                    <a:pt x="73" y="349"/>
                  </a:lnTo>
                  <a:lnTo>
                    <a:pt x="71" y="381"/>
                  </a:lnTo>
                  <a:lnTo>
                    <a:pt x="67" y="412"/>
                  </a:lnTo>
                  <a:lnTo>
                    <a:pt x="63" y="440"/>
                  </a:lnTo>
                  <a:lnTo>
                    <a:pt x="58" y="465"/>
                  </a:lnTo>
                  <a:lnTo>
                    <a:pt x="52" y="484"/>
                  </a:lnTo>
                  <a:lnTo>
                    <a:pt x="43" y="498"/>
                  </a:lnTo>
                  <a:lnTo>
                    <a:pt x="35" y="503"/>
                  </a:lnTo>
                  <a:lnTo>
                    <a:pt x="30" y="501"/>
                  </a:lnTo>
                  <a:lnTo>
                    <a:pt x="23" y="490"/>
                  </a:lnTo>
                  <a:lnTo>
                    <a:pt x="19" y="475"/>
                  </a:lnTo>
                  <a:lnTo>
                    <a:pt x="16" y="454"/>
                  </a:lnTo>
                  <a:lnTo>
                    <a:pt x="13" y="430"/>
                  </a:lnTo>
                  <a:lnTo>
                    <a:pt x="10" y="402"/>
                  </a:lnTo>
                  <a:lnTo>
                    <a:pt x="9" y="372"/>
                  </a:lnTo>
                  <a:lnTo>
                    <a:pt x="8" y="340"/>
                  </a:lnTo>
                  <a:lnTo>
                    <a:pt x="8" y="307"/>
                  </a:lnTo>
                  <a:lnTo>
                    <a:pt x="7" y="274"/>
                  </a:lnTo>
                  <a:lnTo>
                    <a:pt x="7" y="241"/>
                  </a:lnTo>
                  <a:lnTo>
                    <a:pt x="5" y="211"/>
                  </a:lnTo>
                  <a:lnTo>
                    <a:pt x="5" y="182"/>
                  </a:lnTo>
                  <a:lnTo>
                    <a:pt x="4" y="158"/>
                  </a:lnTo>
                  <a:lnTo>
                    <a:pt x="3" y="138"/>
                  </a:lnTo>
                  <a:lnTo>
                    <a:pt x="0" y="98"/>
                  </a:lnTo>
                  <a:lnTo>
                    <a:pt x="0" y="66"/>
                  </a:lnTo>
                  <a:lnTo>
                    <a:pt x="1" y="40"/>
                  </a:lnTo>
                  <a:lnTo>
                    <a:pt x="5" y="22"/>
                  </a:lnTo>
                  <a:lnTo>
                    <a:pt x="9" y="9"/>
                  </a:lnTo>
                  <a:lnTo>
                    <a:pt x="16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4" name="Freeform 1525"/>
            <p:cNvSpPr>
              <a:spLocks/>
            </p:cNvSpPr>
            <p:nvPr/>
          </p:nvSpPr>
          <p:spPr bwMode="auto">
            <a:xfrm>
              <a:off x="10207626" y="2036763"/>
              <a:ext cx="138113" cy="800100"/>
            </a:xfrm>
            <a:custGeom>
              <a:avLst/>
              <a:gdLst>
                <a:gd name="T0" fmla="*/ 67 w 87"/>
                <a:gd name="T1" fmla="*/ 0 h 504"/>
                <a:gd name="T2" fmla="*/ 73 w 87"/>
                <a:gd name="T3" fmla="*/ 4 h 504"/>
                <a:gd name="T4" fmla="*/ 78 w 87"/>
                <a:gd name="T5" fmla="*/ 13 h 504"/>
                <a:gd name="T6" fmla="*/ 83 w 87"/>
                <a:gd name="T7" fmla="*/ 26 h 504"/>
                <a:gd name="T8" fmla="*/ 86 w 87"/>
                <a:gd name="T9" fmla="*/ 45 h 504"/>
                <a:gd name="T10" fmla="*/ 87 w 87"/>
                <a:gd name="T11" fmla="*/ 69 h 504"/>
                <a:gd name="T12" fmla="*/ 87 w 87"/>
                <a:gd name="T13" fmla="*/ 101 h 504"/>
                <a:gd name="T14" fmla="*/ 85 w 87"/>
                <a:gd name="T15" fmla="*/ 139 h 504"/>
                <a:gd name="T16" fmla="*/ 83 w 87"/>
                <a:gd name="T17" fmla="*/ 159 h 504"/>
                <a:gd name="T18" fmla="*/ 83 w 87"/>
                <a:gd name="T19" fmla="*/ 183 h 504"/>
                <a:gd name="T20" fmla="*/ 82 w 87"/>
                <a:gd name="T21" fmla="*/ 212 h 504"/>
                <a:gd name="T22" fmla="*/ 81 w 87"/>
                <a:gd name="T23" fmla="*/ 242 h 504"/>
                <a:gd name="T24" fmla="*/ 81 w 87"/>
                <a:gd name="T25" fmla="*/ 275 h 504"/>
                <a:gd name="T26" fmla="*/ 80 w 87"/>
                <a:gd name="T27" fmla="*/ 308 h 504"/>
                <a:gd name="T28" fmla="*/ 80 w 87"/>
                <a:gd name="T29" fmla="*/ 341 h 504"/>
                <a:gd name="T30" fmla="*/ 78 w 87"/>
                <a:gd name="T31" fmla="*/ 373 h 504"/>
                <a:gd name="T32" fmla="*/ 77 w 87"/>
                <a:gd name="T33" fmla="*/ 403 h 504"/>
                <a:gd name="T34" fmla="*/ 74 w 87"/>
                <a:gd name="T35" fmla="*/ 431 h 504"/>
                <a:gd name="T36" fmla="*/ 72 w 87"/>
                <a:gd name="T37" fmla="*/ 455 h 504"/>
                <a:gd name="T38" fmla="*/ 68 w 87"/>
                <a:gd name="T39" fmla="*/ 476 h 504"/>
                <a:gd name="T40" fmla="*/ 64 w 87"/>
                <a:gd name="T41" fmla="*/ 491 h 504"/>
                <a:gd name="T42" fmla="*/ 58 w 87"/>
                <a:gd name="T43" fmla="*/ 502 h 504"/>
                <a:gd name="T44" fmla="*/ 53 w 87"/>
                <a:gd name="T45" fmla="*/ 504 h 504"/>
                <a:gd name="T46" fmla="*/ 45 w 87"/>
                <a:gd name="T47" fmla="*/ 499 h 504"/>
                <a:gd name="T48" fmla="*/ 36 w 87"/>
                <a:gd name="T49" fmla="*/ 485 h 504"/>
                <a:gd name="T50" fmla="*/ 29 w 87"/>
                <a:gd name="T51" fmla="*/ 466 h 504"/>
                <a:gd name="T52" fmla="*/ 24 w 87"/>
                <a:gd name="T53" fmla="*/ 441 h 504"/>
                <a:gd name="T54" fmla="*/ 19 w 87"/>
                <a:gd name="T55" fmla="*/ 412 h 504"/>
                <a:gd name="T56" fmla="*/ 15 w 87"/>
                <a:gd name="T57" fmla="*/ 381 h 504"/>
                <a:gd name="T58" fmla="*/ 12 w 87"/>
                <a:gd name="T59" fmla="*/ 349 h 504"/>
                <a:gd name="T60" fmla="*/ 9 w 87"/>
                <a:gd name="T61" fmla="*/ 318 h 504"/>
                <a:gd name="T62" fmla="*/ 8 w 87"/>
                <a:gd name="T63" fmla="*/ 287 h 504"/>
                <a:gd name="T64" fmla="*/ 5 w 87"/>
                <a:gd name="T65" fmla="*/ 260 h 504"/>
                <a:gd name="T66" fmla="*/ 4 w 87"/>
                <a:gd name="T67" fmla="*/ 239 h 504"/>
                <a:gd name="T68" fmla="*/ 3 w 87"/>
                <a:gd name="T69" fmla="*/ 221 h 504"/>
                <a:gd name="T70" fmla="*/ 0 w 87"/>
                <a:gd name="T71" fmla="*/ 196 h 504"/>
                <a:gd name="T72" fmla="*/ 1 w 87"/>
                <a:gd name="T73" fmla="*/ 172 h 504"/>
                <a:gd name="T74" fmla="*/ 3 w 87"/>
                <a:gd name="T75" fmla="*/ 148 h 504"/>
                <a:gd name="T76" fmla="*/ 6 w 87"/>
                <a:gd name="T77" fmla="*/ 123 h 504"/>
                <a:gd name="T78" fmla="*/ 10 w 87"/>
                <a:gd name="T79" fmla="*/ 101 h 504"/>
                <a:gd name="T80" fmla="*/ 17 w 87"/>
                <a:gd name="T81" fmla="*/ 80 h 504"/>
                <a:gd name="T82" fmla="*/ 23 w 87"/>
                <a:gd name="T83" fmla="*/ 60 h 504"/>
                <a:gd name="T84" fmla="*/ 29 w 87"/>
                <a:gd name="T85" fmla="*/ 42 h 504"/>
                <a:gd name="T86" fmla="*/ 37 w 87"/>
                <a:gd name="T87" fmla="*/ 27 h 504"/>
                <a:gd name="T88" fmla="*/ 45 w 87"/>
                <a:gd name="T89" fmla="*/ 15 h 504"/>
                <a:gd name="T90" fmla="*/ 53 w 87"/>
                <a:gd name="T91" fmla="*/ 6 h 504"/>
                <a:gd name="T92" fmla="*/ 60 w 87"/>
                <a:gd name="T93" fmla="*/ 1 h 504"/>
                <a:gd name="T94" fmla="*/ 67 w 87"/>
                <a:gd name="T95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504">
                  <a:moveTo>
                    <a:pt x="67" y="0"/>
                  </a:moveTo>
                  <a:lnTo>
                    <a:pt x="73" y="4"/>
                  </a:lnTo>
                  <a:lnTo>
                    <a:pt x="78" y="13"/>
                  </a:lnTo>
                  <a:lnTo>
                    <a:pt x="83" y="26"/>
                  </a:lnTo>
                  <a:lnTo>
                    <a:pt x="86" y="45"/>
                  </a:lnTo>
                  <a:lnTo>
                    <a:pt x="87" y="69"/>
                  </a:lnTo>
                  <a:lnTo>
                    <a:pt x="87" y="101"/>
                  </a:lnTo>
                  <a:lnTo>
                    <a:pt x="85" y="139"/>
                  </a:lnTo>
                  <a:lnTo>
                    <a:pt x="83" y="159"/>
                  </a:lnTo>
                  <a:lnTo>
                    <a:pt x="83" y="183"/>
                  </a:lnTo>
                  <a:lnTo>
                    <a:pt x="82" y="212"/>
                  </a:lnTo>
                  <a:lnTo>
                    <a:pt x="81" y="242"/>
                  </a:lnTo>
                  <a:lnTo>
                    <a:pt x="81" y="275"/>
                  </a:lnTo>
                  <a:lnTo>
                    <a:pt x="80" y="308"/>
                  </a:lnTo>
                  <a:lnTo>
                    <a:pt x="80" y="341"/>
                  </a:lnTo>
                  <a:lnTo>
                    <a:pt x="78" y="373"/>
                  </a:lnTo>
                  <a:lnTo>
                    <a:pt x="77" y="403"/>
                  </a:lnTo>
                  <a:lnTo>
                    <a:pt x="74" y="431"/>
                  </a:lnTo>
                  <a:lnTo>
                    <a:pt x="72" y="455"/>
                  </a:lnTo>
                  <a:lnTo>
                    <a:pt x="68" y="476"/>
                  </a:lnTo>
                  <a:lnTo>
                    <a:pt x="64" y="491"/>
                  </a:lnTo>
                  <a:lnTo>
                    <a:pt x="58" y="502"/>
                  </a:lnTo>
                  <a:lnTo>
                    <a:pt x="53" y="504"/>
                  </a:lnTo>
                  <a:lnTo>
                    <a:pt x="45" y="499"/>
                  </a:lnTo>
                  <a:lnTo>
                    <a:pt x="36" y="485"/>
                  </a:lnTo>
                  <a:lnTo>
                    <a:pt x="29" y="466"/>
                  </a:lnTo>
                  <a:lnTo>
                    <a:pt x="24" y="441"/>
                  </a:lnTo>
                  <a:lnTo>
                    <a:pt x="19" y="412"/>
                  </a:lnTo>
                  <a:lnTo>
                    <a:pt x="15" y="381"/>
                  </a:lnTo>
                  <a:lnTo>
                    <a:pt x="12" y="349"/>
                  </a:lnTo>
                  <a:lnTo>
                    <a:pt x="9" y="318"/>
                  </a:lnTo>
                  <a:lnTo>
                    <a:pt x="8" y="287"/>
                  </a:lnTo>
                  <a:lnTo>
                    <a:pt x="5" y="260"/>
                  </a:lnTo>
                  <a:lnTo>
                    <a:pt x="4" y="239"/>
                  </a:lnTo>
                  <a:lnTo>
                    <a:pt x="3" y="221"/>
                  </a:lnTo>
                  <a:lnTo>
                    <a:pt x="0" y="196"/>
                  </a:lnTo>
                  <a:lnTo>
                    <a:pt x="1" y="172"/>
                  </a:lnTo>
                  <a:lnTo>
                    <a:pt x="3" y="148"/>
                  </a:lnTo>
                  <a:lnTo>
                    <a:pt x="6" y="123"/>
                  </a:lnTo>
                  <a:lnTo>
                    <a:pt x="10" y="101"/>
                  </a:lnTo>
                  <a:lnTo>
                    <a:pt x="17" y="80"/>
                  </a:lnTo>
                  <a:lnTo>
                    <a:pt x="23" y="60"/>
                  </a:lnTo>
                  <a:lnTo>
                    <a:pt x="29" y="42"/>
                  </a:lnTo>
                  <a:lnTo>
                    <a:pt x="37" y="27"/>
                  </a:lnTo>
                  <a:lnTo>
                    <a:pt x="45" y="15"/>
                  </a:lnTo>
                  <a:lnTo>
                    <a:pt x="53" y="6"/>
                  </a:lnTo>
                  <a:lnTo>
                    <a:pt x="60" y="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5" name="Freeform 1526"/>
            <p:cNvSpPr>
              <a:spLocks/>
            </p:cNvSpPr>
            <p:nvPr/>
          </p:nvSpPr>
          <p:spPr bwMode="auto">
            <a:xfrm>
              <a:off x="9979026" y="1419225"/>
              <a:ext cx="198438" cy="817563"/>
            </a:xfrm>
            <a:custGeom>
              <a:avLst/>
              <a:gdLst>
                <a:gd name="T0" fmla="*/ 49 w 125"/>
                <a:gd name="T1" fmla="*/ 0 h 515"/>
                <a:gd name="T2" fmla="*/ 61 w 125"/>
                <a:gd name="T3" fmla="*/ 3 h 515"/>
                <a:gd name="T4" fmla="*/ 72 w 125"/>
                <a:gd name="T5" fmla="*/ 12 h 515"/>
                <a:gd name="T6" fmla="*/ 84 w 125"/>
                <a:gd name="T7" fmla="*/ 26 h 515"/>
                <a:gd name="T8" fmla="*/ 94 w 125"/>
                <a:gd name="T9" fmla="*/ 48 h 515"/>
                <a:gd name="T10" fmla="*/ 103 w 125"/>
                <a:gd name="T11" fmla="*/ 75 h 515"/>
                <a:gd name="T12" fmla="*/ 112 w 125"/>
                <a:gd name="T13" fmla="*/ 109 h 515"/>
                <a:gd name="T14" fmla="*/ 118 w 125"/>
                <a:gd name="T15" fmla="*/ 152 h 515"/>
                <a:gd name="T16" fmla="*/ 122 w 125"/>
                <a:gd name="T17" fmla="*/ 199 h 515"/>
                <a:gd name="T18" fmla="*/ 123 w 125"/>
                <a:gd name="T19" fmla="*/ 221 h 515"/>
                <a:gd name="T20" fmla="*/ 125 w 125"/>
                <a:gd name="T21" fmla="*/ 248 h 515"/>
                <a:gd name="T22" fmla="*/ 125 w 125"/>
                <a:gd name="T23" fmla="*/ 277 h 515"/>
                <a:gd name="T24" fmla="*/ 123 w 125"/>
                <a:gd name="T25" fmla="*/ 308 h 515"/>
                <a:gd name="T26" fmla="*/ 122 w 125"/>
                <a:gd name="T27" fmla="*/ 340 h 515"/>
                <a:gd name="T28" fmla="*/ 121 w 125"/>
                <a:gd name="T29" fmla="*/ 372 h 515"/>
                <a:gd name="T30" fmla="*/ 118 w 125"/>
                <a:gd name="T31" fmla="*/ 404 h 515"/>
                <a:gd name="T32" fmla="*/ 114 w 125"/>
                <a:gd name="T33" fmla="*/ 434 h 515"/>
                <a:gd name="T34" fmla="*/ 109 w 125"/>
                <a:gd name="T35" fmla="*/ 460 h 515"/>
                <a:gd name="T36" fmla="*/ 104 w 125"/>
                <a:gd name="T37" fmla="*/ 483 h 515"/>
                <a:gd name="T38" fmla="*/ 98 w 125"/>
                <a:gd name="T39" fmla="*/ 499 h 515"/>
                <a:gd name="T40" fmla="*/ 90 w 125"/>
                <a:gd name="T41" fmla="*/ 511 h 515"/>
                <a:gd name="T42" fmla="*/ 81 w 125"/>
                <a:gd name="T43" fmla="*/ 515 h 515"/>
                <a:gd name="T44" fmla="*/ 68 w 125"/>
                <a:gd name="T45" fmla="*/ 511 h 515"/>
                <a:gd name="T46" fmla="*/ 57 w 125"/>
                <a:gd name="T47" fmla="*/ 501 h 515"/>
                <a:gd name="T48" fmla="*/ 45 w 125"/>
                <a:gd name="T49" fmla="*/ 483 h 515"/>
                <a:gd name="T50" fmla="*/ 35 w 125"/>
                <a:gd name="T51" fmla="*/ 457 h 515"/>
                <a:gd name="T52" fmla="*/ 25 w 125"/>
                <a:gd name="T53" fmla="*/ 425 h 515"/>
                <a:gd name="T54" fmla="*/ 16 w 125"/>
                <a:gd name="T55" fmla="*/ 385 h 515"/>
                <a:gd name="T56" fmla="*/ 9 w 125"/>
                <a:gd name="T57" fmla="*/ 339 h 515"/>
                <a:gd name="T58" fmla="*/ 4 w 125"/>
                <a:gd name="T59" fmla="*/ 284 h 515"/>
                <a:gd name="T60" fmla="*/ 2 w 125"/>
                <a:gd name="T61" fmla="*/ 222 h 515"/>
                <a:gd name="T62" fmla="*/ 0 w 125"/>
                <a:gd name="T63" fmla="*/ 152 h 515"/>
                <a:gd name="T64" fmla="*/ 2 w 125"/>
                <a:gd name="T65" fmla="*/ 113 h 515"/>
                <a:gd name="T66" fmla="*/ 5 w 125"/>
                <a:gd name="T67" fmla="*/ 80 h 515"/>
                <a:gd name="T68" fmla="*/ 12 w 125"/>
                <a:gd name="T69" fmla="*/ 53 h 515"/>
                <a:gd name="T70" fmla="*/ 20 w 125"/>
                <a:gd name="T71" fmla="*/ 31 h 515"/>
                <a:gd name="T72" fmla="*/ 28 w 125"/>
                <a:gd name="T73" fmla="*/ 14 h 515"/>
                <a:gd name="T74" fmla="*/ 39 w 125"/>
                <a:gd name="T75" fmla="*/ 5 h 515"/>
                <a:gd name="T76" fmla="*/ 49 w 125"/>
                <a:gd name="T77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515">
                  <a:moveTo>
                    <a:pt x="49" y="0"/>
                  </a:moveTo>
                  <a:lnTo>
                    <a:pt x="61" y="3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94" y="48"/>
                  </a:lnTo>
                  <a:lnTo>
                    <a:pt x="103" y="75"/>
                  </a:lnTo>
                  <a:lnTo>
                    <a:pt x="112" y="109"/>
                  </a:lnTo>
                  <a:lnTo>
                    <a:pt x="118" y="152"/>
                  </a:lnTo>
                  <a:lnTo>
                    <a:pt x="122" y="199"/>
                  </a:lnTo>
                  <a:lnTo>
                    <a:pt x="123" y="221"/>
                  </a:lnTo>
                  <a:lnTo>
                    <a:pt x="125" y="248"/>
                  </a:lnTo>
                  <a:lnTo>
                    <a:pt x="125" y="277"/>
                  </a:lnTo>
                  <a:lnTo>
                    <a:pt x="123" y="308"/>
                  </a:lnTo>
                  <a:lnTo>
                    <a:pt x="122" y="340"/>
                  </a:lnTo>
                  <a:lnTo>
                    <a:pt x="121" y="372"/>
                  </a:lnTo>
                  <a:lnTo>
                    <a:pt x="118" y="404"/>
                  </a:lnTo>
                  <a:lnTo>
                    <a:pt x="114" y="434"/>
                  </a:lnTo>
                  <a:lnTo>
                    <a:pt x="109" y="460"/>
                  </a:lnTo>
                  <a:lnTo>
                    <a:pt x="104" y="483"/>
                  </a:lnTo>
                  <a:lnTo>
                    <a:pt x="98" y="499"/>
                  </a:lnTo>
                  <a:lnTo>
                    <a:pt x="90" y="511"/>
                  </a:lnTo>
                  <a:lnTo>
                    <a:pt x="81" y="515"/>
                  </a:lnTo>
                  <a:lnTo>
                    <a:pt x="68" y="511"/>
                  </a:lnTo>
                  <a:lnTo>
                    <a:pt x="57" y="501"/>
                  </a:lnTo>
                  <a:lnTo>
                    <a:pt x="45" y="483"/>
                  </a:lnTo>
                  <a:lnTo>
                    <a:pt x="35" y="457"/>
                  </a:lnTo>
                  <a:lnTo>
                    <a:pt x="25" y="425"/>
                  </a:lnTo>
                  <a:lnTo>
                    <a:pt x="16" y="385"/>
                  </a:lnTo>
                  <a:lnTo>
                    <a:pt x="9" y="339"/>
                  </a:lnTo>
                  <a:lnTo>
                    <a:pt x="4" y="284"/>
                  </a:lnTo>
                  <a:lnTo>
                    <a:pt x="2" y="222"/>
                  </a:lnTo>
                  <a:lnTo>
                    <a:pt x="0" y="152"/>
                  </a:lnTo>
                  <a:lnTo>
                    <a:pt x="2" y="113"/>
                  </a:lnTo>
                  <a:lnTo>
                    <a:pt x="5" y="80"/>
                  </a:lnTo>
                  <a:lnTo>
                    <a:pt x="12" y="53"/>
                  </a:lnTo>
                  <a:lnTo>
                    <a:pt x="20" y="31"/>
                  </a:lnTo>
                  <a:lnTo>
                    <a:pt x="28" y="14"/>
                  </a:lnTo>
                  <a:lnTo>
                    <a:pt x="39" y="5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6" name="Freeform 1527"/>
            <p:cNvSpPr>
              <a:spLocks/>
            </p:cNvSpPr>
            <p:nvPr/>
          </p:nvSpPr>
          <p:spPr bwMode="auto">
            <a:xfrm>
              <a:off x="10206038" y="1425575"/>
              <a:ext cx="195263" cy="811213"/>
            </a:xfrm>
            <a:custGeom>
              <a:avLst/>
              <a:gdLst>
                <a:gd name="T0" fmla="*/ 74 w 123"/>
                <a:gd name="T1" fmla="*/ 0 h 511"/>
                <a:gd name="T2" fmla="*/ 86 w 123"/>
                <a:gd name="T3" fmla="*/ 5 h 511"/>
                <a:gd name="T4" fmla="*/ 96 w 123"/>
                <a:gd name="T5" fmla="*/ 15 h 511"/>
                <a:gd name="T6" fmla="*/ 105 w 123"/>
                <a:gd name="T7" fmla="*/ 32 h 511"/>
                <a:gd name="T8" fmla="*/ 113 w 123"/>
                <a:gd name="T9" fmla="*/ 54 h 511"/>
                <a:gd name="T10" fmla="*/ 118 w 123"/>
                <a:gd name="T11" fmla="*/ 82 h 511"/>
                <a:gd name="T12" fmla="*/ 122 w 123"/>
                <a:gd name="T13" fmla="*/ 116 h 511"/>
                <a:gd name="T14" fmla="*/ 123 w 123"/>
                <a:gd name="T15" fmla="*/ 154 h 511"/>
                <a:gd name="T16" fmla="*/ 123 w 123"/>
                <a:gd name="T17" fmla="*/ 222 h 511"/>
                <a:gd name="T18" fmla="*/ 119 w 123"/>
                <a:gd name="T19" fmla="*/ 282 h 511"/>
                <a:gd name="T20" fmla="*/ 114 w 123"/>
                <a:gd name="T21" fmla="*/ 336 h 511"/>
                <a:gd name="T22" fmla="*/ 107 w 123"/>
                <a:gd name="T23" fmla="*/ 382 h 511"/>
                <a:gd name="T24" fmla="*/ 98 w 123"/>
                <a:gd name="T25" fmla="*/ 422 h 511"/>
                <a:gd name="T26" fmla="*/ 89 w 123"/>
                <a:gd name="T27" fmla="*/ 454 h 511"/>
                <a:gd name="T28" fmla="*/ 79 w 123"/>
                <a:gd name="T29" fmla="*/ 479 h 511"/>
                <a:gd name="T30" fmla="*/ 68 w 123"/>
                <a:gd name="T31" fmla="*/ 497 h 511"/>
                <a:gd name="T32" fmla="*/ 56 w 123"/>
                <a:gd name="T33" fmla="*/ 507 h 511"/>
                <a:gd name="T34" fmla="*/ 43 w 123"/>
                <a:gd name="T35" fmla="*/ 511 h 511"/>
                <a:gd name="T36" fmla="*/ 34 w 123"/>
                <a:gd name="T37" fmla="*/ 507 h 511"/>
                <a:gd name="T38" fmla="*/ 27 w 123"/>
                <a:gd name="T39" fmla="*/ 495 h 511"/>
                <a:gd name="T40" fmla="*/ 20 w 123"/>
                <a:gd name="T41" fmla="*/ 479 h 511"/>
                <a:gd name="T42" fmla="*/ 15 w 123"/>
                <a:gd name="T43" fmla="*/ 456 h 511"/>
                <a:gd name="T44" fmla="*/ 10 w 123"/>
                <a:gd name="T45" fmla="*/ 430 h 511"/>
                <a:gd name="T46" fmla="*/ 6 w 123"/>
                <a:gd name="T47" fmla="*/ 400 h 511"/>
                <a:gd name="T48" fmla="*/ 4 w 123"/>
                <a:gd name="T49" fmla="*/ 368 h 511"/>
                <a:gd name="T50" fmla="*/ 2 w 123"/>
                <a:gd name="T51" fmla="*/ 336 h 511"/>
                <a:gd name="T52" fmla="*/ 1 w 123"/>
                <a:gd name="T53" fmla="*/ 304 h 511"/>
                <a:gd name="T54" fmla="*/ 0 w 123"/>
                <a:gd name="T55" fmla="*/ 273 h 511"/>
                <a:gd name="T56" fmla="*/ 0 w 123"/>
                <a:gd name="T57" fmla="*/ 244 h 511"/>
                <a:gd name="T58" fmla="*/ 1 w 123"/>
                <a:gd name="T59" fmla="*/ 217 h 511"/>
                <a:gd name="T60" fmla="*/ 2 w 123"/>
                <a:gd name="T61" fmla="*/ 195 h 511"/>
                <a:gd name="T62" fmla="*/ 6 w 123"/>
                <a:gd name="T63" fmla="*/ 148 h 511"/>
                <a:gd name="T64" fmla="*/ 13 w 123"/>
                <a:gd name="T65" fmla="*/ 105 h 511"/>
                <a:gd name="T66" fmla="*/ 21 w 123"/>
                <a:gd name="T67" fmla="*/ 72 h 511"/>
                <a:gd name="T68" fmla="*/ 30 w 123"/>
                <a:gd name="T69" fmla="*/ 44 h 511"/>
                <a:gd name="T70" fmla="*/ 41 w 123"/>
                <a:gd name="T71" fmla="*/ 23 h 511"/>
                <a:gd name="T72" fmla="*/ 52 w 123"/>
                <a:gd name="T73" fmla="*/ 9 h 511"/>
                <a:gd name="T74" fmla="*/ 64 w 123"/>
                <a:gd name="T75" fmla="*/ 1 h 511"/>
                <a:gd name="T76" fmla="*/ 74 w 123"/>
                <a:gd name="T77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511">
                  <a:moveTo>
                    <a:pt x="74" y="0"/>
                  </a:moveTo>
                  <a:lnTo>
                    <a:pt x="86" y="5"/>
                  </a:lnTo>
                  <a:lnTo>
                    <a:pt x="96" y="15"/>
                  </a:lnTo>
                  <a:lnTo>
                    <a:pt x="105" y="32"/>
                  </a:lnTo>
                  <a:lnTo>
                    <a:pt x="113" y="54"/>
                  </a:lnTo>
                  <a:lnTo>
                    <a:pt x="118" y="82"/>
                  </a:lnTo>
                  <a:lnTo>
                    <a:pt x="122" y="116"/>
                  </a:lnTo>
                  <a:lnTo>
                    <a:pt x="123" y="154"/>
                  </a:lnTo>
                  <a:lnTo>
                    <a:pt x="123" y="222"/>
                  </a:lnTo>
                  <a:lnTo>
                    <a:pt x="119" y="282"/>
                  </a:lnTo>
                  <a:lnTo>
                    <a:pt x="114" y="336"/>
                  </a:lnTo>
                  <a:lnTo>
                    <a:pt x="107" y="382"/>
                  </a:lnTo>
                  <a:lnTo>
                    <a:pt x="98" y="422"/>
                  </a:lnTo>
                  <a:lnTo>
                    <a:pt x="89" y="454"/>
                  </a:lnTo>
                  <a:lnTo>
                    <a:pt x="79" y="479"/>
                  </a:lnTo>
                  <a:lnTo>
                    <a:pt x="68" y="497"/>
                  </a:lnTo>
                  <a:lnTo>
                    <a:pt x="56" y="507"/>
                  </a:lnTo>
                  <a:lnTo>
                    <a:pt x="43" y="511"/>
                  </a:lnTo>
                  <a:lnTo>
                    <a:pt x="34" y="507"/>
                  </a:lnTo>
                  <a:lnTo>
                    <a:pt x="27" y="495"/>
                  </a:lnTo>
                  <a:lnTo>
                    <a:pt x="20" y="479"/>
                  </a:lnTo>
                  <a:lnTo>
                    <a:pt x="15" y="456"/>
                  </a:lnTo>
                  <a:lnTo>
                    <a:pt x="10" y="430"/>
                  </a:lnTo>
                  <a:lnTo>
                    <a:pt x="6" y="400"/>
                  </a:lnTo>
                  <a:lnTo>
                    <a:pt x="4" y="368"/>
                  </a:lnTo>
                  <a:lnTo>
                    <a:pt x="2" y="336"/>
                  </a:lnTo>
                  <a:lnTo>
                    <a:pt x="1" y="304"/>
                  </a:lnTo>
                  <a:lnTo>
                    <a:pt x="0" y="273"/>
                  </a:lnTo>
                  <a:lnTo>
                    <a:pt x="0" y="244"/>
                  </a:lnTo>
                  <a:lnTo>
                    <a:pt x="1" y="217"/>
                  </a:lnTo>
                  <a:lnTo>
                    <a:pt x="2" y="195"/>
                  </a:lnTo>
                  <a:lnTo>
                    <a:pt x="6" y="148"/>
                  </a:lnTo>
                  <a:lnTo>
                    <a:pt x="13" y="105"/>
                  </a:lnTo>
                  <a:lnTo>
                    <a:pt x="21" y="72"/>
                  </a:lnTo>
                  <a:lnTo>
                    <a:pt x="30" y="44"/>
                  </a:lnTo>
                  <a:lnTo>
                    <a:pt x="41" y="23"/>
                  </a:lnTo>
                  <a:lnTo>
                    <a:pt x="52" y="9"/>
                  </a:lnTo>
                  <a:lnTo>
                    <a:pt x="64" y="1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7" name="Freeform 1528"/>
            <p:cNvSpPr>
              <a:spLocks/>
            </p:cNvSpPr>
            <p:nvPr/>
          </p:nvSpPr>
          <p:spPr bwMode="auto">
            <a:xfrm>
              <a:off x="10191751" y="830263"/>
              <a:ext cx="107950" cy="104775"/>
            </a:xfrm>
            <a:custGeom>
              <a:avLst/>
              <a:gdLst>
                <a:gd name="T0" fmla="*/ 33 w 68"/>
                <a:gd name="T1" fmla="*/ 0 h 66"/>
                <a:gd name="T2" fmla="*/ 68 w 68"/>
                <a:gd name="T3" fmla="*/ 39 h 66"/>
                <a:gd name="T4" fmla="*/ 18 w 68"/>
                <a:gd name="T5" fmla="*/ 66 h 66"/>
                <a:gd name="T6" fmla="*/ 0 w 68"/>
                <a:gd name="T7" fmla="*/ 20 h 66"/>
                <a:gd name="T8" fmla="*/ 33 w 68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6">
                  <a:moveTo>
                    <a:pt x="33" y="0"/>
                  </a:moveTo>
                  <a:lnTo>
                    <a:pt x="68" y="39"/>
                  </a:lnTo>
                  <a:lnTo>
                    <a:pt x="18" y="66"/>
                  </a:lnTo>
                  <a:lnTo>
                    <a:pt x="0" y="2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8" name="Freeform 1529"/>
            <p:cNvSpPr>
              <a:spLocks/>
            </p:cNvSpPr>
            <p:nvPr/>
          </p:nvSpPr>
          <p:spPr bwMode="auto">
            <a:xfrm>
              <a:off x="10077451" y="830263"/>
              <a:ext cx="107950" cy="104775"/>
            </a:xfrm>
            <a:custGeom>
              <a:avLst/>
              <a:gdLst>
                <a:gd name="T0" fmla="*/ 36 w 68"/>
                <a:gd name="T1" fmla="*/ 0 h 66"/>
                <a:gd name="T2" fmla="*/ 68 w 68"/>
                <a:gd name="T3" fmla="*/ 20 h 66"/>
                <a:gd name="T4" fmla="*/ 50 w 68"/>
                <a:gd name="T5" fmla="*/ 66 h 66"/>
                <a:gd name="T6" fmla="*/ 0 w 68"/>
                <a:gd name="T7" fmla="*/ 39 h 66"/>
                <a:gd name="T8" fmla="*/ 36 w 68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6">
                  <a:moveTo>
                    <a:pt x="36" y="0"/>
                  </a:moveTo>
                  <a:lnTo>
                    <a:pt x="68" y="20"/>
                  </a:lnTo>
                  <a:lnTo>
                    <a:pt x="50" y="66"/>
                  </a:lnTo>
                  <a:lnTo>
                    <a:pt x="0" y="3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9" name="Freeform 1530"/>
            <p:cNvSpPr>
              <a:spLocks/>
            </p:cNvSpPr>
            <p:nvPr/>
          </p:nvSpPr>
          <p:spPr bwMode="auto">
            <a:xfrm>
              <a:off x="9920288" y="881063"/>
              <a:ext cx="539750" cy="892175"/>
            </a:xfrm>
            <a:custGeom>
              <a:avLst/>
              <a:gdLst>
                <a:gd name="T0" fmla="*/ 154 w 340"/>
                <a:gd name="T1" fmla="*/ 0 h 562"/>
                <a:gd name="T2" fmla="*/ 184 w 340"/>
                <a:gd name="T3" fmla="*/ 0 h 562"/>
                <a:gd name="T4" fmla="*/ 213 w 340"/>
                <a:gd name="T5" fmla="*/ 2 h 562"/>
                <a:gd name="T6" fmla="*/ 241 w 340"/>
                <a:gd name="T7" fmla="*/ 7 h 562"/>
                <a:gd name="T8" fmla="*/ 267 w 340"/>
                <a:gd name="T9" fmla="*/ 12 h 562"/>
                <a:gd name="T10" fmla="*/ 290 w 340"/>
                <a:gd name="T11" fmla="*/ 20 h 562"/>
                <a:gd name="T12" fmla="*/ 311 w 340"/>
                <a:gd name="T13" fmla="*/ 30 h 562"/>
                <a:gd name="T14" fmla="*/ 326 w 340"/>
                <a:gd name="T15" fmla="*/ 42 h 562"/>
                <a:gd name="T16" fmla="*/ 336 w 340"/>
                <a:gd name="T17" fmla="*/ 56 h 562"/>
                <a:gd name="T18" fmla="*/ 340 w 340"/>
                <a:gd name="T19" fmla="*/ 71 h 562"/>
                <a:gd name="T20" fmla="*/ 339 w 340"/>
                <a:gd name="T21" fmla="*/ 88 h 562"/>
                <a:gd name="T22" fmla="*/ 330 w 340"/>
                <a:gd name="T23" fmla="*/ 113 h 562"/>
                <a:gd name="T24" fmla="*/ 320 w 340"/>
                <a:gd name="T25" fmla="*/ 142 h 562"/>
                <a:gd name="T26" fmla="*/ 311 w 340"/>
                <a:gd name="T27" fmla="*/ 171 h 562"/>
                <a:gd name="T28" fmla="*/ 300 w 340"/>
                <a:gd name="T29" fmla="*/ 201 h 562"/>
                <a:gd name="T30" fmla="*/ 291 w 340"/>
                <a:gd name="T31" fmla="*/ 230 h 562"/>
                <a:gd name="T32" fmla="*/ 285 w 340"/>
                <a:gd name="T33" fmla="*/ 258 h 562"/>
                <a:gd name="T34" fmla="*/ 280 w 340"/>
                <a:gd name="T35" fmla="*/ 287 h 562"/>
                <a:gd name="T36" fmla="*/ 277 w 340"/>
                <a:gd name="T37" fmla="*/ 312 h 562"/>
                <a:gd name="T38" fmla="*/ 277 w 340"/>
                <a:gd name="T39" fmla="*/ 335 h 562"/>
                <a:gd name="T40" fmla="*/ 282 w 340"/>
                <a:gd name="T41" fmla="*/ 355 h 562"/>
                <a:gd name="T42" fmla="*/ 290 w 340"/>
                <a:gd name="T43" fmla="*/ 379 h 562"/>
                <a:gd name="T44" fmla="*/ 296 w 340"/>
                <a:gd name="T45" fmla="*/ 403 h 562"/>
                <a:gd name="T46" fmla="*/ 299 w 340"/>
                <a:gd name="T47" fmla="*/ 428 h 562"/>
                <a:gd name="T48" fmla="*/ 299 w 340"/>
                <a:gd name="T49" fmla="*/ 452 h 562"/>
                <a:gd name="T50" fmla="*/ 295 w 340"/>
                <a:gd name="T51" fmla="*/ 474 h 562"/>
                <a:gd name="T52" fmla="*/ 289 w 340"/>
                <a:gd name="T53" fmla="*/ 494 h 562"/>
                <a:gd name="T54" fmla="*/ 278 w 340"/>
                <a:gd name="T55" fmla="*/ 514 h 562"/>
                <a:gd name="T56" fmla="*/ 264 w 340"/>
                <a:gd name="T57" fmla="*/ 530 h 562"/>
                <a:gd name="T58" fmla="*/ 248 w 340"/>
                <a:gd name="T59" fmla="*/ 543 h 562"/>
                <a:gd name="T60" fmla="*/ 226 w 340"/>
                <a:gd name="T61" fmla="*/ 553 h 562"/>
                <a:gd name="T62" fmla="*/ 199 w 340"/>
                <a:gd name="T63" fmla="*/ 560 h 562"/>
                <a:gd name="T64" fmla="*/ 169 w 340"/>
                <a:gd name="T65" fmla="*/ 562 h 562"/>
                <a:gd name="T66" fmla="*/ 140 w 340"/>
                <a:gd name="T67" fmla="*/ 560 h 562"/>
                <a:gd name="T68" fmla="*/ 114 w 340"/>
                <a:gd name="T69" fmla="*/ 551 h 562"/>
                <a:gd name="T70" fmla="*/ 92 w 340"/>
                <a:gd name="T71" fmla="*/ 539 h 562"/>
                <a:gd name="T72" fmla="*/ 74 w 340"/>
                <a:gd name="T73" fmla="*/ 523 h 562"/>
                <a:gd name="T74" fmla="*/ 62 w 340"/>
                <a:gd name="T75" fmla="*/ 503 h 562"/>
                <a:gd name="T76" fmla="*/ 53 w 340"/>
                <a:gd name="T77" fmla="*/ 480 h 562"/>
                <a:gd name="T78" fmla="*/ 46 w 340"/>
                <a:gd name="T79" fmla="*/ 457 h 562"/>
                <a:gd name="T80" fmla="*/ 44 w 340"/>
                <a:gd name="T81" fmla="*/ 432 h 562"/>
                <a:gd name="T82" fmla="*/ 45 w 340"/>
                <a:gd name="T83" fmla="*/ 406 h 562"/>
                <a:gd name="T84" fmla="*/ 50 w 340"/>
                <a:gd name="T85" fmla="*/ 379 h 562"/>
                <a:gd name="T86" fmla="*/ 58 w 340"/>
                <a:gd name="T87" fmla="*/ 355 h 562"/>
                <a:gd name="T88" fmla="*/ 63 w 340"/>
                <a:gd name="T89" fmla="*/ 333 h 562"/>
                <a:gd name="T90" fmla="*/ 63 w 340"/>
                <a:gd name="T91" fmla="*/ 307 h 562"/>
                <a:gd name="T92" fmla="*/ 60 w 340"/>
                <a:gd name="T93" fmla="*/ 279 h 562"/>
                <a:gd name="T94" fmla="*/ 54 w 340"/>
                <a:gd name="T95" fmla="*/ 248 h 562"/>
                <a:gd name="T96" fmla="*/ 45 w 340"/>
                <a:gd name="T97" fmla="*/ 216 h 562"/>
                <a:gd name="T98" fmla="*/ 35 w 340"/>
                <a:gd name="T99" fmla="*/ 184 h 562"/>
                <a:gd name="T100" fmla="*/ 23 w 340"/>
                <a:gd name="T101" fmla="*/ 152 h 562"/>
                <a:gd name="T102" fmla="*/ 13 w 340"/>
                <a:gd name="T103" fmla="*/ 121 h 562"/>
                <a:gd name="T104" fmla="*/ 3 w 340"/>
                <a:gd name="T105" fmla="*/ 92 h 562"/>
                <a:gd name="T106" fmla="*/ 0 w 340"/>
                <a:gd name="T107" fmla="*/ 74 h 562"/>
                <a:gd name="T108" fmla="*/ 4 w 340"/>
                <a:gd name="T109" fmla="*/ 57 h 562"/>
                <a:gd name="T110" fmla="*/ 14 w 340"/>
                <a:gd name="T111" fmla="*/ 42 h 562"/>
                <a:gd name="T112" fmla="*/ 30 w 340"/>
                <a:gd name="T113" fmla="*/ 30 h 562"/>
                <a:gd name="T114" fmla="*/ 49 w 340"/>
                <a:gd name="T115" fmla="*/ 20 h 562"/>
                <a:gd name="T116" fmla="*/ 72 w 340"/>
                <a:gd name="T117" fmla="*/ 12 h 562"/>
                <a:gd name="T118" fmla="*/ 98 w 340"/>
                <a:gd name="T119" fmla="*/ 6 h 562"/>
                <a:gd name="T120" fmla="*/ 126 w 340"/>
                <a:gd name="T121" fmla="*/ 2 h 562"/>
                <a:gd name="T122" fmla="*/ 154 w 340"/>
                <a:gd name="T12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" h="562">
                  <a:moveTo>
                    <a:pt x="154" y="0"/>
                  </a:moveTo>
                  <a:lnTo>
                    <a:pt x="184" y="0"/>
                  </a:lnTo>
                  <a:lnTo>
                    <a:pt x="213" y="2"/>
                  </a:lnTo>
                  <a:lnTo>
                    <a:pt x="241" y="7"/>
                  </a:lnTo>
                  <a:lnTo>
                    <a:pt x="267" y="12"/>
                  </a:lnTo>
                  <a:lnTo>
                    <a:pt x="290" y="20"/>
                  </a:lnTo>
                  <a:lnTo>
                    <a:pt x="311" y="30"/>
                  </a:lnTo>
                  <a:lnTo>
                    <a:pt x="326" y="42"/>
                  </a:lnTo>
                  <a:lnTo>
                    <a:pt x="336" y="56"/>
                  </a:lnTo>
                  <a:lnTo>
                    <a:pt x="340" y="71"/>
                  </a:lnTo>
                  <a:lnTo>
                    <a:pt x="339" y="88"/>
                  </a:lnTo>
                  <a:lnTo>
                    <a:pt x="330" y="113"/>
                  </a:lnTo>
                  <a:lnTo>
                    <a:pt x="320" y="142"/>
                  </a:lnTo>
                  <a:lnTo>
                    <a:pt x="311" y="171"/>
                  </a:lnTo>
                  <a:lnTo>
                    <a:pt x="300" y="201"/>
                  </a:lnTo>
                  <a:lnTo>
                    <a:pt x="291" y="230"/>
                  </a:lnTo>
                  <a:lnTo>
                    <a:pt x="285" y="258"/>
                  </a:lnTo>
                  <a:lnTo>
                    <a:pt x="280" y="287"/>
                  </a:lnTo>
                  <a:lnTo>
                    <a:pt x="277" y="312"/>
                  </a:lnTo>
                  <a:lnTo>
                    <a:pt x="277" y="335"/>
                  </a:lnTo>
                  <a:lnTo>
                    <a:pt x="282" y="355"/>
                  </a:lnTo>
                  <a:lnTo>
                    <a:pt x="290" y="379"/>
                  </a:lnTo>
                  <a:lnTo>
                    <a:pt x="296" y="403"/>
                  </a:lnTo>
                  <a:lnTo>
                    <a:pt x="299" y="428"/>
                  </a:lnTo>
                  <a:lnTo>
                    <a:pt x="299" y="452"/>
                  </a:lnTo>
                  <a:lnTo>
                    <a:pt x="295" y="474"/>
                  </a:lnTo>
                  <a:lnTo>
                    <a:pt x="289" y="494"/>
                  </a:lnTo>
                  <a:lnTo>
                    <a:pt x="278" y="514"/>
                  </a:lnTo>
                  <a:lnTo>
                    <a:pt x="264" y="530"/>
                  </a:lnTo>
                  <a:lnTo>
                    <a:pt x="248" y="543"/>
                  </a:lnTo>
                  <a:lnTo>
                    <a:pt x="226" y="553"/>
                  </a:lnTo>
                  <a:lnTo>
                    <a:pt x="199" y="560"/>
                  </a:lnTo>
                  <a:lnTo>
                    <a:pt x="169" y="562"/>
                  </a:lnTo>
                  <a:lnTo>
                    <a:pt x="140" y="560"/>
                  </a:lnTo>
                  <a:lnTo>
                    <a:pt x="114" y="551"/>
                  </a:lnTo>
                  <a:lnTo>
                    <a:pt x="92" y="539"/>
                  </a:lnTo>
                  <a:lnTo>
                    <a:pt x="74" y="523"/>
                  </a:lnTo>
                  <a:lnTo>
                    <a:pt x="62" y="503"/>
                  </a:lnTo>
                  <a:lnTo>
                    <a:pt x="53" y="480"/>
                  </a:lnTo>
                  <a:lnTo>
                    <a:pt x="46" y="457"/>
                  </a:lnTo>
                  <a:lnTo>
                    <a:pt x="44" y="432"/>
                  </a:lnTo>
                  <a:lnTo>
                    <a:pt x="45" y="406"/>
                  </a:lnTo>
                  <a:lnTo>
                    <a:pt x="50" y="379"/>
                  </a:lnTo>
                  <a:lnTo>
                    <a:pt x="58" y="355"/>
                  </a:lnTo>
                  <a:lnTo>
                    <a:pt x="63" y="333"/>
                  </a:lnTo>
                  <a:lnTo>
                    <a:pt x="63" y="307"/>
                  </a:lnTo>
                  <a:lnTo>
                    <a:pt x="60" y="279"/>
                  </a:lnTo>
                  <a:lnTo>
                    <a:pt x="54" y="248"/>
                  </a:lnTo>
                  <a:lnTo>
                    <a:pt x="45" y="216"/>
                  </a:lnTo>
                  <a:lnTo>
                    <a:pt x="35" y="184"/>
                  </a:lnTo>
                  <a:lnTo>
                    <a:pt x="23" y="152"/>
                  </a:lnTo>
                  <a:lnTo>
                    <a:pt x="13" y="121"/>
                  </a:lnTo>
                  <a:lnTo>
                    <a:pt x="3" y="92"/>
                  </a:lnTo>
                  <a:lnTo>
                    <a:pt x="0" y="74"/>
                  </a:lnTo>
                  <a:lnTo>
                    <a:pt x="4" y="57"/>
                  </a:lnTo>
                  <a:lnTo>
                    <a:pt x="14" y="42"/>
                  </a:lnTo>
                  <a:lnTo>
                    <a:pt x="30" y="30"/>
                  </a:lnTo>
                  <a:lnTo>
                    <a:pt x="49" y="20"/>
                  </a:lnTo>
                  <a:lnTo>
                    <a:pt x="72" y="12"/>
                  </a:lnTo>
                  <a:lnTo>
                    <a:pt x="98" y="6"/>
                  </a:lnTo>
                  <a:lnTo>
                    <a:pt x="126" y="2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0" name="Freeform 1531"/>
            <p:cNvSpPr>
              <a:spLocks/>
            </p:cNvSpPr>
            <p:nvPr/>
          </p:nvSpPr>
          <p:spPr bwMode="auto">
            <a:xfrm>
              <a:off x="9850438" y="2851150"/>
              <a:ext cx="315913" cy="166688"/>
            </a:xfrm>
            <a:custGeom>
              <a:avLst/>
              <a:gdLst>
                <a:gd name="T0" fmla="*/ 104 w 199"/>
                <a:gd name="T1" fmla="*/ 0 h 105"/>
                <a:gd name="T2" fmla="*/ 111 w 199"/>
                <a:gd name="T3" fmla="*/ 1 h 105"/>
                <a:gd name="T4" fmla="*/ 118 w 199"/>
                <a:gd name="T5" fmla="*/ 4 h 105"/>
                <a:gd name="T6" fmla="*/ 125 w 199"/>
                <a:gd name="T7" fmla="*/ 8 h 105"/>
                <a:gd name="T8" fmla="*/ 129 w 199"/>
                <a:gd name="T9" fmla="*/ 13 h 105"/>
                <a:gd name="T10" fmla="*/ 133 w 199"/>
                <a:gd name="T11" fmla="*/ 17 h 105"/>
                <a:gd name="T12" fmla="*/ 140 w 199"/>
                <a:gd name="T13" fmla="*/ 19 h 105"/>
                <a:gd name="T14" fmla="*/ 151 w 199"/>
                <a:gd name="T15" fmla="*/ 21 h 105"/>
                <a:gd name="T16" fmla="*/ 162 w 199"/>
                <a:gd name="T17" fmla="*/ 19 h 105"/>
                <a:gd name="T18" fmla="*/ 174 w 199"/>
                <a:gd name="T19" fmla="*/ 18 h 105"/>
                <a:gd name="T20" fmla="*/ 185 w 199"/>
                <a:gd name="T21" fmla="*/ 12 h 105"/>
                <a:gd name="T22" fmla="*/ 192 w 199"/>
                <a:gd name="T23" fmla="*/ 4 h 105"/>
                <a:gd name="T24" fmla="*/ 199 w 199"/>
                <a:gd name="T25" fmla="*/ 0 h 105"/>
                <a:gd name="T26" fmla="*/ 199 w 199"/>
                <a:gd name="T27" fmla="*/ 16 h 105"/>
                <a:gd name="T28" fmla="*/ 199 w 199"/>
                <a:gd name="T29" fmla="*/ 28 h 105"/>
                <a:gd name="T30" fmla="*/ 198 w 199"/>
                <a:gd name="T31" fmla="*/ 39 h 105"/>
                <a:gd name="T32" fmla="*/ 192 w 199"/>
                <a:gd name="T33" fmla="*/ 46 h 105"/>
                <a:gd name="T34" fmla="*/ 181 w 199"/>
                <a:gd name="T35" fmla="*/ 53 h 105"/>
                <a:gd name="T36" fmla="*/ 167 w 199"/>
                <a:gd name="T37" fmla="*/ 59 h 105"/>
                <a:gd name="T38" fmla="*/ 152 w 199"/>
                <a:gd name="T39" fmla="*/ 64 h 105"/>
                <a:gd name="T40" fmla="*/ 136 w 199"/>
                <a:gd name="T41" fmla="*/ 72 h 105"/>
                <a:gd name="T42" fmla="*/ 122 w 199"/>
                <a:gd name="T43" fmla="*/ 80 h 105"/>
                <a:gd name="T44" fmla="*/ 111 w 199"/>
                <a:gd name="T45" fmla="*/ 90 h 105"/>
                <a:gd name="T46" fmla="*/ 99 w 199"/>
                <a:gd name="T47" fmla="*/ 98 h 105"/>
                <a:gd name="T48" fmla="*/ 85 w 199"/>
                <a:gd name="T49" fmla="*/ 103 h 105"/>
                <a:gd name="T50" fmla="*/ 67 w 199"/>
                <a:gd name="T51" fmla="*/ 105 h 105"/>
                <a:gd name="T52" fmla="*/ 49 w 199"/>
                <a:gd name="T53" fmla="*/ 105 h 105"/>
                <a:gd name="T54" fmla="*/ 33 w 199"/>
                <a:gd name="T55" fmla="*/ 104 h 105"/>
                <a:gd name="T56" fmla="*/ 17 w 199"/>
                <a:gd name="T57" fmla="*/ 99 h 105"/>
                <a:gd name="T58" fmla="*/ 6 w 199"/>
                <a:gd name="T59" fmla="*/ 91 h 105"/>
                <a:gd name="T60" fmla="*/ 0 w 199"/>
                <a:gd name="T61" fmla="*/ 82 h 105"/>
                <a:gd name="T62" fmla="*/ 0 w 199"/>
                <a:gd name="T63" fmla="*/ 80 h 105"/>
                <a:gd name="T64" fmla="*/ 0 w 199"/>
                <a:gd name="T65" fmla="*/ 76 h 105"/>
                <a:gd name="T66" fmla="*/ 0 w 199"/>
                <a:gd name="T67" fmla="*/ 71 h 105"/>
                <a:gd name="T68" fmla="*/ 0 w 199"/>
                <a:gd name="T69" fmla="*/ 67 h 105"/>
                <a:gd name="T70" fmla="*/ 2 w 199"/>
                <a:gd name="T71" fmla="*/ 64 h 105"/>
                <a:gd name="T72" fmla="*/ 8 w 199"/>
                <a:gd name="T73" fmla="*/ 59 h 105"/>
                <a:gd name="T74" fmla="*/ 20 w 199"/>
                <a:gd name="T75" fmla="*/ 54 h 105"/>
                <a:gd name="T76" fmla="*/ 33 w 199"/>
                <a:gd name="T77" fmla="*/ 49 h 105"/>
                <a:gd name="T78" fmla="*/ 48 w 199"/>
                <a:gd name="T79" fmla="*/ 44 h 105"/>
                <a:gd name="T80" fmla="*/ 54 w 199"/>
                <a:gd name="T81" fmla="*/ 40 h 105"/>
                <a:gd name="T82" fmla="*/ 63 w 199"/>
                <a:gd name="T83" fmla="*/ 32 h 105"/>
                <a:gd name="T84" fmla="*/ 75 w 199"/>
                <a:gd name="T85" fmla="*/ 23 h 105"/>
                <a:gd name="T86" fmla="*/ 89 w 199"/>
                <a:gd name="T87" fmla="*/ 13 h 105"/>
                <a:gd name="T88" fmla="*/ 103 w 199"/>
                <a:gd name="T89" fmla="*/ 1 h 105"/>
                <a:gd name="T90" fmla="*/ 104 w 199"/>
                <a:gd name="T9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9" h="105">
                  <a:moveTo>
                    <a:pt x="104" y="0"/>
                  </a:moveTo>
                  <a:lnTo>
                    <a:pt x="111" y="1"/>
                  </a:lnTo>
                  <a:lnTo>
                    <a:pt x="118" y="4"/>
                  </a:lnTo>
                  <a:lnTo>
                    <a:pt x="125" y="8"/>
                  </a:lnTo>
                  <a:lnTo>
                    <a:pt x="129" y="13"/>
                  </a:lnTo>
                  <a:lnTo>
                    <a:pt x="133" y="17"/>
                  </a:lnTo>
                  <a:lnTo>
                    <a:pt x="140" y="19"/>
                  </a:lnTo>
                  <a:lnTo>
                    <a:pt x="151" y="21"/>
                  </a:lnTo>
                  <a:lnTo>
                    <a:pt x="162" y="19"/>
                  </a:lnTo>
                  <a:lnTo>
                    <a:pt x="174" y="18"/>
                  </a:lnTo>
                  <a:lnTo>
                    <a:pt x="185" y="12"/>
                  </a:lnTo>
                  <a:lnTo>
                    <a:pt x="192" y="4"/>
                  </a:lnTo>
                  <a:lnTo>
                    <a:pt x="199" y="0"/>
                  </a:lnTo>
                  <a:lnTo>
                    <a:pt x="199" y="16"/>
                  </a:lnTo>
                  <a:lnTo>
                    <a:pt x="199" y="28"/>
                  </a:lnTo>
                  <a:lnTo>
                    <a:pt x="198" y="39"/>
                  </a:lnTo>
                  <a:lnTo>
                    <a:pt x="192" y="46"/>
                  </a:lnTo>
                  <a:lnTo>
                    <a:pt x="181" y="53"/>
                  </a:lnTo>
                  <a:lnTo>
                    <a:pt x="167" y="59"/>
                  </a:lnTo>
                  <a:lnTo>
                    <a:pt x="152" y="64"/>
                  </a:lnTo>
                  <a:lnTo>
                    <a:pt x="136" y="72"/>
                  </a:lnTo>
                  <a:lnTo>
                    <a:pt x="122" y="80"/>
                  </a:lnTo>
                  <a:lnTo>
                    <a:pt x="111" y="90"/>
                  </a:lnTo>
                  <a:lnTo>
                    <a:pt x="99" y="98"/>
                  </a:lnTo>
                  <a:lnTo>
                    <a:pt x="85" y="103"/>
                  </a:lnTo>
                  <a:lnTo>
                    <a:pt x="67" y="105"/>
                  </a:lnTo>
                  <a:lnTo>
                    <a:pt x="49" y="105"/>
                  </a:lnTo>
                  <a:lnTo>
                    <a:pt x="33" y="104"/>
                  </a:lnTo>
                  <a:lnTo>
                    <a:pt x="17" y="99"/>
                  </a:lnTo>
                  <a:lnTo>
                    <a:pt x="6" y="91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2" y="64"/>
                  </a:lnTo>
                  <a:lnTo>
                    <a:pt x="8" y="59"/>
                  </a:lnTo>
                  <a:lnTo>
                    <a:pt x="20" y="54"/>
                  </a:lnTo>
                  <a:lnTo>
                    <a:pt x="33" y="49"/>
                  </a:lnTo>
                  <a:lnTo>
                    <a:pt x="48" y="44"/>
                  </a:lnTo>
                  <a:lnTo>
                    <a:pt x="54" y="40"/>
                  </a:lnTo>
                  <a:lnTo>
                    <a:pt x="63" y="32"/>
                  </a:lnTo>
                  <a:lnTo>
                    <a:pt x="75" y="23"/>
                  </a:lnTo>
                  <a:lnTo>
                    <a:pt x="89" y="13"/>
                  </a:lnTo>
                  <a:lnTo>
                    <a:pt x="103" y="1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1" name="Freeform 1532"/>
            <p:cNvSpPr>
              <a:spLocks/>
            </p:cNvSpPr>
            <p:nvPr/>
          </p:nvSpPr>
          <p:spPr bwMode="auto">
            <a:xfrm>
              <a:off x="9850438" y="2678113"/>
              <a:ext cx="315913" cy="320675"/>
            </a:xfrm>
            <a:custGeom>
              <a:avLst/>
              <a:gdLst>
                <a:gd name="T0" fmla="*/ 176 w 199"/>
                <a:gd name="T1" fmla="*/ 0 h 202"/>
                <a:gd name="T2" fmla="*/ 185 w 199"/>
                <a:gd name="T3" fmla="*/ 1 h 202"/>
                <a:gd name="T4" fmla="*/ 193 w 199"/>
                <a:gd name="T5" fmla="*/ 5 h 202"/>
                <a:gd name="T6" fmla="*/ 198 w 199"/>
                <a:gd name="T7" fmla="*/ 13 h 202"/>
                <a:gd name="T8" fmla="*/ 197 w 199"/>
                <a:gd name="T9" fmla="*/ 23 h 202"/>
                <a:gd name="T10" fmla="*/ 194 w 199"/>
                <a:gd name="T11" fmla="*/ 37 h 202"/>
                <a:gd name="T12" fmla="*/ 194 w 199"/>
                <a:gd name="T13" fmla="*/ 54 h 202"/>
                <a:gd name="T14" fmla="*/ 195 w 199"/>
                <a:gd name="T15" fmla="*/ 73 h 202"/>
                <a:gd name="T16" fmla="*/ 198 w 199"/>
                <a:gd name="T17" fmla="*/ 91 h 202"/>
                <a:gd name="T18" fmla="*/ 199 w 199"/>
                <a:gd name="T19" fmla="*/ 108 h 202"/>
                <a:gd name="T20" fmla="*/ 199 w 199"/>
                <a:gd name="T21" fmla="*/ 123 h 202"/>
                <a:gd name="T22" fmla="*/ 198 w 199"/>
                <a:gd name="T23" fmla="*/ 134 h 202"/>
                <a:gd name="T24" fmla="*/ 192 w 199"/>
                <a:gd name="T25" fmla="*/ 141 h 202"/>
                <a:gd name="T26" fmla="*/ 181 w 199"/>
                <a:gd name="T27" fmla="*/ 148 h 202"/>
                <a:gd name="T28" fmla="*/ 167 w 199"/>
                <a:gd name="T29" fmla="*/ 154 h 202"/>
                <a:gd name="T30" fmla="*/ 152 w 199"/>
                <a:gd name="T31" fmla="*/ 160 h 202"/>
                <a:gd name="T32" fmla="*/ 136 w 199"/>
                <a:gd name="T33" fmla="*/ 167 h 202"/>
                <a:gd name="T34" fmla="*/ 122 w 199"/>
                <a:gd name="T35" fmla="*/ 175 h 202"/>
                <a:gd name="T36" fmla="*/ 111 w 199"/>
                <a:gd name="T37" fmla="*/ 185 h 202"/>
                <a:gd name="T38" fmla="*/ 99 w 199"/>
                <a:gd name="T39" fmla="*/ 193 h 202"/>
                <a:gd name="T40" fmla="*/ 85 w 199"/>
                <a:gd name="T41" fmla="*/ 198 h 202"/>
                <a:gd name="T42" fmla="*/ 67 w 199"/>
                <a:gd name="T43" fmla="*/ 200 h 202"/>
                <a:gd name="T44" fmla="*/ 49 w 199"/>
                <a:gd name="T45" fmla="*/ 202 h 202"/>
                <a:gd name="T46" fmla="*/ 33 w 199"/>
                <a:gd name="T47" fmla="*/ 199 h 202"/>
                <a:gd name="T48" fmla="*/ 17 w 199"/>
                <a:gd name="T49" fmla="*/ 194 h 202"/>
                <a:gd name="T50" fmla="*/ 6 w 199"/>
                <a:gd name="T51" fmla="*/ 187 h 202"/>
                <a:gd name="T52" fmla="*/ 0 w 199"/>
                <a:gd name="T53" fmla="*/ 177 h 202"/>
                <a:gd name="T54" fmla="*/ 3 w 199"/>
                <a:gd name="T55" fmla="*/ 168 h 202"/>
                <a:gd name="T56" fmla="*/ 13 w 199"/>
                <a:gd name="T57" fmla="*/ 158 h 202"/>
                <a:gd name="T58" fmla="*/ 29 w 199"/>
                <a:gd name="T59" fmla="*/ 148 h 202"/>
                <a:gd name="T60" fmla="*/ 48 w 199"/>
                <a:gd name="T61" fmla="*/ 139 h 202"/>
                <a:gd name="T62" fmla="*/ 56 w 199"/>
                <a:gd name="T63" fmla="*/ 135 h 202"/>
                <a:gd name="T64" fmla="*/ 66 w 199"/>
                <a:gd name="T65" fmla="*/ 128 h 202"/>
                <a:gd name="T66" fmla="*/ 77 w 199"/>
                <a:gd name="T67" fmla="*/ 121 h 202"/>
                <a:gd name="T68" fmla="*/ 92 w 199"/>
                <a:gd name="T69" fmla="*/ 110 h 202"/>
                <a:gd name="T70" fmla="*/ 107 w 199"/>
                <a:gd name="T71" fmla="*/ 100 h 202"/>
                <a:gd name="T72" fmla="*/ 120 w 199"/>
                <a:gd name="T73" fmla="*/ 87 h 202"/>
                <a:gd name="T74" fmla="*/ 133 w 199"/>
                <a:gd name="T75" fmla="*/ 73 h 202"/>
                <a:gd name="T76" fmla="*/ 142 w 199"/>
                <a:gd name="T77" fmla="*/ 58 h 202"/>
                <a:gd name="T78" fmla="*/ 147 w 199"/>
                <a:gd name="T79" fmla="*/ 44 h 202"/>
                <a:gd name="T80" fmla="*/ 149 w 199"/>
                <a:gd name="T81" fmla="*/ 33 h 202"/>
                <a:gd name="T82" fmla="*/ 151 w 199"/>
                <a:gd name="T83" fmla="*/ 19 h 202"/>
                <a:gd name="T84" fmla="*/ 157 w 199"/>
                <a:gd name="T85" fmla="*/ 9 h 202"/>
                <a:gd name="T86" fmla="*/ 166 w 199"/>
                <a:gd name="T87" fmla="*/ 3 h 202"/>
                <a:gd name="T88" fmla="*/ 176 w 199"/>
                <a:gd name="T8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202">
                  <a:moveTo>
                    <a:pt x="176" y="0"/>
                  </a:moveTo>
                  <a:lnTo>
                    <a:pt x="185" y="1"/>
                  </a:lnTo>
                  <a:lnTo>
                    <a:pt x="193" y="5"/>
                  </a:lnTo>
                  <a:lnTo>
                    <a:pt x="198" y="13"/>
                  </a:lnTo>
                  <a:lnTo>
                    <a:pt x="197" y="23"/>
                  </a:lnTo>
                  <a:lnTo>
                    <a:pt x="194" y="37"/>
                  </a:lnTo>
                  <a:lnTo>
                    <a:pt x="194" y="54"/>
                  </a:lnTo>
                  <a:lnTo>
                    <a:pt x="195" y="73"/>
                  </a:lnTo>
                  <a:lnTo>
                    <a:pt x="198" y="91"/>
                  </a:lnTo>
                  <a:lnTo>
                    <a:pt x="199" y="108"/>
                  </a:lnTo>
                  <a:lnTo>
                    <a:pt x="199" y="123"/>
                  </a:lnTo>
                  <a:lnTo>
                    <a:pt x="198" y="134"/>
                  </a:lnTo>
                  <a:lnTo>
                    <a:pt x="192" y="141"/>
                  </a:lnTo>
                  <a:lnTo>
                    <a:pt x="181" y="148"/>
                  </a:lnTo>
                  <a:lnTo>
                    <a:pt x="167" y="154"/>
                  </a:lnTo>
                  <a:lnTo>
                    <a:pt x="152" y="160"/>
                  </a:lnTo>
                  <a:lnTo>
                    <a:pt x="136" y="167"/>
                  </a:lnTo>
                  <a:lnTo>
                    <a:pt x="122" y="175"/>
                  </a:lnTo>
                  <a:lnTo>
                    <a:pt x="111" y="185"/>
                  </a:lnTo>
                  <a:lnTo>
                    <a:pt x="99" y="193"/>
                  </a:lnTo>
                  <a:lnTo>
                    <a:pt x="85" y="198"/>
                  </a:lnTo>
                  <a:lnTo>
                    <a:pt x="67" y="200"/>
                  </a:lnTo>
                  <a:lnTo>
                    <a:pt x="49" y="202"/>
                  </a:lnTo>
                  <a:lnTo>
                    <a:pt x="33" y="199"/>
                  </a:lnTo>
                  <a:lnTo>
                    <a:pt x="17" y="194"/>
                  </a:lnTo>
                  <a:lnTo>
                    <a:pt x="6" y="187"/>
                  </a:lnTo>
                  <a:lnTo>
                    <a:pt x="0" y="177"/>
                  </a:lnTo>
                  <a:lnTo>
                    <a:pt x="3" y="168"/>
                  </a:lnTo>
                  <a:lnTo>
                    <a:pt x="13" y="158"/>
                  </a:lnTo>
                  <a:lnTo>
                    <a:pt x="29" y="148"/>
                  </a:lnTo>
                  <a:lnTo>
                    <a:pt x="48" y="139"/>
                  </a:lnTo>
                  <a:lnTo>
                    <a:pt x="56" y="135"/>
                  </a:lnTo>
                  <a:lnTo>
                    <a:pt x="66" y="128"/>
                  </a:lnTo>
                  <a:lnTo>
                    <a:pt x="77" y="121"/>
                  </a:lnTo>
                  <a:lnTo>
                    <a:pt x="92" y="110"/>
                  </a:lnTo>
                  <a:lnTo>
                    <a:pt x="107" y="100"/>
                  </a:lnTo>
                  <a:lnTo>
                    <a:pt x="120" y="87"/>
                  </a:lnTo>
                  <a:lnTo>
                    <a:pt x="133" y="73"/>
                  </a:lnTo>
                  <a:lnTo>
                    <a:pt x="142" y="58"/>
                  </a:lnTo>
                  <a:lnTo>
                    <a:pt x="147" y="44"/>
                  </a:lnTo>
                  <a:lnTo>
                    <a:pt x="149" y="33"/>
                  </a:lnTo>
                  <a:lnTo>
                    <a:pt x="151" y="19"/>
                  </a:lnTo>
                  <a:lnTo>
                    <a:pt x="157" y="9"/>
                  </a:lnTo>
                  <a:lnTo>
                    <a:pt x="166" y="3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2" name="Freeform 1533"/>
            <p:cNvSpPr>
              <a:spLocks/>
            </p:cNvSpPr>
            <p:nvPr/>
          </p:nvSpPr>
          <p:spPr bwMode="auto">
            <a:xfrm>
              <a:off x="9855201" y="2754313"/>
              <a:ext cx="314325" cy="244475"/>
            </a:xfrm>
            <a:custGeom>
              <a:avLst/>
              <a:gdLst>
                <a:gd name="T0" fmla="*/ 142 w 198"/>
                <a:gd name="T1" fmla="*/ 0 h 154"/>
                <a:gd name="T2" fmla="*/ 151 w 198"/>
                <a:gd name="T3" fmla="*/ 0 h 154"/>
                <a:gd name="T4" fmla="*/ 158 w 198"/>
                <a:gd name="T5" fmla="*/ 2 h 154"/>
                <a:gd name="T6" fmla="*/ 160 w 198"/>
                <a:gd name="T7" fmla="*/ 6 h 154"/>
                <a:gd name="T8" fmla="*/ 162 w 198"/>
                <a:gd name="T9" fmla="*/ 10 h 154"/>
                <a:gd name="T10" fmla="*/ 163 w 198"/>
                <a:gd name="T11" fmla="*/ 14 h 154"/>
                <a:gd name="T12" fmla="*/ 163 w 198"/>
                <a:gd name="T13" fmla="*/ 18 h 154"/>
                <a:gd name="T14" fmla="*/ 163 w 198"/>
                <a:gd name="T15" fmla="*/ 21 h 154"/>
                <a:gd name="T16" fmla="*/ 176 w 198"/>
                <a:gd name="T17" fmla="*/ 23 h 154"/>
                <a:gd name="T18" fmla="*/ 185 w 198"/>
                <a:gd name="T19" fmla="*/ 21 h 154"/>
                <a:gd name="T20" fmla="*/ 189 w 198"/>
                <a:gd name="T21" fmla="*/ 19 h 154"/>
                <a:gd name="T22" fmla="*/ 191 w 198"/>
                <a:gd name="T23" fmla="*/ 15 h 154"/>
                <a:gd name="T24" fmla="*/ 191 w 198"/>
                <a:gd name="T25" fmla="*/ 11 h 154"/>
                <a:gd name="T26" fmla="*/ 192 w 198"/>
                <a:gd name="T27" fmla="*/ 7 h 154"/>
                <a:gd name="T28" fmla="*/ 195 w 198"/>
                <a:gd name="T29" fmla="*/ 24 h 154"/>
                <a:gd name="T30" fmla="*/ 198 w 198"/>
                <a:gd name="T31" fmla="*/ 43 h 154"/>
                <a:gd name="T32" fmla="*/ 198 w 198"/>
                <a:gd name="T33" fmla="*/ 61 h 154"/>
                <a:gd name="T34" fmla="*/ 196 w 198"/>
                <a:gd name="T35" fmla="*/ 77 h 154"/>
                <a:gd name="T36" fmla="*/ 195 w 198"/>
                <a:gd name="T37" fmla="*/ 86 h 154"/>
                <a:gd name="T38" fmla="*/ 189 w 198"/>
                <a:gd name="T39" fmla="*/ 93 h 154"/>
                <a:gd name="T40" fmla="*/ 178 w 198"/>
                <a:gd name="T41" fmla="*/ 100 h 154"/>
                <a:gd name="T42" fmla="*/ 164 w 198"/>
                <a:gd name="T43" fmla="*/ 106 h 154"/>
                <a:gd name="T44" fmla="*/ 149 w 198"/>
                <a:gd name="T45" fmla="*/ 112 h 154"/>
                <a:gd name="T46" fmla="*/ 133 w 198"/>
                <a:gd name="T47" fmla="*/ 119 h 154"/>
                <a:gd name="T48" fmla="*/ 119 w 198"/>
                <a:gd name="T49" fmla="*/ 127 h 154"/>
                <a:gd name="T50" fmla="*/ 108 w 198"/>
                <a:gd name="T51" fmla="*/ 137 h 154"/>
                <a:gd name="T52" fmla="*/ 96 w 198"/>
                <a:gd name="T53" fmla="*/ 145 h 154"/>
                <a:gd name="T54" fmla="*/ 82 w 198"/>
                <a:gd name="T55" fmla="*/ 150 h 154"/>
                <a:gd name="T56" fmla="*/ 65 w 198"/>
                <a:gd name="T57" fmla="*/ 152 h 154"/>
                <a:gd name="T58" fmla="*/ 47 w 198"/>
                <a:gd name="T59" fmla="*/ 154 h 154"/>
                <a:gd name="T60" fmla="*/ 31 w 198"/>
                <a:gd name="T61" fmla="*/ 151 h 154"/>
                <a:gd name="T62" fmla="*/ 15 w 198"/>
                <a:gd name="T63" fmla="*/ 147 h 154"/>
                <a:gd name="T64" fmla="*/ 5 w 198"/>
                <a:gd name="T65" fmla="*/ 139 h 154"/>
                <a:gd name="T66" fmla="*/ 0 w 198"/>
                <a:gd name="T67" fmla="*/ 129 h 154"/>
                <a:gd name="T68" fmla="*/ 1 w 198"/>
                <a:gd name="T69" fmla="*/ 120 h 154"/>
                <a:gd name="T70" fmla="*/ 10 w 198"/>
                <a:gd name="T71" fmla="*/ 110 h 154"/>
                <a:gd name="T72" fmla="*/ 24 w 198"/>
                <a:gd name="T73" fmla="*/ 100 h 154"/>
                <a:gd name="T74" fmla="*/ 44 w 198"/>
                <a:gd name="T75" fmla="*/ 91 h 154"/>
                <a:gd name="T76" fmla="*/ 49 w 198"/>
                <a:gd name="T77" fmla="*/ 88 h 154"/>
                <a:gd name="T78" fmla="*/ 58 w 198"/>
                <a:gd name="T79" fmla="*/ 83 h 154"/>
                <a:gd name="T80" fmla="*/ 69 w 198"/>
                <a:gd name="T81" fmla="*/ 77 h 154"/>
                <a:gd name="T82" fmla="*/ 82 w 198"/>
                <a:gd name="T83" fmla="*/ 66 h 154"/>
                <a:gd name="T84" fmla="*/ 96 w 198"/>
                <a:gd name="T85" fmla="*/ 56 h 154"/>
                <a:gd name="T86" fmla="*/ 110 w 198"/>
                <a:gd name="T87" fmla="*/ 46 h 154"/>
                <a:gd name="T88" fmla="*/ 122 w 198"/>
                <a:gd name="T89" fmla="*/ 33 h 154"/>
                <a:gd name="T90" fmla="*/ 123 w 198"/>
                <a:gd name="T91" fmla="*/ 25 h 154"/>
                <a:gd name="T92" fmla="*/ 122 w 198"/>
                <a:gd name="T93" fmla="*/ 18 h 154"/>
                <a:gd name="T94" fmla="*/ 119 w 198"/>
                <a:gd name="T95" fmla="*/ 10 h 154"/>
                <a:gd name="T96" fmla="*/ 119 w 198"/>
                <a:gd name="T97" fmla="*/ 6 h 154"/>
                <a:gd name="T98" fmla="*/ 126 w 198"/>
                <a:gd name="T99" fmla="*/ 3 h 154"/>
                <a:gd name="T100" fmla="*/ 133 w 198"/>
                <a:gd name="T101" fmla="*/ 1 h 154"/>
                <a:gd name="T102" fmla="*/ 142 w 198"/>
                <a:gd name="T10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8" h="154">
                  <a:moveTo>
                    <a:pt x="142" y="0"/>
                  </a:moveTo>
                  <a:lnTo>
                    <a:pt x="151" y="0"/>
                  </a:lnTo>
                  <a:lnTo>
                    <a:pt x="158" y="2"/>
                  </a:lnTo>
                  <a:lnTo>
                    <a:pt x="160" y="6"/>
                  </a:lnTo>
                  <a:lnTo>
                    <a:pt x="162" y="10"/>
                  </a:lnTo>
                  <a:lnTo>
                    <a:pt x="163" y="14"/>
                  </a:lnTo>
                  <a:lnTo>
                    <a:pt x="163" y="18"/>
                  </a:lnTo>
                  <a:lnTo>
                    <a:pt x="163" y="21"/>
                  </a:lnTo>
                  <a:lnTo>
                    <a:pt x="176" y="23"/>
                  </a:lnTo>
                  <a:lnTo>
                    <a:pt x="185" y="21"/>
                  </a:lnTo>
                  <a:lnTo>
                    <a:pt x="189" y="19"/>
                  </a:lnTo>
                  <a:lnTo>
                    <a:pt x="191" y="15"/>
                  </a:lnTo>
                  <a:lnTo>
                    <a:pt x="191" y="11"/>
                  </a:lnTo>
                  <a:lnTo>
                    <a:pt x="192" y="7"/>
                  </a:lnTo>
                  <a:lnTo>
                    <a:pt x="195" y="24"/>
                  </a:lnTo>
                  <a:lnTo>
                    <a:pt x="198" y="43"/>
                  </a:lnTo>
                  <a:lnTo>
                    <a:pt x="198" y="61"/>
                  </a:lnTo>
                  <a:lnTo>
                    <a:pt x="196" y="77"/>
                  </a:lnTo>
                  <a:lnTo>
                    <a:pt x="195" y="86"/>
                  </a:lnTo>
                  <a:lnTo>
                    <a:pt x="189" y="93"/>
                  </a:lnTo>
                  <a:lnTo>
                    <a:pt x="178" y="100"/>
                  </a:lnTo>
                  <a:lnTo>
                    <a:pt x="164" y="106"/>
                  </a:lnTo>
                  <a:lnTo>
                    <a:pt x="149" y="112"/>
                  </a:lnTo>
                  <a:lnTo>
                    <a:pt x="133" y="119"/>
                  </a:lnTo>
                  <a:lnTo>
                    <a:pt x="119" y="127"/>
                  </a:lnTo>
                  <a:lnTo>
                    <a:pt x="108" y="137"/>
                  </a:lnTo>
                  <a:lnTo>
                    <a:pt x="96" y="145"/>
                  </a:lnTo>
                  <a:lnTo>
                    <a:pt x="82" y="150"/>
                  </a:lnTo>
                  <a:lnTo>
                    <a:pt x="65" y="152"/>
                  </a:lnTo>
                  <a:lnTo>
                    <a:pt x="47" y="154"/>
                  </a:lnTo>
                  <a:lnTo>
                    <a:pt x="31" y="151"/>
                  </a:lnTo>
                  <a:lnTo>
                    <a:pt x="15" y="147"/>
                  </a:lnTo>
                  <a:lnTo>
                    <a:pt x="5" y="139"/>
                  </a:lnTo>
                  <a:lnTo>
                    <a:pt x="0" y="129"/>
                  </a:lnTo>
                  <a:lnTo>
                    <a:pt x="1" y="120"/>
                  </a:lnTo>
                  <a:lnTo>
                    <a:pt x="10" y="110"/>
                  </a:lnTo>
                  <a:lnTo>
                    <a:pt x="24" y="100"/>
                  </a:lnTo>
                  <a:lnTo>
                    <a:pt x="44" y="91"/>
                  </a:lnTo>
                  <a:lnTo>
                    <a:pt x="49" y="88"/>
                  </a:lnTo>
                  <a:lnTo>
                    <a:pt x="58" y="83"/>
                  </a:lnTo>
                  <a:lnTo>
                    <a:pt x="69" y="77"/>
                  </a:lnTo>
                  <a:lnTo>
                    <a:pt x="82" y="66"/>
                  </a:lnTo>
                  <a:lnTo>
                    <a:pt x="96" y="56"/>
                  </a:lnTo>
                  <a:lnTo>
                    <a:pt x="110" y="46"/>
                  </a:lnTo>
                  <a:lnTo>
                    <a:pt x="122" y="33"/>
                  </a:lnTo>
                  <a:lnTo>
                    <a:pt x="123" y="25"/>
                  </a:lnTo>
                  <a:lnTo>
                    <a:pt x="122" y="18"/>
                  </a:lnTo>
                  <a:lnTo>
                    <a:pt x="119" y="10"/>
                  </a:lnTo>
                  <a:lnTo>
                    <a:pt x="119" y="6"/>
                  </a:lnTo>
                  <a:lnTo>
                    <a:pt x="126" y="3"/>
                  </a:lnTo>
                  <a:lnTo>
                    <a:pt x="133" y="1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3" name="Freeform 1534"/>
            <p:cNvSpPr>
              <a:spLocks/>
            </p:cNvSpPr>
            <p:nvPr/>
          </p:nvSpPr>
          <p:spPr bwMode="auto">
            <a:xfrm>
              <a:off x="9913938" y="2787650"/>
              <a:ext cx="207963" cy="147638"/>
            </a:xfrm>
            <a:custGeom>
              <a:avLst/>
              <a:gdLst>
                <a:gd name="T0" fmla="*/ 127 w 131"/>
                <a:gd name="T1" fmla="*/ 0 h 93"/>
                <a:gd name="T2" fmla="*/ 131 w 131"/>
                <a:gd name="T3" fmla="*/ 2 h 93"/>
                <a:gd name="T4" fmla="*/ 127 w 131"/>
                <a:gd name="T5" fmla="*/ 9 h 93"/>
                <a:gd name="T6" fmla="*/ 121 w 131"/>
                <a:gd name="T7" fmla="*/ 18 h 93"/>
                <a:gd name="T8" fmla="*/ 113 w 131"/>
                <a:gd name="T9" fmla="*/ 29 h 93"/>
                <a:gd name="T10" fmla="*/ 104 w 131"/>
                <a:gd name="T11" fmla="*/ 40 h 93"/>
                <a:gd name="T12" fmla="*/ 94 w 131"/>
                <a:gd name="T13" fmla="*/ 52 h 93"/>
                <a:gd name="T14" fmla="*/ 85 w 131"/>
                <a:gd name="T15" fmla="*/ 62 h 93"/>
                <a:gd name="T16" fmla="*/ 84 w 131"/>
                <a:gd name="T17" fmla="*/ 63 h 93"/>
                <a:gd name="T18" fmla="*/ 73 w 131"/>
                <a:gd name="T19" fmla="*/ 71 h 93"/>
                <a:gd name="T20" fmla="*/ 66 w 131"/>
                <a:gd name="T21" fmla="*/ 79 h 93"/>
                <a:gd name="T22" fmla="*/ 67 w 131"/>
                <a:gd name="T23" fmla="*/ 79 h 93"/>
                <a:gd name="T24" fmla="*/ 59 w 131"/>
                <a:gd name="T25" fmla="*/ 84 h 93"/>
                <a:gd name="T26" fmla="*/ 52 w 131"/>
                <a:gd name="T27" fmla="*/ 88 h 93"/>
                <a:gd name="T28" fmla="*/ 37 w 131"/>
                <a:gd name="T29" fmla="*/ 91 h 93"/>
                <a:gd name="T30" fmla="*/ 26 w 131"/>
                <a:gd name="T31" fmla="*/ 93 h 93"/>
                <a:gd name="T32" fmla="*/ 25 w 131"/>
                <a:gd name="T33" fmla="*/ 93 h 93"/>
                <a:gd name="T34" fmla="*/ 14 w 131"/>
                <a:gd name="T35" fmla="*/ 90 h 93"/>
                <a:gd name="T36" fmla="*/ 8 w 131"/>
                <a:gd name="T37" fmla="*/ 86 h 93"/>
                <a:gd name="T38" fmla="*/ 7 w 131"/>
                <a:gd name="T39" fmla="*/ 85 h 93"/>
                <a:gd name="T40" fmla="*/ 1 w 131"/>
                <a:gd name="T41" fmla="*/ 81 h 93"/>
                <a:gd name="T42" fmla="*/ 0 w 131"/>
                <a:gd name="T43" fmla="*/ 76 h 93"/>
                <a:gd name="T44" fmla="*/ 0 w 131"/>
                <a:gd name="T45" fmla="*/ 75 h 93"/>
                <a:gd name="T46" fmla="*/ 1 w 131"/>
                <a:gd name="T47" fmla="*/ 74 h 93"/>
                <a:gd name="T48" fmla="*/ 5 w 131"/>
                <a:gd name="T49" fmla="*/ 71 h 93"/>
                <a:gd name="T50" fmla="*/ 7 w 131"/>
                <a:gd name="T51" fmla="*/ 75 h 93"/>
                <a:gd name="T52" fmla="*/ 4 w 131"/>
                <a:gd name="T53" fmla="*/ 76 h 93"/>
                <a:gd name="T54" fmla="*/ 5 w 131"/>
                <a:gd name="T55" fmla="*/ 80 h 93"/>
                <a:gd name="T56" fmla="*/ 9 w 131"/>
                <a:gd name="T57" fmla="*/ 83 h 93"/>
                <a:gd name="T58" fmla="*/ 9 w 131"/>
                <a:gd name="T59" fmla="*/ 83 h 93"/>
                <a:gd name="T60" fmla="*/ 16 w 131"/>
                <a:gd name="T61" fmla="*/ 86 h 93"/>
                <a:gd name="T62" fmla="*/ 26 w 131"/>
                <a:gd name="T63" fmla="*/ 89 h 93"/>
                <a:gd name="T64" fmla="*/ 36 w 131"/>
                <a:gd name="T65" fmla="*/ 88 h 93"/>
                <a:gd name="T66" fmla="*/ 50 w 131"/>
                <a:gd name="T67" fmla="*/ 84 h 93"/>
                <a:gd name="T68" fmla="*/ 58 w 131"/>
                <a:gd name="T69" fmla="*/ 80 h 93"/>
                <a:gd name="T70" fmla="*/ 64 w 131"/>
                <a:gd name="T71" fmla="*/ 75 h 93"/>
                <a:gd name="T72" fmla="*/ 64 w 131"/>
                <a:gd name="T73" fmla="*/ 75 h 93"/>
                <a:gd name="T74" fmla="*/ 72 w 131"/>
                <a:gd name="T75" fmla="*/ 67 h 93"/>
                <a:gd name="T76" fmla="*/ 82 w 131"/>
                <a:gd name="T77" fmla="*/ 59 h 93"/>
                <a:gd name="T78" fmla="*/ 90 w 131"/>
                <a:gd name="T79" fmla="*/ 50 h 93"/>
                <a:gd name="T80" fmla="*/ 100 w 131"/>
                <a:gd name="T81" fmla="*/ 39 h 93"/>
                <a:gd name="T82" fmla="*/ 109 w 131"/>
                <a:gd name="T83" fmla="*/ 27 h 93"/>
                <a:gd name="T84" fmla="*/ 117 w 131"/>
                <a:gd name="T85" fmla="*/ 17 h 93"/>
                <a:gd name="T86" fmla="*/ 123 w 131"/>
                <a:gd name="T87" fmla="*/ 8 h 93"/>
                <a:gd name="T88" fmla="*/ 127 w 131"/>
                <a:gd name="T8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" h="93">
                  <a:moveTo>
                    <a:pt x="127" y="0"/>
                  </a:moveTo>
                  <a:lnTo>
                    <a:pt x="131" y="2"/>
                  </a:lnTo>
                  <a:lnTo>
                    <a:pt x="127" y="9"/>
                  </a:lnTo>
                  <a:lnTo>
                    <a:pt x="121" y="18"/>
                  </a:lnTo>
                  <a:lnTo>
                    <a:pt x="113" y="29"/>
                  </a:lnTo>
                  <a:lnTo>
                    <a:pt x="104" y="40"/>
                  </a:lnTo>
                  <a:lnTo>
                    <a:pt x="94" y="52"/>
                  </a:lnTo>
                  <a:lnTo>
                    <a:pt x="85" y="62"/>
                  </a:lnTo>
                  <a:lnTo>
                    <a:pt x="84" y="63"/>
                  </a:lnTo>
                  <a:lnTo>
                    <a:pt x="73" y="71"/>
                  </a:lnTo>
                  <a:lnTo>
                    <a:pt x="66" y="79"/>
                  </a:lnTo>
                  <a:lnTo>
                    <a:pt x="67" y="79"/>
                  </a:lnTo>
                  <a:lnTo>
                    <a:pt x="59" y="84"/>
                  </a:lnTo>
                  <a:lnTo>
                    <a:pt x="52" y="88"/>
                  </a:lnTo>
                  <a:lnTo>
                    <a:pt x="37" y="91"/>
                  </a:lnTo>
                  <a:lnTo>
                    <a:pt x="26" y="93"/>
                  </a:lnTo>
                  <a:lnTo>
                    <a:pt x="25" y="93"/>
                  </a:lnTo>
                  <a:lnTo>
                    <a:pt x="14" y="90"/>
                  </a:lnTo>
                  <a:lnTo>
                    <a:pt x="8" y="86"/>
                  </a:lnTo>
                  <a:lnTo>
                    <a:pt x="7" y="85"/>
                  </a:lnTo>
                  <a:lnTo>
                    <a:pt x="1" y="81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1" y="74"/>
                  </a:lnTo>
                  <a:lnTo>
                    <a:pt x="5" y="71"/>
                  </a:lnTo>
                  <a:lnTo>
                    <a:pt x="7" y="75"/>
                  </a:lnTo>
                  <a:lnTo>
                    <a:pt x="4" y="76"/>
                  </a:lnTo>
                  <a:lnTo>
                    <a:pt x="5" y="80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6" y="86"/>
                  </a:lnTo>
                  <a:lnTo>
                    <a:pt x="26" y="89"/>
                  </a:lnTo>
                  <a:lnTo>
                    <a:pt x="36" y="88"/>
                  </a:lnTo>
                  <a:lnTo>
                    <a:pt x="50" y="84"/>
                  </a:lnTo>
                  <a:lnTo>
                    <a:pt x="58" y="80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72" y="67"/>
                  </a:lnTo>
                  <a:lnTo>
                    <a:pt x="82" y="59"/>
                  </a:lnTo>
                  <a:lnTo>
                    <a:pt x="90" y="50"/>
                  </a:lnTo>
                  <a:lnTo>
                    <a:pt x="100" y="39"/>
                  </a:lnTo>
                  <a:lnTo>
                    <a:pt x="109" y="27"/>
                  </a:lnTo>
                  <a:lnTo>
                    <a:pt x="117" y="17"/>
                  </a:lnTo>
                  <a:lnTo>
                    <a:pt x="123" y="8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4" name="Line 1535"/>
            <p:cNvSpPr>
              <a:spLocks noChangeShapeType="1"/>
            </p:cNvSpPr>
            <p:nvPr/>
          </p:nvSpPr>
          <p:spPr bwMode="auto">
            <a:xfrm flipH="1" flipV="1">
              <a:off x="10006013" y="2844800"/>
              <a:ext cx="17463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5" name="Line 1536"/>
            <p:cNvSpPr>
              <a:spLocks noChangeShapeType="1"/>
            </p:cNvSpPr>
            <p:nvPr/>
          </p:nvSpPr>
          <p:spPr bwMode="auto">
            <a:xfrm flipH="1" flipV="1">
              <a:off x="10023476" y="2824163"/>
              <a:ext cx="19050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6" name="Line 1537"/>
            <p:cNvSpPr>
              <a:spLocks noChangeShapeType="1"/>
            </p:cNvSpPr>
            <p:nvPr/>
          </p:nvSpPr>
          <p:spPr bwMode="auto">
            <a:xfrm flipH="1" flipV="1">
              <a:off x="10042526" y="2813050"/>
              <a:ext cx="19050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7" name="Line 1538"/>
            <p:cNvSpPr>
              <a:spLocks noChangeShapeType="1"/>
            </p:cNvSpPr>
            <p:nvPr/>
          </p:nvSpPr>
          <p:spPr bwMode="auto">
            <a:xfrm>
              <a:off x="9982201" y="2863850"/>
              <a:ext cx="53975" cy="317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8" name="Line 1539"/>
            <p:cNvSpPr>
              <a:spLocks noChangeShapeType="1"/>
            </p:cNvSpPr>
            <p:nvPr/>
          </p:nvSpPr>
          <p:spPr bwMode="auto">
            <a:xfrm>
              <a:off x="10001251" y="2844800"/>
              <a:ext cx="57150" cy="47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9" name="Line 1540"/>
            <p:cNvSpPr>
              <a:spLocks noChangeShapeType="1"/>
            </p:cNvSpPr>
            <p:nvPr/>
          </p:nvSpPr>
          <p:spPr bwMode="auto">
            <a:xfrm>
              <a:off x="10020301" y="2827338"/>
              <a:ext cx="58738" cy="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0" name="Line 1541"/>
            <p:cNvSpPr>
              <a:spLocks noChangeShapeType="1"/>
            </p:cNvSpPr>
            <p:nvPr/>
          </p:nvSpPr>
          <p:spPr bwMode="auto">
            <a:xfrm flipH="1" flipV="1">
              <a:off x="9979026" y="2862263"/>
              <a:ext cx="19050" cy="3810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1" name="Line 1542"/>
            <p:cNvSpPr>
              <a:spLocks noChangeShapeType="1"/>
            </p:cNvSpPr>
            <p:nvPr/>
          </p:nvSpPr>
          <p:spPr bwMode="auto">
            <a:xfrm>
              <a:off x="9956801" y="2879725"/>
              <a:ext cx="63500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2" name="Line 1543"/>
            <p:cNvSpPr>
              <a:spLocks noChangeShapeType="1"/>
            </p:cNvSpPr>
            <p:nvPr/>
          </p:nvSpPr>
          <p:spPr bwMode="auto">
            <a:xfrm>
              <a:off x="9928226" y="2895600"/>
              <a:ext cx="71438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3" name="Line 1544"/>
            <p:cNvSpPr>
              <a:spLocks noChangeShapeType="1"/>
            </p:cNvSpPr>
            <p:nvPr/>
          </p:nvSpPr>
          <p:spPr bwMode="auto">
            <a:xfrm flipH="1" flipV="1">
              <a:off x="9956801" y="2879725"/>
              <a:ext cx="14288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4" name="Freeform 1545"/>
            <p:cNvSpPr>
              <a:spLocks/>
            </p:cNvSpPr>
            <p:nvPr/>
          </p:nvSpPr>
          <p:spPr bwMode="auto">
            <a:xfrm>
              <a:off x="9850438" y="2928938"/>
              <a:ext cx="85725" cy="71438"/>
            </a:xfrm>
            <a:custGeom>
              <a:avLst/>
              <a:gdLst>
                <a:gd name="T0" fmla="*/ 15 w 54"/>
                <a:gd name="T1" fmla="*/ 0 h 45"/>
                <a:gd name="T2" fmla="*/ 30 w 54"/>
                <a:gd name="T3" fmla="*/ 4 h 45"/>
                <a:gd name="T4" fmla="*/ 43 w 54"/>
                <a:gd name="T5" fmla="*/ 13 h 45"/>
                <a:gd name="T6" fmla="*/ 50 w 54"/>
                <a:gd name="T7" fmla="*/ 27 h 45"/>
                <a:gd name="T8" fmla="*/ 54 w 54"/>
                <a:gd name="T9" fmla="*/ 44 h 45"/>
                <a:gd name="T10" fmla="*/ 40 w 54"/>
                <a:gd name="T11" fmla="*/ 45 h 45"/>
                <a:gd name="T12" fmla="*/ 27 w 54"/>
                <a:gd name="T13" fmla="*/ 44 h 45"/>
                <a:gd name="T14" fmla="*/ 16 w 54"/>
                <a:gd name="T15" fmla="*/ 41 h 45"/>
                <a:gd name="T16" fmla="*/ 7 w 54"/>
                <a:gd name="T17" fmla="*/ 36 h 45"/>
                <a:gd name="T18" fmla="*/ 2 w 54"/>
                <a:gd name="T19" fmla="*/ 29 h 45"/>
                <a:gd name="T20" fmla="*/ 0 w 54"/>
                <a:gd name="T21" fmla="*/ 19 h 45"/>
                <a:gd name="T22" fmla="*/ 2 w 54"/>
                <a:gd name="T23" fmla="*/ 14 h 45"/>
                <a:gd name="T24" fmla="*/ 4 w 54"/>
                <a:gd name="T25" fmla="*/ 9 h 45"/>
                <a:gd name="T26" fmla="*/ 8 w 54"/>
                <a:gd name="T27" fmla="*/ 5 h 45"/>
                <a:gd name="T28" fmla="*/ 13 w 54"/>
                <a:gd name="T29" fmla="*/ 0 h 45"/>
                <a:gd name="T30" fmla="*/ 15 w 54"/>
                <a:gd name="T3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45">
                  <a:moveTo>
                    <a:pt x="15" y="0"/>
                  </a:moveTo>
                  <a:lnTo>
                    <a:pt x="30" y="4"/>
                  </a:lnTo>
                  <a:lnTo>
                    <a:pt x="43" y="13"/>
                  </a:lnTo>
                  <a:lnTo>
                    <a:pt x="50" y="27"/>
                  </a:lnTo>
                  <a:lnTo>
                    <a:pt x="54" y="44"/>
                  </a:lnTo>
                  <a:lnTo>
                    <a:pt x="40" y="45"/>
                  </a:lnTo>
                  <a:lnTo>
                    <a:pt x="27" y="44"/>
                  </a:lnTo>
                  <a:lnTo>
                    <a:pt x="16" y="41"/>
                  </a:lnTo>
                  <a:lnTo>
                    <a:pt x="7" y="36"/>
                  </a:lnTo>
                  <a:lnTo>
                    <a:pt x="2" y="29"/>
                  </a:lnTo>
                  <a:lnTo>
                    <a:pt x="0" y="19"/>
                  </a:lnTo>
                  <a:lnTo>
                    <a:pt x="2" y="14"/>
                  </a:lnTo>
                  <a:lnTo>
                    <a:pt x="4" y="9"/>
                  </a:lnTo>
                  <a:lnTo>
                    <a:pt x="8" y="5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5" name="Freeform 1546"/>
            <p:cNvSpPr>
              <a:spLocks/>
            </p:cNvSpPr>
            <p:nvPr/>
          </p:nvSpPr>
          <p:spPr bwMode="auto">
            <a:xfrm>
              <a:off x="10136188" y="2814638"/>
              <a:ext cx="34925" cy="100013"/>
            </a:xfrm>
            <a:custGeom>
              <a:avLst/>
              <a:gdLst>
                <a:gd name="T0" fmla="*/ 21 w 22"/>
                <a:gd name="T1" fmla="*/ 0 h 63"/>
                <a:gd name="T2" fmla="*/ 22 w 22"/>
                <a:gd name="T3" fmla="*/ 17 h 63"/>
                <a:gd name="T4" fmla="*/ 22 w 22"/>
                <a:gd name="T5" fmla="*/ 32 h 63"/>
                <a:gd name="T6" fmla="*/ 21 w 22"/>
                <a:gd name="T7" fmla="*/ 46 h 63"/>
                <a:gd name="T8" fmla="*/ 19 w 22"/>
                <a:gd name="T9" fmla="*/ 54 h 63"/>
                <a:gd name="T10" fmla="*/ 17 w 22"/>
                <a:gd name="T11" fmla="*/ 57 h 63"/>
                <a:gd name="T12" fmla="*/ 14 w 22"/>
                <a:gd name="T13" fmla="*/ 60 h 63"/>
                <a:gd name="T14" fmla="*/ 10 w 22"/>
                <a:gd name="T15" fmla="*/ 62 h 63"/>
                <a:gd name="T16" fmla="*/ 5 w 22"/>
                <a:gd name="T17" fmla="*/ 63 h 63"/>
                <a:gd name="T18" fmla="*/ 0 w 22"/>
                <a:gd name="T19" fmla="*/ 63 h 63"/>
                <a:gd name="T20" fmla="*/ 8 w 22"/>
                <a:gd name="T21" fmla="*/ 53 h 63"/>
                <a:gd name="T22" fmla="*/ 13 w 22"/>
                <a:gd name="T23" fmla="*/ 39 h 63"/>
                <a:gd name="T24" fmla="*/ 17 w 22"/>
                <a:gd name="T25" fmla="*/ 24 h 63"/>
                <a:gd name="T26" fmla="*/ 19 w 22"/>
                <a:gd name="T27" fmla="*/ 10 h 63"/>
                <a:gd name="T28" fmla="*/ 21 w 22"/>
                <a:gd name="T2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" h="63">
                  <a:moveTo>
                    <a:pt x="21" y="0"/>
                  </a:moveTo>
                  <a:lnTo>
                    <a:pt x="22" y="17"/>
                  </a:lnTo>
                  <a:lnTo>
                    <a:pt x="22" y="32"/>
                  </a:lnTo>
                  <a:lnTo>
                    <a:pt x="21" y="46"/>
                  </a:lnTo>
                  <a:lnTo>
                    <a:pt x="19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0" y="62"/>
                  </a:lnTo>
                  <a:lnTo>
                    <a:pt x="5" y="63"/>
                  </a:lnTo>
                  <a:lnTo>
                    <a:pt x="0" y="63"/>
                  </a:lnTo>
                  <a:lnTo>
                    <a:pt x="8" y="53"/>
                  </a:lnTo>
                  <a:lnTo>
                    <a:pt x="13" y="39"/>
                  </a:lnTo>
                  <a:lnTo>
                    <a:pt x="17" y="24"/>
                  </a:lnTo>
                  <a:lnTo>
                    <a:pt x="19" y="1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6" name="Freeform 1547"/>
            <p:cNvSpPr>
              <a:spLocks/>
            </p:cNvSpPr>
            <p:nvPr/>
          </p:nvSpPr>
          <p:spPr bwMode="auto">
            <a:xfrm>
              <a:off x="10258426" y="2851150"/>
              <a:ext cx="317500" cy="166688"/>
            </a:xfrm>
            <a:custGeom>
              <a:avLst/>
              <a:gdLst>
                <a:gd name="T0" fmla="*/ 96 w 200"/>
                <a:gd name="T1" fmla="*/ 0 h 105"/>
                <a:gd name="T2" fmla="*/ 98 w 200"/>
                <a:gd name="T3" fmla="*/ 1 h 105"/>
                <a:gd name="T4" fmla="*/ 112 w 200"/>
                <a:gd name="T5" fmla="*/ 13 h 105"/>
                <a:gd name="T6" fmla="*/ 125 w 200"/>
                <a:gd name="T7" fmla="*/ 23 h 105"/>
                <a:gd name="T8" fmla="*/ 136 w 200"/>
                <a:gd name="T9" fmla="*/ 32 h 105"/>
                <a:gd name="T10" fmla="*/ 145 w 200"/>
                <a:gd name="T11" fmla="*/ 40 h 105"/>
                <a:gd name="T12" fmla="*/ 151 w 200"/>
                <a:gd name="T13" fmla="*/ 44 h 105"/>
                <a:gd name="T14" fmla="*/ 167 w 200"/>
                <a:gd name="T15" fmla="*/ 49 h 105"/>
                <a:gd name="T16" fmla="*/ 181 w 200"/>
                <a:gd name="T17" fmla="*/ 54 h 105"/>
                <a:gd name="T18" fmla="*/ 191 w 200"/>
                <a:gd name="T19" fmla="*/ 59 h 105"/>
                <a:gd name="T20" fmla="*/ 199 w 200"/>
                <a:gd name="T21" fmla="*/ 64 h 105"/>
                <a:gd name="T22" fmla="*/ 199 w 200"/>
                <a:gd name="T23" fmla="*/ 67 h 105"/>
                <a:gd name="T24" fmla="*/ 200 w 200"/>
                <a:gd name="T25" fmla="*/ 71 h 105"/>
                <a:gd name="T26" fmla="*/ 200 w 200"/>
                <a:gd name="T27" fmla="*/ 76 h 105"/>
                <a:gd name="T28" fmla="*/ 199 w 200"/>
                <a:gd name="T29" fmla="*/ 80 h 105"/>
                <a:gd name="T30" fmla="*/ 199 w 200"/>
                <a:gd name="T31" fmla="*/ 82 h 105"/>
                <a:gd name="T32" fmla="*/ 194 w 200"/>
                <a:gd name="T33" fmla="*/ 91 h 105"/>
                <a:gd name="T34" fmla="*/ 182 w 200"/>
                <a:gd name="T35" fmla="*/ 99 h 105"/>
                <a:gd name="T36" fmla="*/ 168 w 200"/>
                <a:gd name="T37" fmla="*/ 104 h 105"/>
                <a:gd name="T38" fmla="*/ 150 w 200"/>
                <a:gd name="T39" fmla="*/ 105 h 105"/>
                <a:gd name="T40" fmla="*/ 132 w 200"/>
                <a:gd name="T41" fmla="*/ 105 h 105"/>
                <a:gd name="T42" fmla="*/ 116 w 200"/>
                <a:gd name="T43" fmla="*/ 103 h 105"/>
                <a:gd name="T44" fmla="*/ 100 w 200"/>
                <a:gd name="T45" fmla="*/ 98 h 105"/>
                <a:gd name="T46" fmla="*/ 90 w 200"/>
                <a:gd name="T47" fmla="*/ 90 h 105"/>
                <a:gd name="T48" fmla="*/ 77 w 200"/>
                <a:gd name="T49" fmla="*/ 80 h 105"/>
                <a:gd name="T50" fmla="*/ 63 w 200"/>
                <a:gd name="T51" fmla="*/ 72 h 105"/>
                <a:gd name="T52" fmla="*/ 48 w 200"/>
                <a:gd name="T53" fmla="*/ 64 h 105"/>
                <a:gd name="T54" fmla="*/ 32 w 200"/>
                <a:gd name="T55" fmla="*/ 59 h 105"/>
                <a:gd name="T56" fmla="*/ 19 w 200"/>
                <a:gd name="T57" fmla="*/ 53 h 105"/>
                <a:gd name="T58" fmla="*/ 8 w 200"/>
                <a:gd name="T59" fmla="*/ 46 h 105"/>
                <a:gd name="T60" fmla="*/ 3 w 200"/>
                <a:gd name="T61" fmla="*/ 39 h 105"/>
                <a:gd name="T62" fmla="*/ 0 w 200"/>
                <a:gd name="T63" fmla="*/ 28 h 105"/>
                <a:gd name="T64" fmla="*/ 0 w 200"/>
                <a:gd name="T65" fmla="*/ 16 h 105"/>
                <a:gd name="T66" fmla="*/ 1 w 200"/>
                <a:gd name="T67" fmla="*/ 0 h 105"/>
                <a:gd name="T68" fmla="*/ 8 w 200"/>
                <a:gd name="T69" fmla="*/ 4 h 105"/>
                <a:gd name="T70" fmla="*/ 15 w 200"/>
                <a:gd name="T71" fmla="*/ 12 h 105"/>
                <a:gd name="T72" fmla="*/ 26 w 200"/>
                <a:gd name="T73" fmla="*/ 18 h 105"/>
                <a:gd name="T74" fmla="*/ 37 w 200"/>
                <a:gd name="T75" fmla="*/ 19 h 105"/>
                <a:gd name="T76" fmla="*/ 50 w 200"/>
                <a:gd name="T77" fmla="*/ 21 h 105"/>
                <a:gd name="T78" fmla="*/ 59 w 200"/>
                <a:gd name="T79" fmla="*/ 19 h 105"/>
                <a:gd name="T80" fmla="*/ 67 w 200"/>
                <a:gd name="T81" fmla="*/ 17 h 105"/>
                <a:gd name="T82" fmla="*/ 71 w 200"/>
                <a:gd name="T83" fmla="*/ 13 h 105"/>
                <a:gd name="T84" fmla="*/ 76 w 200"/>
                <a:gd name="T85" fmla="*/ 8 h 105"/>
                <a:gd name="T86" fmla="*/ 82 w 200"/>
                <a:gd name="T87" fmla="*/ 4 h 105"/>
                <a:gd name="T88" fmla="*/ 89 w 200"/>
                <a:gd name="T89" fmla="*/ 1 h 105"/>
                <a:gd name="T90" fmla="*/ 96 w 200"/>
                <a:gd name="T9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0" h="105">
                  <a:moveTo>
                    <a:pt x="96" y="0"/>
                  </a:moveTo>
                  <a:lnTo>
                    <a:pt x="98" y="1"/>
                  </a:lnTo>
                  <a:lnTo>
                    <a:pt x="112" y="13"/>
                  </a:lnTo>
                  <a:lnTo>
                    <a:pt x="125" y="23"/>
                  </a:lnTo>
                  <a:lnTo>
                    <a:pt x="136" y="32"/>
                  </a:lnTo>
                  <a:lnTo>
                    <a:pt x="145" y="40"/>
                  </a:lnTo>
                  <a:lnTo>
                    <a:pt x="151" y="44"/>
                  </a:lnTo>
                  <a:lnTo>
                    <a:pt x="167" y="49"/>
                  </a:lnTo>
                  <a:lnTo>
                    <a:pt x="181" y="54"/>
                  </a:lnTo>
                  <a:lnTo>
                    <a:pt x="191" y="59"/>
                  </a:lnTo>
                  <a:lnTo>
                    <a:pt x="199" y="64"/>
                  </a:lnTo>
                  <a:lnTo>
                    <a:pt x="199" y="67"/>
                  </a:lnTo>
                  <a:lnTo>
                    <a:pt x="200" y="71"/>
                  </a:lnTo>
                  <a:lnTo>
                    <a:pt x="200" y="76"/>
                  </a:lnTo>
                  <a:lnTo>
                    <a:pt x="199" y="80"/>
                  </a:lnTo>
                  <a:lnTo>
                    <a:pt x="199" y="82"/>
                  </a:lnTo>
                  <a:lnTo>
                    <a:pt x="194" y="91"/>
                  </a:lnTo>
                  <a:lnTo>
                    <a:pt x="182" y="99"/>
                  </a:lnTo>
                  <a:lnTo>
                    <a:pt x="168" y="104"/>
                  </a:lnTo>
                  <a:lnTo>
                    <a:pt x="150" y="105"/>
                  </a:lnTo>
                  <a:lnTo>
                    <a:pt x="132" y="105"/>
                  </a:lnTo>
                  <a:lnTo>
                    <a:pt x="116" y="103"/>
                  </a:lnTo>
                  <a:lnTo>
                    <a:pt x="100" y="98"/>
                  </a:lnTo>
                  <a:lnTo>
                    <a:pt x="90" y="90"/>
                  </a:lnTo>
                  <a:lnTo>
                    <a:pt x="77" y="80"/>
                  </a:lnTo>
                  <a:lnTo>
                    <a:pt x="63" y="72"/>
                  </a:lnTo>
                  <a:lnTo>
                    <a:pt x="48" y="64"/>
                  </a:lnTo>
                  <a:lnTo>
                    <a:pt x="32" y="59"/>
                  </a:lnTo>
                  <a:lnTo>
                    <a:pt x="19" y="53"/>
                  </a:lnTo>
                  <a:lnTo>
                    <a:pt x="8" y="46"/>
                  </a:lnTo>
                  <a:lnTo>
                    <a:pt x="3" y="39"/>
                  </a:lnTo>
                  <a:lnTo>
                    <a:pt x="0" y="28"/>
                  </a:lnTo>
                  <a:lnTo>
                    <a:pt x="0" y="16"/>
                  </a:lnTo>
                  <a:lnTo>
                    <a:pt x="1" y="0"/>
                  </a:lnTo>
                  <a:lnTo>
                    <a:pt x="8" y="4"/>
                  </a:lnTo>
                  <a:lnTo>
                    <a:pt x="15" y="12"/>
                  </a:lnTo>
                  <a:lnTo>
                    <a:pt x="26" y="18"/>
                  </a:lnTo>
                  <a:lnTo>
                    <a:pt x="37" y="19"/>
                  </a:lnTo>
                  <a:lnTo>
                    <a:pt x="50" y="21"/>
                  </a:lnTo>
                  <a:lnTo>
                    <a:pt x="59" y="19"/>
                  </a:lnTo>
                  <a:lnTo>
                    <a:pt x="67" y="17"/>
                  </a:lnTo>
                  <a:lnTo>
                    <a:pt x="71" y="13"/>
                  </a:lnTo>
                  <a:lnTo>
                    <a:pt x="76" y="8"/>
                  </a:lnTo>
                  <a:lnTo>
                    <a:pt x="82" y="4"/>
                  </a:lnTo>
                  <a:lnTo>
                    <a:pt x="89" y="1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7" name="Freeform 1548"/>
            <p:cNvSpPr>
              <a:spLocks/>
            </p:cNvSpPr>
            <p:nvPr/>
          </p:nvSpPr>
          <p:spPr bwMode="auto">
            <a:xfrm>
              <a:off x="10258426" y="2678113"/>
              <a:ext cx="315913" cy="320675"/>
            </a:xfrm>
            <a:custGeom>
              <a:avLst/>
              <a:gdLst>
                <a:gd name="T0" fmla="*/ 24 w 199"/>
                <a:gd name="T1" fmla="*/ 0 h 202"/>
                <a:gd name="T2" fmla="*/ 33 w 199"/>
                <a:gd name="T3" fmla="*/ 3 h 202"/>
                <a:gd name="T4" fmla="*/ 42 w 199"/>
                <a:gd name="T5" fmla="*/ 9 h 202"/>
                <a:gd name="T6" fmla="*/ 49 w 199"/>
                <a:gd name="T7" fmla="*/ 19 h 202"/>
                <a:gd name="T8" fmla="*/ 50 w 199"/>
                <a:gd name="T9" fmla="*/ 33 h 202"/>
                <a:gd name="T10" fmla="*/ 53 w 199"/>
                <a:gd name="T11" fmla="*/ 44 h 202"/>
                <a:gd name="T12" fmla="*/ 59 w 199"/>
                <a:gd name="T13" fmla="*/ 58 h 202"/>
                <a:gd name="T14" fmla="*/ 68 w 199"/>
                <a:gd name="T15" fmla="*/ 73 h 202"/>
                <a:gd name="T16" fmla="*/ 80 w 199"/>
                <a:gd name="T17" fmla="*/ 87 h 202"/>
                <a:gd name="T18" fmla="*/ 94 w 199"/>
                <a:gd name="T19" fmla="*/ 100 h 202"/>
                <a:gd name="T20" fmla="*/ 108 w 199"/>
                <a:gd name="T21" fmla="*/ 110 h 202"/>
                <a:gd name="T22" fmla="*/ 122 w 199"/>
                <a:gd name="T23" fmla="*/ 121 h 202"/>
                <a:gd name="T24" fmla="*/ 135 w 199"/>
                <a:gd name="T25" fmla="*/ 128 h 202"/>
                <a:gd name="T26" fmla="*/ 145 w 199"/>
                <a:gd name="T27" fmla="*/ 135 h 202"/>
                <a:gd name="T28" fmla="*/ 151 w 199"/>
                <a:gd name="T29" fmla="*/ 139 h 202"/>
                <a:gd name="T30" fmla="*/ 171 w 199"/>
                <a:gd name="T31" fmla="*/ 148 h 202"/>
                <a:gd name="T32" fmla="*/ 187 w 199"/>
                <a:gd name="T33" fmla="*/ 158 h 202"/>
                <a:gd name="T34" fmla="*/ 196 w 199"/>
                <a:gd name="T35" fmla="*/ 168 h 202"/>
                <a:gd name="T36" fmla="*/ 199 w 199"/>
                <a:gd name="T37" fmla="*/ 177 h 202"/>
                <a:gd name="T38" fmla="*/ 194 w 199"/>
                <a:gd name="T39" fmla="*/ 187 h 202"/>
                <a:gd name="T40" fmla="*/ 182 w 199"/>
                <a:gd name="T41" fmla="*/ 194 h 202"/>
                <a:gd name="T42" fmla="*/ 168 w 199"/>
                <a:gd name="T43" fmla="*/ 199 h 202"/>
                <a:gd name="T44" fmla="*/ 150 w 199"/>
                <a:gd name="T45" fmla="*/ 202 h 202"/>
                <a:gd name="T46" fmla="*/ 132 w 199"/>
                <a:gd name="T47" fmla="*/ 200 h 202"/>
                <a:gd name="T48" fmla="*/ 116 w 199"/>
                <a:gd name="T49" fmla="*/ 198 h 202"/>
                <a:gd name="T50" fmla="*/ 100 w 199"/>
                <a:gd name="T51" fmla="*/ 193 h 202"/>
                <a:gd name="T52" fmla="*/ 90 w 199"/>
                <a:gd name="T53" fmla="*/ 185 h 202"/>
                <a:gd name="T54" fmla="*/ 77 w 199"/>
                <a:gd name="T55" fmla="*/ 175 h 202"/>
                <a:gd name="T56" fmla="*/ 63 w 199"/>
                <a:gd name="T57" fmla="*/ 167 h 202"/>
                <a:gd name="T58" fmla="*/ 48 w 199"/>
                <a:gd name="T59" fmla="*/ 160 h 202"/>
                <a:gd name="T60" fmla="*/ 32 w 199"/>
                <a:gd name="T61" fmla="*/ 154 h 202"/>
                <a:gd name="T62" fmla="*/ 19 w 199"/>
                <a:gd name="T63" fmla="*/ 148 h 202"/>
                <a:gd name="T64" fmla="*/ 8 w 199"/>
                <a:gd name="T65" fmla="*/ 141 h 202"/>
                <a:gd name="T66" fmla="*/ 3 w 199"/>
                <a:gd name="T67" fmla="*/ 134 h 202"/>
                <a:gd name="T68" fmla="*/ 0 w 199"/>
                <a:gd name="T69" fmla="*/ 123 h 202"/>
                <a:gd name="T70" fmla="*/ 0 w 199"/>
                <a:gd name="T71" fmla="*/ 108 h 202"/>
                <a:gd name="T72" fmla="*/ 1 w 199"/>
                <a:gd name="T73" fmla="*/ 91 h 202"/>
                <a:gd name="T74" fmla="*/ 4 w 199"/>
                <a:gd name="T75" fmla="*/ 73 h 202"/>
                <a:gd name="T76" fmla="*/ 5 w 199"/>
                <a:gd name="T77" fmla="*/ 54 h 202"/>
                <a:gd name="T78" fmla="*/ 5 w 199"/>
                <a:gd name="T79" fmla="*/ 37 h 202"/>
                <a:gd name="T80" fmla="*/ 3 w 199"/>
                <a:gd name="T81" fmla="*/ 23 h 202"/>
                <a:gd name="T82" fmla="*/ 3 w 199"/>
                <a:gd name="T83" fmla="*/ 13 h 202"/>
                <a:gd name="T84" fmla="*/ 6 w 199"/>
                <a:gd name="T85" fmla="*/ 5 h 202"/>
                <a:gd name="T86" fmla="*/ 14 w 199"/>
                <a:gd name="T87" fmla="*/ 1 h 202"/>
                <a:gd name="T88" fmla="*/ 24 w 199"/>
                <a:gd name="T8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202">
                  <a:moveTo>
                    <a:pt x="24" y="0"/>
                  </a:moveTo>
                  <a:lnTo>
                    <a:pt x="33" y="3"/>
                  </a:lnTo>
                  <a:lnTo>
                    <a:pt x="42" y="9"/>
                  </a:lnTo>
                  <a:lnTo>
                    <a:pt x="49" y="19"/>
                  </a:lnTo>
                  <a:lnTo>
                    <a:pt x="50" y="33"/>
                  </a:lnTo>
                  <a:lnTo>
                    <a:pt x="53" y="44"/>
                  </a:lnTo>
                  <a:lnTo>
                    <a:pt x="59" y="58"/>
                  </a:lnTo>
                  <a:lnTo>
                    <a:pt x="68" y="73"/>
                  </a:lnTo>
                  <a:lnTo>
                    <a:pt x="80" y="87"/>
                  </a:lnTo>
                  <a:lnTo>
                    <a:pt x="94" y="100"/>
                  </a:lnTo>
                  <a:lnTo>
                    <a:pt x="108" y="110"/>
                  </a:lnTo>
                  <a:lnTo>
                    <a:pt x="122" y="121"/>
                  </a:lnTo>
                  <a:lnTo>
                    <a:pt x="135" y="128"/>
                  </a:lnTo>
                  <a:lnTo>
                    <a:pt x="145" y="135"/>
                  </a:lnTo>
                  <a:lnTo>
                    <a:pt x="151" y="139"/>
                  </a:lnTo>
                  <a:lnTo>
                    <a:pt x="171" y="148"/>
                  </a:lnTo>
                  <a:lnTo>
                    <a:pt x="187" y="158"/>
                  </a:lnTo>
                  <a:lnTo>
                    <a:pt x="196" y="168"/>
                  </a:lnTo>
                  <a:lnTo>
                    <a:pt x="199" y="177"/>
                  </a:lnTo>
                  <a:lnTo>
                    <a:pt x="194" y="187"/>
                  </a:lnTo>
                  <a:lnTo>
                    <a:pt x="182" y="194"/>
                  </a:lnTo>
                  <a:lnTo>
                    <a:pt x="168" y="199"/>
                  </a:lnTo>
                  <a:lnTo>
                    <a:pt x="150" y="202"/>
                  </a:lnTo>
                  <a:lnTo>
                    <a:pt x="132" y="200"/>
                  </a:lnTo>
                  <a:lnTo>
                    <a:pt x="116" y="198"/>
                  </a:lnTo>
                  <a:lnTo>
                    <a:pt x="100" y="193"/>
                  </a:lnTo>
                  <a:lnTo>
                    <a:pt x="90" y="185"/>
                  </a:lnTo>
                  <a:lnTo>
                    <a:pt x="77" y="175"/>
                  </a:lnTo>
                  <a:lnTo>
                    <a:pt x="63" y="167"/>
                  </a:lnTo>
                  <a:lnTo>
                    <a:pt x="48" y="160"/>
                  </a:lnTo>
                  <a:lnTo>
                    <a:pt x="32" y="154"/>
                  </a:lnTo>
                  <a:lnTo>
                    <a:pt x="19" y="148"/>
                  </a:lnTo>
                  <a:lnTo>
                    <a:pt x="8" y="141"/>
                  </a:lnTo>
                  <a:lnTo>
                    <a:pt x="3" y="134"/>
                  </a:lnTo>
                  <a:lnTo>
                    <a:pt x="0" y="123"/>
                  </a:lnTo>
                  <a:lnTo>
                    <a:pt x="0" y="108"/>
                  </a:lnTo>
                  <a:lnTo>
                    <a:pt x="1" y="91"/>
                  </a:lnTo>
                  <a:lnTo>
                    <a:pt x="4" y="73"/>
                  </a:lnTo>
                  <a:lnTo>
                    <a:pt x="5" y="54"/>
                  </a:lnTo>
                  <a:lnTo>
                    <a:pt x="5" y="37"/>
                  </a:lnTo>
                  <a:lnTo>
                    <a:pt x="3" y="23"/>
                  </a:lnTo>
                  <a:lnTo>
                    <a:pt x="3" y="13"/>
                  </a:lnTo>
                  <a:lnTo>
                    <a:pt x="6" y="5"/>
                  </a:lnTo>
                  <a:lnTo>
                    <a:pt x="14" y="1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8" name="Freeform 1549"/>
            <p:cNvSpPr>
              <a:spLocks/>
            </p:cNvSpPr>
            <p:nvPr/>
          </p:nvSpPr>
          <p:spPr bwMode="auto">
            <a:xfrm>
              <a:off x="10258426" y="2754313"/>
              <a:ext cx="314325" cy="244475"/>
            </a:xfrm>
            <a:custGeom>
              <a:avLst/>
              <a:gdLst>
                <a:gd name="T0" fmla="*/ 54 w 198"/>
                <a:gd name="T1" fmla="*/ 0 h 154"/>
                <a:gd name="T2" fmla="*/ 64 w 198"/>
                <a:gd name="T3" fmla="*/ 1 h 154"/>
                <a:gd name="T4" fmla="*/ 72 w 198"/>
                <a:gd name="T5" fmla="*/ 3 h 154"/>
                <a:gd name="T6" fmla="*/ 77 w 198"/>
                <a:gd name="T7" fmla="*/ 6 h 154"/>
                <a:gd name="T8" fmla="*/ 78 w 198"/>
                <a:gd name="T9" fmla="*/ 10 h 154"/>
                <a:gd name="T10" fmla="*/ 74 w 198"/>
                <a:gd name="T11" fmla="*/ 18 h 154"/>
                <a:gd name="T12" fmla="*/ 73 w 198"/>
                <a:gd name="T13" fmla="*/ 25 h 154"/>
                <a:gd name="T14" fmla="*/ 76 w 198"/>
                <a:gd name="T15" fmla="*/ 33 h 154"/>
                <a:gd name="T16" fmla="*/ 87 w 198"/>
                <a:gd name="T17" fmla="*/ 46 h 154"/>
                <a:gd name="T18" fmla="*/ 100 w 198"/>
                <a:gd name="T19" fmla="*/ 56 h 154"/>
                <a:gd name="T20" fmla="*/ 114 w 198"/>
                <a:gd name="T21" fmla="*/ 66 h 154"/>
                <a:gd name="T22" fmla="*/ 128 w 198"/>
                <a:gd name="T23" fmla="*/ 77 h 154"/>
                <a:gd name="T24" fmla="*/ 140 w 198"/>
                <a:gd name="T25" fmla="*/ 83 h 154"/>
                <a:gd name="T26" fmla="*/ 149 w 198"/>
                <a:gd name="T27" fmla="*/ 88 h 154"/>
                <a:gd name="T28" fmla="*/ 153 w 198"/>
                <a:gd name="T29" fmla="*/ 91 h 154"/>
                <a:gd name="T30" fmla="*/ 172 w 198"/>
                <a:gd name="T31" fmla="*/ 100 h 154"/>
                <a:gd name="T32" fmla="*/ 186 w 198"/>
                <a:gd name="T33" fmla="*/ 110 h 154"/>
                <a:gd name="T34" fmla="*/ 195 w 198"/>
                <a:gd name="T35" fmla="*/ 120 h 154"/>
                <a:gd name="T36" fmla="*/ 198 w 198"/>
                <a:gd name="T37" fmla="*/ 129 h 154"/>
                <a:gd name="T38" fmla="*/ 191 w 198"/>
                <a:gd name="T39" fmla="*/ 139 h 154"/>
                <a:gd name="T40" fmla="*/ 181 w 198"/>
                <a:gd name="T41" fmla="*/ 147 h 154"/>
                <a:gd name="T42" fmla="*/ 167 w 198"/>
                <a:gd name="T43" fmla="*/ 151 h 154"/>
                <a:gd name="T44" fmla="*/ 149 w 198"/>
                <a:gd name="T45" fmla="*/ 154 h 154"/>
                <a:gd name="T46" fmla="*/ 132 w 198"/>
                <a:gd name="T47" fmla="*/ 152 h 154"/>
                <a:gd name="T48" fmla="*/ 116 w 198"/>
                <a:gd name="T49" fmla="*/ 150 h 154"/>
                <a:gd name="T50" fmla="*/ 100 w 198"/>
                <a:gd name="T51" fmla="*/ 145 h 154"/>
                <a:gd name="T52" fmla="*/ 90 w 198"/>
                <a:gd name="T53" fmla="*/ 137 h 154"/>
                <a:gd name="T54" fmla="*/ 77 w 198"/>
                <a:gd name="T55" fmla="*/ 127 h 154"/>
                <a:gd name="T56" fmla="*/ 63 w 198"/>
                <a:gd name="T57" fmla="*/ 119 h 154"/>
                <a:gd name="T58" fmla="*/ 48 w 198"/>
                <a:gd name="T59" fmla="*/ 112 h 154"/>
                <a:gd name="T60" fmla="*/ 32 w 198"/>
                <a:gd name="T61" fmla="*/ 106 h 154"/>
                <a:gd name="T62" fmla="*/ 19 w 198"/>
                <a:gd name="T63" fmla="*/ 100 h 154"/>
                <a:gd name="T64" fmla="*/ 8 w 198"/>
                <a:gd name="T65" fmla="*/ 93 h 154"/>
                <a:gd name="T66" fmla="*/ 3 w 198"/>
                <a:gd name="T67" fmla="*/ 86 h 154"/>
                <a:gd name="T68" fmla="*/ 0 w 198"/>
                <a:gd name="T69" fmla="*/ 77 h 154"/>
                <a:gd name="T70" fmla="*/ 0 w 198"/>
                <a:gd name="T71" fmla="*/ 61 h 154"/>
                <a:gd name="T72" fmla="*/ 0 w 198"/>
                <a:gd name="T73" fmla="*/ 43 h 154"/>
                <a:gd name="T74" fmla="*/ 1 w 198"/>
                <a:gd name="T75" fmla="*/ 24 h 154"/>
                <a:gd name="T76" fmla="*/ 4 w 198"/>
                <a:gd name="T77" fmla="*/ 7 h 154"/>
                <a:gd name="T78" fmla="*/ 5 w 198"/>
                <a:gd name="T79" fmla="*/ 11 h 154"/>
                <a:gd name="T80" fmla="*/ 6 w 198"/>
                <a:gd name="T81" fmla="*/ 15 h 154"/>
                <a:gd name="T82" fmla="*/ 8 w 198"/>
                <a:gd name="T83" fmla="*/ 19 h 154"/>
                <a:gd name="T84" fmla="*/ 13 w 198"/>
                <a:gd name="T85" fmla="*/ 21 h 154"/>
                <a:gd name="T86" fmla="*/ 21 w 198"/>
                <a:gd name="T87" fmla="*/ 23 h 154"/>
                <a:gd name="T88" fmla="*/ 33 w 198"/>
                <a:gd name="T89" fmla="*/ 21 h 154"/>
                <a:gd name="T90" fmla="*/ 33 w 198"/>
                <a:gd name="T91" fmla="*/ 18 h 154"/>
                <a:gd name="T92" fmla="*/ 35 w 198"/>
                <a:gd name="T93" fmla="*/ 14 h 154"/>
                <a:gd name="T94" fmla="*/ 35 w 198"/>
                <a:gd name="T95" fmla="*/ 10 h 154"/>
                <a:gd name="T96" fmla="*/ 36 w 198"/>
                <a:gd name="T97" fmla="*/ 6 h 154"/>
                <a:gd name="T98" fmla="*/ 39 w 198"/>
                <a:gd name="T99" fmla="*/ 2 h 154"/>
                <a:gd name="T100" fmla="*/ 45 w 198"/>
                <a:gd name="T101" fmla="*/ 0 h 154"/>
                <a:gd name="T102" fmla="*/ 54 w 198"/>
                <a:gd name="T10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8" h="154">
                  <a:moveTo>
                    <a:pt x="54" y="0"/>
                  </a:moveTo>
                  <a:lnTo>
                    <a:pt x="64" y="1"/>
                  </a:lnTo>
                  <a:lnTo>
                    <a:pt x="72" y="3"/>
                  </a:lnTo>
                  <a:lnTo>
                    <a:pt x="77" y="6"/>
                  </a:lnTo>
                  <a:lnTo>
                    <a:pt x="78" y="10"/>
                  </a:lnTo>
                  <a:lnTo>
                    <a:pt x="74" y="18"/>
                  </a:lnTo>
                  <a:lnTo>
                    <a:pt x="73" y="25"/>
                  </a:lnTo>
                  <a:lnTo>
                    <a:pt x="76" y="33"/>
                  </a:lnTo>
                  <a:lnTo>
                    <a:pt x="87" y="46"/>
                  </a:lnTo>
                  <a:lnTo>
                    <a:pt x="100" y="56"/>
                  </a:lnTo>
                  <a:lnTo>
                    <a:pt x="114" y="66"/>
                  </a:lnTo>
                  <a:lnTo>
                    <a:pt x="128" y="77"/>
                  </a:lnTo>
                  <a:lnTo>
                    <a:pt x="140" y="83"/>
                  </a:lnTo>
                  <a:lnTo>
                    <a:pt x="149" y="88"/>
                  </a:lnTo>
                  <a:lnTo>
                    <a:pt x="153" y="91"/>
                  </a:lnTo>
                  <a:lnTo>
                    <a:pt x="172" y="100"/>
                  </a:lnTo>
                  <a:lnTo>
                    <a:pt x="186" y="110"/>
                  </a:lnTo>
                  <a:lnTo>
                    <a:pt x="195" y="120"/>
                  </a:lnTo>
                  <a:lnTo>
                    <a:pt x="198" y="129"/>
                  </a:lnTo>
                  <a:lnTo>
                    <a:pt x="191" y="139"/>
                  </a:lnTo>
                  <a:lnTo>
                    <a:pt x="181" y="147"/>
                  </a:lnTo>
                  <a:lnTo>
                    <a:pt x="167" y="151"/>
                  </a:lnTo>
                  <a:lnTo>
                    <a:pt x="149" y="154"/>
                  </a:lnTo>
                  <a:lnTo>
                    <a:pt x="132" y="152"/>
                  </a:lnTo>
                  <a:lnTo>
                    <a:pt x="116" y="150"/>
                  </a:lnTo>
                  <a:lnTo>
                    <a:pt x="100" y="145"/>
                  </a:lnTo>
                  <a:lnTo>
                    <a:pt x="90" y="137"/>
                  </a:lnTo>
                  <a:lnTo>
                    <a:pt x="77" y="127"/>
                  </a:lnTo>
                  <a:lnTo>
                    <a:pt x="63" y="119"/>
                  </a:lnTo>
                  <a:lnTo>
                    <a:pt x="48" y="112"/>
                  </a:lnTo>
                  <a:lnTo>
                    <a:pt x="32" y="106"/>
                  </a:lnTo>
                  <a:lnTo>
                    <a:pt x="19" y="100"/>
                  </a:lnTo>
                  <a:lnTo>
                    <a:pt x="8" y="93"/>
                  </a:lnTo>
                  <a:lnTo>
                    <a:pt x="3" y="86"/>
                  </a:lnTo>
                  <a:lnTo>
                    <a:pt x="0" y="77"/>
                  </a:lnTo>
                  <a:lnTo>
                    <a:pt x="0" y="61"/>
                  </a:lnTo>
                  <a:lnTo>
                    <a:pt x="0" y="43"/>
                  </a:lnTo>
                  <a:lnTo>
                    <a:pt x="1" y="24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13" y="21"/>
                  </a:lnTo>
                  <a:lnTo>
                    <a:pt x="21" y="23"/>
                  </a:lnTo>
                  <a:lnTo>
                    <a:pt x="33" y="21"/>
                  </a:lnTo>
                  <a:lnTo>
                    <a:pt x="33" y="18"/>
                  </a:lnTo>
                  <a:lnTo>
                    <a:pt x="35" y="14"/>
                  </a:lnTo>
                  <a:lnTo>
                    <a:pt x="35" y="10"/>
                  </a:lnTo>
                  <a:lnTo>
                    <a:pt x="36" y="6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9" name="Freeform 1550"/>
            <p:cNvSpPr>
              <a:spLocks/>
            </p:cNvSpPr>
            <p:nvPr/>
          </p:nvSpPr>
          <p:spPr bwMode="auto">
            <a:xfrm>
              <a:off x="10306051" y="2787650"/>
              <a:ext cx="204788" cy="147638"/>
            </a:xfrm>
            <a:custGeom>
              <a:avLst/>
              <a:gdLst>
                <a:gd name="T0" fmla="*/ 3 w 129"/>
                <a:gd name="T1" fmla="*/ 0 h 93"/>
                <a:gd name="T2" fmla="*/ 7 w 129"/>
                <a:gd name="T3" fmla="*/ 8 h 93"/>
                <a:gd name="T4" fmla="*/ 12 w 129"/>
                <a:gd name="T5" fmla="*/ 17 h 93"/>
                <a:gd name="T6" fmla="*/ 21 w 129"/>
                <a:gd name="T7" fmla="*/ 27 h 93"/>
                <a:gd name="T8" fmla="*/ 30 w 129"/>
                <a:gd name="T9" fmla="*/ 39 h 93"/>
                <a:gd name="T10" fmla="*/ 41 w 129"/>
                <a:gd name="T11" fmla="*/ 50 h 93"/>
                <a:gd name="T12" fmla="*/ 50 w 129"/>
                <a:gd name="T13" fmla="*/ 59 h 93"/>
                <a:gd name="T14" fmla="*/ 50 w 129"/>
                <a:gd name="T15" fmla="*/ 59 h 93"/>
                <a:gd name="T16" fmla="*/ 59 w 129"/>
                <a:gd name="T17" fmla="*/ 67 h 93"/>
                <a:gd name="T18" fmla="*/ 66 w 129"/>
                <a:gd name="T19" fmla="*/ 75 h 93"/>
                <a:gd name="T20" fmla="*/ 73 w 129"/>
                <a:gd name="T21" fmla="*/ 80 h 93"/>
                <a:gd name="T22" fmla="*/ 80 w 129"/>
                <a:gd name="T23" fmla="*/ 84 h 93"/>
                <a:gd name="T24" fmla="*/ 95 w 129"/>
                <a:gd name="T25" fmla="*/ 88 h 93"/>
                <a:gd name="T26" fmla="*/ 105 w 129"/>
                <a:gd name="T27" fmla="*/ 89 h 93"/>
                <a:gd name="T28" fmla="*/ 114 w 129"/>
                <a:gd name="T29" fmla="*/ 86 h 93"/>
                <a:gd name="T30" fmla="*/ 121 w 129"/>
                <a:gd name="T31" fmla="*/ 83 h 93"/>
                <a:gd name="T32" fmla="*/ 121 w 129"/>
                <a:gd name="T33" fmla="*/ 83 h 93"/>
                <a:gd name="T34" fmla="*/ 124 w 129"/>
                <a:gd name="T35" fmla="*/ 80 h 93"/>
                <a:gd name="T36" fmla="*/ 125 w 129"/>
                <a:gd name="T37" fmla="*/ 76 h 93"/>
                <a:gd name="T38" fmla="*/ 124 w 129"/>
                <a:gd name="T39" fmla="*/ 75 h 93"/>
                <a:gd name="T40" fmla="*/ 125 w 129"/>
                <a:gd name="T41" fmla="*/ 71 h 93"/>
                <a:gd name="T42" fmla="*/ 129 w 129"/>
                <a:gd name="T43" fmla="*/ 75 h 93"/>
                <a:gd name="T44" fmla="*/ 129 w 129"/>
                <a:gd name="T45" fmla="*/ 76 h 93"/>
                <a:gd name="T46" fmla="*/ 128 w 129"/>
                <a:gd name="T47" fmla="*/ 81 h 93"/>
                <a:gd name="T48" fmla="*/ 123 w 129"/>
                <a:gd name="T49" fmla="*/ 86 h 93"/>
                <a:gd name="T50" fmla="*/ 115 w 129"/>
                <a:gd name="T51" fmla="*/ 90 h 93"/>
                <a:gd name="T52" fmla="*/ 106 w 129"/>
                <a:gd name="T53" fmla="*/ 93 h 93"/>
                <a:gd name="T54" fmla="*/ 105 w 129"/>
                <a:gd name="T55" fmla="*/ 93 h 93"/>
                <a:gd name="T56" fmla="*/ 93 w 129"/>
                <a:gd name="T57" fmla="*/ 91 h 93"/>
                <a:gd name="T58" fmla="*/ 79 w 129"/>
                <a:gd name="T59" fmla="*/ 88 h 93"/>
                <a:gd name="T60" fmla="*/ 71 w 129"/>
                <a:gd name="T61" fmla="*/ 84 h 93"/>
                <a:gd name="T62" fmla="*/ 65 w 129"/>
                <a:gd name="T63" fmla="*/ 79 h 93"/>
                <a:gd name="T64" fmla="*/ 57 w 129"/>
                <a:gd name="T65" fmla="*/ 71 h 93"/>
                <a:gd name="T66" fmla="*/ 48 w 129"/>
                <a:gd name="T67" fmla="*/ 63 h 93"/>
                <a:gd name="T68" fmla="*/ 37 w 129"/>
                <a:gd name="T69" fmla="*/ 52 h 93"/>
                <a:gd name="T70" fmla="*/ 26 w 129"/>
                <a:gd name="T71" fmla="*/ 40 h 93"/>
                <a:gd name="T72" fmla="*/ 18 w 129"/>
                <a:gd name="T73" fmla="*/ 29 h 93"/>
                <a:gd name="T74" fmla="*/ 9 w 129"/>
                <a:gd name="T75" fmla="*/ 18 h 93"/>
                <a:gd name="T76" fmla="*/ 3 w 129"/>
                <a:gd name="T77" fmla="*/ 9 h 93"/>
                <a:gd name="T78" fmla="*/ 0 w 129"/>
                <a:gd name="T79" fmla="*/ 2 h 93"/>
                <a:gd name="T80" fmla="*/ 3 w 129"/>
                <a:gd name="T8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9" h="93">
                  <a:moveTo>
                    <a:pt x="3" y="0"/>
                  </a:moveTo>
                  <a:lnTo>
                    <a:pt x="7" y="8"/>
                  </a:lnTo>
                  <a:lnTo>
                    <a:pt x="12" y="17"/>
                  </a:lnTo>
                  <a:lnTo>
                    <a:pt x="21" y="27"/>
                  </a:lnTo>
                  <a:lnTo>
                    <a:pt x="30" y="39"/>
                  </a:lnTo>
                  <a:lnTo>
                    <a:pt x="41" y="5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67"/>
                  </a:lnTo>
                  <a:lnTo>
                    <a:pt x="66" y="75"/>
                  </a:lnTo>
                  <a:lnTo>
                    <a:pt x="73" y="80"/>
                  </a:lnTo>
                  <a:lnTo>
                    <a:pt x="80" y="84"/>
                  </a:lnTo>
                  <a:lnTo>
                    <a:pt x="95" y="88"/>
                  </a:lnTo>
                  <a:lnTo>
                    <a:pt x="105" y="89"/>
                  </a:lnTo>
                  <a:lnTo>
                    <a:pt x="114" y="86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4" y="80"/>
                  </a:lnTo>
                  <a:lnTo>
                    <a:pt x="125" y="76"/>
                  </a:lnTo>
                  <a:lnTo>
                    <a:pt x="124" y="75"/>
                  </a:lnTo>
                  <a:lnTo>
                    <a:pt x="125" y="71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8" y="81"/>
                  </a:lnTo>
                  <a:lnTo>
                    <a:pt x="123" y="86"/>
                  </a:lnTo>
                  <a:lnTo>
                    <a:pt x="115" y="90"/>
                  </a:lnTo>
                  <a:lnTo>
                    <a:pt x="106" y="93"/>
                  </a:lnTo>
                  <a:lnTo>
                    <a:pt x="105" y="93"/>
                  </a:lnTo>
                  <a:lnTo>
                    <a:pt x="93" y="91"/>
                  </a:lnTo>
                  <a:lnTo>
                    <a:pt x="79" y="88"/>
                  </a:lnTo>
                  <a:lnTo>
                    <a:pt x="71" y="84"/>
                  </a:lnTo>
                  <a:lnTo>
                    <a:pt x="65" y="79"/>
                  </a:lnTo>
                  <a:lnTo>
                    <a:pt x="57" y="71"/>
                  </a:lnTo>
                  <a:lnTo>
                    <a:pt x="48" y="63"/>
                  </a:lnTo>
                  <a:lnTo>
                    <a:pt x="37" y="52"/>
                  </a:lnTo>
                  <a:lnTo>
                    <a:pt x="26" y="40"/>
                  </a:lnTo>
                  <a:lnTo>
                    <a:pt x="18" y="29"/>
                  </a:lnTo>
                  <a:lnTo>
                    <a:pt x="9" y="18"/>
                  </a:lnTo>
                  <a:lnTo>
                    <a:pt x="3" y="9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0" name="Line 1551"/>
            <p:cNvSpPr>
              <a:spLocks noChangeShapeType="1"/>
            </p:cNvSpPr>
            <p:nvPr/>
          </p:nvSpPr>
          <p:spPr bwMode="auto">
            <a:xfrm flipV="1">
              <a:off x="10401301" y="2844800"/>
              <a:ext cx="20638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1" name="Line 1552"/>
            <p:cNvSpPr>
              <a:spLocks noChangeShapeType="1"/>
            </p:cNvSpPr>
            <p:nvPr/>
          </p:nvSpPr>
          <p:spPr bwMode="auto">
            <a:xfrm flipV="1">
              <a:off x="10382251" y="2824163"/>
              <a:ext cx="20638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2" name="Line 1553"/>
            <p:cNvSpPr>
              <a:spLocks noChangeShapeType="1"/>
            </p:cNvSpPr>
            <p:nvPr/>
          </p:nvSpPr>
          <p:spPr bwMode="auto">
            <a:xfrm flipV="1">
              <a:off x="10364788" y="2813050"/>
              <a:ext cx="20638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3" name="Line 1554"/>
            <p:cNvSpPr>
              <a:spLocks noChangeShapeType="1"/>
            </p:cNvSpPr>
            <p:nvPr/>
          </p:nvSpPr>
          <p:spPr bwMode="auto">
            <a:xfrm flipH="1">
              <a:off x="10388601" y="2863850"/>
              <a:ext cx="57150" cy="317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4" name="Line 1555"/>
            <p:cNvSpPr>
              <a:spLocks noChangeShapeType="1"/>
            </p:cNvSpPr>
            <p:nvPr/>
          </p:nvSpPr>
          <p:spPr bwMode="auto">
            <a:xfrm flipH="1">
              <a:off x="10366376" y="2844800"/>
              <a:ext cx="57150" cy="47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5" name="Line 1556"/>
            <p:cNvSpPr>
              <a:spLocks noChangeShapeType="1"/>
            </p:cNvSpPr>
            <p:nvPr/>
          </p:nvSpPr>
          <p:spPr bwMode="auto">
            <a:xfrm flipH="1">
              <a:off x="10347326" y="2827338"/>
              <a:ext cx="57150" cy="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6" name="Line 1557"/>
            <p:cNvSpPr>
              <a:spLocks noChangeShapeType="1"/>
            </p:cNvSpPr>
            <p:nvPr/>
          </p:nvSpPr>
          <p:spPr bwMode="auto">
            <a:xfrm flipV="1">
              <a:off x="10428288" y="2862263"/>
              <a:ext cx="17463" cy="3810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7" name="Line 1558"/>
            <p:cNvSpPr>
              <a:spLocks noChangeShapeType="1"/>
            </p:cNvSpPr>
            <p:nvPr/>
          </p:nvSpPr>
          <p:spPr bwMode="auto">
            <a:xfrm flipH="1">
              <a:off x="10404476" y="2879725"/>
              <a:ext cx="63500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8" name="Line 1559"/>
            <p:cNvSpPr>
              <a:spLocks noChangeShapeType="1"/>
            </p:cNvSpPr>
            <p:nvPr/>
          </p:nvSpPr>
          <p:spPr bwMode="auto">
            <a:xfrm flipH="1">
              <a:off x="10425113" y="2895600"/>
              <a:ext cx="71438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9" name="Line 1560"/>
            <p:cNvSpPr>
              <a:spLocks noChangeShapeType="1"/>
            </p:cNvSpPr>
            <p:nvPr/>
          </p:nvSpPr>
          <p:spPr bwMode="auto">
            <a:xfrm flipV="1">
              <a:off x="10453688" y="2879725"/>
              <a:ext cx="14288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0" name="Freeform 1561"/>
            <p:cNvSpPr>
              <a:spLocks/>
            </p:cNvSpPr>
            <p:nvPr/>
          </p:nvSpPr>
          <p:spPr bwMode="auto">
            <a:xfrm>
              <a:off x="10488613" y="2928938"/>
              <a:ext cx="85725" cy="71438"/>
            </a:xfrm>
            <a:custGeom>
              <a:avLst/>
              <a:gdLst>
                <a:gd name="T0" fmla="*/ 41 w 54"/>
                <a:gd name="T1" fmla="*/ 0 h 45"/>
                <a:gd name="T2" fmla="*/ 41 w 54"/>
                <a:gd name="T3" fmla="*/ 0 h 45"/>
                <a:gd name="T4" fmla="*/ 48 w 54"/>
                <a:gd name="T5" fmla="*/ 5 h 45"/>
                <a:gd name="T6" fmla="*/ 51 w 54"/>
                <a:gd name="T7" fmla="*/ 9 h 45"/>
                <a:gd name="T8" fmla="*/ 53 w 54"/>
                <a:gd name="T9" fmla="*/ 14 h 45"/>
                <a:gd name="T10" fmla="*/ 54 w 54"/>
                <a:gd name="T11" fmla="*/ 19 h 45"/>
                <a:gd name="T12" fmla="*/ 53 w 54"/>
                <a:gd name="T13" fmla="*/ 29 h 45"/>
                <a:gd name="T14" fmla="*/ 48 w 54"/>
                <a:gd name="T15" fmla="*/ 36 h 45"/>
                <a:gd name="T16" fmla="*/ 39 w 54"/>
                <a:gd name="T17" fmla="*/ 41 h 45"/>
                <a:gd name="T18" fmla="*/ 27 w 54"/>
                <a:gd name="T19" fmla="*/ 44 h 45"/>
                <a:gd name="T20" fmla="*/ 14 w 54"/>
                <a:gd name="T21" fmla="*/ 45 h 45"/>
                <a:gd name="T22" fmla="*/ 0 w 54"/>
                <a:gd name="T23" fmla="*/ 44 h 45"/>
                <a:gd name="T24" fmla="*/ 4 w 54"/>
                <a:gd name="T25" fmla="*/ 27 h 45"/>
                <a:gd name="T26" fmla="*/ 13 w 54"/>
                <a:gd name="T27" fmla="*/ 13 h 45"/>
                <a:gd name="T28" fmla="*/ 26 w 54"/>
                <a:gd name="T29" fmla="*/ 4 h 45"/>
                <a:gd name="T30" fmla="*/ 41 w 54"/>
                <a:gd name="T3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45">
                  <a:moveTo>
                    <a:pt x="41" y="0"/>
                  </a:moveTo>
                  <a:lnTo>
                    <a:pt x="41" y="0"/>
                  </a:lnTo>
                  <a:lnTo>
                    <a:pt x="48" y="5"/>
                  </a:lnTo>
                  <a:lnTo>
                    <a:pt x="51" y="9"/>
                  </a:lnTo>
                  <a:lnTo>
                    <a:pt x="53" y="14"/>
                  </a:lnTo>
                  <a:lnTo>
                    <a:pt x="54" y="19"/>
                  </a:lnTo>
                  <a:lnTo>
                    <a:pt x="53" y="29"/>
                  </a:lnTo>
                  <a:lnTo>
                    <a:pt x="48" y="36"/>
                  </a:lnTo>
                  <a:lnTo>
                    <a:pt x="39" y="41"/>
                  </a:lnTo>
                  <a:lnTo>
                    <a:pt x="27" y="44"/>
                  </a:lnTo>
                  <a:lnTo>
                    <a:pt x="14" y="45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3" y="13"/>
                  </a:lnTo>
                  <a:lnTo>
                    <a:pt x="26" y="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1" name="Freeform 1562"/>
            <p:cNvSpPr>
              <a:spLocks/>
            </p:cNvSpPr>
            <p:nvPr/>
          </p:nvSpPr>
          <p:spPr bwMode="auto">
            <a:xfrm>
              <a:off x="10253663" y="2814638"/>
              <a:ext cx="38100" cy="100013"/>
            </a:xfrm>
            <a:custGeom>
              <a:avLst/>
              <a:gdLst>
                <a:gd name="T0" fmla="*/ 2 w 24"/>
                <a:gd name="T1" fmla="*/ 0 h 63"/>
                <a:gd name="T2" fmla="*/ 3 w 24"/>
                <a:gd name="T3" fmla="*/ 10 h 63"/>
                <a:gd name="T4" fmla="*/ 6 w 24"/>
                <a:gd name="T5" fmla="*/ 24 h 63"/>
                <a:gd name="T6" fmla="*/ 9 w 24"/>
                <a:gd name="T7" fmla="*/ 39 h 63"/>
                <a:gd name="T8" fmla="*/ 16 w 24"/>
                <a:gd name="T9" fmla="*/ 53 h 63"/>
                <a:gd name="T10" fmla="*/ 24 w 24"/>
                <a:gd name="T11" fmla="*/ 63 h 63"/>
                <a:gd name="T12" fmla="*/ 18 w 24"/>
                <a:gd name="T13" fmla="*/ 63 h 63"/>
                <a:gd name="T14" fmla="*/ 13 w 24"/>
                <a:gd name="T15" fmla="*/ 62 h 63"/>
                <a:gd name="T16" fmla="*/ 9 w 24"/>
                <a:gd name="T17" fmla="*/ 60 h 63"/>
                <a:gd name="T18" fmla="*/ 6 w 24"/>
                <a:gd name="T19" fmla="*/ 57 h 63"/>
                <a:gd name="T20" fmla="*/ 3 w 24"/>
                <a:gd name="T21" fmla="*/ 54 h 63"/>
                <a:gd name="T22" fmla="*/ 2 w 24"/>
                <a:gd name="T23" fmla="*/ 46 h 63"/>
                <a:gd name="T24" fmla="*/ 0 w 24"/>
                <a:gd name="T25" fmla="*/ 32 h 63"/>
                <a:gd name="T26" fmla="*/ 0 w 24"/>
                <a:gd name="T27" fmla="*/ 17 h 63"/>
                <a:gd name="T28" fmla="*/ 2 w 24"/>
                <a:gd name="T2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63">
                  <a:moveTo>
                    <a:pt x="2" y="0"/>
                  </a:moveTo>
                  <a:lnTo>
                    <a:pt x="3" y="10"/>
                  </a:lnTo>
                  <a:lnTo>
                    <a:pt x="6" y="24"/>
                  </a:lnTo>
                  <a:lnTo>
                    <a:pt x="9" y="39"/>
                  </a:lnTo>
                  <a:lnTo>
                    <a:pt x="16" y="53"/>
                  </a:lnTo>
                  <a:lnTo>
                    <a:pt x="24" y="63"/>
                  </a:lnTo>
                  <a:lnTo>
                    <a:pt x="18" y="63"/>
                  </a:lnTo>
                  <a:lnTo>
                    <a:pt x="13" y="62"/>
                  </a:lnTo>
                  <a:lnTo>
                    <a:pt x="9" y="60"/>
                  </a:lnTo>
                  <a:lnTo>
                    <a:pt x="6" y="57"/>
                  </a:lnTo>
                  <a:lnTo>
                    <a:pt x="3" y="54"/>
                  </a:lnTo>
                  <a:lnTo>
                    <a:pt x="2" y="46"/>
                  </a:lnTo>
                  <a:lnTo>
                    <a:pt x="0" y="32"/>
                  </a:lnTo>
                  <a:lnTo>
                    <a:pt x="0" y="1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2" name="Freeform 1563"/>
            <p:cNvSpPr>
              <a:spLocks/>
            </p:cNvSpPr>
            <p:nvPr/>
          </p:nvSpPr>
          <p:spPr bwMode="auto">
            <a:xfrm>
              <a:off x="9975851" y="1531938"/>
              <a:ext cx="431800" cy="1303338"/>
            </a:xfrm>
            <a:custGeom>
              <a:avLst/>
              <a:gdLst>
                <a:gd name="T0" fmla="*/ 149 w 272"/>
                <a:gd name="T1" fmla="*/ 0 h 821"/>
                <a:gd name="T2" fmla="*/ 208 w 272"/>
                <a:gd name="T3" fmla="*/ 6 h 821"/>
                <a:gd name="T4" fmla="*/ 251 w 272"/>
                <a:gd name="T5" fmla="*/ 20 h 821"/>
                <a:gd name="T6" fmla="*/ 267 w 272"/>
                <a:gd name="T7" fmla="*/ 60 h 821"/>
                <a:gd name="T8" fmla="*/ 269 w 272"/>
                <a:gd name="T9" fmla="*/ 134 h 821"/>
                <a:gd name="T10" fmla="*/ 268 w 272"/>
                <a:gd name="T11" fmla="*/ 232 h 821"/>
                <a:gd name="T12" fmla="*/ 256 w 272"/>
                <a:gd name="T13" fmla="*/ 324 h 821"/>
                <a:gd name="T14" fmla="*/ 250 w 272"/>
                <a:gd name="T15" fmla="*/ 380 h 821"/>
                <a:gd name="T16" fmla="*/ 246 w 272"/>
                <a:gd name="T17" fmla="*/ 422 h 821"/>
                <a:gd name="T18" fmla="*/ 243 w 272"/>
                <a:gd name="T19" fmla="*/ 463 h 821"/>
                <a:gd name="T20" fmla="*/ 241 w 272"/>
                <a:gd name="T21" fmla="*/ 514 h 821"/>
                <a:gd name="T22" fmla="*/ 246 w 272"/>
                <a:gd name="T23" fmla="*/ 605 h 821"/>
                <a:gd name="T24" fmla="*/ 259 w 272"/>
                <a:gd name="T25" fmla="*/ 689 h 821"/>
                <a:gd name="T26" fmla="*/ 269 w 272"/>
                <a:gd name="T27" fmla="*/ 771 h 821"/>
                <a:gd name="T28" fmla="*/ 252 w 272"/>
                <a:gd name="T29" fmla="*/ 818 h 821"/>
                <a:gd name="T30" fmla="*/ 205 w 272"/>
                <a:gd name="T31" fmla="*/ 821 h 821"/>
                <a:gd name="T32" fmla="*/ 163 w 272"/>
                <a:gd name="T33" fmla="*/ 817 h 821"/>
                <a:gd name="T34" fmla="*/ 161 w 272"/>
                <a:gd name="T35" fmla="*/ 802 h 821"/>
                <a:gd name="T36" fmla="*/ 159 w 272"/>
                <a:gd name="T37" fmla="*/ 759 h 821"/>
                <a:gd name="T38" fmla="*/ 154 w 272"/>
                <a:gd name="T39" fmla="*/ 704 h 821"/>
                <a:gd name="T40" fmla="*/ 147 w 272"/>
                <a:gd name="T41" fmla="*/ 603 h 821"/>
                <a:gd name="T42" fmla="*/ 146 w 272"/>
                <a:gd name="T43" fmla="*/ 460 h 821"/>
                <a:gd name="T44" fmla="*/ 145 w 272"/>
                <a:gd name="T45" fmla="*/ 390 h 821"/>
                <a:gd name="T46" fmla="*/ 142 w 272"/>
                <a:gd name="T47" fmla="*/ 322 h 821"/>
                <a:gd name="T48" fmla="*/ 140 w 272"/>
                <a:gd name="T49" fmla="*/ 242 h 821"/>
                <a:gd name="T50" fmla="*/ 136 w 272"/>
                <a:gd name="T51" fmla="*/ 250 h 821"/>
                <a:gd name="T52" fmla="*/ 133 w 272"/>
                <a:gd name="T53" fmla="*/ 342 h 821"/>
                <a:gd name="T54" fmla="*/ 131 w 272"/>
                <a:gd name="T55" fmla="*/ 410 h 821"/>
                <a:gd name="T56" fmla="*/ 129 w 272"/>
                <a:gd name="T57" fmla="*/ 458 h 821"/>
                <a:gd name="T58" fmla="*/ 131 w 272"/>
                <a:gd name="T59" fmla="*/ 523 h 821"/>
                <a:gd name="T60" fmla="*/ 133 w 272"/>
                <a:gd name="T61" fmla="*/ 598 h 821"/>
                <a:gd name="T62" fmla="*/ 133 w 272"/>
                <a:gd name="T63" fmla="*/ 664 h 821"/>
                <a:gd name="T64" fmla="*/ 131 w 272"/>
                <a:gd name="T65" fmla="*/ 725 h 821"/>
                <a:gd name="T66" fmla="*/ 133 w 272"/>
                <a:gd name="T67" fmla="*/ 780 h 821"/>
                <a:gd name="T68" fmla="*/ 134 w 272"/>
                <a:gd name="T69" fmla="*/ 817 h 821"/>
                <a:gd name="T70" fmla="*/ 98 w 272"/>
                <a:gd name="T71" fmla="*/ 821 h 821"/>
                <a:gd name="T72" fmla="*/ 56 w 272"/>
                <a:gd name="T73" fmla="*/ 817 h 821"/>
                <a:gd name="T74" fmla="*/ 22 w 272"/>
                <a:gd name="T75" fmla="*/ 811 h 821"/>
                <a:gd name="T76" fmla="*/ 22 w 272"/>
                <a:gd name="T77" fmla="*/ 776 h 821"/>
                <a:gd name="T78" fmla="*/ 23 w 272"/>
                <a:gd name="T79" fmla="*/ 722 h 821"/>
                <a:gd name="T80" fmla="*/ 23 w 272"/>
                <a:gd name="T81" fmla="*/ 658 h 821"/>
                <a:gd name="T82" fmla="*/ 24 w 272"/>
                <a:gd name="T83" fmla="*/ 599 h 821"/>
                <a:gd name="T84" fmla="*/ 24 w 272"/>
                <a:gd name="T85" fmla="*/ 557 h 821"/>
                <a:gd name="T86" fmla="*/ 22 w 272"/>
                <a:gd name="T87" fmla="*/ 498 h 821"/>
                <a:gd name="T88" fmla="*/ 14 w 272"/>
                <a:gd name="T89" fmla="*/ 396 h 821"/>
                <a:gd name="T90" fmla="*/ 5 w 272"/>
                <a:gd name="T91" fmla="*/ 278 h 821"/>
                <a:gd name="T92" fmla="*/ 0 w 272"/>
                <a:gd name="T93" fmla="*/ 160 h 821"/>
                <a:gd name="T94" fmla="*/ 1 w 272"/>
                <a:gd name="T95" fmla="*/ 66 h 821"/>
                <a:gd name="T96" fmla="*/ 15 w 272"/>
                <a:gd name="T97" fmla="*/ 20 h 821"/>
                <a:gd name="T98" fmla="*/ 59 w 272"/>
                <a:gd name="T99" fmla="*/ 6 h 821"/>
                <a:gd name="T100" fmla="*/ 118 w 272"/>
                <a:gd name="T101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2" h="821">
                  <a:moveTo>
                    <a:pt x="118" y="0"/>
                  </a:moveTo>
                  <a:lnTo>
                    <a:pt x="149" y="0"/>
                  </a:lnTo>
                  <a:lnTo>
                    <a:pt x="179" y="2"/>
                  </a:lnTo>
                  <a:lnTo>
                    <a:pt x="208" y="6"/>
                  </a:lnTo>
                  <a:lnTo>
                    <a:pt x="232" y="13"/>
                  </a:lnTo>
                  <a:lnTo>
                    <a:pt x="251" y="20"/>
                  </a:lnTo>
                  <a:lnTo>
                    <a:pt x="265" y="31"/>
                  </a:lnTo>
                  <a:lnTo>
                    <a:pt x="267" y="60"/>
                  </a:lnTo>
                  <a:lnTo>
                    <a:pt x="268" y="95"/>
                  </a:lnTo>
                  <a:lnTo>
                    <a:pt x="269" y="134"/>
                  </a:lnTo>
                  <a:lnTo>
                    <a:pt x="270" y="181"/>
                  </a:lnTo>
                  <a:lnTo>
                    <a:pt x="268" y="232"/>
                  </a:lnTo>
                  <a:lnTo>
                    <a:pt x="261" y="288"/>
                  </a:lnTo>
                  <a:lnTo>
                    <a:pt x="256" y="324"/>
                  </a:lnTo>
                  <a:lnTo>
                    <a:pt x="252" y="354"/>
                  </a:lnTo>
                  <a:lnTo>
                    <a:pt x="250" y="380"/>
                  </a:lnTo>
                  <a:lnTo>
                    <a:pt x="247" y="401"/>
                  </a:lnTo>
                  <a:lnTo>
                    <a:pt x="246" y="422"/>
                  </a:lnTo>
                  <a:lnTo>
                    <a:pt x="243" y="441"/>
                  </a:lnTo>
                  <a:lnTo>
                    <a:pt x="243" y="463"/>
                  </a:lnTo>
                  <a:lnTo>
                    <a:pt x="242" y="486"/>
                  </a:lnTo>
                  <a:lnTo>
                    <a:pt x="241" y="514"/>
                  </a:lnTo>
                  <a:lnTo>
                    <a:pt x="242" y="562"/>
                  </a:lnTo>
                  <a:lnTo>
                    <a:pt x="246" y="605"/>
                  </a:lnTo>
                  <a:lnTo>
                    <a:pt x="251" y="648"/>
                  </a:lnTo>
                  <a:lnTo>
                    <a:pt x="259" y="689"/>
                  </a:lnTo>
                  <a:lnTo>
                    <a:pt x="265" y="730"/>
                  </a:lnTo>
                  <a:lnTo>
                    <a:pt x="269" y="771"/>
                  </a:lnTo>
                  <a:lnTo>
                    <a:pt x="272" y="813"/>
                  </a:lnTo>
                  <a:lnTo>
                    <a:pt x="252" y="818"/>
                  </a:lnTo>
                  <a:lnTo>
                    <a:pt x="229" y="821"/>
                  </a:lnTo>
                  <a:lnTo>
                    <a:pt x="205" y="821"/>
                  </a:lnTo>
                  <a:lnTo>
                    <a:pt x="182" y="820"/>
                  </a:lnTo>
                  <a:lnTo>
                    <a:pt x="163" y="817"/>
                  </a:lnTo>
                  <a:lnTo>
                    <a:pt x="161" y="813"/>
                  </a:lnTo>
                  <a:lnTo>
                    <a:pt x="161" y="802"/>
                  </a:lnTo>
                  <a:lnTo>
                    <a:pt x="160" y="784"/>
                  </a:lnTo>
                  <a:lnTo>
                    <a:pt x="159" y="759"/>
                  </a:lnTo>
                  <a:lnTo>
                    <a:pt x="156" y="734"/>
                  </a:lnTo>
                  <a:lnTo>
                    <a:pt x="154" y="704"/>
                  </a:lnTo>
                  <a:lnTo>
                    <a:pt x="151" y="673"/>
                  </a:lnTo>
                  <a:lnTo>
                    <a:pt x="147" y="603"/>
                  </a:lnTo>
                  <a:lnTo>
                    <a:pt x="146" y="531"/>
                  </a:lnTo>
                  <a:lnTo>
                    <a:pt x="146" y="460"/>
                  </a:lnTo>
                  <a:lnTo>
                    <a:pt x="145" y="423"/>
                  </a:lnTo>
                  <a:lnTo>
                    <a:pt x="145" y="390"/>
                  </a:lnTo>
                  <a:lnTo>
                    <a:pt x="143" y="356"/>
                  </a:lnTo>
                  <a:lnTo>
                    <a:pt x="142" y="322"/>
                  </a:lnTo>
                  <a:lnTo>
                    <a:pt x="141" y="285"/>
                  </a:lnTo>
                  <a:lnTo>
                    <a:pt x="140" y="242"/>
                  </a:lnTo>
                  <a:lnTo>
                    <a:pt x="138" y="194"/>
                  </a:lnTo>
                  <a:lnTo>
                    <a:pt x="136" y="250"/>
                  </a:lnTo>
                  <a:lnTo>
                    <a:pt x="134" y="300"/>
                  </a:lnTo>
                  <a:lnTo>
                    <a:pt x="133" y="342"/>
                  </a:lnTo>
                  <a:lnTo>
                    <a:pt x="131" y="380"/>
                  </a:lnTo>
                  <a:lnTo>
                    <a:pt x="131" y="410"/>
                  </a:lnTo>
                  <a:lnTo>
                    <a:pt x="129" y="436"/>
                  </a:lnTo>
                  <a:lnTo>
                    <a:pt x="129" y="458"/>
                  </a:lnTo>
                  <a:lnTo>
                    <a:pt x="131" y="489"/>
                  </a:lnTo>
                  <a:lnTo>
                    <a:pt x="131" y="523"/>
                  </a:lnTo>
                  <a:lnTo>
                    <a:pt x="132" y="560"/>
                  </a:lnTo>
                  <a:lnTo>
                    <a:pt x="133" y="598"/>
                  </a:lnTo>
                  <a:lnTo>
                    <a:pt x="133" y="632"/>
                  </a:lnTo>
                  <a:lnTo>
                    <a:pt x="133" y="664"/>
                  </a:lnTo>
                  <a:lnTo>
                    <a:pt x="132" y="691"/>
                  </a:lnTo>
                  <a:lnTo>
                    <a:pt x="131" y="725"/>
                  </a:lnTo>
                  <a:lnTo>
                    <a:pt x="131" y="754"/>
                  </a:lnTo>
                  <a:lnTo>
                    <a:pt x="133" y="780"/>
                  </a:lnTo>
                  <a:lnTo>
                    <a:pt x="134" y="802"/>
                  </a:lnTo>
                  <a:lnTo>
                    <a:pt x="134" y="817"/>
                  </a:lnTo>
                  <a:lnTo>
                    <a:pt x="118" y="820"/>
                  </a:lnTo>
                  <a:lnTo>
                    <a:pt x="98" y="821"/>
                  </a:lnTo>
                  <a:lnTo>
                    <a:pt x="78" y="820"/>
                  </a:lnTo>
                  <a:lnTo>
                    <a:pt x="56" y="817"/>
                  </a:lnTo>
                  <a:lnTo>
                    <a:pt x="37" y="813"/>
                  </a:lnTo>
                  <a:lnTo>
                    <a:pt x="22" y="811"/>
                  </a:lnTo>
                  <a:lnTo>
                    <a:pt x="22" y="797"/>
                  </a:lnTo>
                  <a:lnTo>
                    <a:pt x="22" y="776"/>
                  </a:lnTo>
                  <a:lnTo>
                    <a:pt x="22" y="750"/>
                  </a:lnTo>
                  <a:lnTo>
                    <a:pt x="23" y="722"/>
                  </a:lnTo>
                  <a:lnTo>
                    <a:pt x="23" y="690"/>
                  </a:lnTo>
                  <a:lnTo>
                    <a:pt x="23" y="658"/>
                  </a:lnTo>
                  <a:lnTo>
                    <a:pt x="24" y="627"/>
                  </a:lnTo>
                  <a:lnTo>
                    <a:pt x="24" y="599"/>
                  </a:lnTo>
                  <a:lnTo>
                    <a:pt x="24" y="575"/>
                  </a:lnTo>
                  <a:lnTo>
                    <a:pt x="24" y="557"/>
                  </a:lnTo>
                  <a:lnTo>
                    <a:pt x="24" y="546"/>
                  </a:lnTo>
                  <a:lnTo>
                    <a:pt x="22" y="498"/>
                  </a:lnTo>
                  <a:lnTo>
                    <a:pt x="19" y="448"/>
                  </a:lnTo>
                  <a:lnTo>
                    <a:pt x="14" y="396"/>
                  </a:lnTo>
                  <a:lnTo>
                    <a:pt x="10" y="340"/>
                  </a:lnTo>
                  <a:lnTo>
                    <a:pt x="5" y="278"/>
                  </a:lnTo>
                  <a:lnTo>
                    <a:pt x="1" y="217"/>
                  </a:lnTo>
                  <a:lnTo>
                    <a:pt x="0" y="160"/>
                  </a:lnTo>
                  <a:lnTo>
                    <a:pt x="0" y="110"/>
                  </a:lnTo>
                  <a:lnTo>
                    <a:pt x="1" y="66"/>
                  </a:lnTo>
                  <a:lnTo>
                    <a:pt x="1" y="31"/>
                  </a:lnTo>
                  <a:lnTo>
                    <a:pt x="15" y="20"/>
                  </a:lnTo>
                  <a:lnTo>
                    <a:pt x="34" y="13"/>
                  </a:lnTo>
                  <a:lnTo>
                    <a:pt x="59" y="6"/>
                  </a:lnTo>
                  <a:lnTo>
                    <a:pt x="87" y="2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3" name="Freeform 1564"/>
            <p:cNvSpPr>
              <a:spLocks/>
            </p:cNvSpPr>
            <p:nvPr/>
          </p:nvSpPr>
          <p:spPr bwMode="auto">
            <a:xfrm>
              <a:off x="10188576" y="1843088"/>
              <a:ext cx="84138" cy="993775"/>
            </a:xfrm>
            <a:custGeom>
              <a:avLst/>
              <a:gdLst>
                <a:gd name="T0" fmla="*/ 8 w 53"/>
                <a:gd name="T1" fmla="*/ 0 h 626"/>
                <a:gd name="T2" fmla="*/ 12 w 53"/>
                <a:gd name="T3" fmla="*/ 13 h 626"/>
                <a:gd name="T4" fmla="*/ 15 w 53"/>
                <a:gd name="T5" fmla="*/ 27 h 626"/>
                <a:gd name="T6" fmla="*/ 20 w 53"/>
                <a:gd name="T7" fmla="*/ 59 h 626"/>
                <a:gd name="T8" fmla="*/ 24 w 53"/>
                <a:gd name="T9" fmla="*/ 94 h 626"/>
                <a:gd name="T10" fmla="*/ 27 w 53"/>
                <a:gd name="T11" fmla="*/ 130 h 626"/>
                <a:gd name="T12" fmla="*/ 30 w 53"/>
                <a:gd name="T13" fmla="*/ 166 h 626"/>
                <a:gd name="T14" fmla="*/ 31 w 53"/>
                <a:gd name="T15" fmla="*/ 200 h 626"/>
                <a:gd name="T16" fmla="*/ 34 w 53"/>
                <a:gd name="T17" fmla="*/ 234 h 626"/>
                <a:gd name="T18" fmla="*/ 35 w 53"/>
                <a:gd name="T19" fmla="*/ 262 h 626"/>
                <a:gd name="T20" fmla="*/ 35 w 53"/>
                <a:gd name="T21" fmla="*/ 296 h 626"/>
                <a:gd name="T22" fmla="*/ 36 w 53"/>
                <a:gd name="T23" fmla="*/ 318 h 626"/>
                <a:gd name="T24" fmla="*/ 38 w 53"/>
                <a:gd name="T25" fmla="*/ 343 h 626"/>
                <a:gd name="T26" fmla="*/ 39 w 53"/>
                <a:gd name="T27" fmla="*/ 370 h 626"/>
                <a:gd name="T28" fmla="*/ 40 w 53"/>
                <a:gd name="T29" fmla="*/ 398 h 626"/>
                <a:gd name="T30" fmla="*/ 44 w 53"/>
                <a:gd name="T31" fmla="*/ 456 h 626"/>
                <a:gd name="T32" fmla="*/ 47 w 53"/>
                <a:gd name="T33" fmla="*/ 512 h 626"/>
                <a:gd name="T34" fmla="*/ 48 w 53"/>
                <a:gd name="T35" fmla="*/ 538 h 626"/>
                <a:gd name="T36" fmla="*/ 49 w 53"/>
                <a:gd name="T37" fmla="*/ 562 h 626"/>
                <a:gd name="T38" fmla="*/ 50 w 53"/>
                <a:gd name="T39" fmla="*/ 584 h 626"/>
                <a:gd name="T40" fmla="*/ 52 w 53"/>
                <a:gd name="T41" fmla="*/ 602 h 626"/>
                <a:gd name="T42" fmla="*/ 52 w 53"/>
                <a:gd name="T43" fmla="*/ 616 h 626"/>
                <a:gd name="T44" fmla="*/ 53 w 53"/>
                <a:gd name="T45" fmla="*/ 626 h 626"/>
                <a:gd name="T46" fmla="*/ 44 w 53"/>
                <a:gd name="T47" fmla="*/ 626 h 626"/>
                <a:gd name="T48" fmla="*/ 43 w 53"/>
                <a:gd name="T49" fmla="*/ 616 h 626"/>
                <a:gd name="T50" fmla="*/ 43 w 53"/>
                <a:gd name="T51" fmla="*/ 602 h 626"/>
                <a:gd name="T52" fmla="*/ 41 w 53"/>
                <a:gd name="T53" fmla="*/ 584 h 626"/>
                <a:gd name="T54" fmla="*/ 40 w 53"/>
                <a:gd name="T55" fmla="*/ 562 h 626"/>
                <a:gd name="T56" fmla="*/ 39 w 53"/>
                <a:gd name="T57" fmla="*/ 538 h 626"/>
                <a:gd name="T58" fmla="*/ 38 w 53"/>
                <a:gd name="T59" fmla="*/ 512 h 626"/>
                <a:gd name="T60" fmla="*/ 35 w 53"/>
                <a:gd name="T61" fmla="*/ 456 h 626"/>
                <a:gd name="T62" fmla="*/ 31 w 53"/>
                <a:gd name="T63" fmla="*/ 398 h 626"/>
                <a:gd name="T64" fmla="*/ 30 w 53"/>
                <a:gd name="T65" fmla="*/ 370 h 626"/>
                <a:gd name="T66" fmla="*/ 29 w 53"/>
                <a:gd name="T67" fmla="*/ 343 h 626"/>
                <a:gd name="T68" fmla="*/ 27 w 53"/>
                <a:gd name="T69" fmla="*/ 318 h 626"/>
                <a:gd name="T70" fmla="*/ 26 w 53"/>
                <a:gd name="T71" fmla="*/ 296 h 626"/>
                <a:gd name="T72" fmla="*/ 26 w 53"/>
                <a:gd name="T73" fmla="*/ 262 h 626"/>
                <a:gd name="T74" fmla="*/ 25 w 53"/>
                <a:gd name="T75" fmla="*/ 234 h 626"/>
                <a:gd name="T76" fmla="*/ 22 w 53"/>
                <a:gd name="T77" fmla="*/ 200 h 626"/>
                <a:gd name="T78" fmla="*/ 21 w 53"/>
                <a:gd name="T79" fmla="*/ 166 h 626"/>
                <a:gd name="T80" fmla="*/ 18 w 53"/>
                <a:gd name="T81" fmla="*/ 130 h 626"/>
                <a:gd name="T82" fmla="*/ 15 w 53"/>
                <a:gd name="T83" fmla="*/ 94 h 626"/>
                <a:gd name="T84" fmla="*/ 11 w 53"/>
                <a:gd name="T85" fmla="*/ 59 h 626"/>
                <a:gd name="T86" fmla="*/ 6 w 53"/>
                <a:gd name="T87" fmla="*/ 27 h 626"/>
                <a:gd name="T88" fmla="*/ 3 w 53"/>
                <a:gd name="T89" fmla="*/ 13 h 626"/>
                <a:gd name="T90" fmla="*/ 0 w 53"/>
                <a:gd name="T91" fmla="*/ 1 h 626"/>
                <a:gd name="T92" fmla="*/ 8 w 53"/>
                <a:gd name="T93" fmla="*/ 0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" h="626">
                  <a:moveTo>
                    <a:pt x="8" y="0"/>
                  </a:moveTo>
                  <a:lnTo>
                    <a:pt x="12" y="13"/>
                  </a:lnTo>
                  <a:lnTo>
                    <a:pt x="15" y="27"/>
                  </a:lnTo>
                  <a:lnTo>
                    <a:pt x="20" y="59"/>
                  </a:lnTo>
                  <a:lnTo>
                    <a:pt x="24" y="94"/>
                  </a:lnTo>
                  <a:lnTo>
                    <a:pt x="27" y="130"/>
                  </a:lnTo>
                  <a:lnTo>
                    <a:pt x="30" y="166"/>
                  </a:lnTo>
                  <a:lnTo>
                    <a:pt x="31" y="200"/>
                  </a:lnTo>
                  <a:lnTo>
                    <a:pt x="34" y="234"/>
                  </a:lnTo>
                  <a:lnTo>
                    <a:pt x="35" y="262"/>
                  </a:lnTo>
                  <a:lnTo>
                    <a:pt x="35" y="296"/>
                  </a:lnTo>
                  <a:lnTo>
                    <a:pt x="36" y="318"/>
                  </a:lnTo>
                  <a:lnTo>
                    <a:pt x="38" y="343"/>
                  </a:lnTo>
                  <a:lnTo>
                    <a:pt x="39" y="370"/>
                  </a:lnTo>
                  <a:lnTo>
                    <a:pt x="40" y="398"/>
                  </a:lnTo>
                  <a:lnTo>
                    <a:pt x="44" y="456"/>
                  </a:lnTo>
                  <a:lnTo>
                    <a:pt x="47" y="512"/>
                  </a:lnTo>
                  <a:lnTo>
                    <a:pt x="48" y="538"/>
                  </a:lnTo>
                  <a:lnTo>
                    <a:pt x="49" y="562"/>
                  </a:lnTo>
                  <a:lnTo>
                    <a:pt x="50" y="584"/>
                  </a:lnTo>
                  <a:lnTo>
                    <a:pt x="52" y="602"/>
                  </a:lnTo>
                  <a:lnTo>
                    <a:pt x="52" y="616"/>
                  </a:lnTo>
                  <a:lnTo>
                    <a:pt x="53" y="626"/>
                  </a:lnTo>
                  <a:lnTo>
                    <a:pt x="44" y="626"/>
                  </a:lnTo>
                  <a:lnTo>
                    <a:pt x="43" y="616"/>
                  </a:lnTo>
                  <a:lnTo>
                    <a:pt x="43" y="602"/>
                  </a:lnTo>
                  <a:lnTo>
                    <a:pt x="41" y="584"/>
                  </a:lnTo>
                  <a:lnTo>
                    <a:pt x="40" y="562"/>
                  </a:lnTo>
                  <a:lnTo>
                    <a:pt x="39" y="538"/>
                  </a:lnTo>
                  <a:lnTo>
                    <a:pt x="38" y="512"/>
                  </a:lnTo>
                  <a:lnTo>
                    <a:pt x="35" y="456"/>
                  </a:lnTo>
                  <a:lnTo>
                    <a:pt x="31" y="398"/>
                  </a:lnTo>
                  <a:lnTo>
                    <a:pt x="30" y="370"/>
                  </a:lnTo>
                  <a:lnTo>
                    <a:pt x="29" y="343"/>
                  </a:lnTo>
                  <a:lnTo>
                    <a:pt x="27" y="318"/>
                  </a:lnTo>
                  <a:lnTo>
                    <a:pt x="26" y="296"/>
                  </a:lnTo>
                  <a:lnTo>
                    <a:pt x="26" y="262"/>
                  </a:lnTo>
                  <a:lnTo>
                    <a:pt x="25" y="234"/>
                  </a:lnTo>
                  <a:lnTo>
                    <a:pt x="22" y="200"/>
                  </a:lnTo>
                  <a:lnTo>
                    <a:pt x="21" y="166"/>
                  </a:lnTo>
                  <a:lnTo>
                    <a:pt x="18" y="130"/>
                  </a:lnTo>
                  <a:lnTo>
                    <a:pt x="15" y="94"/>
                  </a:lnTo>
                  <a:lnTo>
                    <a:pt x="11" y="59"/>
                  </a:lnTo>
                  <a:lnTo>
                    <a:pt x="6" y="27"/>
                  </a:lnTo>
                  <a:lnTo>
                    <a:pt x="3" y="1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4" name="Freeform 1565"/>
            <p:cNvSpPr>
              <a:spLocks/>
            </p:cNvSpPr>
            <p:nvPr/>
          </p:nvSpPr>
          <p:spPr bwMode="auto">
            <a:xfrm>
              <a:off x="9871076" y="919163"/>
              <a:ext cx="166688" cy="490538"/>
            </a:xfrm>
            <a:custGeom>
              <a:avLst/>
              <a:gdLst>
                <a:gd name="T0" fmla="*/ 82 w 105"/>
                <a:gd name="T1" fmla="*/ 0 h 309"/>
                <a:gd name="T2" fmla="*/ 91 w 105"/>
                <a:gd name="T3" fmla="*/ 2 h 309"/>
                <a:gd name="T4" fmla="*/ 98 w 105"/>
                <a:gd name="T5" fmla="*/ 10 h 309"/>
                <a:gd name="T6" fmla="*/ 103 w 105"/>
                <a:gd name="T7" fmla="*/ 21 h 309"/>
                <a:gd name="T8" fmla="*/ 105 w 105"/>
                <a:gd name="T9" fmla="*/ 39 h 309"/>
                <a:gd name="T10" fmla="*/ 105 w 105"/>
                <a:gd name="T11" fmla="*/ 61 h 309"/>
                <a:gd name="T12" fmla="*/ 103 w 105"/>
                <a:gd name="T13" fmla="*/ 88 h 309"/>
                <a:gd name="T14" fmla="*/ 96 w 105"/>
                <a:gd name="T15" fmla="*/ 120 h 309"/>
                <a:gd name="T16" fmla="*/ 88 w 105"/>
                <a:gd name="T17" fmla="*/ 157 h 309"/>
                <a:gd name="T18" fmla="*/ 80 w 105"/>
                <a:gd name="T19" fmla="*/ 184 h 309"/>
                <a:gd name="T20" fmla="*/ 72 w 105"/>
                <a:gd name="T21" fmla="*/ 211 h 309"/>
                <a:gd name="T22" fmla="*/ 63 w 105"/>
                <a:gd name="T23" fmla="*/ 238 h 309"/>
                <a:gd name="T24" fmla="*/ 55 w 105"/>
                <a:gd name="T25" fmla="*/ 263 h 309"/>
                <a:gd name="T26" fmla="*/ 46 w 105"/>
                <a:gd name="T27" fmla="*/ 282 h 309"/>
                <a:gd name="T28" fmla="*/ 37 w 105"/>
                <a:gd name="T29" fmla="*/ 297 h 309"/>
                <a:gd name="T30" fmla="*/ 28 w 105"/>
                <a:gd name="T31" fmla="*/ 308 h 309"/>
                <a:gd name="T32" fmla="*/ 18 w 105"/>
                <a:gd name="T33" fmla="*/ 309 h 309"/>
                <a:gd name="T34" fmla="*/ 9 w 105"/>
                <a:gd name="T35" fmla="*/ 304 h 309"/>
                <a:gd name="T36" fmla="*/ 4 w 105"/>
                <a:gd name="T37" fmla="*/ 292 h 309"/>
                <a:gd name="T38" fmla="*/ 2 w 105"/>
                <a:gd name="T39" fmla="*/ 275 h 309"/>
                <a:gd name="T40" fmla="*/ 0 w 105"/>
                <a:gd name="T41" fmla="*/ 254 h 309"/>
                <a:gd name="T42" fmla="*/ 2 w 105"/>
                <a:gd name="T43" fmla="*/ 228 h 309"/>
                <a:gd name="T44" fmla="*/ 4 w 105"/>
                <a:gd name="T45" fmla="*/ 200 h 309"/>
                <a:gd name="T46" fmla="*/ 8 w 105"/>
                <a:gd name="T47" fmla="*/ 168 h 309"/>
                <a:gd name="T48" fmla="*/ 13 w 105"/>
                <a:gd name="T49" fmla="*/ 134 h 309"/>
                <a:gd name="T50" fmla="*/ 18 w 105"/>
                <a:gd name="T51" fmla="*/ 102 h 309"/>
                <a:gd name="T52" fmla="*/ 26 w 105"/>
                <a:gd name="T53" fmla="*/ 75 h 309"/>
                <a:gd name="T54" fmla="*/ 35 w 105"/>
                <a:gd name="T55" fmla="*/ 52 h 309"/>
                <a:gd name="T56" fmla="*/ 44 w 105"/>
                <a:gd name="T57" fmla="*/ 33 h 309"/>
                <a:gd name="T58" fmla="*/ 54 w 105"/>
                <a:gd name="T59" fmla="*/ 18 h 309"/>
                <a:gd name="T60" fmla="*/ 64 w 105"/>
                <a:gd name="T61" fmla="*/ 7 h 309"/>
                <a:gd name="T62" fmla="*/ 73 w 105"/>
                <a:gd name="T63" fmla="*/ 1 h 309"/>
                <a:gd name="T64" fmla="*/ 82 w 105"/>
                <a:gd name="T65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309">
                  <a:moveTo>
                    <a:pt x="82" y="0"/>
                  </a:moveTo>
                  <a:lnTo>
                    <a:pt x="91" y="2"/>
                  </a:lnTo>
                  <a:lnTo>
                    <a:pt x="98" y="10"/>
                  </a:lnTo>
                  <a:lnTo>
                    <a:pt x="103" y="21"/>
                  </a:lnTo>
                  <a:lnTo>
                    <a:pt x="105" y="39"/>
                  </a:lnTo>
                  <a:lnTo>
                    <a:pt x="105" y="61"/>
                  </a:lnTo>
                  <a:lnTo>
                    <a:pt x="103" y="88"/>
                  </a:lnTo>
                  <a:lnTo>
                    <a:pt x="96" y="120"/>
                  </a:lnTo>
                  <a:lnTo>
                    <a:pt x="88" y="157"/>
                  </a:lnTo>
                  <a:lnTo>
                    <a:pt x="80" y="184"/>
                  </a:lnTo>
                  <a:lnTo>
                    <a:pt x="72" y="211"/>
                  </a:lnTo>
                  <a:lnTo>
                    <a:pt x="63" y="238"/>
                  </a:lnTo>
                  <a:lnTo>
                    <a:pt x="55" y="263"/>
                  </a:lnTo>
                  <a:lnTo>
                    <a:pt x="46" y="282"/>
                  </a:lnTo>
                  <a:lnTo>
                    <a:pt x="37" y="297"/>
                  </a:lnTo>
                  <a:lnTo>
                    <a:pt x="28" y="308"/>
                  </a:lnTo>
                  <a:lnTo>
                    <a:pt x="18" y="309"/>
                  </a:lnTo>
                  <a:lnTo>
                    <a:pt x="9" y="304"/>
                  </a:lnTo>
                  <a:lnTo>
                    <a:pt x="4" y="292"/>
                  </a:lnTo>
                  <a:lnTo>
                    <a:pt x="2" y="275"/>
                  </a:lnTo>
                  <a:lnTo>
                    <a:pt x="0" y="254"/>
                  </a:lnTo>
                  <a:lnTo>
                    <a:pt x="2" y="228"/>
                  </a:lnTo>
                  <a:lnTo>
                    <a:pt x="4" y="200"/>
                  </a:lnTo>
                  <a:lnTo>
                    <a:pt x="8" y="168"/>
                  </a:lnTo>
                  <a:lnTo>
                    <a:pt x="13" y="134"/>
                  </a:lnTo>
                  <a:lnTo>
                    <a:pt x="18" y="102"/>
                  </a:lnTo>
                  <a:lnTo>
                    <a:pt x="26" y="75"/>
                  </a:lnTo>
                  <a:lnTo>
                    <a:pt x="35" y="52"/>
                  </a:lnTo>
                  <a:lnTo>
                    <a:pt x="44" y="33"/>
                  </a:lnTo>
                  <a:lnTo>
                    <a:pt x="54" y="18"/>
                  </a:lnTo>
                  <a:lnTo>
                    <a:pt x="64" y="7"/>
                  </a:lnTo>
                  <a:lnTo>
                    <a:pt x="73" y="1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5" name="Freeform 1566"/>
            <p:cNvSpPr>
              <a:spLocks/>
            </p:cNvSpPr>
            <p:nvPr/>
          </p:nvSpPr>
          <p:spPr bwMode="auto">
            <a:xfrm>
              <a:off x="9848851" y="1301750"/>
              <a:ext cx="100013" cy="466725"/>
            </a:xfrm>
            <a:custGeom>
              <a:avLst/>
              <a:gdLst>
                <a:gd name="T0" fmla="*/ 45 w 63"/>
                <a:gd name="T1" fmla="*/ 0 h 294"/>
                <a:gd name="T2" fmla="*/ 51 w 63"/>
                <a:gd name="T3" fmla="*/ 2 h 294"/>
                <a:gd name="T4" fmla="*/ 57 w 63"/>
                <a:gd name="T5" fmla="*/ 10 h 294"/>
                <a:gd name="T6" fmla="*/ 60 w 63"/>
                <a:gd name="T7" fmla="*/ 23 h 294"/>
                <a:gd name="T8" fmla="*/ 63 w 63"/>
                <a:gd name="T9" fmla="*/ 42 h 294"/>
                <a:gd name="T10" fmla="*/ 63 w 63"/>
                <a:gd name="T11" fmla="*/ 68 h 294"/>
                <a:gd name="T12" fmla="*/ 60 w 63"/>
                <a:gd name="T13" fmla="*/ 99 h 294"/>
                <a:gd name="T14" fmla="*/ 55 w 63"/>
                <a:gd name="T15" fmla="*/ 136 h 294"/>
                <a:gd name="T16" fmla="*/ 53 w 63"/>
                <a:gd name="T17" fmla="*/ 156 h 294"/>
                <a:gd name="T18" fmla="*/ 49 w 63"/>
                <a:gd name="T19" fmla="*/ 181 h 294"/>
                <a:gd name="T20" fmla="*/ 45 w 63"/>
                <a:gd name="T21" fmla="*/ 206 h 294"/>
                <a:gd name="T22" fmla="*/ 41 w 63"/>
                <a:gd name="T23" fmla="*/ 232 h 294"/>
                <a:gd name="T24" fmla="*/ 36 w 63"/>
                <a:gd name="T25" fmla="*/ 255 h 294"/>
                <a:gd name="T26" fmla="*/ 31 w 63"/>
                <a:gd name="T27" fmla="*/ 274 h 294"/>
                <a:gd name="T28" fmla="*/ 26 w 63"/>
                <a:gd name="T29" fmla="*/ 288 h 294"/>
                <a:gd name="T30" fmla="*/ 19 w 63"/>
                <a:gd name="T31" fmla="*/ 294 h 294"/>
                <a:gd name="T32" fmla="*/ 13 w 63"/>
                <a:gd name="T33" fmla="*/ 291 h 294"/>
                <a:gd name="T34" fmla="*/ 9 w 63"/>
                <a:gd name="T35" fmla="*/ 282 h 294"/>
                <a:gd name="T36" fmla="*/ 5 w 63"/>
                <a:gd name="T37" fmla="*/ 267 h 294"/>
                <a:gd name="T38" fmla="*/ 3 w 63"/>
                <a:gd name="T39" fmla="*/ 249 h 294"/>
                <a:gd name="T40" fmla="*/ 1 w 63"/>
                <a:gd name="T41" fmla="*/ 227 h 294"/>
                <a:gd name="T42" fmla="*/ 1 w 63"/>
                <a:gd name="T43" fmla="*/ 203 h 294"/>
                <a:gd name="T44" fmla="*/ 0 w 63"/>
                <a:gd name="T45" fmla="*/ 179 h 294"/>
                <a:gd name="T46" fmla="*/ 1 w 63"/>
                <a:gd name="T47" fmla="*/ 155 h 294"/>
                <a:gd name="T48" fmla="*/ 1 w 63"/>
                <a:gd name="T49" fmla="*/ 133 h 294"/>
                <a:gd name="T50" fmla="*/ 3 w 63"/>
                <a:gd name="T51" fmla="*/ 104 h 294"/>
                <a:gd name="T52" fmla="*/ 7 w 63"/>
                <a:gd name="T53" fmla="*/ 77 h 294"/>
                <a:gd name="T54" fmla="*/ 12 w 63"/>
                <a:gd name="T55" fmla="*/ 55 h 294"/>
                <a:gd name="T56" fmla="*/ 17 w 63"/>
                <a:gd name="T57" fmla="*/ 36 h 294"/>
                <a:gd name="T58" fmla="*/ 25 w 63"/>
                <a:gd name="T59" fmla="*/ 20 h 294"/>
                <a:gd name="T60" fmla="*/ 31 w 63"/>
                <a:gd name="T61" fmla="*/ 9 h 294"/>
                <a:gd name="T62" fmla="*/ 39 w 63"/>
                <a:gd name="T63" fmla="*/ 2 h 294"/>
                <a:gd name="T64" fmla="*/ 45 w 63"/>
                <a:gd name="T65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94">
                  <a:moveTo>
                    <a:pt x="45" y="0"/>
                  </a:moveTo>
                  <a:lnTo>
                    <a:pt x="51" y="2"/>
                  </a:lnTo>
                  <a:lnTo>
                    <a:pt x="57" y="10"/>
                  </a:lnTo>
                  <a:lnTo>
                    <a:pt x="60" y="23"/>
                  </a:lnTo>
                  <a:lnTo>
                    <a:pt x="63" y="42"/>
                  </a:lnTo>
                  <a:lnTo>
                    <a:pt x="63" y="68"/>
                  </a:lnTo>
                  <a:lnTo>
                    <a:pt x="60" y="99"/>
                  </a:lnTo>
                  <a:lnTo>
                    <a:pt x="55" y="136"/>
                  </a:lnTo>
                  <a:lnTo>
                    <a:pt x="53" y="156"/>
                  </a:lnTo>
                  <a:lnTo>
                    <a:pt x="49" y="181"/>
                  </a:lnTo>
                  <a:lnTo>
                    <a:pt x="45" y="206"/>
                  </a:lnTo>
                  <a:lnTo>
                    <a:pt x="41" y="232"/>
                  </a:lnTo>
                  <a:lnTo>
                    <a:pt x="36" y="255"/>
                  </a:lnTo>
                  <a:lnTo>
                    <a:pt x="31" y="274"/>
                  </a:lnTo>
                  <a:lnTo>
                    <a:pt x="26" y="288"/>
                  </a:lnTo>
                  <a:lnTo>
                    <a:pt x="19" y="294"/>
                  </a:lnTo>
                  <a:lnTo>
                    <a:pt x="13" y="291"/>
                  </a:lnTo>
                  <a:lnTo>
                    <a:pt x="9" y="282"/>
                  </a:lnTo>
                  <a:lnTo>
                    <a:pt x="5" y="267"/>
                  </a:lnTo>
                  <a:lnTo>
                    <a:pt x="3" y="249"/>
                  </a:lnTo>
                  <a:lnTo>
                    <a:pt x="1" y="227"/>
                  </a:lnTo>
                  <a:lnTo>
                    <a:pt x="1" y="203"/>
                  </a:lnTo>
                  <a:lnTo>
                    <a:pt x="0" y="179"/>
                  </a:lnTo>
                  <a:lnTo>
                    <a:pt x="1" y="155"/>
                  </a:lnTo>
                  <a:lnTo>
                    <a:pt x="1" y="133"/>
                  </a:lnTo>
                  <a:lnTo>
                    <a:pt x="3" y="104"/>
                  </a:lnTo>
                  <a:lnTo>
                    <a:pt x="7" y="77"/>
                  </a:lnTo>
                  <a:lnTo>
                    <a:pt x="12" y="55"/>
                  </a:lnTo>
                  <a:lnTo>
                    <a:pt x="17" y="36"/>
                  </a:lnTo>
                  <a:lnTo>
                    <a:pt x="25" y="20"/>
                  </a:lnTo>
                  <a:lnTo>
                    <a:pt x="31" y="9"/>
                  </a:lnTo>
                  <a:lnTo>
                    <a:pt x="39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6" name="Freeform 1567"/>
            <p:cNvSpPr>
              <a:spLocks/>
            </p:cNvSpPr>
            <p:nvPr/>
          </p:nvSpPr>
          <p:spPr bwMode="auto">
            <a:xfrm>
              <a:off x="10131426" y="698500"/>
              <a:ext cx="112713" cy="273050"/>
            </a:xfrm>
            <a:custGeom>
              <a:avLst/>
              <a:gdLst>
                <a:gd name="T0" fmla="*/ 0 w 71"/>
                <a:gd name="T1" fmla="*/ 0 h 172"/>
                <a:gd name="T2" fmla="*/ 71 w 71"/>
                <a:gd name="T3" fmla="*/ 0 h 172"/>
                <a:gd name="T4" fmla="*/ 71 w 71"/>
                <a:gd name="T5" fmla="*/ 137 h 172"/>
                <a:gd name="T6" fmla="*/ 68 w 71"/>
                <a:gd name="T7" fmla="*/ 150 h 172"/>
                <a:gd name="T8" fmla="*/ 61 w 71"/>
                <a:gd name="T9" fmla="*/ 162 h 172"/>
                <a:gd name="T10" fmla="*/ 49 w 71"/>
                <a:gd name="T11" fmla="*/ 169 h 172"/>
                <a:gd name="T12" fmla="*/ 36 w 71"/>
                <a:gd name="T13" fmla="*/ 172 h 172"/>
                <a:gd name="T14" fmla="*/ 36 w 71"/>
                <a:gd name="T15" fmla="*/ 172 h 172"/>
                <a:gd name="T16" fmla="*/ 22 w 71"/>
                <a:gd name="T17" fmla="*/ 169 h 172"/>
                <a:gd name="T18" fmla="*/ 11 w 71"/>
                <a:gd name="T19" fmla="*/ 162 h 172"/>
                <a:gd name="T20" fmla="*/ 3 w 71"/>
                <a:gd name="T21" fmla="*/ 150 h 172"/>
                <a:gd name="T22" fmla="*/ 0 w 71"/>
                <a:gd name="T23" fmla="*/ 137 h 172"/>
                <a:gd name="T24" fmla="*/ 0 w 71"/>
                <a:gd name="T2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172">
                  <a:moveTo>
                    <a:pt x="0" y="0"/>
                  </a:moveTo>
                  <a:lnTo>
                    <a:pt x="71" y="0"/>
                  </a:lnTo>
                  <a:lnTo>
                    <a:pt x="71" y="137"/>
                  </a:lnTo>
                  <a:lnTo>
                    <a:pt x="68" y="150"/>
                  </a:lnTo>
                  <a:lnTo>
                    <a:pt x="61" y="162"/>
                  </a:lnTo>
                  <a:lnTo>
                    <a:pt x="49" y="169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22" y="169"/>
                  </a:lnTo>
                  <a:lnTo>
                    <a:pt x="11" y="162"/>
                  </a:lnTo>
                  <a:lnTo>
                    <a:pt x="3" y="150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7" name="Freeform 1568"/>
            <p:cNvSpPr>
              <a:spLocks/>
            </p:cNvSpPr>
            <p:nvPr/>
          </p:nvSpPr>
          <p:spPr bwMode="auto">
            <a:xfrm>
              <a:off x="10229851" y="458788"/>
              <a:ext cx="169863" cy="109538"/>
            </a:xfrm>
            <a:custGeom>
              <a:avLst/>
              <a:gdLst>
                <a:gd name="T0" fmla="*/ 1 w 107"/>
                <a:gd name="T1" fmla="*/ 0 h 69"/>
                <a:gd name="T2" fmla="*/ 5 w 107"/>
                <a:gd name="T3" fmla="*/ 10 h 69"/>
                <a:gd name="T4" fmla="*/ 13 w 107"/>
                <a:gd name="T5" fmla="*/ 21 h 69"/>
                <a:gd name="T6" fmla="*/ 27 w 107"/>
                <a:gd name="T7" fmla="*/ 32 h 69"/>
                <a:gd name="T8" fmla="*/ 44 w 107"/>
                <a:gd name="T9" fmla="*/ 42 h 69"/>
                <a:gd name="T10" fmla="*/ 64 w 107"/>
                <a:gd name="T11" fmla="*/ 51 h 69"/>
                <a:gd name="T12" fmla="*/ 86 w 107"/>
                <a:gd name="T13" fmla="*/ 56 h 69"/>
                <a:gd name="T14" fmla="*/ 107 w 107"/>
                <a:gd name="T15" fmla="*/ 59 h 69"/>
                <a:gd name="T16" fmla="*/ 82 w 107"/>
                <a:gd name="T17" fmla="*/ 68 h 69"/>
                <a:gd name="T18" fmla="*/ 60 w 107"/>
                <a:gd name="T19" fmla="*/ 69 h 69"/>
                <a:gd name="T20" fmla="*/ 40 w 107"/>
                <a:gd name="T21" fmla="*/ 64 h 69"/>
                <a:gd name="T22" fmla="*/ 23 w 107"/>
                <a:gd name="T23" fmla="*/ 55 h 69"/>
                <a:gd name="T24" fmla="*/ 12 w 107"/>
                <a:gd name="T25" fmla="*/ 43 h 69"/>
                <a:gd name="T26" fmla="*/ 3 w 107"/>
                <a:gd name="T27" fmla="*/ 29 h 69"/>
                <a:gd name="T28" fmla="*/ 0 w 107"/>
                <a:gd name="T29" fmla="*/ 14 h 69"/>
                <a:gd name="T30" fmla="*/ 1 w 107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9">
                  <a:moveTo>
                    <a:pt x="1" y="0"/>
                  </a:moveTo>
                  <a:lnTo>
                    <a:pt x="5" y="10"/>
                  </a:lnTo>
                  <a:lnTo>
                    <a:pt x="13" y="21"/>
                  </a:lnTo>
                  <a:lnTo>
                    <a:pt x="27" y="32"/>
                  </a:lnTo>
                  <a:lnTo>
                    <a:pt x="44" y="42"/>
                  </a:lnTo>
                  <a:lnTo>
                    <a:pt x="64" y="51"/>
                  </a:lnTo>
                  <a:lnTo>
                    <a:pt x="86" y="56"/>
                  </a:lnTo>
                  <a:lnTo>
                    <a:pt x="107" y="59"/>
                  </a:lnTo>
                  <a:lnTo>
                    <a:pt x="82" y="68"/>
                  </a:lnTo>
                  <a:lnTo>
                    <a:pt x="60" y="69"/>
                  </a:lnTo>
                  <a:lnTo>
                    <a:pt x="40" y="64"/>
                  </a:lnTo>
                  <a:lnTo>
                    <a:pt x="23" y="55"/>
                  </a:lnTo>
                  <a:lnTo>
                    <a:pt x="12" y="43"/>
                  </a:lnTo>
                  <a:lnTo>
                    <a:pt x="3" y="29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8" name="Freeform 1569"/>
            <p:cNvSpPr>
              <a:spLocks/>
            </p:cNvSpPr>
            <p:nvPr/>
          </p:nvSpPr>
          <p:spPr bwMode="auto">
            <a:xfrm>
              <a:off x="10234613" y="422275"/>
              <a:ext cx="169863" cy="107950"/>
            </a:xfrm>
            <a:custGeom>
              <a:avLst/>
              <a:gdLst>
                <a:gd name="T0" fmla="*/ 2 w 107"/>
                <a:gd name="T1" fmla="*/ 0 h 68"/>
                <a:gd name="T2" fmla="*/ 5 w 107"/>
                <a:gd name="T3" fmla="*/ 10 h 68"/>
                <a:gd name="T4" fmla="*/ 14 w 107"/>
                <a:gd name="T5" fmla="*/ 20 h 68"/>
                <a:gd name="T6" fmla="*/ 28 w 107"/>
                <a:gd name="T7" fmla="*/ 32 h 68"/>
                <a:gd name="T8" fmla="*/ 45 w 107"/>
                <a:gd name="T9" fmla="*/ 42 h 68"/>
                <a:gd name="T10" fmla="*/ 65 w 107"/>
                <a:gd name="T11" fmla="*/ 51 h 68"/>
                <a:gd name="T12" fmla="*/ 86 w 107"/>
                <a:gd name="T13" fmla="*/ 56 h 68"/>
                <a:gd name="T14" fmla="*/ 107 w 107"/>
                <a:gd name="T15" fmla="*/ 59 h 68"/>
                <a:gd name="T16" fmla="*/ 83 w 107"/>
                <a:gd name="T17" fmla="*/ 66 h 68"/>
                <a:gd name="T18" fmla="*/ 60 w 107"/>
                <a:gd name="T19" fmla="*/ 68 h 68"/>
                <a:gd name="T20" fmla="*/ 41 w 107"/>
                <a:gd name="T21" fmla="*/ 64 h 68"/>
                <a:gd name="T22" fmla="*/ 24 w 107"/>
                <a:gd name="T23" fmla="*/ 55 h 68"/>
                <a:gd name="T24" fmla="*/ 11 w 107"/>
                <a:gd name="T25" fmla="*/ 43 h 68"/>
                <a:gd name="T26" fmla="*/ 3 w 107"/>
                <a:gd name="T27" fmla="*/ 29 h 68"/>
                <a:gd name="T28" fmla="*/ 0 w 107"/>
                <a:gd name="T29" fmla="*/ 14 h 68"/>
                <a:gd name="T30" fmla="*/ 2 w 107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8">
                  <a:moveTo>
                    <a:pt x="2" y="0"/>
                  </a:moveTo>
                  <a:lnTo>
                    <a:pt x="5" y="10"/>
                  </a:lnTo>
                  <a:lnTo>
                    <a:pt x="14" y="20"/>
                  </a:lnTo>
                  <a:lnTo>
                    <a:pt x="28" y="32"/>
                  </a:lnTo>
                  <a:lnTo>
                    <a:pt x="45" y="42"/>
                  </a:lnTo>
                  <a:lnTo>
                    <a:pt x="65" y="51"/>
                  </a:lnTo>
                  <a:lnTo>
                    <a:pt x="86" y="56"/>
                  </a:lnTo>
                  <a:lnTo>
                    <a:pt x="107" y="59"/>
                  </a:lnTo>
                  <a:lnTo>
                    <a:pt x="83" y="66"/>
                  </a:lnTo>
                  <a:lnTo>
                    <a:pt x="60" y="68"/>
                  </a:lnTo>
                  <a:lnTo>
                    <a:pt x="41" y="64"/>
                  </a:lnTo>
                  <a:lnTo>
                    <a:pt x="24" y="55"/>
                  </a:lnTo>
                  <a:lnTo>
                    <a:pt x="11" y="43"/>
                  </a:lnTo>
                  <a:lnTo>
                    <a:pt x="3" y="29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9" name="Freeform 1570"/>
            <p:cNvSpPr>
              <a:spLocks/>
            </p:cNvSpPr>
            <p:nvPr/>
          </p:nvSpPr>
          <p:spPr bwMode="auto">
            <a:xfrm>
              <a:off x="10015538" y="346075"/>
              <a:ext cx="344488" cy="466725"/>
            </a:xfrm>
            <a:custGeom>
              <a:avLst/>
              <a:gdLst>
                <a:gd name="T0" fmla="*/ 109 w 217"/>
                <a:gd name="T1" fmla="*/ 0 h 294"/>
                <a:gd name="T2" fmla="*/ 135 w 217"/>
                <a:gd name="T3" fmla="*/ 3 h 294"/>
                <a:gd name="T4" fmla="*/ 157 w 217"/>
                <a:gd name="T5" fmla="*/ 10 h 294"/>
                <a:gd name="T6" fmla="*/ 175 w 217"/>
                <a:gd name="T7" fmla="*/ 22 h 294"/>
                <a:gd name="T8" fmla="*/ 189 w 217"/>
                <a:gd name="T9" fmla="*/ 36 h 294"/>
                <a:gd name="T10" fmla="*/ 201 w 217"/>
                <a:gd name="T11" fmla="*/ 55 h 294"/>
                <a:gd name="T12" fmla="*/ 208 w 217"/>
                <a:gd name="T13" fmla="*/ 76 h 294"/>
                <a:gd name="T14" fmla="*/ 215 w 217"/>
                <a:gd name="T15" fmla="*/ 98 h 294"/>
                <a:gd name="T16" fmla="*/ 217 w 217"/>
                <a:gd name="T17" fmla="*/ 122 h 294"/>
                <a:gd name="T18" fmla="*/ 217 w 217"/>
                <a:gd name="T19" fmla="*/ 145 h 294"/>
                <a:gd name="T20" fmla="*/ 216 w 217"/>
                <a:gd name="T21" fmla="*/ 169 h 294"/>
                <a:gd name="T22" fmla="*/ 212 w 217"/>
                <a:gd name="T23" fmla="*/ 192 h 294"/>
                <a:gd name="T24" fmla="*/ 208 w 217"/>
                <a:gd name="T25" fmla="*/ 216 h 294"/>
                <a:gd name="T26" fmla="*/ 199 w 217"/>
                <a:gd name="T27" fmla="*/ 236 h 294"/>
                <a:gd name="T28" fmla="*/ 185 w 217"/>
                <a:gd name="T29" fmla="*/ 255 h 294"/>
                <a:gd name="T30" fmla="*/ 167 w 217"/>
                <a:gd name="T31" fmla="*/ 271 h 294"/>
                <a:gd name="T32" fmla="*/ 147 w 217"/>
                <a:gd name="T33" fmla="*/ 282 h 294"/>
                <a:gd name="T34" fmla="*/ 127 w 217"/>
                <a:gd name="T35" fmla="*/ 291 h 294"/>
                <a:gd name="T36" fmla="*/ 109 w 217"/>
                <a:gd name="T37" fmla="*/ 294 h 294"/>
                <a:gd name="T38" fmla="*/ 91 w 217"/>
                <a:gd name="T39" fmla="*/ 291 h 294"/>
                <a:gd name="T40" fmla="*/ 72 w 217"/>
                <a:gd name="T41" fmla="*/ 284 h 294"/>
                <a:gd name="T42" fmla="*/ 53 w 217"/>
                <a:gd name="T43" fmla="*/ 271 h 294"/>
                <a:gd name="T44" fmla="*/ 35 w 217"/>
                <a:gd name="T45" fmla="*/ 255 h 294"/>
                <a:gd name="T46" fmla="*/ 21 w 217"/>
                <a:gd name="T47" fmla="*/ 236 h 294"/>
                <a:gd name="T48" fmla="*/ 11 w 217"/>
                <a:gd name="T49" fmla="*/ 214 h 294"/>
                <a:gd name="T50" fmla="*/ 5 w 217"/>
                <a:gd name="T51" fmla="*/ 192 h 294"/>
                <a:gd name="T52" fmla="*/ 2 w 217"/>
                <a:gd name="T53" fmla="*/ 169 h 294"/>
                <a:gd name="T54" fmla="*/ 0 w 217"/>
                <a:gd name="T55" fmla="*/ 145 h 294"/>
                <a:gd name="T56" fmla="*/ 2 w 217"/>
                <a:gd name="T57" fmla="*/ 122 h 294"/>
                <a:gd name="T58" fmla="*/ 5 w 217"/>
                <a:gd name="T59" fmla="*/ 98 h 294"/>
                <a:gd name="T60" fmla="*/ 11 w 217"/>
                <a:gd name="T61" fmla="*/ 76 h 294"/>
                <a:gd name="T62" fmla="*/ 20 w 217"/>
                <a:gd name="T63" fmla="*/ 55 h 294"/>
                <a:gd name="T64" fmla="*/ 31 w 217"/>
                <a:gd name="T65" fmla="*/ 37 h 294"/>
                <a:gd name="T66" fmla="*/ 47 w 217"/>
                <a:gd name="T67" fmla="*/ 22 h 294"/>
                <a:gd name="T68" fmla="*/ 65 w 217"/>
                <a:gd name="T69" fmla="*/ 10 h 294"/>
                <a:gd name="T70" fmla="*/ 85 w 217"/>
                <a:gd name="T71" fmla="*/ 3 h 294"/>
                <a:gd name="T72" fmla="*/ 109 w 217"/>
                <a:gd name="T7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94">
                  <a:moveTo>
                    <a:pt x="109" y="0"/>
                  </a:moveTo>
                  <a:lnTo>
                    <a:pt x="135" y="3"/>
                  </a:lnTo>
                  <a:lnTo>
                    <a:pt x="157" y="10"/>
                  </a:lnTo>
                  <a:lnTo>
                    <a:pt x="175" y="22"/>
                  </a:lnTo>
                  <a:lnTo>
                    <a:pt x="189" y="36"/>
                  </a:lnTo>
                  <a:lnTo>
                    <a:pt x="201" y="55"/>
                  </a:lnTo>
                  <a:lnTo>
                    <a:pt x="208" y="76"/>
                  </a:lnTo>
                  <a:lnTo>
                    <a:pt x="215" y="98"/>
                  </a:lnTo>
                  <a:lnTo>
                    <a:pt x="217" y="122"/>
                  </a:lnTo>
                  <a:lnTo>
                    <a:pt x="217" y="145"/>
                  </a:lnTo>
                  <a:lnTo>
                    <a:pt x="216" y="169"/>
                  </a:lnTo>
                  <a:lnTo>
                    <a:pt x="212" y="192"/>
                  </a:lnTo>
                  <a:lnTo>
                    <a:pt x="208" y="216"/>
                  </a:lnTo>
                  <a:lnTo>
                    <a:pt x="199" y="236"/>
                  </a:lnTo>
                  <a:lnTo>
                    <a:pt x="185" y="255"/>
                  </a:lnTo>
                  <a:lnTo>
                    <a:pt x="167" y="271"/>
                  </a:lnTo>
                  <a:lnTo>
                    <a:pt x="147" y="282"/>
                  </a:lnTo>
                  <a:lnTo>
                    <a:pt x="127" y="291"/>
                  </a:lnTo>
                  <a:lnTo>
                    <a:pt x="109" y="294"/>
                  </a:lnTo>
                  <a:lnTo>
                    <a:pt x="91" y="291"/>
                  </a:lnTo>
                  <a:lnTo>
                    <a:pt x="72" y="284"/>
                  </a:lnTo>
                  <a:lnTo>
                    <a:pt x="53" y="271"/>
                  </a:lnTo>
                  <a:lnTo>
                    <a:pt x="35" y="255"/>
                  </a:lnTo>
                  <a:lnTo>
                    <a:pt x="21" y="236"/>
                  </a:lnTo>
                  <a:lnTo>
                    <a:pt x="11" y="214"/>
                  </a:lnTo>
                  <a:lnTo>
                    <a:pt x="5" y="192"/>
                  </a:lnTo>
                  <a:lnTo>
                    <a:pt x="2" y="169"/>
                  </a:lnTo>
                  <a:lnTo>
                    <a:pt x="0" y="145"/>
                  </a:lnTo>
                  <a:lnTo>
                    <a:pt x="2" y="122"/>
                  </a:lnTo>
                  <a:lnTo>
                    <a:pt x="5" y="98"/>
                  </a:lnTo>
                  <a:lnTo>
                    <a:pt x="11" y="76"/>
                  </a:lnTo>
                  <a:lnTo>
                    <a:pt x="20" y="55"/>
                  </a:lnTo>
                  <a:lnTo>
                    <a:pt x="31" y="37"/>
                  </a:lnTo>
                  <a:lnTo>
                    <a:pt x="47" y="22"/>
                  </a:lnTo>
                  <a:lnTo>
                    <a:pt x="65" y="10"/>
                  </a:lnTo>
                  <a:lnTo>
                    <a:pt x="85" y="3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0" name="Freeform 1571"/>
            <p:cNvSpPr>
              <a:spLocks/>
            </p:cNvSpPr>
            <p:nvPr/>
          </p:nvSpPr>
          <p:spPr bwMode="auto">
            <a:xfrm>
              <a:off x="10118726" y="706438"/>
              <a:ext cx="147638" cy="19050"/>
            </a:xfrm>
            <a:custGeom>
              <a:avLst/>
              <a:gdLst>
                <a:gd name="T0" fmla="*/ 93 w 93"/>
                <a:gd name="T1" fmla="*/ 0 h 12"/>
                <a:gd name="T2" fmla="*/ 76 w 93"/>
                <a:gd name="T3" fmla="*/ 8 h 12"/>
                <a:gd name="T4" fmla="*/ 56 w 93"/>
                <a:gd name="T5" fmla="*/ 12 h 12"/>
                <a:gd name="T6" fmla="*/ 35 w 93"/>
                <a:gd name="T7" fmla="*/ 12 h 12"/>
                <a:gd name="T8" fmla="*/ 15 w 93"/>
                <a:gd name="T9" fmla="*/ 8 h 12"/>
                <a:gd name="T10" fmla="*/ 0 w 93"/>
                <a:gd name="T11" fmla="*/ 1 h 12"/>
                <a:gd name="T12" fmla="*/ 23 w 93"/>
                <a:gd name="T13" fmla="*/ 4 h 12"/>
                <a:gd name="T14" fmla="*/ 47 w 93"/>
                <a:gd name="T15" fmla="*/ 5 h 12"/>
                <a:gd name="T16" fmla="*/ 71 w 93"/>
                <a:gd name="T17" fmla="*/ 4 h 12"/>
                <a:gd name="T18" fmla="*/ 93 w 9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12">
                  <a:moveTo>
                    <a:pt x="93" y="0"/>
                  </a:moveTo>
                  <a:lnTo>
                    <a:pt x="76" y="8"/>
                  </a:lnTo>
                  <a:lnTo>
                    <a:pt x="56" y="12"/>
                  </a:lnTo>
                  <a:lnTo>
                    <a:pt x="35" y="12"/>
                  </a:lnTo>
                  <a:lnTo>
                    <a:pt x="15" y="8"/>
                  </a:lnTo>
                  <a:lnTo>
                    <a:pt x="0" y="1"/>
                  </a:lnTo>
                  <a:lnTo>
                    <a:pt x="23" y="4"/>
                  </a:lnTo>
                  <a:lnTo>
                    <a:pt x="47" y="5"/>
                  </a:lnTo>
                  <a:lnTo>
                    <a:pt x="71" y="4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1" name="Freeform 1572"/>
            <p:cNvSpPr>
              <a:spLocks/>
            </p:cNvSpPr>
            <p:nvPr/>
          </p:nvSpPr>
          <p:spPr bwMode="auto">
            <a:xfrm>
              <a:off x="10155238" y="739775"/>
              <a:ext cx="74613" cy="14288"/>
            </a:xfrm>
            <a:custGeom>
              <a:avLst/>
              <a:gdLst>
                <a:gd name="T0" fmla="*/ 47 w 47"/>
                <a:gd name="T1" fmla="*/ 0 h 9"/>
                <a:gd name="T2" fmla="*/ 37 w 47"/>
                <a:gd name="T3" fmla="*/ 6 h 9"/>
                <a:gd name="T4" fmla="*/ 24 w 47"/>
                <a:gd name="T5" fmla="*/ 9 h 9"/>
                <a:gd name="T6" fmla="*/ 11 w 47"/>
                <a:gd name="T7" fmla="*/ 6 h 9"/>
                <a:gd name="T8" fmla="*/ 0 w 47"/>
                <a:gd name="T9" fmla="*/ 0 h 9"/>
                <a:gd name="T10" fmla="*/ 15 w 47"/>
                <a:gd name="T11" fmla="*/ 2 h 9"/>
                <a:gd name="T12" fmla="*/ 32 w 47"/>
                <a:gd name="T13" fmla="*/ 2 h 9"/>
                <a:gd name="T14" fmla="*/ 4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47" y="0"/>
                  </a:moveTo>
                  <a:lnTo>
                    <a:pt x="37" y="6"/>
                  </a:lnTo>
                  <a:lnTo>
                    <a:pt x="24" y="9"/>
                  </a:lnTo>
                  <a:lnTo>
                    <a:pt x="11" y="6"/>
                  </a:lnTo>
                  <a:lnTo>
                    <a:pt x="0" y="0"/>
                  </a:lnTo>
                  <a:lnTo>
                    <a:pt x="15" y="2"/>
                  </a:lnTo>
                  <a:lnTo>
                    <a:pt x="32" y="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2" name="Freeform 1573"/>
            <p:cNvSpPr>
              <a:spLocks/>
            </p:cNvSpPr>
            <p:nvPr/>
          </p:nvSpPr>
          <p:spPr bwMode="auto">
            <a:xfrm>
              <a:off x="10209213" y="577850"/>
              <a:ext cx="104775" cy="84138"/>
            </a:xfrm>
            <a:custGeom>
              <a:avLst/>
              <a:gdLst>
                <a:gd name="T0" fmla="*/ 45 w 66"/>
                <a:gd name="T1" fmla="*/ 0 h 53"/>
                <a:gd name="T2" fmla="*/ 54 w 66"/>
                <a:gd name="T3" fmla="*/ 2 h 53"/>
                <a:gd name="T4" fmla="*/ 61 w 66"/>
                <a:gd name="T5" fmla="*/ 3 h 53"/>
                <a:gd name="T6" fmla="*/ 64 w 66"/>
                <a:gd name="T7" fmla="*/ 9 h 53"/>
                <a:gd name="T8" fmla="*/ 66 w 66"/>
                <a:gd name="T9" fmla="*/ 20 h 53"/>
                <a:gd name="T10" fmla="*/ 64 w 66"/>
                <a:gd name="T11" fmla="*/ 31 h 53"/>
                <a:gd name="T12" fmla="*/ 61 w 66"/>
                <a:gd name="T13" fmla="*/ 41 h 53"/>
                <a:gd name="T14" fmla="*/ 53 w 66"/>
                <a:gd name="T15" fmla="*/ 48 h 53"/>
                <a:gd name="T16" fmla="*/ 43 w 66"/>
                <a:gd name="T17" fmla="*/ 52 h 53"/>
                <a:gd name="T18" fmla="*/ 30 w 66"/>
                <a:gd name="T19" fmla="*/ 53 h 53"/>
                <a:gd name="T20" fmla="*/ 19 w 66"/>
                <a:gd name="T21" fmla="*/ 50 h 53"/>
                <a:gd name="T22" fmla="*/ 13 w 66"/>
                <a:gd name="T23" fmla="*/ 45 h 53"/>
                <a:gd name="T24" fmla="*/ 7 w 66"/>
                <a:gd name="T25" fmla="*/ 36 h 53"/>
                <a:gd name="T26" fmla="*/ 3 w 66"/>
                <a:gd name="T27" fmla="*/ 27 h 53"/>
                <a:gd name="T28" fmla="*/ 0 w 66"/>
                <a:gd name="T29" fmla="*/ 17 h 53"/>
                <a:gd name="T30" fmla="*/ 3 w 66"/>
                <a:gd name="T31" fmla="*/ 9 h 53"/>
                <a:gd name="T32" fmla="*/ 11 w 66"/>
                <a:gd name="T33" fmla="*/ 4 h 53"/>
                <a:gd name="T34" fmla="*/ 21 w 66"/>
                <a:gd name="T35" fmla="*/ 2 h 53"/>
                <a:gd name="T36" fmla="*/ 32 w 66"/>
                <a:gd name="T37" fmla="*/ 0 h 53"/>
                <a:gd name="T38" fmla="*/ 45 w 66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53">
                  <a:moveTo>
                    <a:pt x="45" y="0"/>
                  </a:moveTo>
                  <a:lnTo>
                    <a:pt x="54" y="2"/>
                  </a:lnTo>
                  <a:lnTo>
                    <a:pt x="61" y="3"/>
                  </a:lnTo>
                  <a:lnTo>
                    <a:pt x="64" y="9"/>
                  </a:lnTo>
                  <a:lnTo>
                    <a:pt x="66" y="20"/>
                  </a:lnTo>
                  <a:lnTo>
                    <a:pt x="64" y="31"/>
                  </a:lnTo>
                  <a:lnTo>
                    <a:pt x="61" y="41"/>
                  </a:lnTo>
                  <a:lnTo>
                    <a:pt x="53" y="48"/>
                  </a:lnTo>
                  <a:lnTo>
                    <a:pt x="43" y="52"/>
                  </a:lnTo>
                  <a:lnTo>
                    <a:pt x="30" y="53"/>
                  </a:lnTo>
                  <a:lnTo>
                    <a:pt x="19" y="50"/>
                  </a:lnTo>
                  <a:lnTo>
                    <a:pt x="13" y="45"/>
                  </a:lnTo>
                  <a:lnTo>
                    <a:pt x="7" y="36"/>
                  </a:lnTo>
                  <a:lnTo>
                    <a:pt x="3" y="27"/>
                  </a:lnTo>
                  <a:lnTo>
                    <a:pt x="0" y="17"/>
                  </a:lnTo>
                  <a:lnTo>
                    <a:pt x="3" y="9"/>
                  </a:lnTo>
                  <a:lnTo>
                    <a:pt x="11" y="4"/>
                  </a:lnTo>
                  <a:lnTo>
                    <a:pt x="21" y="2"/>
                  </a:lnTo>
                  <a:lnTo>
                    <a:pt x="32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3" name="Freeform 1574"/>
            <p:cNvSpPr>
              <a:spLocks/>
            </p:cNvSpPr>
            <p:nvPr/>
          </p:nvSpPr>
          <p:spPr bwMode="auto">
            <a:xfrm>
              <a:off x="10064751" y="577850"/>
              <a:ext cx="101600" cy="84138"/>
            </a:xfrm>
            <a:custGeom>
              <a:avLst/>
              <a:gdLst>
                <a:gd name="T0" fmla="*/ 32 w 64"/>
                <a:gd name="T1" fmla="*/ 0 h 53"/>
                <a:gd name="T2" fmla="*/ 45 w 64"/>
                <a:gd name="T3" fmla="*/ 2 h 53"/>
                <a:gd name="T4" fmla="*/ 55 w 64"/>
                <a:gd name="T5" fmla="*/ 4 h 53"/>
                <a:gd name="T6" fmla="*/ 62 w 64"/>
                <a:gd name="T7" fmla="*/ 9 h 53"/>
                <a:gd name="T8" fmla="*/ 64 w 64"/>
                <a:gd name="T9" fmla="*/ 17 h 53"/>
                <a:gd name="T10" fmla="*/ 63 w 64"/>
                <a:gd name="T11" fmla="*/ 27 h 53"/>
                <a:gd name="T12" fmla="*/ 59 w 64"/>
                <a:gd name="T13" fmla="*/ 36 h 53"/>
                <a:gd name="T14" fmla="*/ 53 w 64"/>
                <a:gd name="T15" fmla="*/ 45 h 53"/>
                <a:gd name="T16" fmla="*/ 46 w 64"/>
                <a:gd name="T17" fmla="*/ 50 h 53"/>
                <a:gd name="T18" fmla="*/ 36 w 64"/>
                <a:gd name="T19" fmla="*/ 53 h 53"/>
                <a:gd name="T20" fmla="*/ 23 w 64"/>
                <a:gd name="T21" fmla="*/ 53 h 53"/>
                <a:gd name="T22" fmla="*/ 13 w 64"/>
                <a:gd name="T23" fmla="*/ 49 h 53"/>
                <a:gd name="T24" fmla="*/ 5 w 64"/>
                <a:gd name="T25" fmla="*/ 41 h 53"/>
                <a:gd name="T26" fmla="*/ 1 w 64"/>
                <a:gd name="T27" fmla="*/ 31 h 53"/>
                <a:gd name="T28" fmla="*/ 0 w 64"/>
                <a:gd name="T29" fmla="*/ 20 h 53"/>
                <a:gd name="T30" fmla="*/ 0 w 64"/>
                <a:gd name="T31" fmla="*/ 9 h 53"/>
                <a:gd name="T32" fmla="*/ 5 w 64"/>
                <a:gd name="T33" fmla="*/ 3 h 53"/>
                <a:gd name="T34" fmla="*/ 10 w 64"/>
                <a:gd name="T35" fmla="*/ 2 h 53"/>
                <a:gd name="T36" fmla="*/ 21 w 64"/>
                <a:gd name="T37" fmla="*/ 0 h 53"/>
                <a:gd name="T38" fmla="*/ 32 w 64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53">
                  <a:moveTo>
                    <a:pt x="32" y="0"/>
                  </a:moveTo>
                  <a:lnTo>
                    <a:pt x="45" y="2"/>
                  </a:lnTo>
                  <a:lnTo>
                    <a:pt x="55" y="4"/>
                  </a:lnTo>
                  <a:lnTo>
                    <a:pt x="62" y="9"/>
                  </a:lnTo>
                  <a:lnTo>
                    <a:pt x="64" y="17"/>
                  </a:lnTo>
                  <a:lnTo>
                    <a:pt x="63" y="27"/>
                  </a:lnTo>
                  <a:lnTo>
                    <a:pt x="59" y="36"/>
                  </a:lnTo>
                  <a:lnTo>
                    <a:pt x="53" y="45"/>
                  </a:lnTo>
                  <a:lnTo>
                    <a:pt x="46" y="50"/>
                  </a:lnTo>
                  <a:lnTo>
                    <a:pt x="36" y="53"/>
                  </a:lnTo>
                  <a:lnTo>
                    <a:pt x="23" y="53"/>
                  </a:lnTo>
                  <a:lnTo>
                    <a:pt x="13" y="49"/>
                  </a:lnTo>
                  <a:lnTo>
                    <a:pt x="5" y="41"/>
                  </a:lnTo>
                  <a:lnTo>
                    <a:pt x="1" y="31"/>
                  </a:lnTo>
                  <a:lnTo>
                    <a:pt x="0" y="20"/>
                  </a:lnTo>
                  <a:lnTo>
                    <a:pt x="0" y="9"/>
                  </a:lnTo>
                  <a:lnTo>
                    <a:pt x="5" y="3"/>
                  </a:lnTo>
                  <a:lnTo>
                    <a:pt x="10" y="2"/>
                  </a:lnTo>
                  <a:lnTo>
                    <a:pt x="21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4" name="Freeform 1575"/>
            <p:cNvSpPr>
              <a:spLocks/>
            </p:cNvSpPr>
            <p:nvPr/>
          </p:nvSpPr>
          <p:spPr bwMode="auto">
            <a:xfrm>
              <a:off x="10107613" y="557213"/>
              <a:ext cx="23813" cy="63500"/>
            </a:xfrm>
            <a:custGeom>
              <a:avLst/>
              <a:gdLst>
                <a:gd name="T0" fmla="*/ 8 w 15"/>
                <a:gd name="T1" fmla="*/ 0 h 40"/>
                <a:gd name="T2" fmla="*/ 10 w 15"/>
                <a:gd name="T3" fmla="*/ 2 h 40"/>
                <a:gd name="T4" fmla="*/ 13 w 15"/>
                <a:gd name="T5" fmla="*/ 4 h 40"/>
                <a:gd name="T6" fmla="*/ 14 w 15"/>
                <a:gd name="T7" fmla="*/ 9 h 40"/>
                <a:gd name="T8" fmla="*/ 15 w 15"/>
                <a:gd name="T9" fmla="*/ 15 h 40"/>
                <a:gd name="T10" fmla="*/ 15 w 15"/>
                <a:gd name="T11" fmla="*/ 21 h 40"/>
                <a:gd name="T12" fmla="*/ 15 w 15"/>
                <a:gd name="T13" fmla="*/ 27 h 40"/>
                <a:gd name="T14" fmla="*/ 14 w 15"/>
                <a:gd name="T15" fmla="*/ 33 h 40"/>
                <a:gd name="T16" fmla="*/ 13 w 15"/>
                <a:gd name="T17" fmla="*/ 36 h 40"/>
                <a:gd name="T18" fmla="*/ 10 w 15"/>
                <a:gd name="T19" fmla="*/ 39 h 40"/>
                <a:gd name="T20" fmla="*/ 8 w 15"/>
                <a:gd name="T21" fmla="*/ 40 h 40"/>
                <a:gd name="T22" fmla="*/ 5 w 15"/>
                <a:gd name="T23" fmla="*/ 39 h 40"/>
                <a:gd name="T24" fmla="*/ 3 w 15"/>
                <a:gd name="T25" fmla="*/ 36 h 40"/>
                <a:gd name="T26" fmla="*/ 1 w 15"/>
                <a:gd name="T27" fmla="*/ 33 h 40"/>
                <a:gd name="T28" fmla="*/ 0 w 15"/>
                <a:gd name="T29" fmla="*/ 27 h 40"/>
                <a:gd name="T30" fmla="*/ 0 w 15"/>
                <a:gd name="T31" fmla="*/ 21 h 40"/>
                <a:gd name="T32" fmla="*/ 0 w 15"/>
                <a:gd name="T33" fmla="*/ 15 h 40"/>
                <a:gd name="T34" fmla="*/ 1 w 15"/>
                <a:gd name="T35" fmla="*/ 9 h 40"/>
                <a:gd name="T36" fmla="*/ 3 w 15"/>
                <a:gd name="T37" fmla="*/ 4 h 40"/>
                <a:gd name="T38" fmla="*/ 5 w 15"/>
                <a:gd name="T39" fmla="*/ 2 h 40"/>
                <a:gd name="T40" fmla="*/ 8 w 15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40">
                  <a:moveTo>
                    <a:pt x="8" y="0"/>
                  </a:moveTo>
                  <a:lnTo>
                    <a:pt x="10" y="2"/>
                  </a:lnTo>
                  <a:lnTo>
                    <a:pt x="13" y="4"/>
                  </a:lnTo>
                  <a:lnTo>
                    <a:pt x="14" y="9"/>
                  </a:lnTo>
                  <a:lnTo>
                    <a:pt x="15" y="15"/>
                  </a:lnTo>
                  <a:lnTo>
                    <a:pt x="15" y="21"/>
                  </a:lnTo>
                  <a:lnTo>
                    <a:pt x="15" y="27"/>
                  </a:lnTo>
                  <a:lnTo>
                    <a:pt x="14" y="33"/>
                  </a:lnTo>
                  <a:lnTo>
                    <a:pt x="13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3" y="36"/>
                  </a:lnTo>
                  <a:lnTo>
                    <a:pt x="1" y="33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1" y="9"/>
                  </a:lnTo>
                  <a:lnTo>
                    <a:pt x="3" y="4"/>
                  </a:lnTo>
                  <a:lnTo>
                    <a:pt x="5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5" name="Freeform 1576"/>
            <p:cNvSpPr>
              <a:spLocks/>
            </p:cNvSpPr>
            <p:nvPr/>
          </p:nvSpPr>
          <p:spPr bwMode="auto">
            <a:xfrm>
              <a:off x="10237788" y="557213"/>
              <a:ext cx="26988" cy="63500"/>
            </a:xfrm>
            <a:custGeom>
              <a:avLst/>
              <a:gdLst>
                <a:gd name="T0" fmla="*/ 9 w 17"/>
                <a:gd name="T1" fmla="*/ 0 h 40"/>
                <a:gd name="T2" fmla="*/ 12 w 17"/>
                <a:gd name="T3" fmla="*/ 2 h 40"/>
                <a:gd name="T4" fmla="*/ 13 w 17"/>
                <a:gd name="T5" fmla="*/ 4 h 40"/>
                <a:gd name="T6" fmla="*/ 16 w 17"/>
                <a:gd name="T7" fmla="*/ 9 h 40"/>
                <a:gd name="T8" fmla="*/ 16 w 17"/>
                <a:gd name="T9" fmla="*/ 15 h 40"/>
                <a:gd name="T10" fmla="*/ 17 w 17"/>
                <a:gd name="T11" fmla="*/ 21 h 40"/>
                <a:gd name="T12" fmla="*/ 16 w 17"/>
                <a:gd name="T13" fmla="*/ 27 h 40"/>
                <a:gd name="T14" fmla="*/ 16 w 17"/>
                <a:gd name="T15" fmla="*/ 33 h 40"/>
                <a:gd name="T16" fmla="*/ 13 w 17"/>
                <a:gd name="T17" fmla="*/ 36 h 40"/>
                <a:gd name="T18" fmla="*/ 12 w 17"/>
                <a:gd name="T19" fmla="*/ 39 h 40"/>
                <a:gd name="T20" fmla="*/ 9 w 17"/>
                <a:gd name="T21" fmla="*/ 40 h 40"/>
                <a:gd name="T22" fmla="*/ 7 w 17"/>
                <a:gd name="T23" fmla="*/ 39 h 40"/>
                <a:gd name="T24" fmla="*/ 4 w 17"/>
                <a:gd name="T25" fmla="*/ 36 h 40"/>
                <a:gd name="T26" fmla="*/ 3 w 17"/>
                <a:gd name="T27" fmla="*/ 33 h 40"/>
                <a:gd name="T28" fmla="*/ 1 w 17"/>
                <a:gd name="T29" fmla="*/ 27 h 40"/>
                <a:gd name="T30" fmla="*/ 0 w 17"/>
                <a:gd name="T31" fmla="*/ 21 h 40"/>
                <a:gd name="T32" fmla="*/ 1 w 17"/>
                <a:gd name="T33" fmla="*/ 15 h 40"/>
                <a:gd name="T34" fmla="*/ 3 w 17"/>
                <a:gd name="T35" fmla="*/ 9 h 40"/>
                <a:gd name="T36" fmla="*/ 4 w 17"/>
                <a:gd name="T37" fmla="*/ 4 h 40"/>
                <a:gd name="T38" fmla="*/ 7 w 17"/>
                <a:gd name="T39" fmla="*/ 2 h 40"/>
                <a:gd name="T40" fmla="*/ 9 w 17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0">
                  <a:moveTo>
                    <a:pt x="9" y="0"/>
                  </a:moveTo>
                  <a:lnTo>
                    <a:pt x="12" y="2"/>
                  </a:lnTo>
                  <a:lnTo>
                    <a:pt x="13" y="4"/>
                  </a:lnTo>
                  <a:lnTo>
                    <a:pt x="16" y="9"/>
                  </a:lnTo>
                  <a:lnTo>
                    <a:pt x="16" y="15"/>
                  </a:lnTo>
                  <a:lnTo>
                    <a:pt x="17" y="21"/>
                  </a:lnTo>
                  <a:lnTo>
                    <a:pt x="16" y="27"/>
                  </a:lnTo>
                  <a:lnTo>
                    <a:pt x="16" y="33"/>
                  </a:lnTo>
                  <a:lnTo>
                    <a:pt x="13" y="36"/>
                  </a:lnTo>
                  <a:lnTo>
                    <a:pt x="12" y="39"/>
                  </a:lnTo>
                  <a:lnTo>
                    <a:pt x="9" y="40"/>
                  </a:lnTo>
                  <a:lnTo>
                    <a:pt x="7" y="39"/>
                  </a:lnTo>
                  <a:lnTo>
                    <a:pt x="4" y="36"/>
                  </a:lnTo>
                  <a:lnTo>
                    <a:pt x="3" y="33"/>
                  </a:lnTo>
                  <a:lnTo>
                    <a:pt x="1" y="27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3" y="9"/>
                  </a:lnTo>
                  <a:lnTo>
                    <a:pt x="4" y="4"/>
                  </a:lnTo>
                  <a:lnTo>
                    <a:pt x="7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6" name="Freeform 1577"/>
            <p:cNvSpPr>
              <a:spLocks/>
            </p:cNvSpPr>
            <p:nvPr/>
          </p:nvSpPr>
          <p:spPr bwMode="auto">
            <a:xfrm>
              <a:off x="10172701" y="641350"/>
              <a:ext cx="47625" cy="34925"/>
            </a:xfrm>
            <a:custGeom>
              <a:avLst/>
              <a:gdLst>
                <a:gd name="T0" fmla="*/ 28 w 30"/>
                <a:gd name="T1" fmla="*/ 0 h 22"/>
                <a:gd name="T2" fmla="*/ 30 w 30"/>
                <a:gd name="T3" fmla="*/ 13 h 22"/>
                <a:gd name="T4" fmla="*/ 23 w 30"/>
                <a:gd name="T5" fmla="*/ 21 h 22"/>
                <a:gd name="T6" fmla="*/ 14 w 30"/>
                <a:gd name="T7" fmla="*/ 22 h 22"/>
                <a:gd name="T8" fmla="*/ 0 w 30"/>
                <a:gd name="T9" fmla="*/ 18 h 22"/>
                <a:gd name="T10" fmla="*/ 12 w 30"/>
                <a:gd name="T11" fmla="*/ 19 h 22"/>
                <a:gd name="T12" fmla="*/ 19 w 30"/>
                <a:gd name="T13" fmla="*/ 17 h 22"/>
                <a:gd name="T14" fmla="*/ 25 w 30"/>
                <a:gd name="T15" fmla="*/ 12 h 22"/>
                <a:gd name="T16" fmla="*/ 27 w 30"/>
                <a:gd name="T17" fmla="*/ 6 h 22"/>
                <a:gd name="T18" fmla="*/ 28 w 30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2">
                  <a:moveTo>
                    <a:pt x="28" y="0"/>
                  </a:moveTo>
                  <a:lnTo>
                    <a:pt x="30" y="13"/>
                  </a:lnTo>
                  <a:lnTo>
                    <a:pt x="23" y="21"/>
                  </a:lnTo>
                  <a:lnTo>
                    <a:pt x="14" y="22"/>
                  </a:lnTo>
                  <a:lnTo>
                    <a:pt x="0" y="18"/>
                  </a:lnTo>
                  <a:lnTo>
                    <a:pt x="12" y="19"/>
                  </a:lnTo>
                  <a:lnTo>
                    <a:pt x="19" y="17"/>
                  </a:lnTo>
                  <a:lnTo>
                    <a:pt x="25" y="12"/>
                  </a:lnTo>
                  <a:lnTo>
                    <a:pt x="27" y="6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7" name="Freeform 1578"/>
            <p:cNvSpPr>
              <a:spLocks/>
            </p:cNvSpPr>
            <p:nvPr/>
          </p:nvSpPr>
          <p:spPr bwMode="auto">
            <a:xfrm>
              <a:off x="10220326" y="506413"/>
              <a:ext cx="74613" cy="19050"/>
            </a:xfrm>
            <a:custGeom>
              <a:avLst/>
              <a:gdLst>
                <a:gd name="T0" fmla="*/ 25 w 47"/>
                <a:gd name="T1" fmla="*/ 0 h 12"/>
                <a:gd name="T2" fmla="*/ 41 w 47"/>
                <a:gd name="T3" fmla="*/ 4 h 12"/>
                <a:gd name="T4" fmla="*/ 45 w 47"/>
                <a:gd name="T5" fmla="*/ 6 h 12"/>
                <a:gd name="T6" fmla="*/ 46 w 47"/>
                <a:gd name="T7" fmla="*/ 7 h 12"/>
                <a:gd name="T8" fmla="*/ 47 w 47"/>
                <a:gd name="T9" fmla="*/ 8 h 12"/>
                <a:gd name="T10" fmla="*/ 46 w 47"/>
                <a:gd name="T11" fmla="*/ 9 h 12"/>
                <a:gd name="T12" fmla="*/ 43 w 47"/>
                <a:gd name="T13" fmla="*/ 9 h 12"/>
                <a:gd name="T14" fmla="*/ 39 w 47"/>
                <a:gd name="T15" fmla="*/ 8 h 12"/>
                <a:gd name="T16" fmla="*/ 28 w 47"/>
                <a:gd name="T17" fmla="*/ 6 h 12"/>
                <a:gd name="T18" fmla="*/ 16 w 47"/>
                <a:gd name="T19" fmla="*/ 8 h 12"/>
                <a:gd name="T20" fmla="*/ 5 w 47"/>
                <a:gd name="T21" fmla="*/ 12 h 12"/>
                <a:gd name="T22" fmla="*/ 4 w 47"/>
                <a:gd name="T23" fmla="*/ 12 h 12"/>
                <a:gd name="T24" fmla="*/ 1 w 47"/>
                <a:gd name="T25" fmla="*/ 12 h 12"/>
                <a:gd name="T26" fmla="*/ 1 w 47"/>
                <a:gd name="T27" fmla="*/ 11 h 12"/>
                <a:gd name="T28" fmla="*/ 0 w 47"/>
                <a:gd name="T29" fmla="*/ 8 h 12"/>
                <a:gd name="T30" fmla="*/ 1 w 47"/>
                <a:gd name="T31" fmla="*/ 7 h 12"/>
                <a:gd name="T32" fmla="*/ 4 w 47"/>
                <a:gd name="T33" fmla="*/ 6 h 12"/>
                <a:gd name="T34" fmla="*/ 12 w 47"/>
                <a:gd name="T35" fmla="*/ 2 h 12"/>
                <a:gd name="T36" fmla="*/ 25 w 47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12">
                  <a:moveTo>
                    <a:pt x="25" y="0"/>
                  </a:moveTo>
                  <a:lnTo>
                    <a:pt x="41" y="4"/>
                  </a:lnTo>
                  <a:lnTo>
                    <a:pt x="45" y="6"/>
                  </a:lnTo>
                  <a:lnTo>
                    <a:pt x="46" y="7"/>
                  </a:lnTo>
                  <a:lnTo>
                    <a:pt x="47" y="8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39" y="8"/>
                  </a:lnTo>
                  <a:lnTo>
                    <a:pt x="28" y="6"/>
                  </a:lnTo>
                  <a:lnTo>
                    <a:pt x="16" y="8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lnTo>
                    <a:pt x="1" y="7"/>
                  </a:lnTo>
                  <a:lnTo>
                    <a:pt x="4" y="6"/>
                  </a:lnTo>
                  <a:lnTo>
                    <a:pt x="12" y="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8" name="Freeform 1579"/>
            <p:cNvSpPr>
              <a:spLocks/>
            </p:cNvSpPr>
            <p:nvPr/>
          </p:nvSpPr>
          <p:spPr bwMode="auto">
            <a:xfrm>
              <a:off x="10075863" y="506413"/>
              <a:ext cx="73025" cy="19050"/>
            </a:xfrm>
            <a:custGeom>
              <a:avLst/>
              <a:gdLst>
                <a:gd name="T0" fmla="*/ 20 w 46"/>
                <a:gd name="T1" fmla="*/ 0 h 12"/>
                <a:gd name="T2" fmla="*/ 33 w 46"/>
                <a:gd name="T3" fmla="*/ 2 h 12"/>
                <a:gd name="T4" fmla="*/ 43 w 46"/>
                <a:gd name="T5" fmla="*/ 6 h 12"/>
                <a:gd name="T6" fmla="*/ 46 w 46"/>
                <a:gd name="T7" fmla="*/ 7 h 12"/>
                <a:gd name="T8" fmla="*/ 46 w 46"/>
                <a:gd name="T9" fmla="*/ 8 h 12"/>
                <a:gd name="T10" fmla="*/ 46 w 46"/>
                <a:gd name="T11" fmla="*/ 11 h 12"/>
                <a:gd name="T12" fmla="*/ 44 w 46"/>
                <a:gd name="T13" fmla="*/ 12 h 12"/>
                <a:gd name="T14" fmla="*/ 43 w 46"/>
                <a:gd name="T15" fmla="*/ 12 h 12"/>
                <a:gd name="T16" fmla="*/ 41 w 46"/>
                <a:gd name="T17" fmla="*/ 12 h 12"/>
                <a:gd name="T18" fmla="*/ 29 w 46"/>
                <a:gd name="T19" fmla="*/ 8 h 12"/>
                <a:gd name="T20" fmla="*/ 19 w 46"/>
                <a:gd name="T21" fmla="*/ 6 h 12"/>
                <a:gd name="T22" fmla="*/ 7 w 46"/>
                <a:gd name="T23" fmla="*/ 8 h 12"/>
                <a:gd name="T24" fmla="*/ 3 w 46"/>
                <a:gd name="T25" fmla="*/ 9 h 12"/>
                <a:gd name="T26" fmla="*/ 1 w 46"/>
                <a:gd name="T27" fmla="*/ 9 h 12"/>
                <a:gd name="T28" fmla="*/ 0 w 46"/>
                <a:gd name="T29" fmla="*/ 8 h 12"/>
                <a:gd name="T30" fmla="*/ 0 w 46"/>
                <a:gd name="T31" fmla="*/ 7 h 12"/>
                <a:gd name="T32" fmla="*/ 2 w 46"/>
                <a:gd name="T33" fmla="*/ 6 h 12"/>
                <a:gd name="T34" fmla="*/ 5 w 46"/>
                <a:gd name="T35" fmla="*/ 4 h 12"/>
                <a:gd name="T36" fmla="*/ 20 w 46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2">
                  <a:moveTo>
                    <a:pt x="20" y="0"/>
                  </a:moveTo>
                  <a:lnTo>
                    <a:pt x="33" y="2"/>
                  </a:lnTo>
                  <a:lnTo>
                    <a:pt x="43" y="6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29" y="8"/>
                  </a:lnTo>
                  <a:lnTo>
                    <a:pt x="19" y="6"/>
                  </a:lnTo>
                  <a:lnTo>
                    <a:pt x="7" y="8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2" y="6"/>
                  </a:lnTo>
                  <a:lnTo>
                    <a:pt x="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9" name="Freeform 1580"/>
            <p:cNvSpPr>
              <a:spLocks/>
            </p:cNvSpPr>
            <p:nvPr/>
          </p:nvSpPr>
          <p:spPr bwMode="auto">
            <a:xfrm>
              <a:off x="9993313" y="569913"/>
              <a:ext cx="42863" cy="84138"/>
            </a:xfrm>
            <a:custGeom>
              <a:avLst/>
              <a:gdLst>
                <a:gd name="T0" fmla="*/ 8 w 27"/>
                <a:gd name="T1" fmla="*/ 0 h 53"/>
                <a:gd name="T2" fmla="*/ 16 w 27"/>
                <a:gd name="T3" fmla="*/ 1 h 53"/>
                <a:gd name="T4" fmla="*/ 22 w 27"/>
                <a:gd name="T5" fmla="*/ 10 h 53"/>
                <a:gd name="T6" fmla="*/ 27 w 27"/>
                <a:gd name="T7" fmla="*/ 23 h 53"/>
                <a:gd name="T8" fmla="*/ 27 w 27"/>
                <a:gd name="T9" fmla="*/ 37 h 53"/>
                <a:gd name="T10" fmla="*/ 25 w 27"/>
                <a:gd name="T11" fmla="*/ 48 h 53"/>
                <a:gd name="T12" fmla="*/ 19 w 27"/>
                <a:gd name="T13" fmla="*/ 53 h 53"/>
                <a:gd name="T14" fmla="*/ 12 w 27"/>
                <a:gd name="T15" fmla="*/ 50 h 53"/>
                <a:gd name="T16" fmla="*/ 5 w 27"/>
                <a:gd name="T17" fmla="*/ 41 h 53"/>
                <a:gd name="T18" fmla="*/ 2 w 27"/>
                <a:gd name="T19" fmla="*/ 28 h 53"/>
                <a:gd name="T20" fmla="*/ 0 w 27"/>
                <a:gd name="T21" fmla="*/ 16 h 53"/>
                <a:gd name="T22" fmla="*/ 3 w 27"/>
                <a:gd name="T23" fmla="*/ 5 h 53"/>
                <a:gd name="T24" fmla="*/ 8 w 27"/>
                <a:gd name="T2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3">
                  <a:moveTo>
                    <a:pt x="8" y="0"/>
                  </a:moveTo>
                  <a:lnTo>
                    <a:pt x="16" y="1"/>
                  </a:lnTo>
                  <a:lnTo>
                    <a:pt x="22" y="10"/>
                  </a:lnTo>
                  <a:lnTo>
                    <a:pt x="27" y="23"/>
                  </a:lnTo>
                  <a:lnTo>
                    <a:pt x="27" y="37"/>
                  </a:lnTo>
                  <a:lnTo>
                    <a:pt x="25" y="48"/>
                  </a:lnTo>
                  <a:lnTo>
                    <a:pt x="19" y="53"/>
                  </a:lnTo>
                  <a:lnTo>
                    <a:pt x="12" y="50"/>
                  </a:lnTo>
                  <a:lnTo>
                    <a:pt x="5" y="41"/>
                  </a:lnTo>
                  <a:lnTo>
                    <a:pt x="2" y="28"/>
                  </a:lnTo>
                  <a:lnTo>
                    <a:pt x="0" y="16"/>
                  </a:lnTo>
                  <a:lnTo>
                    <a:pt x="3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0" name="Freeform 1581"/>
            <p:cNvSpPr>
              <a:spLocks/>
            </p:cNvSpPr>
            <p:nvPr/>
          </p:nvSpPr>
          <p:spPr bwMode="auto">
            <a:xfrm>
              <a:off x="10339388" y="569913"/>
              <a:ext cx="46038" cy="84138"/>
            </a:xfrm>
            <a:custGeom>
              <a:avLst/>
              <a:gdLst>
                <a:gd name="T0" fmla="*/ 20 w 29"/>
                <a:gd name="T1" fmla="*/ 0 h 53"/>
                <a:gd name="T2" fmla="*/ 26 w 29"/>
                <a:gd name="T3" fmla="*/ 5 h 53"/>
                <a:gd name="T4" fmla="*/ 29 w 29"/>
                <a:gd name="T5" fmla="*/ 16 h 53"/>
                <a:gd name="T6" fmla="*/ 27 w 29"/>
                <a:gd name="T7" fmla="*/ 28 h 53"/>
                <a:gd name="T8" fmla="*/ 23 w 29"/>
                <a:gd name="T9" fmla="*/ 41 h 53"/>
                <a:gd name="T10" fmla="*/ 16 w 29"/>
                <a:gd name="T11" fmla="*/ 50 h 53"/>
                <a:gd name="T12" fmla="*/ 9 w 29"/>
                <a:gd name="T13" fmla="*/ 53 h 53"/>
                <a:gd name="T14" fmla="*/ 3 w 29"/>
                <a:gd name="T15" fmla="*/ 48 h 53"/>
                <a:gd name="T16" fmla="*/ 0 w 29"/>
                <a:gd name="T17" fmla="*/ 37 h 53"/>
                <a:gd name="T18" fmla="*/ 2 w 29"/>
                <a:gd name="T19" fmla="*/ 23 h 53"/>
                <a:gd name="T20" fmla="*/ 5 w 29"/>
                <a:gd name="T21" fmla="*/ 10 h 53"/>
                <a:gd name="T22" fmla="*/ 12 w 29"/>
                <a:gd name="T23" fmla="*/ 1 h 53"/>
                <a:gd name="T24" fmla="*/ 20 w 29"/>
                <a:gd name="T2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53">
                  <a:moveTo>
                    <a:pt x="20" y="0"/>
                  </a:moveTo>
                  <a:lnTo>
                    <a:pt x="26" y="5"/>
                  </a:lnTo>
                  <a:lnTo>
                    <a:pt x="29" y="16"/>
                  </a:lnTo>
                  <a:lnTo>
                    <a:pt x="27" y="28"/>
                  </a:lnTo>
                  <a:lnTo>
                    <a:pt x="23" y="41"/>
                  </a:lnTo>
                  <a:lnTo>
                    <a:pt x="16" y="50"/>
                  </a:lnTo>
                  <a:lnTo>
                    <a:pt x="9" y="53"/>
                  </a:lnTo>
                  <a:lnTo>
                    <a:pt x="3" y="48"/>
                  </a:lnTo>
                  <a:lnTo>
                    <a:pt x="0" y="37"/>
                  </a:lnTo>
                  <a:lnTo>
                    <a:pt x="2" y="23"/>
                  </a:lnTo>
                  <a:lnTo>
                    <a:pt x="5" y="10"/>
                  </a:lnTo>
                  <a:lnTo>
                    <a:pt x="12" y="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1" name="Freeform 1582"/>
            <p:cNvSpPr>
              <a:spLocks noEditPoints="1"/>
            </p:cNvSpPr>
            <p:nvPr/>
          </p:nvSpPr>
          <p:spPr bwMode="auto">
            <a:xfrm>
              <a:off x="10013951" y="547688"/>
              <a:ext cx="347663" cy="273050"/>
            </a:xfrm>
            <a:custGeom>
              <a:avLst/>
              <a:gdLst>
                <a:gd name="T0" fmla="*/ 68 w 219"/>
                <a:gd name="T1" fmla="*/ 99 h 172"/>
                <a:gd name="T2" fmla="*/ 62 w 219"/>
                <a:gd name="T3" fmla="*/ 126 h 172"/>
                <a:gd name="T4" fmla="*/ 69 w 219"/>
                <a:gd name="T5" fmla="*/ 139 h 172"/>
                <a:gd name="T6" fmla="*/ 92 w 219"/>
                <a:gd name="T7" fmla="*/ 144 h 172"/>
                <a:gd name="T8" fmla="*/ 96 w 219"/>
                <a:gd name="T9" fmla="*/ 142 h 172"/>
                <a:gd name="T10" fmla="*/ 99 w 219"/>
                <a:gd name="T11" fmla="*/ 139 h 172"/>
                <a:gd name="T12" fmla="*/ 110 w 219"/>
                <a:gd name="T13" fmla="*/ 135 h 172"/>
                <a:gd name="T14" fmla="*/ 121 w 219"/>
                <a:gd name="T15" fmla="*/ 139 h 172"/>
                <a:gd name="T16" fmla="*/ 123 w 219"/>
                <a:gd name="T17" fmla="*/ 142 h 172"/>
                <a:gd name="T18" fmla="*/ 127 w 219"/>
                <a:gd name="T19" fmla="*/ 144 h 172"/>
                <a:gd name="T20" fmla="*/ 139 w 219"/>
                <a:gd name="T21" fmla="*/ 142 h 172"/>
                <a:gd name="T22" fmla="*/ 157 w 219"/>
                <a:gd name="T23" fmla="*/ 130 h 172"/>
                <a:gd name="T24" fmla="*/ 153 w 219"/>
                <a:gd name="T25" fmla="*/ 99 h 172"/>
                <a:gd name="T26" fmla="*/ 131 w 219"/>
                <a:gd name="T27" fmla="*/ 95 h 172"/>
                <a:gd name="T28" fmla="*/ 99 w 219"/>
                <a:gd name="T29" fmla="*/ 98 h 172"/>
                <a:gd name="T30" fmla="*/ 4 w 219"/>
                <a:gd name="T31" fmla="*/ 0 h 172"/>
                <a:gd name="T32" fmla="*/ 8 w 219"/>
                <a:gd name="T33" fmla="*/ 6 h 172"/>
                <a:gd name="T34" fmla="*/ 10 w 219"/>
                <a:gd name="T35" fmla="*/ 31 h 172"/>
                <a:gd name="T36" fmla="*/ 27 w 219"/>
                <a:gd name="T37" fmla="*/ 91 h 172"/>
                <a:gd name="T38" fmla="*/ 45 w 219"/>
                <a:gd name="T39" fmla="*/ 123 h 172"/>
                <a:gd name="T40" fmla="*/ 51 w 219"/>
                <a:gd name="T41" fmla="*/ 125 h 172"/>
                <a:gd name="T42" fmla="*/ 54 w 219"/>
                <a:gd name="T43" fmla="*/ 116 h 172"/>
                <a:gd name="T44" fmla="*/ 68 w 219"/>
                <a:gd name="T45" fmla="*/ 89 h 172"/>
                <a:gd name="T46" fmla="*/ 98 w 219"/>
                <a:gd name="T47" fmla="*/ 89 h 172"/>
                <a:gd name="T48" fmla="*/ 131 w 219"/>
                <a:gd name="T49" fmla="*/ 87 h 172"/>
                <a:gd name="T50" fmla="*/ 157 w 219"/>
                <a:gd name="T51" fmla="*/ 90 h 172"/>
                <a:gd name="T52" fmla="*/ 167 w 219"/>
                <a:gd name="T53" fmla="*/ 116 h 172"/>
                <a:gd name="T54" fmla="*/ 168 w 219"/>
                <a:gd name="T55" fmla="*/ 127 h 172"/>
                <a:gd name="T56" fmla="*/ 172 w 219"/>
                <a:gd name="T57" fmla="*/ 130 h 172"/>
                <a:gd name="T58" fmla="*/ 181 w 219"/>
                <a:gd name="T59" fmla="*/ 123 h 172"/>
                <a:gd name="T60" fmla="*/ 202 w 219"/>
                <a:gd name="T61" fmla="*/ 72 h 172"/>
                <a:gd name="T62" fmla="*/ 210 w 219"/>
                <a:gd name="T63" fmla="*/ 15 h 172"/>
                <a:gd name="T64" fmla="*/ 213 w 219"/>
                <a:gd name="T65" fmla="*/ 3 h 172"/>
                <a:gd name="T66" fmla="*/ 217 w 219"/>
                <a:gd name="T67" fmla="*/ 1 h 172"/>
                <a:gd name="T68" fmla="*/ 219 w 219"/>
                <a:gd name="T69" fmla="*/ 14 h 172"/>
                <a:gd name="T70" fmla="*/ 216 w 219"/>
                <a:gd name="T71" fmla="*/ 65 h 172"/>
                <a:gd name="T72" fmla="*/ 195 w 219"/>
                <a:gd name="T73" fmla="*/ 125 h 172"/>
                <a:gd name="T74" fmla="*/ 142 w 219"/>
                <a:gd name="T75" fmla="*/ 162 h 172"/>
                <a:gd name="T76" fmla="*/ 96 w 219"/>
                <a:gd name="T77" fmla="*/ 169 h 172"/>
                <a:gd name="T78" fmla="*/ 40 w 219"/>
                <a:gd name="T79" fmla="*/ 139 h 172"/>
                <a:gd name="T80" fmla="*/ 10 w 219"/>
                <a:gd name="T81" fmla="*/ 87 h 172"/>
                <a:gd name="T82" fmla="*/ 0 w 219"/>
                <a:gd name="T83" fmla="*/ 22 h 172"/>
                <a:gd name="T84" fmla="*/ 1 w 219"/>
                <a:gd name="T85" fmla="*/ 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9" h="172">
                  <a:moveTo>
                    <a:pt x="81" y="95"/>
                  </a:moveTo>
                  <a:lnTo>
                    <a:pt x="73" y="95"/>
                  </a:lnTo>
                  <a:lnTo>
                    <a:pt x="68" y="99"/>
                  </a:lnTo>
                  <a:lnTo>
                    <a:pt x="64" y="107"/>
                  </a:lnTo>
                  <a:lnTo>
                    <a:pt x="62" y="121"/>
                  </a:lnTo>
                  <a:lnTo>
                    <a:pt x="62" y="126"/>
                  </a:lnTo>
                  <a:lnTo>
                    <a:pt x="63" y="131"/>
                  </a:lnTo>
                  <a:lnTo>
                    <a:pt x="66" y="135"/>
                  </a:lnTo>
                  <a:lnTo>
                    <a:pt x="69" y="139"/>
                  </a:lnTo>
                  <a:lnTo>
                    <a:pt x="80" y="142"/>
                  </a:lnTo>
                  <a:lnTo>
                    <a:pt x="87" y="144"/>
                  </a:lnTo>
                  <a:lnTo>
                    <a:pt x="92" y="144"/>
                  </a:lnTo>
                  <a:lnTo>
                    <a:pt x="95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6" y="141"/>
                  </a:lnTo>
                  <a:lnTo>
                    <a:pt x="99" y="139"/>
                  </a:lnTo>
                  <a:lnTo>
                    <a:pt x="103" y="136"/>
                  </a:lnTo>
                  <a:lnTo>
                    <a:pt x="105" y="135"/>
                  </a:lnTo>
                  <a:lnTo>
                    <a:pt x="110" y="135"/>
                  </a:lnTo>
                  <a:lnTo>
                    <a:pt x="114" y="135"/>
                  </a:lnTo>
                  <a:lnTo>
                    <a:pt x="117" y="136"/>
                  </a:lnTo>
                  <a:lnTo>
                    <a:pt x="121" y="139"/>
                  </a:lnTo>
                  <a:lnTo>
                    <a:pt x="123" y="141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5" y="142"/>
                  </a:lnTo>
                  <a:lnTo>
                    <a:pt x="127" y="144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9" y="142"/>
                  </a:lnTo>
                  <a:lnTo>
                    <a:pt x="144" y="142"/>
                  </a:lnTo>
                  <a:lnTo>
                    <a:pt x="153" y="137"/>
                  </a:lnTo>
                  <a:lnTo>
                    <a:pt x="157" y="130"/>
                  </a:lnTo>
                  <a:lnTo>
                    <a:pt x="158" y="121"/>
                  </a:lnTo>
                  <a:lnTo>
                    <a:pt x="157" y="107"/>
                  </a:lnTo>
                  <a:lnTo>
                    <a:pt x="153" y="99"/>
                  </a:lnTo>
                  <a:lnTo>
                    <a:pt x="148" y="95"/>
                  </a:lnTo>
                  <a:lnTo>
                    <a:pt x="140" y="95"/>
                  </a:lnTo>
                  <a:lnTo>
                    <a:pt x="131" y="95"/>
                  </a:lnTo>
                  <a:lnTo>
                    <a:pt x="121" y="98"/>
                  </a:lnTo>
                  <a:lnTo>
                    <a:pt x="110" y="98"/>
                  </a:lnTo>
                  <a:lnTo>
                    <a:pt x="99" y="98"/>
                  </a:lnTo>
                  <a:lnTo>
                    <a:pt x="90" y="95"/>
                  </a:lnTo>
                  <a:lnTo>
                    <a:pt x="81" y="95"/>
                  </a:lnTo>
                  <a:close/>
                  <a:moveTo>
                    <a:pt x="4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8" y="6"/>
                  </a:lnTo>
                  <a:lnTo>
                    <a:pt x="9" y="10"/>
                  </a:lnTo>
                  <a:lnTo>
                    <a:pt x="9" y="15"/>
                  </a:lnTo>
                  <a:lnTo>
                    <a:pt x="10" y="31"/>
                  </a:lnTo>
                  <a:lnTo>
                    <a:pt x="14" y="51"/>
                  </a:lnTo>
                  <a:lnTo>
                    <a:pt x="19" y="72"/>
                  </a:lnTo>
                  <a:lnTo>
                    <a:pt x="27" y="91"/>
                  </a:lnTo>
                  <a:lnTo>
                    <a:pt x="35" y="108"/>
                  </a:lnTo>
                  <a:lnTo>
                    <a:pt x="42" y="121"/>
                  </a:lnTo>
                  <a:lnTo>
                    <a:pt x="45" y="123"/>
                  </a:lnTo>
                  <a:lnTo>
                    <a:pt x="48" y="125"/>
                  </a:lnTo>
                  <a:lnTo>
                    <a:pt x="49" y="126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3" y="121"/>
                  </a:lnTo>
                  <a:lnTo>
                    <a:pt x="54" y="116"/>
                  </a:lnTo>
                  <a:lnTo>
                    <a:pt x="57" y="101"/>
                  </a:lnTo>
                  <a:lnTo>
                    <a:pt x="60" y="92"/>
                  </a:lnTo>
                  <a:lnTo>
                    <a:pt x="68" y="89"/>
                  </a:lnTo>
                  <a:lnTo>
                    <a:pt x="77" y="87"/>
                  </a:lnTo>
                  <a:lnTo>
                    <a:pt x="87" y="87"/>
                  </a:lnTo>
                  <a:lnTo>
                    <a:pt x="98" y="89"/>
                  </a:lnTo>
                  <a:lnTo>
                    <a:pt x="109" y="90"/>
                  </a:lnTo>
                  <a:lnTo>
                    <a:pt x="119" y="89"/>
                  </a:lnTo>
                  <a:lnTo>
                    <a:pt x="131" y="87"/>
                  </a:lnTo>
                  <a:lnTo>
                    <a:pt x="140" y="87"/>
                  </a:lnTo>
                  <a:lnTo>
                    <a:pt x="149" y="87"/>
                  </a:lnTo>
                  <a:lnTo>
                    <a:pt x="157" y="90"/>
                  </a:lnTo>
                  <a:lnTo>
                    <a:pt x="163" y="95"/>
                  </a:lnTo>
                  <a:lnTo>
                    <a:pt x="166" y="103"/>
                  </a:lnTo>
                  <a:lnTo>
                    <a:pt x="167" y="116"/>
                  </a:lnTo>
                  <a:lnTo>
                    <a:pt x="167" y="121"/>
                  </a:lnTo>
                  <a:lnTo>
                    <a:pt x="167" y="125"/>
                  </a:lnTo>
                  <a:lnTo>
                    <a:pt x="168" y="127"/>
                  </a:lnTo>
                  <a:lnTo>
                    <a:pt x="169" y="130"/>
                  </a:lnTo>
                  <a:lnTo>
                    <a:pt x="171" y="130"/>
                  </a:lnTo>
                  <a:lnTo>
                    <a:pt x="172" y="130"/>
                  </a:lnTo>
                  <a:lnTo>
                    <a:pt x="175" y="130"/>
                  </a:lnTo>
                  <a:lnTo>
                    <a:pt x="178" y="126"/>
                  </a:lnTo>
                  <a:lnTo>
                    <a:pt x="181" y="123"/>
                  </a:lnTo>
                  <a:lnTo>
                    <a:pt x="189" y="110"/>
                  </a:lnTo>
                  <a:lnTo>
                    <a:pt x="196" y="92"/>
                  </a:lnTo>
                  <a:lnTo>
                    <a:pt x="202" y="72"/>
                  </a:lnTo>
                  <a:lnTo>
                    <a:pt x="207" y="51"/>
                  </a:lnTo>
                  <a:lnTo>
                    <a:pt x="209" y="32"/>
                  </a:lnTo>
                  <a:lnTo>
                    <a:pt x="210" y="15"/>
                  </a:lnTo>
                  <a:lnTo>
                    <a:pt x="210" y="10"/>
                  </a:lnTo>
                  <a:lnTo>
                    <a:pt x="212" y="6"/>
                  </a:lnTo>
                  <a:lnTo>
                    <a:pt x="213" y="3"/>
                  </a:lnTo>
                  <a:lnTo>
                    <a:pt x="214" y="1"/>
                  </a:lnTo>
                  <a:lnTo>
                    <a:pt x="216" y="0"/>
                  </a:lnTo>
                  <a:lnTo>
                    <a:pt x="217" y="1"/>
                  </a:lnTo>
                  <a:lnTo>
                    <a:pt x="218" y="4"/>
                  </a:lnTo>
                  <a:lnTo>
                    <a:pt x="219" y="8"/>
                  </a:lnTo>
                  <a:lnTo>
                    <a:pt x="219" y="14"/>
                  </a:lnTo>
                  <a:lnTo>
                    <a:pt x="219" y="22"/>
                  </a:lnTo>
                  <a:lnTo>
                    <a:pt x="219" y="42"/>
                  </a:lnTo>
                  <a:lnTo>
                    <a:pt x="216" y="65"/>
                  </a:lnTo>
                  <a:lnTo>
                    <a:pt x="210" y="87"/>
                  </a:lnTo>
                  <a:lnTo>
                    <a:pt x="204" y="109"/>
                  </a:lnTo>
                  <a:lnTo>
                    <a:pt x="195" y="125"/>
                  </a:lnTo>
                  <a:lnTo>
                    <a:pt x="181" y="139"/>
                  </a:lnTo>
                  <a:lnTo>
                    <a:pt x="163" y="151"/>
                  </a:lnTo>
                  <a:lnTo>
                    <a:pt x="142" y="162"/>
                  </a:lnTo>
                  <a:lnTo>
                    <a:pt x="123" y="169"/>
                  </a:lnTo>
                  <a:lnTo>
                    <a:pt x="110" y="172"/>
                  </a:lnTo>
                  <a:lnTo>
                    <a:pt x="96" y="169"/>
                  </a:lnTo>
                  <a:lnTo>
                    <a:pt x="77" y="162"/>
                  </a:lnTo>
                  <a:lnTo>
                    <a:pt x="58" y="151"/>
                  </a:lnTo>
                  <a:lnTo>
                    <a:pt x="40" y="139"/>
                  </a:lnTo>
                  <a:lnTo>
                    <a:pt x="26" y="125"/>
                  </a:lnTo>
                  <a:lnTo>
                    <a:pt x="17" y="108"/>
                  </a:lnTo>
                  <a:lnTo>
                    <a:pt x="10" y="87"/>
                  </a:lnTo>
                  <a:lnTo>
                    <a:pt x="4" y="65"/>
                  </a:lnTo>
                  <a:lnTo>
                    <a:pt x="1" y="42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0" y="8"/>
                  </a:lnTo>
                  <a:lnTo>
                    <a:pt x="1" y="4"/>
                  </a:lnTo>
                  <a:lnTo>
                    <a:pt x="3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A38D7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2" name="Freeform 1583"/>
            <p:cNvSpPr>
              <a:spLocks/>
            </p:cNvSpPr>
            <p:nvPr/>
          </p:nvSpPr>
          <p:spPr bwMode="auto">
            <a:xfrm>
              <a:off x="10012363" y="341313"/>
              <a:ext cx="354013" cy="319088"/>
            </a:xfrm>
            <a:custGeom>
              <a:avLst/>
              <a:gdLst>
                <a:gd name="T0" fmla="*/ 111 w 223"/>
                <a:gd name="T1" fmla="*/ 0 h 201"/>
                <a:gd name="T2" fmla="*/ 135 w 223"/>
                <a:gd name="T3" fmla="*/ 3 h 201"/>
                <a:gd name="T4" fmla="*/ 155 w 223"/>
                <a:gd name="T5" fmla="*/ 11 h 201"/>
                <a:gd name="T6" fmla="*/ 173 w 223"/>
                <a:gd name="T7" fmla="*/ 21 h 201"/>
                <a:gd name="T8" fmla="*/ 188 w 223"/>
                <a:gd name="T9" fmla="*/ 35 h 201"/>
                <a:gd name="T10" fmla="*/ 200 w 223"/>
                <a:gd name="T11" fmla="*/ 51 h 201"/>
                <a:gd name="T12" fmla="*/ 209 w 223"/>
                <a:gd name="T13" fmla="*/ 67 h 201"/>
                <a:gd name="T14" fmla="*/ 217 w 223"/>
                <a:gd name="T15" fmla="*/ 92 h 201"/>
                <a:gd name="T16" fmla="*/ 222 w 223"/>
                <a:gd name="T17" fmla="*/ 112 h 201"/>
                <a:gd name="T18" fmla="*/ 223 w 223"/>
                <a:gd name="T19" fmla="*/ 130 h 201"/>
                <a:gd name="T20" fmla="*/ 222 w 223"/>
                <a:gd name="T21" fmla="*/ 143 h 201"/>
                <a:gd name="T22" fmla="*/ 222 w 223"/>
                <a:gd name="T23" fmla="*/ 153 h 201"/>
                <a:gd name="T24" fmla="*/ 220 w 223"/>
                <a:gd name="T25" fmla="*/ 158 h 201"/>
                <a:gd name="T26" fmla="*/ 219 w 223"/>
                <a:gd name="T27" fmla="*/ 166 h 201"/>
                <a:gd name="T28" fmla="*/ 217 w 223"/>
                <a:gd name="T29" fmla="*/ 176 h 201"/>
                <a:gd name="T30" fmla="*/ 214 w 223"/>
                <a:gd name="T31" fmla="*/ 187 h 201"/>
                <a:gd name="T32" fmla="*/ 211 w 223"/>
                <a:gd name="T33" fmla="*/ 194 h 201"/>
                <a:gd name="T34" fmla="*/ 210 w 223"/>
                <a:gd name="T35" fmla="*/ 199 h 201"/>
                <a:gd name="T36" fmla="*/ 209 w 223"/>
                <a:gd name="T37" fmla="*/ 201 h 201"/>
                <a:gd name="T38" fmla="*/ 209 w 223"/>
                <a:gd name="T39" fmla="*/ 195 h 201"/>
                <a:gd name="T40" fmla="*/ 209 w 223"/>
                <a:gd name="T41" fmla="*/ 170 h 201"/>
                <a:gd name="T42" fmla="*/ 206 w 223"/>
                <a:gd name="T43" fmla="*/ 144 h 201"/>
                <a:gd name="T44" fmla="*/ 201 w 223"/>
                <a:gd name="T45" fmla="*/ 117 h 201"/>
                <a:gd name="T46" fmla="*/ 192 w 223"/>
                <a:gd name="T47" fmla="*/ 94 h 201"/>
                <a:gd name="T48" fmla="*/ 182 w 223"/>
                <a:gd name="T49" fmla="*/ 76 h 201"/>
                <a:gd name="T50" fmla="*/ 170 w 223"/>
                <a:gd name="T51" fmla="*/ 65 h 201"/>
                <a:gd name="T52" fmla="*/ 159 w 223"/>
                <a:gd name="T53" fmla="*/ 58 h 201"/>
                <a:gd name="T54" fmla="*/ 147 w 223"/>
                <a:gd name="T55" fmla="*/ 57 h 201"/>
                <a:gd name="T56" fmla="*/ 136 w 223"/>
                <a:gd name="T57" fmla="*/ 58 h 201"/>
                <a:gd name="T58" fmla="*/ 123 w 223"/>
                <a:gd name="T59" fmla="*/ 59 h 201"/>
                <a:gd name="T60" fmla="*/ 108 w 223"/>
                <a:gd name="T61" fmla="*/ 61 h 201"/>
                <a:gd name="T62" fmla="*/ 91 w 223"/>
                <a:gd name="T63" fmla="*/ 59 h 201"/>
                <a:gd name="T64" fmla="*/ 77 w 223"/>
                <a:gd name="T65" fmla="*/ 57 h 201"/>
                <a:gd name="T66" fmla="*/ 63 w 223"/>
                <a:gd name="T67" fmla="*/ 56 h 201"/>
                <a:gd name="T68" fmla="*/ 51 w 223"/>
                <a:gd name="T69" fmla="*/ 59 h 201"/>
                <a:gd name="T70" fmla="*/ 40 w 223"/>
                <a:gd name="T71" fmla="*/ 67 h 201"/>
                <a:gd name="T72" fmla="*/ 28 w 223"/>
                <a:gd name="T73" fmla="*/ 85 h 201"/>
                <a:gd name="T74" fmla="*/ 19 w 223"/>
                <a:gd name="T75" fmla="*/ 108 h 201"/>
                <a:gd name="T76" fmla="*/ 14 w 223"/>
                <a:gd name="T77" fmla="*/ 134 h 201"/>
                <a:gd name="T78" fmla="*/ 11 w 223"/>
                <a:gd name="T79" fmla="*/ 160 h 201"/>
                <a:gd name="T80" fmla="*/ 13 w 223"/>
                <a:gd name="T81" fmla="*/ 185 h 201"/>
                <a:gd name="T82" fmla="*/ 14 w 223"/>
                <a:gd name="T83" fmla="*/ 190 h 201"/>
                <a:gd name="T84" fmla="*/ 13 w 223"/>
                <a:gd name="T85" fmla="*/ 190 h 201"/>
                <a:gd name="T86" fmla="*/ 10 w 223"/>
                <a:gd name="T87" fmla="*/ 188 h 201"/>
                <a:gd name="T88" fmla="*/ 9 w 223"/>
                <a:gd name="T89" fmla="*/ 181 h 201"/>
                <a:gd name="T90" fmla="*/ 6 w 223"/>
                <a:gd name="T91" fmla="*/ 172 h 201"/>
                <a:gd name="T92" fmla="*/ 4 w 223"/>
                <a:gd name="T93" fmla="*/ 165 h 201"/>
                <a:gd name="T94" fmla="*/ 1 w 223"/>
                <a:gd name="T95" fmla="*/ 157 h 201"/>
                <a:gd name="T96" fmla="*/ 1 w 223"/>
                <a:gd name="T97" fmla="*/ 153 h 201"/>
                <a:gd name="T98" fmla="*/ 0 w 223"/>
                <a:gd name="T99" fmla="*/ 143 h 201"/>
                <a:gd name="T100" fmla="*/ 0 w 223"/>
                <a:gd name="T101" fmla="*/ 130 h 201"/>
                <a:gd name="T102" fmla="*/ 1 w 223"/>
                <a:gd name="T103" fmla="*/ 113 h 201"/>
                <a:gd name="T104" fmla="*/ 5 w 223"/>
                <a:gd name="T105" fmla="*/ 92 h 201"/>
                <a:gd name="T106" fmla="*/ 14 w 223"/>
                <a:gd name="T107" fmla="*/ 67 h 201"/>
                <a:gd name="T108" fmla="*/ 20 w 223"/>
                <a:gd name="T109" fmla="*/ 54 h 201"/>
                <a:gd name="T110" fmla="*/ 29 w 223"/>
                <a:gd name="T111" fmla="*/ 40 h 201"/>
                <a:gd name="T112" fmla="*/ 40 w 223"/>
                <a:gd name="T113" fmla="*/ 27 h 201"/>
                <a:gd name="T114" fmla="*/ 52 w 223"/>
                <a:gd name="T115" fmla="*/ 17 h 201"/>
                <a:gd name="T116" fmla="*/ 69 w 223"/>
                <a:gd name="T117" fmla="*/ 8 h 201"/>
                <a:gd name="T118" fmla="*/ 88 w 223"/>
                <a:gd name="T119" fmla="*/ 2 h 201"/>
                <a:gd name="T120" fmla="*/ 111 w 223"/>
                <a:gd name="T121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3" h="201">
                  <a:moveTo>
                    <a:pt x="111" y="0"/>
                  </a:moveTo>
                  <a:lnTo>
                    <a:pt x="135" y="3"/>
                  </a:lnTo>
                  <a:lnTo>
                    <a:pt x="155" y="11"/>
                  </a:lnTo>
                  <a:lnTo>
                    <a:pt x="173" y="21"/>
                  </a:lnTo>
                  <a:lnTo>
                    <a:pt x="188" y="35"/>
                  </a:lnTo>
                  <a:lnTo>
                    <a:pt x="200" y="51"/>
                  </a:lnTo>
                  <a:lnTo>
                    <a:pt x="209" y="67"/>
                  </a:lnTo>
                  <a:lnTo>
                    <a:pt x="217" y="92"/>
                  </a:lnTo>
                  <a:lnTo>
                    <a:pt x="222" y="112"/>
                  </a:lnTo>
                  <a:lnTo>
                    <a:pt x="223" y="130"/>
                  </a:lnTo>
                  <a:lnTo>
                    <a:pt x="222" y="143"/>
                  </a:lnTo>
                  <a:lnTo>
                    <a:pt x="222" y="153"/>
                  </a:lnTo>
                  <a:lnTo>
                    <a:pt x="220" y="158"/>
                  </a:lnTo>
                  <a:lnTo>
                    <a:pt x="219" y="166"/>
                  </a:lnTo>
                  <a:lnTo>
                    <a:pt x="217" y="176"/>
                  </a:lnTo>
                  <a:lnTo>
                    <a:pt x="214" y="187"/>
                  </a:lnTo>
                  <a:lnTo>
                    <a:pt x="211" y="194"/>
                  </a:lnTo>
                  <a:lnTo>
                    <a:pt x="210" y="199"/>
                  </a:lnTo>
                  <a:lnTo>
                    <a:pt x="209" y="201"/>
                  </a:lnTo>
                  <a:lnTo>
                    <a:pt x="209" y="195"/>
                  </a:lnTo>
                  <a:lnTo>
                    <a:pt x="209" y="170"/>
                  </a:lnTo>
                  <a:lnTo>
                    <a:pt x="206" y="144"/>
                  </a:lnTo>
                  <a:lnTo>
                    <a:pt x="201" y="117"/>
                  </a:lnTo>
                  <a:lnTo>
                    <a:pt x="192" y="94"/>
                  </a:lnTo>
                  <a:lnTo>
                    <a:pt x="182" y="76"/>
                  </a:lnTo>
                  <a:lnTo>
                    <a:pt x="170" y="65"/>
                  </a:lnTo>
                  <a:lnTo>
                    <a:pt x="159" y="58"/>
                  </a:lnTo>
                  <a:lnTo>
                    <a:pt x="147" y="57"/>
                  </a:lnTo>
                  <a:lnTo>
                    <a:pt x="136" y="58"/>
                  </a:lnTo>
                  <a:lnTo>
                    <a:pt x="123" y="59"/>
                  </a:lnTo>
                  <a:lnTo>
                    <a:pt x="108" y="61"/>
                  </a:lnTo>
                  <a:lnTo>
                    <a:pt x="91" y="59"/>
                  </a:lnTo>
                  <a:lnTo>
                    <a:pt x="77" y="57"/>
                  </a:lnTo>
                  <a:lnTo>
                    <a:pt x="63" y="56"/>
                  </a:lnTo>
                  <a:lnTo>
                    <a:pt x="51" y="59"/>
                  </a:lnTo>
                  <a:lnTo>
                    <a:pt x="40" y="67"/>
                  </a:lnTo>
                  <a:lnTo>
                    <a:pt x="28" y="85"/>
                  </a:lnTo>
                  <a:lnTo>
                    <a:pt x="19" y="108"/>
                  </a:lnTo>
                  <a:lnTo>
                    <a:pt x="14" y="134"/>
                  </a:lnTo>
                  <a:lnTo>
                    <a:pt x="11" y="160"/>
                  </a:lnTo>
                  <a:lnTo>
                    <a:pt x="13" y="185"/>
                  </a:lnTo>
                  <a:lnTo>
                    <a:pt x="14" y="190"/>
                  </a:lnTo>
                  <a:lnTo>
                    <a:pt x="13" y="190"/>
                  </a:lnTo>
                  <a:lnTo>
                    <a:pt x="10" y="188"/>
                  </a:lnTo>
                  <a:lnTo>
                    <a:pt x="9" y="181"/>
                  </a:lnTo>
                  <a:lnTo>
                    <a:pt x="6" y="172"/>
                  </a:lnTo>
                  <a:lnTo>
                    <a:pt x="4" y="165"/>
                  </a:lnTo>
                  <a:lnTo>
                    <a:pt x="1" y="157"/>
                  </a:lnTo>
                  <a:lnTo>
                    <a:pt x="1" y="153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1" y="113"/>
                  </a:lnTo>
                  <a:lnTo>
                    <a:pt x="5" y="92"/>
                  </a:lnTo>
                  <a:lnTo>
                    <a:pt x="14" y="67"/>
                  </a:lnTo>
                  <a:lnTo>
                    <a:pt x="20" y="54"/>
                  </a:lnTo>
                  <a:lnTo>
                    <a:pt x="29" y="40"/>
                  </a:lnTo>
                  <a:lnTo>
                    <a:pt x="40" y="27"/>
                  </a:lnTo>
                  <a:lnTo>
                    <a:pt x="52" y="17"/>
                  </a:lnTo>
                  <a:lnTo>
                    <a:pt x="69" y="8"/>
                  </a:lnTo>
                  <a:lnTo>
                    <a:pt x="88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3" name="Rectangle 1584"/>
            <p:cNvSpPr>
              <a:spLocks noChangeArrowheads="1"/>
            </p:cNvSpPr>
            <p:nvPr/>
          </p:nvSpPr>
          <p:spPr bwMode="auto">
            <a:xfrm>
              <a:off x="10323513" y="576263"/>
              <a:ext cx="34925" cy="15875"/>
            </a:xfrm>
            <a:prstGeom prst="rect">
              <a:avLst/>
            </a:prstGeom>
            <a:solidFill>
              <a:srgbClr val="0A234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4" name="Rectangle 1585"/>
            <p:cNvSpPr>
              <a:spLocks noChangeArrowheads="1"/>
            </p:cNvSpPr>
            <p:nvPr/>
          </p:nvSpPr>
          <p:spPr bwMode="auto">
            <a:xfrm>
              <a:off x="10021888" y="576263"/>
              <a:ext cx="34925" cy="15875"/>
            </a:xfrm>
            <a:prstGeom prst="rect">
              <a:avLst/>
            </a:prstGeom>
            <a:solidFill>
              <a:srgbClr val="0A234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5" name="Freeform 1586"/>
            <p:cNvSpPr>
              <a:spLocks/>
            </p:cNvSpPr>
            <p:nvPr/>
          </p:nvSpPr>
          <p:spPr bwMode="auto">
            <a:xfrm>
              <a:off x="9853613" y="1574800"/>
              <a:ext cx="95250" cy="333375"/>
            </a:xfrm>
            <a:custGeom>
              <a:avLst/>
              <a:gdLst>
                <a:gd name="T0" fmla="*/ 27 w 60"/>
                <a:gd name="T1" fmla="*/ 0 h 210"/>
                <a:gd name="T2" fmla="*/ 34 w 60"/>
                <a:gd name="T3" fmla="*/ 0 h 210"/>
                <a:gd name="T4" fmla="*/ 41 w 60"/>
                <a:gd name="T5" fmla="*/ 5 h 210"/>
                <a:gd name="T6" fmla="*/ 42 w 60"/>
                <a:gd name="T7" fmla="*/ 14 h 210"/>
                <a:gd name="T8" fmla="*/ 41 w 60"/>
                <a:gd name="T9" fmla="*/ 29 h 210"/>
                <a:gd name="T10" fmla="*/ 38 w 60"/>
                <a:gd name="T11" fmla="*/ 47 h 210"/>
                <a:gd name="T12" fmla="*/ 36 w 60"/>
                <a:gd name="T13" fmla="*/ 65 h 210"/>
                <a:gd name="T14" fmla="*/ 37 w 60"/>
                <a:gd name="T15" fmla="*/ 82 h 210"/>
                <a:gd name="T16" fmla="*/ 45 w 60"/>
                <a:gd name="T17" fmla="*/ 97 h 210"/>
                <a:gd name="T18" fmla="*/ 48 w 60"/>
                <a:gd name="T19" fmla="*/ 107 h 210"/>
                <a:gd name="T20" fmla="*/ 51 w 60"/>
                <a:gd name="T21" fmla="*/ 120 h 210"/>
                <a:gd name="T22" fmla="*/ 51 w 60"/>
                <a:gd name="T23" fmla="*/ 133 h 210"/>
                <a:gd name="T24" fmla="*/ 52 w 60"/>
                <a:gd name="T25" fmla="*/ 143 h 210"/>
                <a:gd name="T26" fmla="*/ 54 w 60"/>
                <a:gd name="T27" fmla="*/ 152 h 210"/>
                <a:gd name="T28" fmla="*/ 56 w 60"/>
                <a:gd name="T29" fmla="*/ 161 h 210"/>
                <a:gd name="T30" fmla="*/ 59 w 60"/>
                <a:gd name="T31" fmla="*/ 170 h 210"/>
                <a:gd name="T32" fmla="*/ 60 w 60"/>
                <a:gd name="T33" fmla="*/ 178 h 210"/>
                <a:gd name="T34" fmla="*/ 59 w 60"/>
                <a:gd name="T35" fmla="*/ 181 h 210"/>
                <a:gd name="T36" fmla="*/ 54 w 60"/>
                <a:gd name="T37" fmla="*/ 179 h 210"/>
                <a:gd name="T38" fmla="*/ 48 w 60"/>
                <a:gd name="T39" fmla="*/ 174 h 210"/>
                <a:gd name="T40" fmla="*/ 43 w 60"/>
                <a:gd name="T41" fmla="*/ 165 h 210"/>
                <a:gd name="T42" fmla="*/ 37 w 60"/>
                <a:gd name="T43" fmla="*/ 156 h 210"/>
                <a:gd name="T44" fmla="*/ 32 w 60"/>
                <a:gd name="T45" fmla="*/ 151 h 210"/>
                <a:gd name="T46" fmla="*/ 25 w 60"/>
                <a:gd name="T47" fmla="*/ 150 h 210"/>
                <a:gd name="T48" fmla="*/ 24 w 60"/>
                <a:gd name="T49" fmla="*/ 154 h 210"/>
                <a:gd name="T50" fmla="*/ 25 w 60"/>
                <a:gd name="T51" fmla="*/ 164 h 210"/>
                <a:gd name="T52" fmla="*/ 29 w 60"/>
                <a:gd name="T53" fmla="*/ 175 h 210"/>
                <a:gd name="T54" fmla="*/ 36 w 60"/>
                <a:gd name="T55" fmla="*/ 186 h 210"/>
                <a:gd name="T56" fmla="*/ 39 w 60"/>
                <a:gd name="T57" fmla="*/ 190 h 210"/>
                <a:gd name="T58" fmla="*/ 45 w 60"/>
                <a:gd name="T59" fmla="*/ 193 h 210"/>
                <a:gd name="T60" fmla="*/ 48 w 60"/>
                <a:gd name="T61" fmla="*/ 196 h 210"/>
                <a:gd name="T62" fmla="*/ 52 w 60"/>
                <a:gd name="T63" fmla="*/ 197 h 210"/>
                <a:gd name="T64" fmla="*/ 56 w 60"/>
                <a:gd name="T65" fmla="*/ 200 h 210"/>
                <a:gd name="T66" fmla="*/ 59 w 60"/>
                <a:gd name="T67" fmla="*/ 204 h 210"/>
                <a:gd name="T68" fmla="*/ 60 w 60"/>
                <a:gd name="T69" fmla="*/ 206 h 210"/>
                <a:gd name="T70" fmla="*/ 60 w 60"/>
                <a:gd name="T71" fmla="*/ 208 h 210"/>
                <a:gd name="T72" fmla="*/ 59 w 60"/>
                <a:gd name="T73" fmla="*/ 209 h 210"/>
                <a:gd name="T74" fmla="*/ 56 w 60"/>
                <a:gd name="T75" fmla="*/ 210 h 210"/>
                <a:gd name="T76" fmla="*/ 52 w 60"/>
                <a:gd name="T77" fmla="*/ 210 h 210"/>
                <a:gd name="T78" fmla="*/ 47 w 60"/>
                <a:gd name="T79" fmla="*/ 209 h 210"/>
                <a:gd name="T80" fmla="*/ 38 w 60"/>
                <a:gd name="T81" fmla="*/ 206 h 210"/>
                <a:gd name="T82" fmla="*/ 29 w 60"/>
                <a:gd name="T83" fmla="*/ 201 h 210"/>
                <a:gd name="T84" fmla="*/ 20 w 60"/>
                <a:gd name="T85" fmla="*/ 195 h 210"/>
                <a:gd name="T86" fmla="*/ 13 w 60"/>
                <a:gd name="T87" fmla="*/ 184 h 210"/>
                <a:gd name="T88" fmla="*/ 7 w 60"/>
                <a:gd name="T89" fmla="*/ 172 h 210"/>
                <a:gd name="T90" fmla="*/ 4 w 60"/>
                <a:gd name="T91" fmla="*/ 160 h 210"/>
                <a:gd name="T92" fmla="*/ 0 w 60"/>
                <a:gd name="T93" fmla="*/ 146 h 210"/>
                <a:gd name="T94" fmla="*/ 0 w 60"/>
                <a:gd name="T95" fmla="*/ 129 h 210"/>
                <a:gd name="T96" fmla="*/ 0 w 60"/>
                <a:gd name="T97" fmla="*/ 110 h 210"/>
                <a:gd name="T98" fmla="*/ 1 w 60"/>
                <a:gd name="T99" fmla="*/ 90 h 210"/>
                <a:gd name="T100" fmla="*/ 2 w 60"/>
                <a:gd name="T101" fmla="*/ 69 h 210"/>
                <a:gd name="T102" fmla="*/ 2 w 60"/>
                <a:gd name="T103" fmla="*/ 50 h 210"/>
                <a:gd name="T104" fmla="*/ 2 w 60"/>
                <a:gd name="T105" fmla="*/ 32 h 210"/>
                <a:gd name="T106" fmla="*/ 4 w 60"/>
                <a:gd name="T107" fmla="*/ 19 h 210"/>
                <a:gd name="T108" fmla="*/ 9 w 60"/>
                <a:gd name="T109" fmla="*/ 10 h 210"/>
                <a:gd name="T110" fmla="*/ 18 w 60"/>
                <a:gd name="T111" fmla="*/ 2 h 210"/>
                <a:gd name="T112" fmla="*/ 27 w 60"/>
                <a:gd name="T1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210">
                  <a:moveTo>
                    <a:pt x="27" y="0"/>
                  </a:moveTo>
                  <a:lnTo>
                    <a:pt x="34" y="0"/>
                  </a:lnTo>
                  <a:lnTo>
                    <a:pt x="41" y="5"/>
                  </a:lnTo>
                  <a:lnTo>
                    <a:pt x="42" y="14"/>
                  </a:lnTo>
                  <a:lnTo>
                    <a:pt x="41" y="29"/>
                  </a:lnTo>
                  <a:lnTo>
                    <a:pt x="38" y="47"/>
                  </a:lnTo>
                  <a:lnTo>
                    <a:pt x="36" y="65"/>
                  </a:lnTo>
                  <a:lnTo>
                    <a:pt x="37" y="82"/>
                  </a:lnTo>
                  <a:lnTo>
                    <a:pt x="45" y="97"/>
                  </a:lnTo>
                  <a:lnTo>
                    <a:pt x="48" y="107"/>
                  </a:lnTo>
                  <a:lnTo>
                    <a:pt x="51" y="120"/>
                  </a:lnTo>
                  <a:lnTo>
                    <a:pt x="51" y="133"/>
                  </a:lnTo>
                  <a:lnTo>
                    <a:pt x="52" y="143"/>
                  </a:lnTo>
                  <a:lnTo>
                    <a:pt x="54" y="152"/>
                  </a:lnTo>
                  <a:lnTo>
                    <a:pt x="56" y="161"/>
                  </a:lnTo>
                  <a:lnTo>
                    <a:pt x="59" y="170"/>
                  </a:lnTo>
                  <a:lnTo>
                    <a:pt x="60" y="178"/>
                  </a:lnTo>
                  <a:lnTo>
                    <a:pt x="59" y="181"/>
                  </a:lnTo>
                  <a:lnTo>
                    <a:pt x="54" y="179"/>
                  </a:lnTo>
                  <a:lnTo>
                    <a:pt x="48" y="174"/>
                  </a:lnTo>
                  <a:lnTo>
                    <a:pt x="43" y="165"/>
                  </a:lnTo>
                  <a:lnTo>
                    <a:pt x="37" y="156"/>
                  </a:lnTo>
                  <a:lnTo>
                    <a:pt x="32" y="151"/>
                  </a:lnTo>
                  <a:lnTo>
                    <a:pt x="25" y="150"/>
                  </a:lnTo>
                  <a:lnTo>
                    <a:pt x="24" y="154"/>
                  </a:lnTo>
                  <a:lnTo>
                    <a:pt x="25" y="164"/>
                  </a:lnTo>
                  <a:lnTo>
                    <a:pt x="29" y="175"/>
                  </a:lnTo>
                  <a:lnTo>
                    <a:pt x="36" y="186"/>
                  </a:lnTo>
                  <a:lnTo>
                    <a:pt x="39" y="190"/>
                  </a:lnTo>
                  <a:lnTo>
                    <a:pt x="45" y="193"/>
                  </a:lnTo>
                  <a:lnTo>
                    <a:pt x="48" y="196"/>
                  </a:lnTo>
                  <a:lnTo>
                    <a:pt x="52" y="197"/>
                  </a:lnTo>
                  <a:lnTo>
                    <a:pt x="56" y="200"/>
                  </a:lnTo>
                  <a:lnTo>
                    <a:pt x="59" y="204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59" y="209"/>
                  </a:lnTo>
                  <a:lnTo>
                    <a:pt x="56" y="210"/>
                  </a:lnTo>
                  <a:lnTo>
                    <a:pt x="52" y="210"/>
                  </a:lnTo>
                  <a:lnTo>
                    <a:pt x="47" y="209"/>
                  </a:lnTo>
                  <a:lnTo>
                    <a:pt x="38" y="206"/>
                  </a:lnTo>
                  <a:lnTo>
                    <a:pt x="29" y="201"/>
                  </a:lnTo>
                  <a:lnTo>
                    <a:pt x="20" y="195"/>
                  </a:lnTo>
                  <a:lnTo>
                    <a:pt x="13" y="184"/>
                  </a:lnTo>
                  <a:lnTo>
                    <a:pt x="7" y="172"/>
                  </a:lnTo>
                  <a:lnTo>
                    <a:pt x="4" y="160"/>
                  </a:lnTo>
                  <a:lnTo>
                    <a:pt x="0" y="146"/>
                  </a:lnTo>
                  <a:lnTo>
                    <a:pt x="0" y="129"/>
                  </a:lnTo>
                  <a:lnTo>
                    <a:pt x="0" y="110"/>
                  </a:lnTo>
                  <a:lnTo>
                    <a:pt x="1" y="90"/>
                  </a:lnTo>
                  <a:lnTo>
                    <a:pt x="2" y="69"/>
                  </a:lnTo>
                  <a:lnTo>
                    <a:pt x="2" y="50"/>
                  </a:lnTo>
                  <a:lnTo>
                    <a:pt x="2" y="32"/>
                  </a:lnTo>
                  <a:lnTo>
                    <a:pt x="4" y="19"/>
                  </a:lnTo>
                  <a:lnTo>
                    <a:pt x="9" y="10"/>
                  </a:lnTo>
                  <a:lnTo>
                    <a:pt x="18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6" name="Freeform 1587"/>
            <p:cNvSpPr>
              <a:spLocks/>
            </p:cNvSpPr>
            <p:nvPr/>
          </p:nvSpPr>
          <p:spPr bwMode="auto">
            <a:xfrm>
              <a:off x="9920288" y="893763"/>
              <a:ext cx="539750" cy="774700"/>
            </a:xfrm>
            <a:custGeom>
              <a:avLst/>
              <a:gdLst>
                <a:gd name="T0" fmla="*/ 86 w 340"/>
                <a:gd name="T1" fmla="*/ 0 h 488"/>
                <a:gd name="T2" fmla="*/ 108 w 340"/>
                <a:gd name="T3" fmla="*/ 18 h 488"/>
                <a:gd name="T4" fmla="*/ 132 w 340"/>
                <a:gd name="T5" fmla="*/ 30 h 488"/>
                <a:gd name="T6" fmla="*/ 158 w 340"/>
                <a:gd name="T7" fmla="*/ 35 h 488"/>
                <a:gd name="T8" fmla="*/ 184 w 340"/>
                <a:gd name="T9" fmla="*/ 34 h 488"/>
                <a:gd name="T10" fmla="*/ 208 w 340"/>
                <a:gd name="T11" fmla="*/ 27 h 488"/>
                <a:gd name="T12" fmla="*/ 232 w 340"/>
                <a:gd name="T13" fmla="*/ 17 h 488"/>
                <a:gd name="T14" fmla="*/ 255 w 340"/>
                <a:gd name="T15" fmla="*/ 1 h 488"/>
                <a:gd name="T16" fmla="*/ 278 w 340"/>
                <a:gd name="T17" fmla="*/ 8 h 488"/>
                <a:gd name="T18" fmla="*/ 299 w 340"/>
                <a:gd name="T19" fmla="*/ 16 h 488"/>
                <a:gd name="T20" fmla="*/ 316 w 340"/>
                <a:gd name="T21" fmla="*/ 26 h 488"/>
                <a:gd name="T22" fmla="*/ 329 w 340"/>
                <a:gd name="T23" fmla="*/ 37 h 488"/>
                <a:gd name="T24" fmla="*/ 338 w 340"/>
                <a:gd name="T25" fmla="*/ 50 h 488"/>
                <a:gd name="T26" fmla="*/ 340 w 340"/>
                <a:gd name="T27" fmla="*/ 64 h 488"/>
                <a:gd name="T28" fmla="*/ 339 w 340"/>
                <a:gd name="T29" fmla="*/ 80 h 488"/>
                <a:gd name="T30" fmla="*/ 329 w 340"/>
                <a:gd name="T31" fmla="*/ 111 h 488"/>
                <a:gd name="T32" fmla="*/ 320 w 340"/>
                <a:gd name="T33" fmla="*/ 146 h 488"/>
                <a:gd name="T34" fmla="*/ 312 w 340"/>
                <a:gd name="T35" fmla="*/ 187 h 488"/>
                <a:gd name="T36" fmla="*/ 304 w 340"/>
                <a:gd name="T37" fmla="*/ 232 h 488"/>
                <a:gd name="T38" fmla="*/ 299 w 340"/>
                <a:gd name="T39" fmla="*/ 280 h 488"/>
                <a:gd name="T40" fmla="*/ 296 w 340"/>
                <a:gd name="T41" fmla="*/ 329 h 488"/>
                <a:gd name="T42" fmla="*/ 296 w 340"/>
                <a:gd name="T43" fmla="*/ 377 h 488"/>
                <a:gd name="T44" fmla="*/ 302 w 340"/>
                <a:gd name="T45" fmla="*/ 426 h 488"/>
                <a:gd name="T46" fmla="*/ 311 w 340"/>
                <a:gd name="T47" fmla="*/ 472 h 488"/>
                <a:gd name="T48" fmla="*/ 266 w 340"/>
                <a:gd name="T49" fmla="*/ 480 h 488"/>
                <a:gd name="T50" fmla="*/ 219 w 340"/>
                <a:gd name="T51" fmla="*/ 485 h 488"/>
                <a:gd name="T52" fmla="*/ 171 w 340"/>
                <a:gd name="T53" fmla="*/ 488 h 488"/>
                <a:gd name="T54" fmla="*/ 121 w 340"/>
                <a:gd name="T55" fmla="*/ 485 h 488"/>
                <a:gd name="T56" fmla="*/ 72 w 340"/>
                <a:gd name="T57" fmla="*/ 480 h 488"/>
                <a:gd name="T58" fmla="*/ 26 w 340"/>
                <a:gd name="T59" fmla="*/ 471 h 488"/>
                <a:gd name="T60" fmla="*/ 33 w 340"/>
                <a:gd name="T61" fmla="*/ 427 h 488"/>
                <a:gd name="T62" fmla="*/ 39 w 340"/>
                <a:gd name="T63" fmla="*/ 381 h 488"/>
                <a:gd name="T64" fmla="*/ 40 w 340"/>
                <a:gd name="T65" fmla="*/ 334 h 488"/>
                <a:gd name="T66" fmla="*/ 39 w 340"/>
                <a:gd name="T67" fmla="*/ 285 h 488"/>
                <a:gd name="T68" fmla="*/ 33 w 340"/>
                <a:gd name="T69" fmla="*/ 238 h 488"/>
                <a:gd name="T70" fmla="*/ 28 w 340"/>
                <a:gd name="T71" fmla="*/ 193 h 488"/>
                <a:gd name="T72" fmla="*/ 21 w 340"/>
                <a:gd name="T73" fmla="*/ 150 h 488"/>
                <a:gd name="T74" fmla="*/ 12 w 340"/>
                <a:gd name="T75" fmla="*/ 114 h 488"/>
                <a:gd name="T76" fmla="*/ 3 w 340"/>
                <a:gd name="T77" fmla="*/ 84 h 488"/>
                <a:gd name="T78" fmla="*/ 0 w 340"/>
                <a:gd name="T79" fmla="*/ 66 h 488"/>
                <a:gd name="T80" fmla="*/ 4 w 340"/>
                <a:gd name="T81" fmla="*/ 50 h 488"/>
                <a:gd name="T82" fmla="*/ 12 w 340"/>
                <a:gd name="T83" fmla="*/ 36 h 488"/>
                <a:gd name="T84" fmla="*/ 24 w 340"/>
                <a:gd name="T85" fmla="*/ 25 h 488"/>
                <a:gd name="T86" fmla="*/ 42 w 340"/>
                <a:gd name="T87" fmla="*/ 14 h 488"/>
                <a:gd name="T88" fmla="*/ 63 w 340"/>
                <a:gd name="T89" fmla="*/ 7 h 488"/>
                <a:gd name="T90" fmla="*/ 86 w 340"/>
                <a:gd name="T91" fmla="*/ 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0" h="488">
                  <a:moveTo>
                    <a:pt x="86" y="0"/>
                  </a:moveTo>
                  <a:lnTo>
                    <a:pt x="108" y="18"/>
                  </a:lnTo>
                  <a:lnTo>
                    <a:pt x="132" y="30"/>
                  </a:lnTo>
                  <a:lnTo>
                    <a:pt x="158" y="35"/>
                  </a:lnTo>
                  <a:lnTo>
                    <a:pt x="184" y="34"/>
                  </a:lnTo>
                  <a:lnTo>
                    <a:pt x="208" y="27"/>
                  </a:lnTo>
                  <a:lnTo>
                    <a:pt x="232" y="17"/>
                  </a:lnTo>
                  <a:lnTo>
                    <a:pt x="255" y="1"/>
                  </a:lnTo>
                  <a:lnTo>
                    <a:pt x="278" y="8"/>
                  </a:lnTo>
                  <a:lnTo>
                    <a:pt x="299" y="16"/>
                  </a:lnTo>
                  <a:lnTo>
                    <a:pt x="316" y="26"/>
                  </a:lnTo>
                  <a:lnTo>
                    <a:pt x="329" y="37"/>
                  </a:lnTo>
                  <a:lnTo>
                    <a:pt x="338" y="50"/>
                  </a:lnTo>
                  <a:lnTo>
                    <a:pt x="340" y="64"/>
                  </a:lnTo>
                  <a:lnTo>
                    <a:pt x="339" y="80"/>
                  </a:lnTo>
                  <a:lnTo>
                    <a:pt x="329" y="111"/>
                  </a:lnTo>
                  <a:lnTo>
                    <a:pt x="320" y="146"/>
                  </a:lnTo>
                  <a:lnTo>
                    <a:pt x="312" y="187"/>
                  </a:lnTo>
                  <a:lnTo>
                    <a:pt x="304" y="232"/>
                  </a:lnTo>
                  <a:lnTo>
                    <a:pt x="299" y="280"/>
                  </a:lnTo>
                  <a:lnTo>
                    <a:pt x="296" y="329"/>
                  </a:lnTo>
                  <a:lnTo>
                    <a:pt x="296" y="377"/>
                  </a:lnTo>
                  <a:lnTo>
                    <a:pt x="302" y="426"/>
                  </a:lnTo>
                  <a:lnTo>
                    <a:pt x="311" y="472"/>
                  </a:lnTo>
                  <a:lnTo>
                    <a:pt x="266" y="480"/>
                  </a:lnTo>
                  <a:lnTo>
                    <a:pt x="219" y="485"/>
                  </a:lnTo>
                  <a:lnTo>
                    <a:pt x="171" y="488"/>
                  </a:lnTo>
                  <a:lnTo>
                    <a:pt x="121" y="485"/>
                  </a:lnTo>
                  <a:lnTo>
                    <a:pt x="72" y="480"/>
                  </a:lnTo>
                  <a:lnTo>
                    <a:pt x="26" y="471"/>
                  </a:lnTo>
                  <a:lnTo>
                    <a:pt x="33" y="427"/>
                  </a:lnTo>
                  <a:lnTo>
                    <a:pt x="39" y="381"/>
                  </a:lnTo>
                  <a:lnTo>
                    <a:pt x="40" y="334"/>
                  </a:lnTo>
                  <a:lnTo>
                    <a:pt x="39" y="285"/>
                  </a:lnTo>
                  <a:lnTo>
                    <a:pt x="33" y="238"/>
                  </a:lnTo>
                  <a:lnTo>
                    <a:pt x="28" y="193"/>
                  </a:lnTo>
                  <a:lnTo>
                    <a:pt x="21" y="150"/>
                  </a:lnTo>
                  <a:lnTo>
                    <a:pt x="12" y="114"/>
                  </a:lnTo>
                  <a:lnTo>
                    <a:pt x="3" y="84"/>
                  </a:lnTo>
                  <a:lnTo>
                    <a:pt x="0" y="66"/>
                  </a:lnTo>
                  <a:lnTo>
                    <a:pt x="4" y="50"/>
                  </a:lnTo>
                  <a:lnTo>
                    <a:pt x="12" y="36"/>
                  </a:lnTo>
                  <a:lnTo>
                    <a:pt x="24" y="25"/>
                  </a:lnTo>
                  <a:lnTo>
                    <a:pt x="42" y="14"/>
                  </a:lnTo>
                  <a:lnTo>
                    <a:pt x="63" y="7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7" name="Freeform 1588"/>
            <p:cNvSpPr>
              <a:spLocks noEditPoints="1"/>
            </p:cNvSpPr>
            <p:nvPr/>
          </p:nvSpPr>
          <p:spPr bwMode="auto">
            <a:xfrm>
              <a:off x="9920288" y="1003300"/>
              <a:ext cx="539750" cy="595313"/>
            </a:xfrm>
            <a:custGeom>
              <a:avLst/>
              <a:gdLst>
                <a:gd name="T0" fmla="*/ 303 w 340"/>
                <a:gd name="T1" fmla="*/ 367 h 375"/>
                <a:gd name="T2" fmla="*/ 181 w 340"/>
                <a:gd name="T3" fmla="*/ 375 h 375"/>
                <a:gd name="T4" fmla="*/ 77 w 340"/>
                <a:gd name="T5" fmla="*/ 373 h 375"/>
                <a:gd name="T6" fmla="*/ 35 w 340"/>
                <a:gd name="T7" fmla="*/ 351 h 375"/>
                <a:gd name="T8" fmla="*/ 126 w 340"/>
                <a:gd name="T9" fmla="*/ 357 h 375"/>
                <a:gd name="T10" fmla="*/ 239 w 340"/>
                <a:gd name="T11" fmla="*/ 356 h 375"/>
                <a:gd name="T12" fmla="*/ 296 w 340"/>
                <a:gd name="T13" fmla="*/ 294 h 375"/>
                <a:gd name="T14" fmla="*/ 236 w 340"/>
                <a:gd name="T15" fmla="*/ 315 h 375"/>
                <a:gd name="T16" fmla="*/ 126 w 340"/>
                <a:gd name="T17" fmla="*/ 316 h 375"/>
                <a:gd name="T18" fmla="*/ 39 w 340"/>
                <a:gd name="T19" fmla="*/ 311 h 375"/>
                <a:gd name="T20" fmla="*/ 81 w 340"/>
                <a:gd name="T21" fmla="*/ 298 h 375"/>
                <a:gd name="T22" fmla="*/ 178 w 340"/>
                <a:gd name="T23" fmla="*/ 301 h 375"/>
                <a:gd name="T24" fmla="*/ 296 w 340"/>
                <a:gd name="T25" fmla="*/ 294 h 375"/>
                <a:gd name="T26" fmla="*/ 296 w 340"/>
                <a:gd name="T27" fmla="*/ 253 h 375"/>
                <a:gd name="T28" fmla="*/ 178 w 340"/>
                <a:gd name="T29" fmla="*/ 260 h 375"/>
                <a:gd name="T30" fmla="*/ 81 w 340"/>
                <a:gd name="T31" fmla="*/ 257 h 375"/>
                <a:gd name="T32" fmla="*/ 40 w 340"/>
                <a:gd name="T33" fmla="*/ 237 h 375"/>
                <a:gd name="T34" fmla="*/ 126 w 340"/>
                <a:gd name="T35" fmla="*/ 242 h 375"/>
                <a:gd name="T36" fmla="*/ 236 w 340"/>
                <a:gd name="T37" fmla="*/ 240 h 375"/>
                <a:gd name="T38" fmla="*/ 302 w 340"/>
                <a:gd name="T39" fmla="*/ 178 h 375"/>
                <a:gd name="T40" fmla="*/ 237 w 340"/>
                <a:gd name="T41" fmla="*/ 199 h 375"/>
                <a:gd name="T42" fmla="*/ 126 w 340"/>
                <a:gd name="T43" fmla="*/ 201 h 375"/>
                <a:gd name="T44" fmla="*/ 37 w 340"/>
                <a:gd name="T45" fmla="*/ 195 h 375"/>
                <a:gd name="T46" fmla="*/ 78 w 340"/>
                <a:gd name="T47" fmla="*/ 181 h 375"/>
                <a:gd name="T48" fmla="*/ 181 w 340"/>
                <a:gd name="T49" fmla="*/ 185 h 375"/>
                <a:gd name="T50" fmla="*/ 302 w 340"/>
                <a:gd name="T51" fmla="*/ 178 h 375"/>
                <a:gd name="T52" fmla="*/ 308 w 340"/>
                <a:gd name="T53" fmla="*/ 136 h 375"/>
                <a:gd name="T54" fmla="*/ 182 w 340"/>
                <a:gd name="T55" fmla="*/ 144 h 375"/>
                <a:gd name="T56" fmla="*/ 76 w 340"/>
                <a:gd name="T57" fmla="*/ 140 h 375"/>
                <a:gd name="T58" fmla="*/ 27 w 340"/>
                <a:gd name="T59" fmla="*/ 120 h 375"/>
                <a:gd name="T60" fmla="*/ 126 w 340"/>
                <a:gd name="T61" fmla="*/ 126 h 375"/>
                <a:gd name="T62" fmla="*/ 245 w 340"/>
                <a:gd name="T63" fmla="*/ 125 h 375"/>
                <a:gd name="T64" fmla="*/ 325 w 340"/>
                <a:gd name="T65" fmla="*/ 59 h 375"/>
                <a:gd name="T66" fmla="*/ 250 w 340"/>
                <a:gd name="T67" fmla="*/ 84 h 375"/>
                <a:gd name="T68" fmla="*/ 126 w 340"/>
                <a:gd name="T69" fmla="*/ 85 h 375"/>
                <a:gd name="T70" fmla="*/ 19 w 340"/>
                <a:gd name="T71" fmla="*/ 77 h 375"/>
                <a:gd name="T72" fmla="*/ 68 w 340"/>
                <a:gd name="T73" fmla="*/ 66 h 375"/>
                <a:gd name="T74" fmla="*/ 187 w 340"/>
                <a:gd name="T75" fmla="*/ 68 h 375"/>
                <a:gd name="T76" fmla="*/ 325 w 340"/>
                <a:gd name="T77" fmla="*/ 59 h 375"/>
                <a:gd name="T78" fmla="*/ 340 w 340"/>
                <a:gd name="T79" fmla="*/ 6 h 375"/>
                <a:gd name="T80" fmla="*/ 336 w 340"/>
                <a:gd name="T81" fmla="*/ 17 h 375"/>
                <a:gd name="T82" fmla="*/ 225 w 340"/>
                <a:gd name="T83" fmla="*/ 27 h 375"/>
                <a:gd name="T84" fmla="*/ 126 w 340"/>
                <a:gd name="T85" fmla="*/ 27 h 375"/>
                <a:gd name="T86" fmla="*/ 4 w 340"/>
                <a:gd name="T87" fmla="*/ 18 h 375"/>
                <a:gd name="T88" fmla="*/ 1 w 340"/>
                <a:gd name="T89" fmla="*/ 8 h 375"/>
                <a:gd name="T90" fmla="*/ 60 w 340"/>
                <a:gd name="T91" fmla="*/ 7 h 375"/>
                <a:gd name="T92" fmla="*/ 175 w 340"/>
                <a:gd name="T93" fmla="*/ 12 h 375"/>
                <a:gd name="T94" fmla="*/ 282 w 340"/>
                <a:gd name="T95" fmla="*/ 6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375">
                  <a:moveTo>
                    <a:pt x="300" y="351"/>
                  </a:moveTo>
                  <a:lnTo>
                    <a:pt x="303" y="367"/>
                  </a:lnTo>
                  <a:lnTo>
                    <a:pt x="240" y="373"/>
                  </a:lnTo>
                  <a:lnTo>
                    <a:pt x="181" y="375"/>
                  </a:lnTo>
                  <a:lnTo>
                    <a:pt x="126" y="374"/>
                  </a:lnTo>
                  <a:lnTo>
                    <a:pt x="77" y="373"/>
                  </a:lnTo>
                  <a:lnTo>
                    <a:pt x="32" y="367"/>
                  </a:lnTo>
                  <a:lnTo>
                    <a:pt x="35" y="351"/>
                  </a:lnTo>
                  <a:lnTo>
                    <a:pt x="78" y="355"/>
                  </a:lnTo>
                  <a:lnTo>
                    <a:pt x="126" y="357"/>
                  </a:lnTo>
                  <a:lnTo>
                    <a:pt x="180" y="358"/>
                  </a:lnTo>
                  <a:lnTo>
                    <a:pt x="239" y="356"/>
                  </a:lnTo>
                  <a:lnTo>
                    <a:pt x="300" y="351"/>
                  </a:lnTo>
                  <a:close/>
                  <a:moveTo>
                    <a:pt x="296" y="294"/>
                  </a:moveTo>
                  <a:lnTo>
                    <a:pt x="296" y="311"/>
                  </a:lnTo>
                  <a:lnTo>
                    <a:pt x="236" y="315"/>
                  </a:lnTo>
                  <a:lnTo>
                    <a:pt x="178" y="317"/>
                  </a:lnTo>
                  <a:lnTo>
                    <a:pt x="126" y="316"/>
                  </a:lnTo>
                  <a:lnTo>
                    <a:pt x="81" y="315"/>
                  </a:lnTo>
                  <a:lnTo>
                    <a:pt x="39" y="311"/>
                  </a:lnTo>
                  <a:lnTo>
                    <a:pt x="40" y="294"/>
                  </a:lnTo>
                  <a:lnTo>
                    <a:pt x="81" y="298"/>
                  </a:lnTo>
                  <a:lnTo>
                    <a:pt x="126" y="299"/>
                  </a:lnTo>
                  <a:lnTo>
                    <a:pt x="178" y="301"/>
                  </a:lnTo>
                  <a:lnTo>
                    <a:pt x="235" y="298"/>
                  </a:lnTo>
                  <a:lnTo>
                    <a:pt x="296" y="294"/>
                  </a:lnTo>
                  <a:close/>
                  <a:moveTo>
                    <a:pt x="296" y="235"/>
                  </a:moveTo>
                  <a:lnTo>
                    <a:pt x="296" y="253"/>
                  </a:lnTo>
                  <a:lnTo>
                    <a:pt x="235" y="257"/>
                  </a:lnTo>
                  <a:lnTo>
                    <a:pt x="178" y="260"/>
                  </a:lnTo>
                  <a:lnTo>
                    <a:pt x="126" y="258"/>
                  </a:lnTo>
                  <a:lnTo>
                    <a:pt x="81" y="257"/>
                  </a:lnTo>
                  <a:lnTo>
                    <a:pt x="40" y="253"/>
                  </a:lnTo>
                  <a:lnTo>
                    <a:pt x="40" y="237"/>
                  </a:lnTo>
                  <a:lnTo>
                    <a:pt x="81" y="240"/>
                  </a:lnTo>
                  <a:lnTo>
                    <a:pt x="126" y="242"/>
                  </a:lnTo>
                  <a:lnTo>
                    <a:pt x="178" y="243"/>
                  </a:lnTo>
                  <a:lnTo>
                    <a:pt x="236" y="240"/>
                  </a:lnTo>
                  <a:lnTo>
                    <a:pt x="296" y="235"/>
                  </a:lnTo>
                  <a:close/>
                  <a:moveTo>
                    <a:pt x="302" y="178"/>
                  </a:moveTo>
                  <a:lnTo>
                    <a:pt x="300" y="194"/>
                  </a:lnTo>
                  <a:lnTo>
                    <a:pt x="237" y="199"/>
                  </a:lnTo>
                  <a:lnTo>
                    <a:pt x="180" y="202"/>
                  </a:lnTo>
                  <a:lnTo>
                    <a:pt x="126" y="201"/>
                  </a:lnTo>
                  <a:lnTo>
                    <a:pt x="80" y="199"/>
                  </a:lnTo>
                  <a:lnTo>
                    <a:pt x="37" y="195"/>
                  </a:lnTo>
                  <a:lnTo>
                    <a:pt x="35" y="178"/>
                  </a:lnTo>
                  <a:lnTo>
                    <a:pt x="78" y="181"/>
                  </a:lnTo>
                  <a:lnTo>
                    <a:pt x="126" y="184"/>
                  </a:lnTo>
                  <a:lnTo>
                    <a:pt x="181" y="185"/>
                  </a:lnTo>
                  <a:lnTo>
                    <a:pt x="239" y="183"/>
                  </a:lnTo>
                  <a:lnTo>
                    <a:pt x="302" y="178"/>
                  </a:lnTo>
                  <a:close/>
                  <a:moveTo>
                    <a:pt x="312" y="118"/>
                  </a:moveTo>
                  <a:lnTo>
                    <a:pt x="308" y="136"/>
                  </a:lnTo>
                  <a:lnTo>
                    <a:pt x="243" y="142"/>
                  </a:lnTo>
                  <a:lnTo>
                    <a:pt x="182" y="144"/>
                  </a:lnTo>
                  <a:lnTo>
                    <a:pt x="126" y="143"/>
                  </a:lnTo>
                  <a:lnTo>
                    <a:pt x="76" y="140"/>
                  </a:lnTo>
                  <a:lnTo>
                    <a:pt x="30" y="136"/>
                  </a:lnTo>
                  <a:lnTo>
                    <a:pt x="27" y="120"/>
                  </a:lnTo>
                  <a:lnTo>
                    <a:pt x="74" y="124"/>
                  </a:lnTo>
                  <a:lnTo>
                    <a:pt x="126" y="126"/>
                  </a:lnTo>
                  <a:lnTo>
                    <a:pt x="184" y="127"/>
                  </a:lnTo>
                  <a:lnTo>
                    <a:pt x="245" y="125"/>
                  </a:lnTo>
                  <a:lnTo>
                    <a:pt x="312" y="118"/>
                  </a:lnTo>
                  <a:close/>
                  <a:moveTo>
                    <a:pt x="325" y="59"/>
                  </a:moveTo>
                  <a:lnTo>
                    <a:pt x="320" y="77"/>
                  </a:lnTo>
                  <a:lnTo>
                    <a:pt x="250" y="84"/>
                  </a:lnTo>
                  <a:lnTo>
                    <a:pt x="186" y="86"/>
                  </a:lnTo>
                  <a:lnTo>
                    <a:pt x="126" y="85"/>
                  </a:lnTo>
                  <a:lnTo>
                    <a:pt x="71" y="83"/>
                  </a:lnTo>
                  <a:lnTo>
                    <a:pt x="19" y="77"/>
                  </a:lnTo>
                  <a:lnTo>
                    <a:pt x="15" y="61"/>
                  </a:lnTo>
                  <a:lnTo>
                    <a:pt x="68" y="66"/>
                  </a:lnTo>
                  <a:lnTo>
                    <a:pt x="126" y="68"/>
                  </a:lnTo>
                  <a:lnTo>
                    <a:pt x="187" y="68"/>
                  </a:lnTo>
                  <a:lnTo>
                    <a:pt x="253" y="66"/>
                  </a:lnTo>
                  <a:lnTo>
                    <a:pt x="325" y="59"/>
                  </a:lnTo>
                  <a:close/>
                  <a:moveTo>
                    <a:pt x="340" y="0"/>
                  </a:moveTo>
                  <a:lnTo>
                    <a:pt x="340" y="6"/>
                  </a:lnTo>
                  <a:lnTo>
                    <a:pt x="339" y="11"/>
                  </a:lnTo>
                  <a:lnTo>
                    <a:pt x="336" y="17"/>
                  </a:lnTo>
                  <a:lnTo>
                    <a:pt x="278" y="24"/>
                  </a:lnTo>
                  <a:lnTo>
                    <a:pt x="225" y="27"/>
                  </a:lnTo>
                  <a:lnTo>
                    <a:pt x="173" y="29"/>
                  </a:lnTo>
                  <a:lnTo>
                    <a:pt x="126" y="27"/>
                  </a:lnTo>
                  <a:lnTo>
                    <a:pt x="62" y="24"/>
                  </a:lnTo>
                  <a:lnTo>
                    <a:pt x="4" y="18"/>
                  </a:lnTo>
                  <a:lnTo>
                    <a:pt x="3" y="15"/>
                  </a:lnTo>
                  <a:lnTo>
                    <a:pt x="1" y="8"/>
                  </a:lnTo>
                  <a:lnTo>
                    <a:pt x="0" y="0"/>
                  </a:lnTo>
                  <a:lnTo>
                    <a:pt x="60" y="7"/>
                  </a:lnTo>
                  <a:lnTo>
                    <a:pt x="126" y="11"/>
                  </a:lnTo>
                  <a:lnTo>
                    <a:pt x="175" y="12"/>
                  </a:lnTo>
                  <a:lnTo>
                    <a:pt x="227" y="9"/>
                  </a:lnTo>
                  <a:lnTo>
                    <a:pt x="282" y="6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8" name="Freeform 1589"/>
            <p:cNvSpPr>
              <a:spLocks/>
            </p:cNvSpPr>
            <p:nvPr/>
          </p:nvSpPr>
          <p:spPr bwMode="auto">
            <a:xfrm>
              <a:off x="10272713" y="881063"/>
              <a:ext cx="209550" cy="911225"/>
            </a:xfrm>
            <a:custGeom>
              <a:avLst/>
              <a:gdLst>
                <a:gd name="T0" fmla="*/ 0 w 132"/>
                <a:gd name="T1" fmla="*/ 0 h 574"/>
                <a:gd name="T2" fmla="*/ 30 w 132"/>
                <a:gd name="T3" fmla="*/ 3 h 574"/>
                <a:gd name="T4" fmla="*/ 58 w 132"/>
                <a:gd name="T5" fmla="*/ 9 h 574"/>
                <a:gd name="T6" fmla="*/ 83 w 132"/>
                <a:gd name="T7" fmla="*/ 20 h 574"/>
                <a:gd name="T8" fmla="*/ 105 w 132"/>
                <a:gd name="T9" fmla="*/ 33 h 574"/>
                <a:gd name="T10" fmla="*/ 122 w 132"/>
                <a:gd name="T11" fmla="*/ 48 h 574"/>
                <a:gd name="T12" fmla="*/ 132 w 132"/>
                <a:gd name="T13" fmla="*/ 65 h 574"/>
                <a:gd name="T14" fmla="*/ 127 w 132"/>
                <a:gd name="T15" fmla="*/ 71 h 574"/>
                <a:gd name="T16" fmla="*/ 121 w 132"/>
                <a:gd name="T17" fmla="*/ 83 h 574"/>
                <a:gd name="T18" fmla="*/ 113 w 132"/>
                <a:gd name="T19" fmla="*/ 98 h 574"/>
                <a:gd name="T20" fmla="*/ 107 w 132"/>
                <a:gd name="T21" fmla="*/ 117 h 574"/>
                <a:gd name="T22" fmla="*/ 99 w 132"/>
                <a:gd name="T23" fmla="*/ 139 h 574"/>
                <a:gd name="T24" fmla="*/ 95 w 132"/>
                <a:gd name="T25" fmla="*/ 162 h 574"/>
                <a:gd name="T26" fmla="*/ 92 w 132"/>
                <a:gd name="T27" fmla="*/ 184 h 574"/>
                <a:gd name="T28" fmla="*/ 94 w 132"/>
                <a:gd name="T29" fmla="*/ 206 h 574"/>
                <a:gd name="T30" fmla="*/ 96 w 132"/>
                <a:gd name="T31" fmla="*/ 233 h 574"/>
                <a:gd name="T32" fmla="*/ 98 w 132"/>
                <a:gd name="T33" fmla="*/ 265 h 574"/>
                <a:gd name="T34" fmla="*/ 99 w 132"/>
                <a:gd name="T35" fmla="*/ 301 h 574"/>
                <a:gd name="T36" fmla="*/ 100 w 132"/>
                <a:gd name="T37" fmla="*/ 339 h 574"/>
                <a:gd name="T38" fmla="*/ 101 w 132"/>
                <a:gd name="T39" fmla="*/ 378 h 574"/>
                <a:gd name="T40" fmla="*/ 104 w 132"/>
                <a:gd name="T41" fmla="*/ 414 h 574"/>
                <a:gd name="T42" fmla="*/ 110 w 132"/>
                <a:gd name="T43" fmla="*/ 447 h 574"/>
                <a:gd name="T44" fmla="*/ 113 w 132"/>
                <a:gd name="T45" fmla="*/ 473 h 574"/>
                <a:gd name="T46" fmla="*/ 112 w 132"/>
                <a:gd name="T47" fmla="*/ 496 h 574"/>
                <a:gd name="T48" fmla="*/ 107 w 132"/>
                <a:gd name="T49" fmla="*/ 516 h 574"/>
                <a:gd name="T50" fmla="*/ 98 w 132"/>
                <a:gd name="T51" fmla="*/ 534 h 574"/>
                <a:gd name="T52" fmla="*/ 86 w 132"/>
                <a:gd name="T53" fmla="*/ 548 h 574"/>
                <a:gd name="T54" fmla="*/ 72 w 132"/>
                <a:gd name="T55" fmla="*/ 560 h 574"/>
                <a:gd name="T56" fmla="*/ 56 w 132"/>
                <a:gd name="T57" fmla="*/ 569 h 574"/>
                <a:gd name="T58" fmla="*/ 41 w 132"/>
                <a:gd name="T59" fmla="*/ 574 h 574"/>
                <a:gd name="T60" fmla="*/ 41 w 132"/>
                <a:gd name="T61" fmla="*/ 571 h 574"/>
                <a:gd name="T62" fmla="*/ 41 w 132"/>
                <a:gd name="T63" fmla="*/ 560 h 574"/>
                <a:gd name="T64" fmla="*/ 41 w 132"/>
                <a:gd name="T65" fmla="*/ 544 h 574"/>
                <a:gd name="T66" fmla="*/ 41 w 132"/>
                <a:gd name="T67" fmla="*/ 524 h 574"/>
                <a:gd name="T68" fmla="*/ 40 w 132"/>
                <a:gd name="T69" fmla="*/ 501 h 574"/>
                <a:gd name="T70" fmla="*/ 39 w 132"/>
                <a:gd name="T71" fmla="*/ 474 h 574"/>
                <a:gd name="T72" fmla="*/ 36 w 132"/>
                <a:gd name="T73" fmla="*/ 447 h 574"/>
                <a:gd name="T74" fmla="*/ 32 w 132"/>
                <a:gd name="T75" fmla="*/ 415 h 574"/>
                <a:gd name="T76" fmla="*/ 30 w 132"/>
                <a:gd name="T77" fmla="*/ 376 h 574"/>
                <a:gd name="T78" fmla="*/ 27 w 132"/>
                <a:gd name="T79" fmla="*/ 334 h 574"/>
                <a:gd name="T80" fmla="*/ 24 w 132"/>
                <a:gd name="T81" fmla="*/ 288 h 574"/>
                <a:gd name="T82" fmla="*/ 22 w 132"/>
                <a:gd name="T83" fmla="*/ 240 h 574"/>
                <a:gd name="T84" fmla="*/ 19 w 132"/>
                <a:gd name="T85" fmla="*/ 193 h 574"/>
                <a:gd name="T86" fmla="*/ 17 w 132"/>
                <a:gd name="T87" fmla="*/ 145 h 574"/>
                <a:gd name="T88" fmla="*/ 13 w 132"/>
                <a:gd name="T89" fmla="*/ 102 h 574"/>
                <a:gd name="T90" fmla="*/ 9 w 132"/>
                <a:gd name="T91" fmla="*/ 62 h 574"/>
                <a:gd name="T92" fmla="*/ 5 w 132"/>
                <a:gd name="T93" fmla="*/ 27 h 574"/>
                <a:gd name="T94" fmla="*/ 0 w 132"/>
                <a:gd name="T95" fmla="*/ 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" h="574">
                  <a:moveTo>
                    <a:pt x="0" y="0"/>
                  </a:moveTo>
                  <a:lnTo>
                    <a:pt x="30" y="3"/>
                  </a:lnTo>
                  <a:lnTo>
                    <a:pt x="58" y="9"/>
                  </a:lnTo>
                  <a:lnTo>
                    <a:pt x="83" y="20"/>
                  </a:lnTo>
                  <a:lnTo>
                    <a:pt x="105" y="33"/>
                  </a:lnTo>
                  <a:lnTo>
                    <a:pt x="122" y="48"/>
                  </a:lnTo>
                  <a:lnTo>
                    <a:pt x="132" y="65"/>
                  </a:lnTo>
                  <a:lnTo>
                    <a:pt x="127" y="71"/>
                  </a:lnTo>
                  <a:lnTo>
                    <a:pt x="121" y="83"/>
                  </a:lnTo>
                  <a:lnTo>
                    <a:pt x="113" y="98"/>
                  </a:lnTo>
                  <a:lnTo>
                    <a:pt x="107" y="117"/>
                  </a:lnTo>
                  <a:lnTo>
                    <a:pt x="99" y="139"/>
                  </a:lnTo>
                  <a:lnTo>
                    <a:pt x="95" y="162"/>
                  </a:lnTo>
                  <a:lnTo>
                    <a:pt x="92" y="184"/>
                  </a:lnTo>
                  <a:lnTo>
                    <a:pt x="94" y="206"/>
                  </a:lnTo>
                  <a:lnTo>
                    <a:pt x="96" y="233"/>
                  </a:lnTo>
                  <a:lnTo>
                    <a:pt x="98" y="265"/>
                  </a:lnTo>
                  <a:lnTo>
                    <a:pt x="99" y="301"/>
                  </a:lnTo>
                  <a:lnTo>
                    <a:pt x="100" y="339"/>
                  </a:lnTo>
                  <a:lnTo>
                    <a:pt x="101" y="378"/>
                  </a:lnTo>
                  <a:lnTo>
                    <a:pt x="104" y="414"/>
                  </a:lnTo>
                  <a:lnTo>
                    <a:pt x="110" y="447"/>
                  </a:lnTo>
                  <a:lnTo>
                    <a:pt x="113" y="473"/>
                  </a:lnTo>
                  <a:lnTo>
                    <a:pt x="112" y="496"/>
                  </a:lnTo>
                  <a:lnTo>
                    <a:pt x="107" y="516"/>
                  </a:lnTo>
                  <a:lnTo>
                    <a:pt x="98" y="534"/>
                  </a:lnTo>
                  <a:lnTo>
                    <a:pt x="86" y="548"/>
                  </a:lnTo>
                  <a:lnTo>
                    <a:pt x="72" y="560"/>
                  </a:lnTo>
                  <a:lnTo>
                    <a:pt x="56" y="569"/>
                  </a:lnTo>
                  <a:lnTo>
                    <a:pt x="41" y="574"/>
                  </a:lnTo>
                  <a:lnTo>
                    <a:pt x="41" y="571"/>
                  </a:lnTo>
                  <a:lnTo>
                    <a:pt x="41" y="560"/>
                  </a:lnTo>
                  <a:lnTo>
                    <a:pt x="41" y="544"/>
                  </a:lnTo>
                  <a:lnTo>
                    <a:pt x="41" y="524"/>
                  </a:lnTo>
                  <a:lnTo>
                    <a:pt x="40" y="501"/>
                  </a:lnTo>
                  <a:lnTo>
                    <a:pt x="39" y="474"/>
                  </a:lnTo>
                  <a:lnTo>
                    <a:pt x="36" y="447"/>
                  </a:lnTo>
                  <a:lnTo>
                    <a:pt x="32" y="415"/>
                  </a:lnTo>
                  <a:lnTo>
                    <a:pt x="30" y="376"/>
                  </a:lnTo>
                  <a:lnTo>
                    <a:pt x="27" y="334"/>
                  </a:lnTo>
                  <a:lnTo>
                    <a:pt x="24" y="288"/>
                  </a:lnTo>
                  <a:lnTo>
                    <a:pt x="22" y="240"/>
                  </a:lnTo>
                  <a:lnTo>
                    <a:pt x="19" y="193"/>
                  </a:lnTo>
                  <a:lnTo>
                    <a:pt x="17" y="145"/>
                  </a:lnTo>
                  <a:lnTo>
                    <a:pt x="13" y="102"/>
                  </a:lnTo>
                  <a:lnTo>
                    <a:pt x="9" y="62"/>
                  </a:lnTo>
                  <a:lnTo>
                    <a:pt x="5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9" name="Freeform 1590"/>
            <p:cNvSpPr>
              <a:spLocks/>
            </p:cNvSpPr>
            <p:nvPr/>
          </p:nvSpPr>
          <p:spPr bwMode="auto">
            <a:xfrm>
              <a:off x="10337801" y="1597025"/>
              <a:ext cx="90488" cy="34925"/>
            </a:xfrm>
            <a:custGeom>
              <a:avLst/>
              <a:gdLst>
                <a:gd name="T0" fmla="*/ 55 w 57"/>
                <a:gd name="T1" fmla="*/ 0 h 22"/>
                <a:gd name="T2" fmla="*/ 57 w 57"/>
                <a:gd name="T3" fmla="*/ 14 h 22"/>
                <a:gd name="T4" fmla="*/ 1 w 57"/>
                <a:gd name="T5" fmla="*/ 22 h 22"/>
                <a:gd name="T6" fmla="*/ 0 w 57"/>
                <a:gd name="T7" fmla="*/ 8 h 22"/>
                <a:gd name="T8" fmla="*/ 55 w 5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2">
                  <a:moveTo>
                    <a:pt x="55" y="0"/>
                  </a:moveTo>
                  <a:lnTo>
                    <a:pt x="57" y="14"/>
                  </a:lnTo>
                  <a:lnTo>
                    <a:pt x="1" y="22"/>
                  </a:lnTo>
                  <a:lnTo>
                    <a:pt x="0" y="8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0" name="Freeform 1591"/>
            <p:cNvSpPr>
              <a:spLocks noEditPoints="1"/>
            </p:cNvSpPr>
            <p:nvPr/>
          </p:nvSpPr>
          <p:spPr bwMode="auto">
            <a:xfrm>
              <a:off x="10044113" y="571500"/>
              <a:ext cx="290513" cy="96838"/>
            </a:xfrm>
            <a:custGeom>
              <a:avLst/>
              <a:gdLst>
                <a:gd name="T0" fmla="*/ 34 w 183"/>
                <a:gd name="T1" fmla="*/ 4 h 61"/>
                <a:gd name="T2" fmla="*/ 18 w 183"/>
                <a:gd name="T3" fmla="*/ 7 h 61"/>
                <a:gd name="T4" fmla="*/ 13 w 183"/>
                <a:gd name="T5" fmla="*/ 24 h 61"/>
                <a:gd name="T6" fmla="*/ 18 w 183"/>
                <a:gd name="T7" fmla="*/ 45 h 61"/>
                <a:gd name="T8" fmla="*/ 36 w 183"/>
                <a:gd name="T9" fmla="*/ 57 h 61"/>
                <a:gd name="T10" fmla="*/ 59 w 183"/>
                <a:gd name="T11" fmla="*/ 54 h 61"/>
                <a:gd name="T12" fmla="*/ 72 w 183"/>
                <a:gd name="T13" fmla="*/ 40 h 61"/>
                <a:gd name="T14" fmla="*/ 77 w 183"/>
                <a:gd name="T15" fmla="*/ 21 h 61"/>
                <a:gd name="T16" fmla="*/ 68 w 183"/>
                <a:gd name="T17" fmla="*/ 8 h 61"/>
                <a:gd name="T18" fmla="*/ 45 w 183"/>
                <a:gd name="T19" fmla="*/ 4 h 61"/>
                <a:gd name="T20" fmla="*/ 136 w 183"/>
                <a:gd name="T21" fmla="*/ 4 h 61"/>
                <a:gd name="T22" fmla="*/ 115 w 183"/>
                <a:gd name="T23" fmla="*/ 8 h 61"/>
                <a:gd name="T24" fmla="*/ 104 w 183"/>
                <a:gd name="T25" fmla="*/ 21 h 61"/>
                <a:gd name="T26" fmla="*/ 111 w 183"/>
                <a:gd name="T27" fmla="*/ 40 h 61"/>
                <a:gd name="T28" fmla="*/ 123 w 183"/>
                <a:gd name="T29" fmla="*/ 54 h 61"/>
                <a:gd name="T30" fmla="*/ 147 w 183"/>
                <a:gd name="T31" fmla="*/ 56 h 61"/>
                <a:gd name="T32" fmla="*/ 165 w 183"/>
                <a:gd name="T33" fmla="*/ 45 h 61"/>
                <a:gd name="T34" fmla="*/ 170 w 183"/>
                <a:gd name="T35" fmla="*/ 24 h 61"/>
                <a:gd name="T36" fmla="*/ 165 w 183"/>
                <a:gd name="T37" fmla="*/ 7 h 61"/>
                <a:gd name="T38" fmla="*/ 149 w 183"/>
                <a:gd name="T39" fmla="*/ 4 h 61"/>
                <a:gd name="T40" fmla="*/ 159 w 183"/>
                <a:gd name="T41" fmla="*/ 0 h 61"/>
                <a:gd name="T42" fmla="*/ 177 w 183"/>
                <a:gd name="T43" fmla="*/ 2 h 61"/>
                <a:gd name="T44" fmla="*/ 181 w 183"/>
                <a:gd name="T45" fmla="*/ 4 h 61"/>
                <a:gd name="T46" fmla="*/ 183 w 183"/>
                <a:gd name="T47" fmla="*/ 8 h 61"/>
                <a:gd name="T48" fmla="*/ 181 w 183"/>
                <a:gd name="T49" fmla="*/ 13 h 61"/>
                <a:gd name="T50" fmla="*/ 179 w 183"/>
                <a:gd name="T51" fmla="*/ 16 h 61"/>
                <a:gd name="T52" fmla="*/ 176 w 183"/>
                <a:gd name="T53" fmla="*/ 18 h 61"/>
                <a:gd name="T54" fmla="*/ 175 w 183"/>
                <a:gd name="T55" fmla="*/ 25 h 61"/>
                <a:gd name="T56" fmla="*/ 172 w 183"/>
                <a:gd name="T57" fmla="*/ 35 h 61"/>
                <a:gd name="T58" fmla="*/ 165 w 183"/>
                <a:gd name="T59" fmla="*/ 52 h 61"/>
                <a:gd name="T60" fmla="*/ 140 w 183"/>
                <a:gd name="T61" fmla="*/ 61 h 61"/>
                <a:gd name="T62" fmla="*/ 120 w 183"/>
                <a:gd name="T63" fmla="*/ 56 h 61"/>
                <a:gd name="T64" fmla="*/ 109 w 183"/>
                <a:gd name="T65" fmla="*/ 45 h 61"/>
                <a:gd name="T66" fmla="*/ 104 w 183"/>
                <a:gd name="T67" fmla="*/ 35 h 61"/>
                <a:gd name="T68" fmla="*/ 98 w 183"/>
                <a:gd name="T69" fmla="*/ 24 h 61"/>
                <a:gd name="T70" fmla="*/ 85 w 183"/>
                <a:gd name="T71" fmla="*/ 24 h 61"/>
                <a:gd name="T72" fmla="*/ 79 w 183"/>
                <a:gd name="T73" fmla="*/ 35 h 61"/>
                <a:gd name="T74" fmla="*/ 73 w 183"/>
                <a:gd name="T75" fmla="*/ 47 h 61"/>
                <a:gd name="T76" fmla="*/ 63 w 183"/>
                <a:gd name="T77" fmla="*/ 56 h 61"/>
                <a:gd name="T78" fmla="*/ 43 w 183"/>
                <a:gd name="T79" fmla="*/ 61 h 61"/>
                <a:gd name="T80" fmla="*/ 18 w 183"/>
                <a:gd name="T81" fmla="*/ 52 h 61"/>
                <a:gd name="T82" fmla="*/ 11 w 183"/>
                <a:gd name="T83" fmla="*/ 36 h 61"/>
                <a:gd name="T84" fmla="*/ 8 w 183"/>
                <a:gd name="T85" fmla="*/ 25 h 61"/>
                <a:gd name="T86" fmla="*/ 7 w 183"/>
                <a:gd name="T87" fmla="*/ 18 h 61"/>
                <a:gd name="T88" fmla="*/ 4 w 183"/>
                <a:gd name="T89" fmla="*/ 16 h 61"/>
                <a:gd name="T90" fmla="*/ 0 w 183"/>
                <a:gd name="T91" fmla="*/ 13 h 61"/>
                <a:gd name="T92" fmla="*/ 0 w 183"/>
                <a:gd name="T93" fmla="*/ 8 h 61"/>
                <a:gd name="T94" fmla="*/ 2 w 183"/>
                <a:gd name="T95" fmla="*/ 4 h 61"/>
                <a:gd name="T96" fmla="*/ 5 w 183"/>
                <a:gd name="T97" fmla="*/ 3 h 61"/>
                <a:gd name="T98" fmla="*/ 22 w 183"/>
                <a:gd name="T99" fmla="*/ 0 h 61"/>
                <a:gd name="T100" fmla="*/ 48 w 183"/>
                <a:gd name="T101" fmla="*/ 0 h 61"/>
                <a:gd name="T102" fmla="*/ 73 w 183"/>
                <a:gd name="T103" fmla="*/ 4 h 61"/>
                <a:gd name="T104" fmla="*/ 91 w 183"/>
                <a:gd name="T105" fmla="*/ 8 h 61"/>
                <a:gd name="T106" fmla="*/ 120 w 183"/>
                <a:gd name="T107" fmla="*/ 3 h 61"/>
                <a:gd name="T108" fmla="*/ 147 w 183"/>
                <a:gd name="T10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61">
                  <a:moveTo>
                    <a:pt x="45" y="4"/>
                  </a:moveTo>
                  <a:lnTo>
                    <a:pt x="34" y="4"/>
                  </a:lnTo>
                  <a:lnTo>
                    <a:pt x="23" y="6"/>
                  </a:lnTo>
                  <a:lnTo>
                    <a:pt x="18" y="7"/>
                  </a:lnTo>
                  <a:lnTo>
                    <a:pt x="13" y="13"/>
                  </a:lnTo>
                  <a:lnTo>
                    <a:pt x="13" y="24"/>
                  </a:lnTo>
                  <a:lnTo>
                    <a:pt x="14" y="35"/>
                  </a:lnTo>
                  <a:lnTo>
                    <a:pt x="18" y="45"/>
                  </a:lnTo>
                  <a:lnTo>
                    <a:pt x="26" y="53"/>
                  </a:lnTo>
                  <a:lnTo>
                    <a:pt x="36" y="57"/>
                  </a:lnTo>
                  <a:lnTo>
                    <a:pt x="49" y="57"/>
                  </a:lnTo>
                  <a:lnTo>
                    <a:pt x="59" y="54"/>
                  </a:lnTo>
                  <a:lnTo>
                    <a:pt x="66" y="49"/>
                  </a:lnTo>
                  <a:lnTo>
                    <a:pt x="72" y="40"/>
                  </a:lnTo>
                  <a:lnTo>
                    <a:pt x="76" y="31"/>
                  </a:lnTo>
                  <a:lnTo>
                    <a:pt x="77" y="21"/>
                  </a:lnTo>
                  <a:lnTo>
                    <a:pt x="75" y="13"/>
                  </a:lnTo>
                  <a:lnTo>
                    <a:pt x="68" y="8"/>
                  </a:lnTo>
                  <a:lnTo>
                    <a:pt x="58" y="6"/>
                  </a:lnTo>
                  <a:lnTo>
                    <a:pt x="45" y="4"/>
                  </a:lnTo>
                  <a:close/>
                  <a:moveTo>
                    <a:pt x="149" y="4"/>
                  </a:moveTo>
                  <a:lnTo>
                    <a:pt x="136" y="4"/>
                  </a:lnTo>
                  <a:lnTo>
                    <a:pt x="125" y="6"/>
                  </a:lnTo>
                  <a:lnTo>
                    <a:pt x="115" y="8"/>
                  </a:lnTo>
                  <a:lnTo>
                    <a:pt x="107" y="13"/>
                  </a:lnTo>
                  <a:lnTo>
                    <a:pt x="104" y="21"/>
                  </a:lnTo>
                  <a:lnTo>
                    <a:pt x="107" y="31"/>
                  </a:lnTo>
                  <a:lnTo>
                    <a:pt x="111" y="40"/>
                  </a:lnTo>
                  <a:lnTo>
                    <a:pt x="117" y="49"/>
                  </a:lnTo>
                  <a:lnTo>
                    <a:pt x="123" y="54"/>
                  </a:lnTo>
                  <a:lnTo>
                    <a:pt x="134" y="57"/>
                  </a:lnTo>
                  <a:lnTo>
                    <a:pt x="147" y="56"/>
                  </a:lnTo>
                  <a:lnTo>
                    <a:pt x="157" y="52"/>
                  </a:lnTo>
                  <a:lnTo>
                    <a:pt x="165" y="45"/>
                  </a:lnTo>
                  <a:lnTo>
                    <a:pt x="168" y="35"/>
                  </a:lnTo>
                  <a:lnTo>
                    <a:pt x="170" y="24"/>
                  </a:lnTo>
                  <a:lnTo>
                    <a:pt x="168" y="13"/>
                  </a:lnTo>
                  <a:lnTo>
                    <a:pt x="165" y="7"/>
                  </a:lnTo>
                  <a:lnTo>
                    <a:pt x="158" y="6"/>
                  </a:lnTo>
                  <a:lnTo>
                    <a:pt x="149" y="4"/>
                  </a:lnTo>
                  <a:close/>
                  <a:moveTo>
                    <a:pt x="147" y="0"/>
                  </a:moveTo>
                  <a:lnTo>
                    <a:pt x="159" y="0"/>
                  </a:lnTo>
                  <a:lnTo>
                    <a:pt x="171" y="2"/>
                  </a:lnTo>
                  <a:lnTo>
                    <a:pt x="177" y="2"/>
                  </a:lnTo>
                  <a:lnTo>
                    <a:pt x="180" y="3"/>
                  </a:lnTo>
                  <a:lnTo>
                    <a:pt x="181" y="4"/>
                  </a:lnTo>
                  <a:lnTo>
                    <a:pt x="181" y="6"/>
                  </a:lnTo>
                  <a:lnTo>
                    <a:pt x="183" y="8"/>
                  </a:lnTo>
                  <a:lnTo>
                    <a:pt x="183" y="11"/>
                  </a:lnTo>
                  <a:lnTo>
                    <a:pt x="181" y="13"/>
                  </a:lnTo>
                  <a:lnTo>
                    <a:pt x="180" y="15"/>
                  </a:lnTo>
                  <a:lnTo>
                    <a:pt x="179" y="16"/>
                  </a:lnTo>
                  <a:lnTo>
                    <a:pt x="177" y="16"/>
                  </a:lnTo>
                  <a:lnTo>
                    <a:pt x="176" y="18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4" y="30"/>
                  </a:lnTo>
                  <a:lnTo>
                    <a:pt x="172" y="35"/>
                  </a:lnTo>
                  <a:lnTo>
                    <a:pt x="170" y="44"/>
                  </a:lnTo>
                  <a:lnTo>
                    <a:pt x="165" y="52"/>
                  </a:lnTo>
                  <a:lnTo>
                    <a:pt x="156" y="57"/>
                  </a:lnTo>
                  <a:lnTo>
                    <a:pt x="140" y="61"/>
                  </a:lnTo>
                  <a:lnTo>
                    <a:pt x="129" y="59"/>
                  </a:lnTo>
                  <a:lnTo>
                    <a:pt x="120" y="56"/>
                  </a:lnTo>
                  <a:lnTo>
                    <a:pt x="113" y="50"/>
                  </a:lnTo>
                  <a:lnTo>
                    <a:pt x="109" y="45"/>
                  </a:lnTo>
                  <a:lnTo>
                    <a:pt x="107" y="42"/>
                  </a:lnTo>
                  <a:lnTo>
                    <a:pt x="104" y="35"/>
                  </a:lnTo>
                  <a:lnTo>
                    <a:pt x="102" y="29"/>
                  </a:lnTo>
                  <a:lnTo>
                    <a:pt x="98" y="24"/>
                  </a:lnTo>
                  <a:lnTo>
                    <a:pt x="91" y="21"/>
                  </a:lnTo>
                  <a:lnTo>
                    <a:pt x="85" y="24"/>
                  </a:lnTo>
                  <a:lnTo>
                    <a:pt x="81" y="29"/>
                  </a:lnTo>
                  <a:lnTo>
                    <a:pt x="79" y="35"/>
                  </a:lnTo>
                  <a:lnTo>
                    <a:pt x="76" y="42"/>
                  </a:lnTo>
                  <a:lnTo>
                    <a:pt x="73" y="47"/>
                  </a:lnTo>
                  <a:lnTo>
                    <a:pt x="70" y="52"/>
                  </a:lnTo>
                  <a:lnTo>
                    <a:pt x="63" y="56"/>
                  </a:lnTo>
                  <a:lnTo>
                    <a:pt x="54" y="59"/>
                  </a:lnTo>
                  <a:lnTo>
                    <a:pt x="43" y="61"/>
                  </a:lnTo>
                  <a:lnTo>
                    <a:pt x="27" y="58"/>
                  </a:lnTo>
                  <a:lnTo>
                    <a:pt x="18" y="52"/>
                  </a:lnTo>
                  <a:lnTo>
                    <a:pt x="13" y="45"/>
                  </a:lnTo>
                  <a:lnTo>
                    <a:pt x="11" y="36"/>
                  </a:lnTo>
                  <a:lnTo>
                    <a:pt x="9" y="30"/>
                  </a:lnTo>
                  <a:lnTo>
                    <a:pt x="8" y="25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5" y="17"/>
                  </a:lnTo>
                  <a:lnTo>
                    <a:pt x="4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3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48" y="0"/>
                  </a:lnTo>
                  <a:lnTo>
                    <a:pt x="61" y="2"/>
                  </a:lnTo>
                  <a:lnTo>
                    <a:pt x="73" y="4"/>
                  </a:lnTo>
                  <a:lnTo>
                    <a:pt x="84" y="7"/>
                  </a:lnTo>
                  <a:lnTo>
                    <a:pt x="91" y="8"/>
                  </a:lnTo>
                  <a:lnTo>
                    <a:pt x="104" y="6"/>
                  </a:lnTo>
                  <a:lnTo>
                    <a:pt x="120" y="3"/>
                  </a:lnTo>
                  <a:lnTo>
                    <a:pt x="134" y="0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1" name="Freeform 1592"/>
            <p:cNvSpPr>
              <a:spLocks/>
            </p:cNvSpPr>
            <p:nvPr/>
          </p:nvSpPr>
          <p:spPr bwMode="auto">
            <a:xfrm>
              <a:off x="9847263" y="935038"/>
              <a:ext cx="217488" cy="455613"/>
            </a:xfrm>
            <a:custGeom>
              <a:avLst/>
              <a:gdLst>
                <a:gd name="T0" fmla="*/ 64 w 137"/>
                <a:gd name="T1" fmla="*/ 0 h 287"/>
                <a:gd name="T2" fmla="*/ 79 w 137"/>
                <a:gd name="T3" fmla="*/ 1 h 287"/>
                <a:gd name="T4" fmla="*/ 96 w 137"/>
                <a:gd name="T5" fmla="*/ 5 h 287"/>
                <a:gd name="T6" fmla="*/ 110 w 137"/>
                <a:gd name="T7" fmla="*/ 14 h 287"/>
                <a:gd name="T8" fmla="*/ 123 w 137"/>
                <a:gd name="T9" fmla="*/ 25 h 287"/>
                <a:gd name="T10" fmla="*/ 132 w 137"/>
                <a:gd name="T11" fmla="*/ 40 h 287"/>
                <a:gd name="T12" fmla="*/ 137 w 137"/>
                <a:gd name="T13" fmla="*/ 56 h 287"/>
                <a:gd name="T14" fmla="*/ 136 w 137"/>
                <a:gd name="T15" fmla="*/ 76 h 287"/>
                <a:gd name="T16" fmla="*/ 129 w 137"/>
                <a:gd name="T17" fmla="*/ 96 h 287"/>
                <a:gd name="T18" fmla="*/ 119 w 137"/>
                <a:gd name="T19" fmla="*/ 123 h 287"/>
                <a:gd name="T20" fmla="*/ 109 w 137"/>
                <a:gd name="T21" fmla="*/ 151 h 287"/>
                <a:gd name="T22" fmla="*/ 100 w 137"/>
                <a:gd name="T23" fmla="*/ 182 h 287"/>
                <a:gd name="T24" fmla="*/ 91 w 137"/>
                <a:gd name="T25" fmla="*/ 213 h 287"/>
                <a:gd name="T26" fmla="*/ 85 w 137"/>
                <a:gd name="T27" fmla="*/ 241 h 287"/>
                <a:gd name="T28" fmla="*/ 79 w 137"/>
                <a:gd name="T29" fmla="*/ 267 h 287"/>
                <a:gd name="T30" fmla="*/ 76 w 137"/>
                <a:gd name="T31" fmla="*/ 287 h 287"/>
                <a:gd name="T32" fmla="*/ 76 w 137"/>
                <a:gd name="T33" fmla="*/ 287 h 287"/>
                <a:gd name="T34" fmla="*/ 0 w 137"/>
                <a:gd name="T35" fmla="*/ 276 h 287"/>
                <a:gd name="T36" fmla="*/ 2 w 137"/>
                <a:gd name="T37" fmla="*/ 262 h 287"/>
                <a:gd name="T38" fmla="*/ 4 w 137"/>
                <a:gd name="T39" fmla="*/ 240 h 287"/>
                <a:gd name="T40" fmla="*/ 6 w 137"/>
                <a:gd name="T41" fmla="*/ 214 h 287"/>
                <a:gd name="T42" fmla="*/ 10 w 137"/>
                <a:gd name="T43" fmla="*/ 185 h 287"/>
                <a:gd name="T44" fmla="*/ 14 w 137"/>
                <a:gd name="T45" fmla="*/ 154 h 287"/>
                <a:gd name="T46" fmla="*/ 19 w 137"/>
                <a:gd name="T47" fmla="*/ 122 h 287"/>
                <a:gd name="T48" fmla="*/ 26 w 137"/>
                <a:gd name="T49" fmla="*/ 90 h 287"/>
                <a:gd name="T50" fmla="*/ 33 w 137"/>
                <a:gd name="T51" fmla="*/ 60 h 287"/>
                <a:gd name="T52" fmla="*/ 42 w 137"/>
                <a:gd name="T53" fmla="*/ 34 h 287"/>
                <a:gd name="T54" fmla="*/ 52 w 137"/>
                <a:gd name="T55" fmla="*/ 14 h 287"/>
                <a:gd name="T56" fmla="*/ 64 w 137"/>
                <a:gd name="T57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287">
                  <a:moveTo>
                    <a:pt x="64" y="0"/>
                  </a:moveTo>
                  <a:lnTo>
                    <a:pt x="79" y="1"/>
                  </a:lnTo>
                  <a:lnTo>
                    <a:pt x="96" y="5"/>
                  </a:lnTo>
                  <a:lnTo>
                    <a:pt x="110" y="14"/>
                  </a:lnTo>
                  <a:lnTo>
                    <a:pt x="123" y="25"/>
                  </a:lnTo>
                  <a:lnTo>
                    <a:pt x="132" y="40"/>
                  </a:lnTo>
                  <a:lnTo>
                    <a:pt x="137" y="56"/>
                  </a:lnTo>
                  <a:lnTo>
                    <a:pt x="136" y="76"/>
                  </a:lnTo>
                  <a:lnTo>
                    <a:pt x="129" y="96"/>
                  </a:lnTo>
                  <a:lnTo>
                    <a:pt x="119" y="123"/>
                  </a:lnTo>
                  <a:lnTo>
                    <a:pt x="109" y="151"/>
                  </a:lnTo>
                  <a:lnTo>
                    <a:pt x="100" y="182"/>
                  </a:lnTo>
                  <a:lnTo>
                    <a:pt x="91" y="213"/>
                  </a:lnTo>
                  <a:lnTo>
                    <a:pt x="85" y="241"/>
                  </a:lnTo>
                  <a:lnTo>
                    <a:pt x="79" y="26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0" y="276"/>
                  </a:lnTo>
                  <a:lnTo>
                    <a:pt x="2" y="262"/>
                  </a:lnTo>
                  <a:lnTo>
                    <a:pt x="4" y="240"/>
                  </a:lnTo>
                  <a:lnTo>
                    <a:pt x="6" y="214"/>
                  </a:lnTo>
                  <a:lnTo>
                    <a:pt x="10" y="185"/>
                  </a:lnTo>
                  <a:lnTo>
                    <a:pt x="14" y="154"/>
                  </a:lnTo>
                  <a:lnTo>
                    <a:pt x="19" y="122"/>
                  </a:lnTo>
                  <a:lnTo>
                    <a:pt x="26" y="90"/>
                  </a:lnTo>
                  <a:lnTo>
                    <a:pt x="33" y="60"/>
                  </a:lnTo>
                  <a:lnTo>
                    <a:pt x="42" y="34"/>
                  </a:lnTo>
                  <a:lnTo>
                    <a:pt x="52" y="1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2" name="Freeform 1593"/>
            <p:cNvSpPr>
              <a:spLocks/>
            </p:cNvSpPr>
            <p:nvPr/>
          </p:nvSpPr>
          <p:spPr bwMode="auto">
            <a:xfrm>
              <a:off x="9828213" y="1373188"/>
              <a:ext cx="139700" cy="371475"/>
            </a:xfrm>
            <a:custGeom>
              <a:avLst/>
              <a:gdLst>
                <a:gd name="T0" fmla="*/ 12 w 88"/>
                <a:gd name="T1" fmla="*/ 0 h 234"/>
                <a:gd name="T2" fmla="*/ 88 w 88"/>
                <a:gd name="T3" fmla="*/ 10 h 234"/>
                <a:gd name="T4" fmla="*/ 86 w 88"/>
                <a:gd name="T5" fmla="*/ 15 h 234"/>
                <a:gd name="T6" fmla="*/ 85 w 88"/>
                <a:gd name="T7" fmla="*/ 22 h 234"/>
                <a:gd name="T8" fmla="*/ 85 w 88"/>
                <a:gd name="T9" fmla="*/ 27 h 234"/>
                <a:gd name="T10" fmla="*/ 85 w 88"/>
                <a:gd name="T11" fmla="*/ 29 h 234"/>
                <a:gd name="T12" fmla="*/ 84 w 88"/>
                <a:gd name="T13" fmla="*/ 37 h 234"/>
                <a:gd name="T14" fmla="*/ 82 w 88"/>
                <a:gd name="T15" fmla="*/ 51 h 234"/>
                <a:gd name="T16" fmla="*/ 81 w 88"/>
                <a:gd name="T17" fmla="*/ 70 h 234"/>
                <a:gd name="T18" fmla="*/ 80 w 88"/>
                <a:gd name="T19" fmla="*/ 95 h 234"/>
                <a:gd name="T20" fmla="*/ 79 w 88"/>
                <a:gd name="T21" fmla="*/ 120 h 234"/>
                <a:gd name="T22" fmla="*/ 77 w 88"/>
                <a:gd name="T23" fmla="*/ 147 h 234"/>
                <a:gd name="T24" fmla="*/ 75 w 88"/>
                <a:gd name="T25" fmla="*/ 174 h 234"/>
                <a:gd name="T26" fmla="*/ 73 w 88"/>
                <a:gd name="T27" fmla="*/ 199 h 234"/>
                <a:gd name="T28" fmla="*/ 73 w 88"/>
                <a:gd name="T29" fmla="*/ 219 h 234"/>
                <a:gd name="T30" fmla="*/ 73 w 88"/>
                <a:gd name="T31" fmla="*/ 233 h 234"/>
                <a:gd name="T32" fmla="*/ 50 w 88"/>
                <a:gd name="T33" fmla="*/ 234 h 234"/>
                <a:gd name="T34" fmla="*/ 25 w 88"/>
                <a:gd name="T35" fmla="*/ 234 h 234"/>
                <a:gd name="T36" fmla="*/ 0 w 88"/>
                <a:gd name="T37" fmla="*/ 232 h 234"/>
                <a:gd name="T38" fmla="*/ 2 w 88"/>
                <a:gd name="T39" fmla="*/ 215 h 234"/>
                <a:gd name="T40" fmla="*/ 2 w 88"/>
                <a:gd name="T41" fmla="*/ 193 h 234"/>
                <a:gd name="T42" fmla="*/ 3 w 88"/>
                <a:gd name="T43" fmla="*/ 165 h 234"/>
                <a:gd name="T44" fmla="*/ 4 w 88"/>
                <a:gd name="T45" fmla="*/ 134 h 234"/>
                <a:gd name="T46" fmla="*/ 5 w 88"/>
                <a:gd name="T47" fmla="*/ 102 h 234"/>
                <a:gd name="T48" fmla="*/ 8 w 88"/>
                <a:gd name="T49" fmla="*/ 70 h 234"/>
                <a:gd name="T50" fmla="*/ 9 w 88"/>
                <a:gd name="T51" fmla="*/ 42 h 234"/>
                <a:gd name="T52" fmla="*/ 11 w 88"/>
                <a:gd name="T53" fmla="*/ 19 h 234"/>
                <a:gd name="T54" fmla="*/ 12 w 88"/>
                <a:gd name="T55" fmla="*/ 2 h 234"/>
                <a:gd name="T56" fmla="*/ 12 w 88"/>
                <a:gd name="T5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234">
                  <a:moveTo>
                    <a:pt x="12" y="0"/>
                  </a:moveTo>
                  <a:lnTo>
                    <a:pt x="88" y="10"/>
                  </a:lnTo>
                  <a:lnTo>
                    <a:pt x="86" y="15"/>
                  </a:lnTo>
                  <a:lnTo>
                    <a:pt x="85" y="22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4" y="37"/>
                  </a:lnTo>
                  <a:lnTo>
                    <a:pt x="82" y="51"/>
                  </a:lnTo>
                  <a:lnTo>
                    <a:pt x="81" y="70"/>
                  </a:lnTo>
                  <a:lnTo>
                    <a:pt x="80" y="95"/>
                  </a:lnTo>
                  <a:lnTo>
                    <a:pt x="79" y="120"/>
                  </a:lnTo>
                  <a:lnTo>
                    <a:pt x="77" y="147"/>
                  </a:lnTo>
                  <a:lnTo>
                    <a:pt x="75" y="174"/>
                  </a:lnTo>
                  <a:lnTo>
                    <a:pt x="73" y="199"/>
                  </a:lnTo>
                  <a:lnTo>
                    <a:pt x="73" y="219"/>
                  </a:lnTo>
                  <a:lnTo>
                    <a:pt x="73" y="233"/>
                  </a:lnTo>
                  <a:lnTo>
                    <a:pt x="50" y="234"/>
                  </a:lnTo>
                  <a:lnTo>
                    <a:pt x="25" y="234"/>
                  </a:lnTo>
                  <a:lnTo>
                    <a:pt x="0" y="232"/>
                  </a:lnTo>
                  <a:lnTo>
                    <a:pt x="2" y="215"/>
                  </a:lnTo>
                  <a:lnTo>
                    <a:pt x="2" y="193"/>
                  </a:lnTo>
                  <a:lnTo>
                    <a:pt x="3" y="165"/>
                  </a:lnTo>
                  <a:lnTo>
                    <a:pt x="4" y="134"/>
                  </a:lnTo>
                  <a:lnTo>
                    <a:pt x="5" y="102"/>
                  </a:lnTo>
                  <a:lnTo>
                    <a:pt x="8" y="70"/>
                  </a:lnTo>
                  <a:lnTo>
                    <a:pt x="9" y="42"/>
                  </a:lnTo>
                  <a:lnTo>
                    <a:pt x="11" y="19"/>
                  </a:lnTo>
                  <a:lnTo>
                    <a:pt x="12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3" name="Freeform 1594"/>
            <p:cNvSpPr>
              <a:spLocks/>
            </p:cNvSpPr>
            <p:nvPr/>
          </p:nvSpPr>
          <p:spPr bwMode="auto">
            <a:xfrm>
              <a:off x="9921876" y="877888"/>
              <a:ext cx="190500" cy="901700"/>
            </a:xfrm>
            <a:custGeom>
              <a:avLst/>
              <a:gdLst>
                <a:gd name="T0" fmla="*/ 120 w 120"/>
                <a:gd name="T1" fmla="*/ 0 h 568"/>
                <a:gd name="T2" fmla="*/ 116 w 120"/>
                <a:gd name="T3" fmla="*/ 28 h 568"/>
                <a:gd name="T4" fmla="*/ 112 w 120"/>
                <a:gd name="T5" fmla="*/ 61 h 568"/>
                <a:gd name="T6" fmla="*/ 109 w 120"/>
                <a:gd name="T7" fmla="*/ 103 h 568"/>
                <a:gd name="T8" fmla="*/ 107 w 120"/>
                <a:gd name="T9" fmla="*/ 146 h 568"/>
                <a:gd name="T10" fmla="*/ 106 w 120"/>
                <a:gd name="T11" fmla="*/ 194 h 568"/>
                <a:gd name="T12" fmla="*/ 104 w 120"/>
                <a:gd name="T13" fmla="*/ 241 h 568"/>
                <a:gd name="T14" fmla="*/ 103 w 120"/>
                <a:gd name="T15" fmla="*/ 290 h 568"/>
                <a:gd name="T16" fmla="*/ 102 w 120"/>
                <a:gd name="T17" fmla="*/ 336 h 568"/>
                <a:gd name="T18" fmla="*/ 99 w 120"/>
                <a:gd name="T19" fmla="*/ 378 h 568"/>
                <a:gd name="T20" fmla="*/ 98 w 120"/>
                <a:gd name="T21" fmla="*/ 417 h 568"/>
                <a:gd name="T22" fmla="*/ 95 w 120"/>
                <a:gd name="T23" fmla="*/ 449 h 568"/>
                <a:gd name="T24" fmla="*/ 91 w 120"/>
                <a:gd name="T25" fmla="*/ 480 h 568"/>
                <a:gd name="T26" fmla="*/ 90 w 120"/>
                <a:gd name="T27" fmla="*/ 508 h 568"/>
                <a:gd name="T28" fmla="*/ 89 w 120"/>
                <a:gd name="T29" fmla="*/ 532 h 568"/>
                <a:gd name="T30" fmla="*/ 89 w 120"/>
                <a:gd name="T31" fmla="*/ 552 h 568"/>
                <a:gd name="T32" fmla="*/ 89 w 120"/>
                <a:gd name="T33" fmla="*/ 563 h 568"/>
                <a:gd name="T34" fmla="*/ 89 w 120"/>
                <a:gd name="T35" fmla="*/ 568 h 568"/>
                <a:gd name="T36" fmla="*/ 66 w 120"/>
                <a:gd name="T37" fmla="*/ 567 h 568"/>
                <a:gd name="T38" fmla="*/ 45 w 120"/>
                <a:gd name="T39" fmla="*/ 563 h 568"/>
                <a:gd name="T40" fmla="*/ 29 w 120"/>
                <a:gd name="T41" fmla="*/ 558 h 568"/>
                <a:gd name="T42" fmla="*/ 14 w 120"/>
                <a:gd name="T43" fmla="*/ 550 h 568"/>
                <a:gd name="T44" fmla="*/ 17 w 120"/>
                <a:gd name="T45" fmla="*/ 526 h 568"/>
                <a:gd name="T46" fmla="*/ 21 w 120"/>
                <a:gd name="T47" fmla="*/ 494 h 568"/>
                <a:gd name="T48" fmla="*/ 23 w 120"/>
                <a:gd name="T49" fmla="*/ 457 h 568"/>
                <a:gd name="T50" fmla="*/ 26 w 120"/>
                <a:gd name="T51" fmla="*/ 417 h 568"/>
                <a:gd name="T52" fmla="*/ 27 w 120"/>
                <a:gd name="T53" fmla="*/ 375 h 568"/>
                <a:gd name="T54" fmla="*/ 30 w 120"/>
                <a:gd name="T55" fmla="*/ 334 h 568"/>
                <a:gd name="T56" fmla="*/ 31 w 120"/>
                <a:gd name="T57" fmla="*/ 295 h 568"/>
                <a:gd name="T58" fmla="*/ 34 w 120"/>
                <a:gd name="T59" fmla="*/ 260 h 568"/>
                <a:gd name="T60" fmla="*/ 36 w 120"/>
                <a:gd name="T61" fmla="*/ 232 h 568"/>
                <a:gd name="T62" fmla="*/ 39 w 120"/>
                <a:gd name="T63" fmla="*/ 212 h 568"/>
                <a:gd name="T64" fmla="*/ 40 w 120"/>
                <a:gd name="T65" fmla="*/ 190 h 568"/>
                <a:gd name="T66" fmla="*/ 38 w 120"/>
                <a:gd name="T67" fmla="*/ 165 h 568"/>
                <a:gd name="T68" fmla="*/ 32 w 120"/>
                <a:gd name="T69" fmla="*/ 141 h 568"/>
                <a:gd name="T70" fmla="*/ 26 w 120"/>
                <a:gd name="T71" fmla="*/ 118 h 568"/>
                <a:gd name="T72" fmla="*/ 18 w 120"/>
                <a:gd name="T73" fmla="*/ 96 h 568"/>
                <a:gd name="T74" fmla="*/ 12 w 120"/>
                <a:gd name="T75" fmla="*/ 78 h 568"/>
                <a:gd name="T76" fmla="*/ 5 w 120"/>
                <a:gd name="T77" fmla="*/ 65 h 568"/>
                <a:gd name="T78" fmla="*/ 0 w 120"/>
                <a:gd name="T79" fmla="*/ 58 h 568"/>
                <a:gd name="T80" fmla="*/ 9 w 120"/>
                <a:gd name="T81" fmla="*/ 42 h 568"/>
                <a:gd name="T82" fmla="*/ 23 w 120"/>
                <a:gd name="T83" fmla="*/ 28 h 568"/>
                <a:gd name="T84" fmla="*/ 43 w 120"/>
                <a:gd name="T85" fmla="*/ 17 h 568"/>
                <a:gd name="T86" fmla="*/ 66 w 120"/>
                <a:gd name="T87" fmla="*/ 8 h 568"/>
                <a:gd name="T88" fmla="*/ 91 w 120"/>
                <a:gd name="T89" fmla="*/ 2 h 568"/>
                <a:gd name="T90" fmla="*/ 120 w 120"/>
                <a:gd name="T91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568">
                  <a:moveTo>
                    <a:pt x="120" y="0"/>
                  </a:moveTo>
                  <a:lnTo>
                    <a:pt x="116" y="28"/>
                  </a:lnTo>
                  <a:lnTo>
                    <a:pt x="112" y="61"/>
                  </a:lnTo>
                  <a:lnTo>
                    <a:pt x="109" y="103"/>
                  </a:lnTo>
                  <a:lnTo>
                    <a:pt x="107" y="146"/>
                  </a:lnTo>
                  <a:lnTo>
                    <a:pt x="106" y="194"/>
                  </a:lnTo>
                  <a:lnTo>
                    <a:pt x="104" y="241"/>
                  </a:lnTo>
                  <a:lnTo>
                    <a:pt x="103" y="290"/>
                  </a:lnTo>
                  <a:lnTo>
                    <a:pt x="102" y="336"/>
                  </a:lnTo>
                  <a:lnTo>
                    <a:pt x="99" y="378"/>
                  </a:lnTo>
                  <a:lnTo>
                    <a:pt x="98" y="417"/>
                  </a:lnTo>
                  <a:lnTo>
                    <a:pt x="95" y="449"/>
                  </a:lnTo>
                  <a:lnTo>
                    <a:pt x="91" y="480"/>
                  </a:lnTo>
                  <a:lnTo>
                    <a:pt x="90" y="508"/>
                  </a:lnTo>
                  <a:lnTo>
                    <a:pt x="89" y="532"/>
                  </a:lnTo>
                  <a:lnTo>
                    <a:pt x="89" y="552"/>
                  </a:lnTo>
                  <a:lnTo>
                    <a:pt x="89" y="563"/>
                  </a:lnTo>
                  <a:lnTo>
                    <a:pt x="89" y="568"/>
                  </a:lnTo>
                  <a:lnTo>
                    <a:pt x="66" y="567"/>
                  </a:lnTo>
                  <a:lnTo>
                    <a:pt x="45" y="563"/>
                  </a:lnTo>
                  <a:lnTo>
                    <a:pt x="29" y="558"/>
                  </a:lnTo>
                  <a:lnTo>
                    <a:pt x="14" y="550"/>
                  </a:lnTo>
                  <a:lnTo>
                    <a:pt x="17" y="526"/>
                  </a:lnTo>
                  <a:lnTo>
                    <a:pt x="21" y="494"/>
                  </a:lnTo>
                  <a:lnTo>
                    <a:pt x="23" y="457"/>
                  </a:lnTo>
                  <a:lnTo>
                    <a:pt x="26" y="417"/>
                  </a:lnTo>
                  <a:lnTo>
                    <a:pt x="27" y="375"/>
                  </a:lnTo>
                  <a:lnTo>
                    <a:pt x="30" y="334"/>
                  </a:lnTo>
                  <a:lnTo>
                    <a:pt x="31" y="295"/>
                  </a:lnTo>
                  <a:lnTo>
                    <a:pt x="34" y="260"/>
                  </a:lnTo>
                  <a:lnTo>
                    <a:pt x="36" y="232"/>
                  </a:lnTo>
                  <a:lnTo>
                    <a:pt x="39" y="212"/>
                  </a:lnTo>
                  <a:lnTo>
                    <a:pt x="40" y="190"/>
                  </a:lnTo>
                  <a:lnTo>
                    <a:pt x="38" y="165"/>
                  </a:lnTo>
                  <a:lnTo>
                    <a:pt x="32" y="141"/>
                  </a:lnTo>
                  <a:lnTo>
                    <a:pt x="26" y="118"/>
                  </a:lnTo>
                  <a:lnTo>
                    <a:pt x="18" y="96"/>
                  </a:lnTo>
                  <a:lnTo>
                    <a:pt x="12" y="78"/>
                  </a:lnTo>
                  <a:lnTo>
                    <a:pt x="5" y="65"/>
                  </a:lnTo>
                  <a:lnTo>
                    <a:pt x="0" y="58"/>
                  </a:lnTo>
                  <a:lnTo>
                    <a:pt x="9" y="42"/>
                  </a:lnTo>
                  <a:lnTo>
                    <a:pt x="23" y="28"/>
                  </a:lnTo>
                  <a:lnTo>
                    <a:pt x="43" y="17"/>
                  </a:lnTo>
                  <a:lnTo>
                    <a:pt x="66" y="8"/>
                  </a:lnTo>
                  <a:lnTo>
                    <a:pt x="91" y="2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4" name="Freeform 1595"/>
            <p:cNvSpPr>
              <a:spLocks/>
            </p:cNvSpPr>
            <p:nvPr/>
          </p:nvSpPr>
          <p:spPr bwMode="auto">
            <a:xfrm>
              <a:off x="10160001" y="1682750"/>
              <a:ext cx="57150" cy="119063"/>
            </a:xfrm>
            <a:custGeom>
              <a:avLst/>
              <a:gdLst>
                <a:gd name="T0" fmla="*/ 3 w 36"/>
                <a:gd name="T1" fmla="*/ 0 h 75"/>
                <a:gd name="T2" fmla="*/ 12 w 36"/>
                <a:gd name="T3" fmla="*/ 1 h 75"/>
                <a:gd name="T4" fmla="*/ 11 w 36"/>
                <a:gd name="T5" fmla="*/ 6 h 75"/>
                <a:gd name="T6" fmla="*/ 9 w 36"/>
                <a:gd name="T7" fmla="*/ 15 h 75"/>
                <a:gd name="T8" fmla="*/ 9 w 36"/>
                <a:gd name="T9" fmla="*/ 50 h 75"/>
                <a:gd name="T10" fmla="*/ 11 w 36"/>
                <a:gd name="T11" fmla="*/ 59 h 75"/>
                <a:gd name="T12" fmla="*/ 12 w 36"/>
                <a:gd name="T13" fmla="*/ 64 h 75"/>
                <a:gd name="T14" fmla="*/ 12 w 36"/>
                <a:gd name="T15" fmla="*/ 65 h 75"/>
                <a:gd name="T16" fmla="*/ 27 w 36"/>
                <a:gd name="T17" fmla="*/ 65 h 75"/>
                <a:gd name="T18" fmla="*/ 34 w 36"/>
                <a:gd name="T19" fmla="*/ 66 h 75"/>
                <a:gd name="T20" fmla="*/ 36 w 36"/>
                <a:gd name="T21" fmla="*/ 66 h 75"/>
                <a:gd name="T22" fmla="*/ 36 w 36"/>
                <a:gd name="T23" fmla="*/ 75 h 75"/>
                <a:gd name="T24" fmla="*/ 34 w 36"/>
                <a:gd name="T25" fmla="*/ 75 h 75"/>
                <a:gd name="T26" fmla="*/ 27 w 36"/>
                <a:gd name="T27" fmla="*/ 74 h 75"/>
                <a:gd name="T28" fmla="*/ 11 w 36"/>
                <a:gd name="T29" fmla="*/ 74 h 75"/>
                <a:gd name="T30" fmla="*/ 9 w 36"/>
                <a:gd name="T31" fmla="*/ 73 h 75"/>
                <a:gd name="T32" fmla="*/ 6 w 36"/>
                <a:gd name="T33" fmla="*/ 72 h 75"/>
                <a:gd name="T34" fmla="*/ 3 w 36"/>
                <a:gd name="T35" fmla="*/ 66 h 75"/>
                <a:gd name="T36" fmla="*/ 2 w 36"/>
                <a:gd name="T37" fmla="*/ 59 h 75"/>
                <a:gd name="T38" fmla="*/ 0 w 36"/>
                <a:gd name="T39" fmla="*/ 50 h 75"/>
                <a:gd name="T40" fmla="*/ 0 w 36"/>
                <a:gd name="T41" fmla="*/ 15 h 75"/>
                <a:gd name="T42" fmla="*/ 2 w 36"/>
                <a:gd name="T43" fmla="*/ 6 h 75"/>
                <a:gd name="T44" fmla="*/ 3 w 36"/>
                <a:gd name="T4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75">
                  <a:moveTo>
                    <a:pt x="3" y="0"/>
                  </a:moveTo>
                  <a:lnTo>
                    <a:pt x="12" y="1"/>
                  </a:lnTo>
                  <a:lnTo>
                    <a:pt x="11" y="6"/>
                  </a:lnTo>
                  <a:lnTo>
                    <a:pt x="9" y="15"/>
                  </a:lnTo>
                  <a:lnTo>
                    <a:pt x="9" y="50"/>
                  </a:lnTo>
                  <a:lnTo>
                    <a:pt x="11" y="59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27" y="65"/>
                  </a:lnTo>
                  <a:lnTo>
                    <a:pt x="34" y="66"/>
                  </a:lnTo>
                  <a:lnTo>
                    <a:pt x="36" y="66"/>
                  </a:lnTo>
                  <a:lnTo>
                    <a:pt x="36" y="75"/>
                  </a:lnTo>
                  <a:lnTo>
                    <a:pt x="34" y="75"/>
                  </a:lnTo>
                  <a:lnTo>
                    <a:pt x="27" y="74"/>
                  </a:lnTo>
                  <a:lnTo>
                    <a:pt x="11" y="74"/>
                  </a:lnTo>
                  <a:lnTo>
                    <a:pt x="9" y="73"/>
                  </a:lnTo>
                  <a:lnTo>
                    <a:pt x="6" y="72"/>
                  </a:lnTo>
                  <a:lnTo>
                    <a:pt x="3" y="66"/>
                  </a:lnTo>
                  <a:lnTo>
                    <a:pt x="2" y="59"/>
                  </a:lnTo>
                  <a:lnTo>
                    <a:pt x="0" y="50"/>
                  </a:lnTo>
                  <a:lnTo>
                    <a:pt x="0" y="15"/>
                  </a:lnTo>
                  <a:lnTo>
                    <a:pt x="2" y="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5" name="Freeform 1596"/>
            <p:cNvSpPr>
              <a:spLocks/>
            </p:cNvSpPr>
            <p:nvPr/>
          </p:nvSpPr>
          <p:spPr bwMode="auto">
            <a:xfrm>
              <a:off x="10137776" y="1843088"/>
              <a:ext cx="63500" cy="992188"/>
            </a:xfrm>
            <a:custGeom>
              <a:avLst/>
              <a:gdLst>
                <a:gd name="T0" fmla="*/ 32 w 40"/>
                <a:gd name="T1" fmla="*/ 0 h 625"/>
                <a:gd name="T2" fmla="*/ 40 w 40"/>
                <a:gd name="T3" fmla="*/ 1 h 625"/>
                <a:gd name="T4" fmla="*/ 38 w 40"/>
                <a:gd name="T5" fmla="*/ 13 h 625"/>
                <a:gd name="T6" fmla="*/ 35 w 40"/>
                <a:gd name="T7" fmla="*/ 28 h 625"/>
                <a:gd name="T8" fmla="*/ 30 w 40"/>
                <a:gd name="T9" fmla="*/ 62 h 625"/>
                <a:gd name="T10" fmla="*/ 25 w 40"/>
                <a:gd name="T11" fmla="*/ 100 h 625"/>
                <a:gd name="T12" fmla="*/ 17 w 40"/>
                <a:gd name="T13" fmla="*/ 180 h 625"/>
                <a:gd name="T14" fmla="*/ 16 w 40"/>
                <a:gd name="T15" fmla="*/ 219 h 625"/>
                <a:gd name="T16" fmla="*/ 14 w 40"/>
                <a:gd name="T17" fmla="*/ 257 h 625"/>
                <a:gd name="T18" fmla="*/ 16 w 40"/>
                <a:gd name="T19" fmla="*/ 273 h 625"/>
                <a:gd name="T20" fmla="*/ 17 w 40"/>
                <a:gd name="T21" fmla="*/ 289 h 625"/>
                <a:gd name="T22" fmla="*/ 17 w 40"/>
                <a:gd name="T23" fmla="*/ 394 h 625"/>
                <a:gd name="T24" fmla="*/ 16 w 40"/>
                <a:gd name="T25" fmla="*/ 420 h 625"/>
                <a:gd name="T26" fmla="*/ 14 w 40"/>
                <a:gd name="T27" fmla="*/ 471 h 625"/>
                <a:gd name="T28" fmla="*/ 12 w 40"/>
                <a:gd name="T29" fmla="*/ 522 h 625"/>
                <a:gd name="T30" fmla="*/ 12 w 40"/>
                <a:gd name="T31" fmla="*/ 545 h 625"/>
                <a:gd name="T32" fmla="*/ 11 w 40"/>
                <a:gd name="T33" fmla="*/ 567 h 625"/>
                <a:gd name="T34" fmla="*/ 9 w 40"/>
                <a:gd name="T35" fmla="*/ 586 h 625"/>
                <a:gd name="T36" fmla="*/ 9 w 40"/>
                <a:gd name="T37" fmla="*/ 625 h 625"/>
                <a:gd name="T38" fmla="*/ 0 w 40"/>
                <a:gd name="T39" fmla="*/ 625 h 625"/>
                <a:gd name="T40" fmla="*/ 0 w 40"/>
                <a:gd name="T41" fmla="*/ 586 h 625"/>
                <a:gd name="T42" fmla="*/ 2 w 40"/>
                <a:gd name="T43" fmla="*/ 567 h 625"/>
                <a:gd name="T44" fmla="*/ 3 w 40"/>
                <a:gd name="T45" fmla="*/ 545 h 625"/>
                <a:gd name="T46" fmla="*/ 3 w 40"/>
                <a:gd name="T47" fmla="*/ 522 h 625"/>
                <a:gd name="T48" fmla="*/ 5 w 40"/>
                <a:gd name="T49" fmla="*/ 471 h 625"/>
                <a:gd name="T50" fmla="*/ 7 w 40"/>
                <a:gd name="T51" fmla="*/ 420 h 625"/>
                <a:gd name="T52" fmla="*/ 8 w 40"/>
                <a:gd name="T53" fmla="*/ 394 h 625"/>
                <a:gd name="T54" fmla="*/ 8 w 40"/>
                <a:gd name="T55" fmla="*/ 289 h 625"/>
                <a:gd name="T56" fmla="*/ 7 w 40"/>
                <a:gd name="T57" fmla="*/ 273 h 625"/>
                <a:gd name="T58" fmla="*/ 5 w 40"/>
                <a:gd name="T59" fmla="*/ 257 h 625"/>
                <a:gd name="T60" fmla="*/ 7 w 40"/>
                <a:gd name="T61" fmla="*/ 219 h 625"/>
                <a:gd name="T62" fmla="*/ 8 w 40"/>
                <a:gd name="T63" fmla="*/ 180 h 625"/>
                <a:gd name="T64" fmla="*/ 16 w 40"/>
                <a:gd name="T65" fmla="*/ 100 h 625"/>
                <a:gd name="T66" fmla="*/ 21 w 40"/>
                <a:gd name="T67" fmla="*/ 62 h 625"/>
                <a:gd name="T68" fmla="*/ 26 w 40"/>
                <a:gd name="T69" fmla="*/ 28 h 625"/>
                <a:gd name="T70" fmla="*/ 29 w 40"/>
                <a:gd name="T71" fmla="*/ 13 h 625"/>
                <a:gd name="T72" fmla="*/ 32 w 40"/>
                <a:gd name="T73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25">
                  <a:moveTo>
                    <a:pt x="32" y="0"/>
                  </a:moveTo>
                  <a:lnTo>
                    <a:pt x="40" y="1"/>
                  </a:lnTo>
                  <a:lnTo>
                    <a:pt x="38" y="13"/>
                  </a:lnTo>
                  <a:lnTo>
                    <a:pt x="35" y="28"/>
                  </a:lnTo>
                  <a:lnTo>
                    <a:pt x="30" y="62"/>
                  </a:lnTo>
                  <a:lnTo>
                    <a:pt x="25" y="100"/>
                  </a:lnTo>
                  <a:lnTo>
                    <a:pt x="17" y="180"/>
                  </a:lnTo>
                  <a:lnTo>
                    <a:pt x="16" y="219"/>
                  </a:lnTo>
                  <a:lnTo>
                    <a:pt x="14" y="257"/>
                  </a:lnTo>
                  <a:lnTo>
                    <a:pt x="16" y="273"/>
                  </a:lnTo>
                  <a:lnTo>
                    <a:pt x="17" y="289"/>
                  </a:lnTo>
                  <a:lnTo>
                    <a:pt x="17" y="394"/>
                  </a:lnTo>
                  <a:lnTo>
                    <a:pt x="16" y="420"/>
                  </a:lnTo>
                  <a:lnTo>
                    <a:pt x="14" y="471"/>
                  </a:lnTo>
                  <a:lnTo>
                    <a:pt x="12" y="522"/>
                  </a:lnTo>
                  <a:lnTo>
                    <a:pt x="12" y="545"/>
                  </a:lnTo>
                  <a:lnTo>
                    <a:pt x="11" y="567"/>
                  </a:lnTo>
                  <a:lnTo>
                    <a:pt x="9" y="586"/>
                  </a:lnTo>
                  <a:lnTo>
                    <a:pt x="9" y="625"/>
                  </a:lnTo>
                  <a:lnTo>
                    <a:pt x="0" y="625"/>
                  </a:lnTo>
                  <a:lnTo>
                    <a:pt x="0" y="586"/>
                  </a:lnTo>
                  <a:lnTo>
                    <a:pt x="2" y="567"/>
                  </a:lnTo>
                  <a:lnTo>
                    <a:pt x="3" y="545"/>
                  </a:lnTo>
                  <a:lnTo>
                    <a:pt x="3" y="522"/>
                  </a:lnTo>
                  <a:lnTo>
                    <a:pt x="5" y="471"/>
                  </a:lnTo>
                  <a:lnTo>
                    <a:pt x="7" y="420"/>
                  </a:lnTo>
                  <a:lnTo>
                    <a:pt x="8" y="394"/>
                  </a:lnTo>
                  <a:lnTo>
                    <a:pt x="8" y="289"/>
                  </a:lnTo>
                  <a:lnTo>
                    <a:pt x="7" y="273"/>
                  </a:lnTo>
                  <a:lnTo>
                    <a:pt x="5" y="257"/>
                  </a:lnTo>
                  <a:lnTo>
                    <a:pt x="7" y="219"/>
                  </a:lnTo>
                  <a:lnTo>
                    <a:pt x="8" y="180"/>
                  </a:lnTo>
                  <a:lnTo>
                    <a:pt x="16" y="100"/>
                  </a:lnTo>
                  <a:lnTo>
                    <a:pt x="21" y="62"/>
                  </a:lnTo>
                  <a:lnTo>
                    <a:pt x="26" y="28"/>
                  </a:lnTo>
                  <a:lnTo>
                    <a:pt x="29" y="13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6" name="Freeform 1597"/>
            <p:cNvSpPr>
              <a:spLocks/>
            </p:cNvSpPr>
            <p:nvPr/>
          </p:nvSpPr>
          <p:spPr bwMode="auto">
            <a:xfrm>
              <a:off x="10380663" y="938213"/>
              <a:ext cx="177800" cy="515938"/>
            </a:xfrm>
            <a:custGeom>
              <a:avLst/>
              <a:gdLst>
                <a:gd name="T0" fmla="*/ 26 w 112"/>
                <a:gd name="T1" fmla="*/ 0 h 325"/>
                <a:gd name="T2" fmla="*/ 36 w 112"/>
                <a:gd name="T3" fmla="*/ 2 h 325"/>
                <a:gd name="T4" fmla="*/ 46 w 112"/>
                <a:gd name="T5" fmla="*/ 8 h 325"/>
                <a:gd name="T6" fmla="*/ 58 w 112"/>
                <a:gd name="T7" fmla="*/ 17 h 325"/>
                <a:gd name="T8" fmla="*/ 69 w 112"/>
                <a:gd name="T9" fmla="*/ 30 h 325"/>
                <a:gd name="T10" fmla="*/ 80 w 112"/>
                <a:gd name="T11" fmla="*/ 47 h 325"/>
                <a:gd name="T12" fmla="*/ 90 w 112"/>
                <a:gd name="T13" fmla="*/ 70 h 325"/>
                <a:gd name="T14" fmla="*/ 98 w 112"/>
                <a:gd name="T15" fmla="*/ 97 h 325"/>
                <a:gd name="T16" fmla="*/ 103 w 112"/>
                <a:gd name="T17" fmla="*/ 129 h 325"/>
                <a:gd name="T18" fmla="*/ 107 w 112"/>
                <a:gd name="T19" fmla="*/ 159 h 325"/>
                <a:gd name="T20" fmla="*/ 109 w 112"/>
                <a:gd name="T21" fmla="*/ 190 h 325"/>
                <a:gd name="T22" fmla="*/ 112 w 112"/>
                <a:gd name="T23" fmla="*/ 220 h 325"/>
                <a:gd name="T24" fmla="*/ 112 w 112"/>
                <a:gd name="T25" fmla="*/ 247 h 325"/>
                <a:gd name="T26" fmla="*/ 110 w 112"/>
                <a:gd name="T27" fmla="*/ 271 h 325"/>
                <a:gd name="T28" fmla="*/ 109 w 112"/>
                <a:gd name="T29" fmla="*/ 293 h 325"/>
                <a:gd name="T30" fmla="*/ 104 w 112"/>
                <a:gd name="T31" fmla="*/ 310 h 325"/>
                <a:gd name="T32" fmla="*/ 99 w 112"/>
                <a:gd name="T33" fmla="*/ 320 h 325"/>
                <a:gd name="T34" fmla="*/ 90 w 112"/>
                <a:gd name="T35" fmla="*/ 325 h 325"/>
                <a:gd name="T36" fmla="*/ 81 w 112"/>
                <a:gd name="T37" fmla="*/ 322 h 325"/>
                <a:gd name="T38" fmla="*/ 73 w 112"/>
                <a:gd name="T39" fmla="*/ 315 h 325"/>
                <a:gd name="T40" fmla="*/ 64 w 112"/>
                <a:gd name="T41" fmla="*/ 299 h 325"/>
                <a:gd name="T42" fmla="*/ 56 w 112"/>
                <a:gd name="T43" fmla="*/ 281 h 325"/>
                <a:gd name="T44" fmla="*/ 48 w 112"/>
                <a:gd name="T45" fmla="*/ 258 h 325"/>
                <a:gd name="T46" fmla="*/ 40 w 112"/>
                <a:gd name="T47" fmla="*/ 234 h 325"/>
                <a:gd name="T48" fmla="*/ 32 w 112"/>
                <a:gd name="T49" fmla="*/ 208 h 325"/>
                <a:gd name="T50" fmla="*/ 26 w 112"/>
                <a:gd name="T51" fmla="*/ 181 h 325"/>
                <a:gd name="T52" fmla="*/ 18 w 112"/>
                <a:gd name="T53" fmla="*/ 157 h 325"/>
                <a:gd name="T54" fmla="*/ 9 w 112"/>
                <a:gd name="T55" fmla="*/ 118 h 325"/>
                <a:gd name="T56" fmla="*/ 3 w 112"/>
                <a:gd name="T57" fmla="*/ 86 h 325"/>
                <a:gd name="T58" fmla="*/ 0 w 112"/>
                <a:gd name="T59" fmla="*/ 59 h 325"/>
                <a:gd name="T60" fmla="*/ 0 w 112"/>
                <a:gd name="T61" fmla="*/ 38 h 325"/>
                <a:gd name="T62" fmla="*/ 4 w 112"/>
                <a:gd name="T63" fmla="*/ 21 h 325"/>
                <a:gd name="T64" fmla="*/ 9 w 112"/>
                <a:gd name="T65" fmla="*/ 9 h 325"/>
                <a:gd name="T66" fmla="*/ 17 w 112"/>
                <a:gd name="T67" fmla="*/ 3 h 325"/>
                <a:gd name="T68" fmla="*/ 26 w 112"/>
                <a:gd name="T69" fmla="*/ 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2" h="325">
                  <a:moveTo>
                    <a:pt x="26" y="0"/>
                  </a:moveTo>
                  <a:lnTo>
                    <a:pt x="36" y="2"/>
                  </a:lnTo>
                  <a:lnTo>
                    <a:pt x="46" y="8"/>
                  </a:lnTo>
                  <a:lnTo>
                    <a:pt x="58" y="17"/>
                  </a:lnTo>
                  <a:lnTo>
                    <a:pt x="69" y="30"/>
                  </a:lnTo>
                  <a:lnTo>
                    <a:pt x="80" y="47"/>
                  </a:lnTo>
                  <a:lnTo>
                    <a:pt x="90" y="70"/>
                  </a:lnTo>
                  <a:lnTo>
                    <a:pt x="98" y="97"/>
                  </a:lnTo>
                  <a:lnTo>
                    <a:pt x="103" y="129"/>
                  </a:lnTo>
                  <a:lnTo>
                    <a:pt x="107" y="159"/>
                  </a:lnTo>
                  <a:lnTo>
                    <a:pt x="109" y="190"/>
                  </a:lnTo>
                  <a:lnTo>
                    <a:pt x="112" y="220"/>
                  </a:lnTo>
                  <a:lnTo>
                    <a:pt x="112" y="247"/>
                  </a:lnTo>
                  <a:lnTo>
                    <a:pt x="110" y="271"/>
                  </a:lnTo>
                  <a:lnTo>
                    <a:pt x="109" y="293"/>
                  </a:lnTo>
                  <a:lnTo>
                    <a:pt x="104" y="310"/>
                  </a:lnTo>
                  <a:lnTo>
                    <a:pt x="99" y="320"/>
                  </a:lnTo>
                  <a:lnTo>
                    <a:pt x="90" y="325"/>
                  </a:lnTo>
                  <a:lnTo>
                    <a:pt x="81" y="322"/>
                  </a:lnTo>
                  <a:lnTo>
                    <a:pt x="73" y="315"/>
                  </a:lnTo>
                  <a:lnTo>
                    <a:pt x="64" y="299"/>
                  </a:lnTo>
                  <a:lnTo>
                    <a:pt x="56" y="281"/>
                  </a:lnTo>
                  <a:lnTo>
                    <a:pt x="48" y="258"/>
                  </a:lnTo>
                  <a:lnTo>
                    <a:pt x="40" y="234"/>
                  </a:lnTo>
                  <a:lnTo>
                    <a:pt x="32" y="208"/>
                  </a:lnTo>
                  <a:lnTo>
                    <a:pt x="26" y="181"/>
                  </a:lnTo>
                  <a:lnTo>
                    <a:pt x="18" y="157"/>
                  </a:lnTo>
                  <a:lnTo>
                    <a:pt x="9" y="118"/>
                  </a:lnTo>
                  <a:lnTo>
                    <a:pt x="3" y="86"/>
                  </a:lnTo>
                  <a:lnTo>
                    <a:pt x="0" y="59"/>
                  </a:lnTo>
                  <a:lnTo>
                    <a:pt x="0" y="38"/>
                  </a:lnTo>
                  <a:lnTo>
                    <a:pt x="4" y="21"/>
                  </a:lnTo>
                  <a:lnTo>
                    <a:pt x="9" y="9"/>
                  </a:lnTo>
                  <a:lnTo>
                    <a:pt x="17" y="3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7" name="Freeform 1598"/>
            <p:cNvSpPr>
              <a:spLocks/>
            </p:cNvSpPr>
            <p:nvPr/>
          </p:nvSpPr>
          <p:spPr bwMode="auto">
            <a:xfrm>
              <a:off x="10366376" y="1365250"/>
              <a:ext cx="185738" cy="398463"/>
            </a:xfrm>
            <a:custGeom>
              <a:avLst/>
              <a:gdLst>
                <a:gd name="T0" fmla="*/ 108 w 117"/>
                <a:gd name="T1" fmla="*/ 0 h 251"/>
                <a:gd name="T2" fmla="*/ 114 w 117"/>
                <a:gd name="T3" fmla="*/ 5 h 251"/>
                <a:gd name="T4" fmla="*/ 117 w 117"/>
                <a:gd name="T5" fmla="*/ 18 h 251"/>
                <a:gd name="T6" fmla="*/ 116 w 117"/>
                <a:gd name="T7" fmla="*/ 34 h 251"/>
                <a:gd name="T8" fmla="*/ 113 w 117"/>
                <a:gd name="T9" fmla="*/ 48 h 251"/>
                <a:gd name="T10" fmla="*/ 109 w 117"/>
                <a:gd name="T11" fmla="*/ 66 h 251"/>
                <a:gd name="T12" fmla="*/ 103 w 117"/>
                <a:gd name="T13" fmla="*/ 87 h 251"/>
                <a:gd name="T14" fmla="*/ 96 w 117"/>
                <a:gd name="T15" fmla="*/ 106 h 251"/>
                <a:gd name="T16" fmla="*/ 90 w 117"/>
                <a:gd name="T17" fmla="*/ 123 h 251"/>
                <a:gd name="T18" fmla="*/ 80 w 117"/>
                <a:gd name="T19" fmla="*/ 142 h 251"/>
                <a:gd name="T20" fmla="*/ 68 w 117"/>
                <a:gd name="T21" fmla="*/ 163 h 251"/>
                <a:gd name="T22" fmla="*/ 58 w 117"/>
                <a:gd name="T23" fmla="*/ 183 h 251"/>
                <a:gd name="T24" fmla="*/ 46 w 117"/>
                <a:gd name="T25" fmla="*/ 202 h 251"/>
                <a:gd name="T26" fmla="*/ 36 w 117"/>
                <a:gd name="T27" fmla="*/ 220 h 251"/>
                <a:gd name="T28" fmla="*/ 26 w 117"/>
                <a:gd name="T29" fmla="*/ 234 h 251"/>
                <a:gd name="T30" fmla="*/ 17 w 117"/>
                <a:gd name="T31" fmla="*/ 245 h 251"/>
                <a:gd name="T32" fmla="*/ 9 w 117"/>
                <a:gd name="T33" fmla="*/ 251 h 251"/>
                <a:gd name="T34" fmla="*/ 4 w 117"/>
                <a:gd name="T35" fmla="*/ 251 h 251"/>
                <a:gd name="T36" fmla="*/ 0 w 117"/>
                <a:gd name="T37" fmla="*/ 245 h 251"/>
                <a:gd name="T38" fmla="*/ 0 w 117"/>
                <a:gd name="T39" fmla="*/ 236 h 251"/>
                <a:gd name="T40" fmla="*/ 1 w 117"/>
                <a:gd name="T41" fmla="*/ 222 h 251"/>
                <a:gd name="T42" fmla="*/ 5 w 117"/>
                <a:gd name="T43" fmla="*/ 205 h 251"/>
                <a:gd name="T44" fmla="*/ 9 w 117"/>
                <a:gd name="T45" fmla="*/ 187 h 251"/>
                <a:gd name="T46" fmla="*/ 15 w 117"/>
                <a:gd name="T47" fmla="*/ 168 h 251"/>
                <a:gd name="T48" fmla="*/ 22 w 117"/>
                <a:gd name="T49" fmla="*/ 148 h 251"/>
                <a:gd name="T50" fmla="*/ 27 w 117"/>
                <a:gd name="T51" fmla="*/ 130 h 251"/>
                <a:gd name="T52" fmla="*/ 33 w 117"/>
                <a:gd name="T53" fmla="*/ 114 h 251"/>
                <a:gd name="T54" fmla="*/ 48 w 117"/>
                <a:gd name="T55" fmla="*/ 75 h 251"/>
                <a:gd name="T56" fmla="*/ 62 w 117"/>
                <a:gd name="T57" fmla="*/ 46 h 251"/>
                <a:gd name="T58" fmla="*/ 74 w 117"/>
                <a:gd name="T59" fmla="*/ 24 h 251"/>
                <a:gd name="T60" fmla="*/ 87 w 117"/>
                <a:gd name="T61" fmla="*/ 9 h 251"/>
                <a:gd name="T62" fmla="*/ 99 w 117"/>
                <a:gd name="T63" fmla="*/ 1 h 251"/>
                <a:gd name="T64" fmla="*/ 108 w 117"/>
                <a:gd name="T65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251">
                  <a:moveTo>
                    <a:pt x="108" y="0"/>
                  </a:moveTo>
                  <a:lnTo>
                    <a:pt x="114" y="5"/>
                  </a:lnTo>
                  <a:lnTo>
                    <a:pt x="117" y="18"/>
                  </a:lnTo>
                  <a:lnTo>
                    <a:pt x="116" y="34"/>
                  </a:lnTo>
                  <a:lnTo>
                    <a:pt x="113" y="48"/>
                  </a:lnTo>
                  <a:lnTo>
                    <a:pt x="109" y="66"/>
                  </a:lnTo>
                  <a:lnTo>
                    <a:pt x="103" y="87"/>
                  </a:lnTo>
                  <a:lnTo>
                    <a:pt x="96" y="106"/>
                  </a:lnTo>
                  <a:lnTo>
                    <a:pt x="90" y="123"/>
                  </a:lnTo>
                  <a:lnTo>
                    <a:pt x="80" y="142"/>
                  </a:lnTo>
                  <a:lnTo>
                    <a:pt x="68" y="163"/>
                  </a:lnTo>
                  <a:lnTo>
                    <a:pt x="58" y="183"/>
                  </a:lnTo>
                  <a:lnTo>
                    <a:pt x="46" y="202"/>
                  </a:lnTo>
                  <a:lnTo>
                    <a:pt x="36" y="220"/>
                  </a:lnTo>
                  <a:lnTo>
                    <a:pt x="26" y="234"/>
                  </a:lnTo>
                  <a:lnTo>
                    <a:pt x="17" y="245"/>
                  </a:lnTo>
                  <a:lnTo>
                    <a:pt x="9" y="251"/>
                  </a:lnTo>
                  <a:lnTo>
                    <a:pt x="4" y="251"/>
                  </a:lnTo>
                  <a:lnTo>
                    <a:pt x="0" y="245"/>
                  </a:lnTo>
                  <a:lnTo>
                    <a:pt x="0" y="236"/>
                  </a:lnTo>
                  <a:lnTo>
                    <a:pt x="1" y="222"/>
                  </a:lnTo>
                  <a:lnTo>
                    <a:pt x="5" y="205"/>
                  </a:lnTo>
                  <a:lnTo>
                    <a:pt x="9" y="187"/>
                  </a:lnTo>
                  <a:lnTo>
                    <a:pt x="15" y="168"/>
                  </a:lnTo>
                  <a:lnTo>
                    <a:pt x="22" y="148"/>
                  </a:lnTo>
                  <a:lnTo>
                    <a:pt x="27" y="130"/>
                  </a:lnTo>
                  <a:lnTo>
                    <a:pt x="33" y="114"/>
                  </a:lnTo>
                  <a:lnTo>
                    <a:pt x="48" y="75"/>
                  </a:lnTo>
                  <a:lnTo>
                    <a:pt x="62" y="46"/>
                  </a:lnTo>
                  <a:lnTo>
                    <a:pt x="74" y="24"/>
                  </a:lnTo>
                  <a:lnTo>
                    <a:pt x="87" y="9"/>
                  </a:lnTo>
                  <a:lnTo>
                    <a:pt x="99" y="1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8" name="Freeform 1599"/>
            <p:cNvSpPr>
              <a:spLocks/>
            </p:cNvSpPr>
            <p:nvPr/>
          </p:nvSpPr>
          <p:spPr bwMode="auto">
            <a:xfrm>
              <a:off x="10229851" y="1655763"/>
              <a:ext cx="201613" cy="220663"/>
            </a:xfrm>
            <a:custGeom>
              <a:avLst/>
              <a:gdLst>
                <a:gd name="T0" fmla="*/ 109 w 127"/>
                <a:gd name="T1" fmla="*/ 1 h 139"/>
                <a:gd name="T2" fmla="*/ 119 w 127"/>
                <a:gd name="T3" fmla="*/ 9 h 139"/>
                <a:gd name="T4" fmla="*/ 123 w 127"/>
                <a:gd name="T5" fmla="*/ 15 h 139"/>
                <a:gd name="T6" fmla="*/ 126 w 127"/>
                <a:gd name="T7" fmla="*/ 18 h 139"/>
                <a:gd name="T8" fmla="*/ 127 w 127"/>
                <a:gd name="T9" fmla="*/ 21 h 139"/>
                <a:gd name="T10" fmla="*/ 127 w 127"/>
                <a:gd name="T11" fmla="*/ 24 h 139"/>
                <a:gd name="T12" fmla="*/ 123 w 127"/>
                <a:gd name="T13" fmla="*/ 33 h 139"/>
                <a:gd name="T14" fmla="*/ 105 w 127"/>
                <a:gd name="T15" fmla="*/ 68 h 139"/>
                <a:gd name="T16" fmla="*/ 87 w 127"/>
                <a:gd name="T17" fmla="*/ 101 h 139"/>
                <a:gd name="T18" fmla="*/ 73 w 127"/>
                <a:gd name="T19" fmla="*/ 123 h 139"/>
                <a:gd name="T20" fmla="*/ 66 w 127"/>
                <a:gd name="T21" fmla="*/ 126 h 139"/>
                <a:gd name="T22" fmla="*/ 71 w 127"/>
                <a:gd name="T23" fmla="*/ 112 h 139"/>
                <a:gd name="T24" fmla="*/ 80 w 127"/>
                <a:gd name="T25" fmla="*/ 96 h 139"/>
                <a:gd name="T26" fmla="*/ 77 w 127"/>
                <a:gd name="T27" fmla="*/ 96 h 139"/>
                <a:gd name="T28" fmla="*/ 67 w 127"/>
                <a:gd name="T29" fmla="*/ 112 h 139"/>
                <a:gd name="T30" fmla="*/ 53 w 127"/>
                <a:gd name="T31" fmla="*/ 128 h 139"/>
                <a:gd name="T32" fmla="*/ 44 w 127"/>
                <a:gd name="T33" fmla="*/ 139 h 139"/>
                <a:gd name="T34" fmla="*/ 42 w 127"/>
                <a:gd name="T35" fmla="*/ 128 h 139"/>
                <a:gd name="T36" fmla="*/ 53 w 127"/>
                <a:gd name="T37" fmla="*/ 103 h 139"/>
                <a:gd name="T38" fmla="*/ 51 w 127"/>
                <a:gd name="T39" fmla="*/ 100 h 139"/>
                <a:gd name="T40" fmla="*/ 40 w 127"/>
                <a:gd name="T41" fmla="*/ 109 h 139"/>
                <a:gd name="T42" fmla="*/ 27 w 127"/>
                <a:gd name="T43" fmla="*/ 123 h 139"/>
                <a:gd name="T44" fmla="*/ 18 w 127"/>
                <a:gd name="T45" fmla="*/ 131 h 139"/>
                <a:gd name="T46" fmla="*/ 18 w 127"/>
                <a:gd name="T47" fmla="*/ 123 h 139"/>
                <a:gd name="T48" fmla="*/ 31 w 127"/>
                <a:gd name="T49" fmla="*/ 105 h 139"/>
                <a:gd name="T50" fmla="*/ 44 w 127"/>
                <a:gd name="T51" fmla="*/ 89 h 139"/>
                <a:gd name="T52" fmla="*/ 37 w 127"/>
                <a:gd name="T53" fmla="*/ 90 h 139"/>
                <a:gd name="T54" fmla="*/ 24 w 127"/>
                <a:gd name="T55" fmla="*/ 100 h 139"/>
                <a:gd name="T56" fmla="*/ 9 w 127"/>
                <a:gd name="T57" fmla="*/ 110 h 139"/>
                <a:gd name="T58" fmla="*/ 0 w 127"/>
                <a:gd name="T59" fmla="*/ 114 h 139"/>
                <a:gd name="T60" fmla="*/ 5 w 127"/>
                <a:gd name="T61" fmla="*/ 104 h 139"/>
                <a:gd name="T62" fmla="*/ 27 w 127"/>
                <a:gd name="T63" fmla="*/ 81 h 139"/>
                <a:gd name="T64" fmla="*/ 48 w 127"/>
                <a:gd name="T65" fmla="*/ 60 h 139"/>
                <a:gd name="T66" fmla="*/ 53 w 127"/>
                <a:gd name="T67" fmla="*/ 51 h 139"/>
                <a:gd name="T68" fmla="*/ 44 w 127"/>
                <a:gd name="T69" fmla="*/ 54 h 139"/>
                <a:gd name="T70" fmla="*/ 30 w 127"/>
                <a:gd name="T71" fmla="*/ 59 h 139"/>
                <a:gd name="T72" fmla="*/ 23 w 127"/>
                <a:gd name="T73" fmla="*/ 58 h 139"/>
                <a:gd name="T74" fmla="*/ 31 w 127"/>
                <a:gd name="T75" fmla="*/ 49 h 139"/>
                <a:gd name="T76" fmla="*/ 58 w 127"/>
                <a:gd name="T77" fmla="*/ 36 h 139"/>
                <a:gd name="T78" fmla="*/ 85 w 127"/>
                <a:gd name="T79" fmla="*/ 19 h 139"/>
                <a:gd name="T80" fmla="*/ 98 w 127"/>
                <a:gd name="T81" fmla="*/ 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" h="139">
                  <a:moveTo>
                    <a:pt x="103" y="0"/>
                  </a:moveTo>
                  <a:lnTo>
                    <a:pt x="109" y="1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2" y="14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6" y="18"/>
                  </a:lnTo>
                  <a:lnTo>
                    <a:pt x="127" y="19"/>
                  </a:lnTo>
                  <a:lnTo>
                    <a:pt x="127" y="21"/>
                  </a:lnTo>
                  <a:lnTo>
                    <a:pt x="127" y="22"/>
                  </a:lnTo>
                  <a:lnTo>
                    <a:pt x="127" y="24"/>
                  </a:lnTo>
                  <a:lnTo>
                    <a:pt x="126" y="28"/>
                  </a:lnTo>
                  <a:lnTo>
                    <a:pt x="123" y="33"/>
                  </a:lnTo>
                  <a:lnTo>
                    <a:pt x="114" y="51"/>
                  </a:lnTo>
                  <a:lnTo>
                    <a:pt x="105" y="68"/>
                  </a:lnTo>
                  <a:lnTo>
                    <a:pt x="96" y="86"/>
                  </a:lnTo>
                  <a:lnTo>
                    <a:pt x="87" y="101"/>
                  </a:lnTo>
                  <a:lnTo>
                    <a:pt x="80" y="114"/>
                  </a:lnTo>
                  <a:lnTo>
                    <a:pt x="73" y="123"/>
                  </a:lnTo>
                  <a:lnTo>
                    <a:pt x="68" y="127"/>
                  </a:lnTo>
                  <a:lnTo>
                    <a:pt x="66" y="126"/>
                  </a:lnTo>
                  <a:lnTo>
                    <a:pt x="67" y="119"/>
                  </a:lnTo>
                  <a:lnTo>
                    <a:pt x="71" y="112"/>
                  </a:lnTo>
                  <a:lnTo>
                    <a:pt x="76" y="104"/>
                  </a:lnTo>
                  <a:lnTo>
                    <a:pt x="80" y="96"/>
                  </a:lnTo>
                  <a:lnTo>
                    <a:pt x="80" y="94"/>
                  </a:lnTo>
                  <a:lnTo>
                    <a:pt x="77" y="96"/>
                  </a:lnTo>
                  <a:lnTo>
                    <a:pt x="72" y="103"/>
                  </a:lnTo>
                  <a:lnTo>
                    <a:pt x="67" y="112"/>
                  </a:lnTo>
                  <a:lnTo>
                    <a:pt x="59" y="119"/>
                  </a:lnTo>
                  <a:lnTo>
                    <a:pt x="53" y="128"/>
                  </a:lnTo>
                  <a:lnTo>
                    <a:pt x="48" y="135"/>
                  </a:lnTo>
                  <a:lnTo>
                    <a:pt x="44" y="139"/>
                  </a:lnTo>
                  <a:lnTo>
                    <a:pt x="41" y="137"/>
                  </a:lnTo>
                  <a:lnTo>
                    <a:pt x="42" y="128"/>
                  </a:lnTo>
                  <a:lnTo>
                    <a:pt x="48" y="117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1" y="100"/>
                  </a:lnTo>
                  <a:lnTo>
                    <a:pt x="46" y="104"/>
                  </a:lnTo>
                  <a:lnTo>
                    <a:pt x="40" y="109"/>
                  </a:lnTo>
                  <a:lnTo>
                    <a:pt x="33" y="117"/>
                  </a:lnTo>
                  <a:lnTo>
                    <a:pt x="27" y="123"/>
                  </a:lnTo>
                  <a:lnTo>
                    <a:pt x="22" y="128"/>
                  </a:lnTo>
                  <a:lnTo>
                    <a:pt x="18" y="131"/>
                  </a:lnTo>
                  <a:lnTo>
                    <a:pt x="15" y="131"/>
                  </a:lnTo>
                  <a:lnTo>
                    <a:pt x="18" y="123"/>
                  </a:lnTo>
                  <a:lnTo>
                    <a:pt x="23" y="116"/>
                  </a:lnTo>
                  <a:lnTo>
                    <a:pt x="31" y="105"/>
                  </a:lnTo>
                  <a:lnTo>
                    <a:pt x="41" y="92"/>
                  </a:lnTo>
                  <a:lnTo>
                    <a:pt x="44" y="89"/>
                  </a:lnTo>
                  <a:lnTo>
                    <a:pt x="41" y="89"/>
                  </a:lnTo>
                  <a:lnTo>
                    <a:pt x="37" y="90"/>
                  </a:lnTo>
                  <a:lnTo>
                    <a:pt x="31" y="95"/>
                  </a:lnTo>
                  <a:lnTo>
                    <a:pt x="24" y="100"/>
                  </a:lnTo>
                  <a:lnTo>
                    <a:pt x="17" y="105"/>
                  </a:lnTo>
                  <a:lnTo>
                    <a:pt x="9" y="110"/>
                  </a:lnTo>
                  <a:lnTo>
                    <a:pt x="4" y="113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5" y="104"/>
                  </a:lnTo>
                  <a:lnTo>
                    <a:pt x="15" y="92"/>
                  </a:lnTo>
                  <a:lnTo>
                    <a:pt x="27" y="81"/>
                  </a:lnTo>
                  <a:lnTo>
                    <a:pt x="39" y="71"/>
                  </a:lnTo>
                  <a:lnTo>
                    <a:pt x="48" y="60"/>
                  </a:lnTo>
                  <a:lnTo>
                    <a:pt x="54" y="53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4" y="54"/>
                  </a:lnTo>
                  <a:lnTo>
                    <a:pt x="36" y="56"/>
                  </a:lnTo>
                  <a:lnTo>
                    <a:pt x="30" y="59"/>
                  </a:lnTo>
                  <a:lnTo>
                    <a:pt x="24" y="59"/>
                  </a:lnTo>
                  <a:lnTo>
                    <a:pt x="23" y="58"/>
                  </a:lnTo>
                  <a:lnTo>
                    <a:pt x="24" y="54"/>
                  </a:lnTo>
                  <a:lnTo>
                    <a:pt x="31" y="49"/>
                  </a:lnTo>
                  <a:lnTo>
                    <a:pt x="44" y="42"/>
                  </a:lnTo>
                  <a:lnTo>
                    <a:pt x="58" y="36"/>
                  </a:lnTo>
                  <a:lnTo>
                    <a:pt x="72" y="28"/>
                  </a:lnTo>
                  <a:lnTo>
                    <a:pt x="85" y="19"/>
                  </a:lnTo>
                  <a:lnTo>
                    <a:pt x="92" y="9"/>
                  </a:lnTo>
                  <a:lnTo>
                    <a:pt x="98" y="3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9" name="Freeform 1600"/>
            <p:cNvSpPr>
              <a:spLocks/>
            </p:cNvSpPr>
            <p:nvPr/>
          </p:nvSpPr>
          <p:spPr bwMode="auto">
            <a:xfrm>
              <a:off x="10212388" y="1676400"/>
              <a:ext cx="182563" cy="239713"/>
            </a:xfrm>
            <a:custGeom>
              <a:avLst/>
              <a:gdLst>
                <a:gd name="T0" fmla="*/ 74 w 115"/>
                <a:gd name="T1" fmla="*/ 0 h 151"/>
                <a:gd name="T2" fmla="*/ 115 w 115"/>
                <a:gd name="T3" fmla="*/ 69 h 151"/>
                <a:gd name="T4" fmla="*/ 85 w 115"/>
                <a:gd name="T5" fmla="*/ 151 h 151"/>
                <a:gd name="T6" fmla="*/ 0 w 115"/>
                <a:gd name="T7" fmla="*/ 106 h 151"/>
                <a:gd name="T8" fmla="*/ 33 w 115"/>
                <a:gd name="T9" fmla="*/ 1 h 151"/>
                <a:gd name="T10" fmla="*/ 74 w 115"/>
                <a:gd name="T1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151">
                  <a:moveTo>
                    <a:pt x="74" y="0"/>
                  </a:moveTo>
                  <a:lnTo>
                    <a:pt x="115" y="69"/>
                  </a:lnTo>
                  <a:lnTo>
                    <a:pt x="85" y="151"/>
                  </a:lnTo>
                  <a:lnTo>
                    <a:pt x="0" y="106"/>
                  </a:lnTo>
                  <a:lnTo>
                    <a:pt x="33" y="1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0" name="Freeform 1601"/>
            <p:cNvSpPr>
              <a:spLocks/>
            </p:cNvSpPr>
            <p:nvPr/>
          </p:nvSpPr>
          <p:spPr bwMode="auto">
            <a:xfrm>
              <a:off x="10342563" y="923925"/>
              <a:ext cx="227013" cy="506413"/>
            </a:xfrm>
            <a:custGeom>
              <a:avLst/>
              <a:gdLst>
                <a:gd name="T0" fmla="*/ 55 w 143"/>
                <a:gd name="T1" fmla="*/ 0 h 319"/>
                <a:gd name="T2" fmla="*/ 74 w 143"/>
                <a:gd name="T3" fmla="*/ 13 h 319"/>
                <a:gd name="T4" fmla="*/ 91 w 143"/>
                <a:gd name="T5" fmla="*/ 30 h 319"/>
                <a:gd name="T6" fmla="*/ 104 w 143"/>
                <a:gd name="T7" fmla="*/ 53 h 319"/>
                <a:gd name="T8" fmla="*/ 115 w 143"/>
                <a:gd name="T9" fmla="*/ 79 h 319"/>
                <a:gd name="T10" fmla="*/ 124 w 143"/>
                <a:gd name="T11" fmla="*/ 108 h 319"/>
                <a:gd name="T12" fmla="*/ 132 w 143"/>
                <a:gd name="T13" fmla="*/ 139 h 319"/>
                <a:gd name="T14" fmla="*/ 137 w 143"/>
                <a:gd name="T15" fmla="*/ 172 h 319"/>
                <a:gd name="T16" fmla="*/ 141 w 143"/>
                <a:gd name="T17" fmla="*/ 204 h 319"/>
                <a:gd name="T18" fmla="*/ 142 w 143"/>
                <a:gd name="T19" fmla="*/ 236 h 319"/>
                <a:gd name="T20" fmla="*/ 143 w 143"/>
                <a:gd name="T21" fmla="*/ 267 h 319"/>
                <a:gd name="T22" fmla="*/ 143 w 143"/>
                <a:gd name="T23" fmla="*/ 294 h 319"/>
                <a:gd name="T24" fmla="*/ 143 w 143"/>
                <a:gd name="T25" fmla="*/ 319 h 319"/>
                <a:gd name="T26" fmla="*/ 72 w 143"/>
                <a:gd name="T27" fmla="*/ 305 h 319"/>
                <a:gd name="T28" fmla="*/ 66 w 143"/>
                <a:gd name="T29" fmla="*/ 284 h 319"/>
                <a:gd name="T30" fmla="*/ 60 w 143"/>
                <a:gd name="T31" fmla="*/ 258 h 319"/>
                <a:gd name="T32" fmla="*/ 54 w 143"/>
                <a:gd name="T33" fmla="*/ 228 h 319"/>
                <a:gd name="T34" fmla="*/ 45 w 143"/>
                <a:gd name="T35" fmla="*/ 195 h 319"/>
                <a:gd name="T36" fmla="*/ 36 w 143"/>
                <a:gd name="T37" fmla="*/ 163 h 319"/>
                <a:gd name="T38" fmla="*/ 25 w 143"/>
                <a:gd name="T39" fmla="*/ 134 h 319"/>
                <a:gd name="T40" fmla="*/ 12 w 143"/>
                <a:gd name="T41" fmla="*/ 108 h 319"/>
                <a:gd name="T42" fmla="*/ 2 w 143"/>
                <a:gd name="T43" fmla="*/ 85 h 319"/>
                <a:gd name="T44" fmla="*/ 0 w 143"/>
                <a:gd name="T45" fmla="*/ 63 h 319"/>
                <a:gd name="T46" fmla="*/ 2 w 143"/>
                <a:gd name="T47" fmla="*/ 43 h 319"/>
                <a:gd name="T48" fmla="*/ 11 w 143"/>
                <a:gd name="T49" fmla="*/ 26 h 319"/>
                <a:gd name="T50" fmla="*/ 23 w 143"/>
                <a:gd name="T51" fmla="*/ 12 h 319"/>
                <a:gd name="T52" fmla="*/ 38 w 143"/>
                <a:gd name="T53" fmla="*/ 4 h 319"/>
                <a:gd name="T54" fmla="*/ 55 w 143"/>
                <a:gd name="T5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319">
                  <a:moveTo>
                    <a:pt x="55" y="0"/>
                  </a:moveTo>
                  <a:lnTo>
                    <a:pt x="74" y="13"/>
                  </a:lnTo>
                  <a:lnTo>
                    <a:pt x="91" y="30"/>
                  </a:lnTo>
                  <a:lnTo>
                    <a:pt x="104" y="53"/>
                  </a:lnTo>
                  <a:lnTo>
                    <a:pt x="115" y="79"/>
                  </a:lnTo>
                  <a:lnTo>
                    <a:pt x="124" y="108"/>
                  </a:lnTo>
                  <a:lnTo>
                    <a:pt x="132" y="139"/>
                  </a:lnTo>
                  <a:lnTo>
                    <a:pt x="137" y="172"/>
                  </a:lnTo>
                  <a:lnTo>
                    <a:pt x="141" y="204"/>
                  </a:lnTo>
                  <a:lnTo>
                    <a:pt x="142" y="236"/>
                  </a:lnTo>
                  <a:lnTo>
                    <a:pt x="143" y="267"/>
                  </a:lnTo>
                  <a:lnTo>
                    <a:pt x="143" y="294"/>
                  </a:lnTo>
                  <a:lnTo>
                    <a:pt x="143" y="319"/>
                  </a:lnTo>
                  <a:lnTo>
                    <a:pt x="72" y="305"/>
                  </a:lnTo>
                  <a:lnTo>
                    <a:pt x="66" y="284"/>
                  </a:lnTo>
                  <a:lnTo>
                    <a:pt x="60" y="258"/>
                  </a:lnTo>
                  <a:lnTo>
                    <a:pt x="54" y="228"/>
                  </a:lnTo>
                  <a:lnTo>
                    <a:pt x="45" y="195"/>
                  </a:lnTo>
                  <a:lnTo>
                    <a:pt x="36" y="163"/>
                  </a:lnTo>
                  <a:lnTo>
                    <a:pt x="25" y="134"/>
                  </a:lnTo>
                  <a:lnTo>
                    <a:pt x="12" y="108"/>
                  </a:lnTo>
                  <a:lnTo>
                    <a:pt x="2" y="85"/>
                  </a:lnTo>
                  <a:lnTo>
                    <a:pt x="0" y="63"/>
                  </a:lnTo>
                  <a:lnTo>
                    <a:pt x="2" y="43"/>
                  </a:lnTo>
                  <a:lnTo>
                    <a:pt x="11" y="26"/>
                  </a:lnTo>
                  <a:lnTo>
                    <a:pt x="23" y="12"/>
                  </a:lnTo>
                  <a:lnTo>
                    <a:pt x="38" y="4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1" name="Freeform 1602"/>
            <p:cNvSpPr>
              <a:spLocks/>
            </p:cNvSpPr>
            <p:nvPr/>
          </p:nvSpPr>
          <p:spPr bwMode="auto">
            <a:xfrm>
              <a:off x="10336213" y="1398588"/>
              <a:ext cx="236538" cy="374650"/>
            </a:xfrm>
            <a:custGeom>
              <a:avLst/>
              <a:gdLst>
                <a:gd name="T0" fmla="*/ 74 w 149"/>
                <a:gd name="T1" fmla="*/ 0 h 236"/>
                <a:gd name="T2" fmla="*/ 149 w 149"/>
                <a:gd name="T3" fmla="*/ 3 h 236"/>
                <a:gd name="T4" fmla="*/ 144 w 149"/>
                <a:gd name="T5" fmla="*/ 44 h 236"/>
                <a:gd name="T6" fmla="*/ 133 w 149"/>
                <a:gd name="T7" fmla="*/ 84 h 236"/>
                <a:gd name="T8" fmla="*/ 119 w 149"/>
                <a:gd name="T9" fmla="*/ 120 h 236"/>
                <a:gd name="T10" fmla="*/ 104 w 149"/>
                <a:gd name="T11" fmla="*/ 153 h 236"/>
                <a:gd name="T12" fmla="*/ 87 w 149"/>
                <a:gd name="T13" fmla="*/ 184 h 236"/>
                <a:gd name="T14" fmla="*/ 70 w 149"/>
                <a:gd name="T15" fmla="*/ 212 h 236"/>
                <a:gd name="T16" fmla="*/ 55 w 149"/>
                <a:gd name="T17" fmla="*/ 236 h 236"/>
                <a:gd name="T18" fmla="*/ 40 w 149"/>
                <a:gd name="T19" fmla="*/ 226 h 236"/>
                <a:gd name="T20" fmla="*/ 24 w 149"/>
                <a:gd name="T21" fmla="*/ 215 h 236"/>
                <a:gd name="T22" fmla="*/ 10 w 149"/>
                <a:gd name="T23" fmla="*/ 202 h 236"/>
                <a:gd name="T24" fmla="*/ 0 w 149"/>
                <a:gd name="T25" fmla="*/ 189 h 236"/>
                <a:gd name="T26" fmla="*/ 10 w 149"/>
                <a:gd name="T27" fmla="*/ 168 h 236"/>
                <a:gd name="T28" fmla="*/ 22 w 149"/>
                <a:gd name="T29" fmla="*/ 144 h 236"/>
                <a:gd name="T30" fmla="*/ 36 w 149"/>
                <a:gd name="T31" fmla="*/ 117 h 236"/>
                <a:gd name="T32" fmla="*/ 50 w 149"/>
                <a:gd name="T33" fmla="*/ 88 h 236"/>
                <a:gd name="T34" fmla="*/ 61 w 149"/>
                <a:gd name="T35" fmla="*/ 58 h 236"/>
                <a:gd name="T36" fmla="*/ 70 w 149"/>
                <a:gd name="T37" fmla="*/ 29 h 236"/>
                <a:gd name="T38" fmla="*/ 74 w 149"/>
                <a:gd name="T3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6">
                  <a:moveTo>
                    <a:pt x="74" y="0"/>
                  </a:moveTo>
                  <a:lnTo>
                    <a:pt x="149" y="3"/>
                  </a:lnTo>
                  <a:lnTo>
                    <a:pt x="144" y="44"/>
                  </a:lnTo>
                  <a:lnTo>
                    <a:pt x="133" y="84"/>
                  </a:lnTo>
                  <a:lnTo>
                    <a:pt x="119" y="120"/>
                  </a:lnTo>
                  <a:lnTo>
                    <a:pt x="104" y="153"/>
                  </a:lnTo>
                  <a:lnTo>
                    <a:pt x="87" y="184"/>
                  </a:lnTo>
                  <a:lnTo>
                    <a:pt x="70" y="212"/>
                  </a:lnTo>
                  <a:lnTo>
                    <a:pt x="55" y="236"/>
                  </a:lnTo>
                  <a:lnTo>
                    <a:pt x="40" y="226"/>
                  </a:lnTo>
                  <a:lnTo>
                    <a:pt x="24" y="215"/>
                  </a:lnTo>
                  <a:lnTo>
                    <a:pt x="10" y="202"/>
                  </a:lnTo>
                  <a:lnTo>
                    <a:pt x="0" y="189"/>
                  </a:lnTo>
                  <a:lnTo>
                    <a:pt x="10" y="168"/>
                  </a:lnTo>
                  <a:lnTo>
                    <a:pt x="22" y="144"/>
                  </a:lnTo>
                  <a:lnTo>
                    <a:pt x="36" y="117"/>
                  </a:lnTo>
                  <a:lnTo>
                    <a:pt x="50" y="88"/>
                  </a:lnTo>
                  <a:lnTo>
                    <a:pt x="61" y="58"/>
                  </a:lnTo>
                  <a:lnTo>
                    <a:pt x="70" y="29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2" name="Freeform 1603"/>
            <p:cNvSpPr>
              <a:spLocks/>
            </p:cNvSpPr>
            <p:nvPr/>
          </p:nvSpPr>
          <p:spPr bwMode="auto">
            <a:xfrm>
              <a:off x="10013951" y="822325"/>
              <a:ext cx="117475" cy="639763"/>
            </a:xfrm>
            <a:custGeom>
              <a:avLst/>
              <a:gdLst>
                <a:gd name="T0" fmla="*/ 74 w 74"/>
                <a:gd name="T1" fmla="*/ 0 h 403"/>
                <a:gd name="T2" fmla="*/ 71 w 74"/>
                <a:gd name="T3" fmla="*/ 17 h 403"/>
                <a:gd name="T4" fmla="*/ 67 w 74"/>
                <a:gd name="T5" fmla="*/ 40 h 403"/>
                <a:gd name="T6" fmla="*/ 63 w 74"/>
                <a:gd name="T7" fmla="*/ 71 h 403"/>
                <a:gd name="T8" fmla="*/ 59 w 74"/>
                <a:gd name="T9" fmla="*/ 108 h 403"/>
                <a:gd name="T10" fmla="*/ 55 w 74"/>
                <a:gd name="T11" fmla="*/ 149 h 403"/>
                <a:gd name="T12" fmla="*/ 53 w 74"/>
                <a:gd name="T13" fmla="*/ 195 h 403"/>
                <a:gd name="T14" fmla="*/ 49 w 74"/>
                <a:gd name="T15" fmla="*/ 245 h 403"/>
                <a:gd name="T16" fmla="*/ 46 w 74"/>
                <a:gd name="T17" fmla="*/ 297 h 403"/>
                <a:gd name="T18" fmla="*/ 44 w 74"/>
                <a:gd name="T19" fmla="*/ 349 h 403"/>
                <a:gd name="T20" fmla="*/ 42 w 74"/>
                <a:gd name="T21" fmla="*/ 403 h 403"/>
                <a:gd name="T22" fmla="*/ 0 w 74"/>
                <a:gd name="T23" fmla="*/ 67 h 403"/>
                <a:gd name="T24" fmla="*/ 42 w 74"/>
                <a:gd name="T25" fmla="*/ 53 h 403"/>
                <a:gd name="T26" fmla="*/ 10 w 74"/>
                <a:gd name="T27" fmla="*/ 40 h 403"/>
                <a:gd name="T28" fmla="*/ 74 w 74"/>
                <a:gd name="T29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403">
                  <a:moveTo>
                    <a:pt x="74" y="0"/>
                  </a:moveTo>
                  <a:lnTo>
                    <a:pt x="71" y="17"/>
                  </a:lnTo>
                  <a:lnTo>
                    <a:pt x="67" y="40"/>
                  </a:lnTo>
                  <a:lnTo>
                    <a:pt x="63" y="71"/>
                  </a:lnTo>
                  <a:lnTo>
                    <a:pt x="59" y="108"/>
                  </a:lnTo>
                  <a:lnTo>
                    <a:pt x="55" y="149"/>
                  </a:lnTo>
                  <a:lnTo>
                    <a:pt x="53" y="195"/>
                  </a:lnTo>
                  <a:lnTo>
                    <a:pt x="49" y="245"/>
                  </a:lnTo>
                  <a:lnTo>
                    <a:pt x="46" y="297"/>
                  </a:lnTo>
                  <a:lnTo>
                    <a:pt x="44" y="349"/>
                  </a:lnTo>
                  <a:lnTo>
                    <a:pt x="42" y="403"/>
                  </a:lnTo>
                  <a:lnTo>
                    <a:pt x="0" y="67"/>
                  </a:lnTo>
                  <a:lnTo>
                    <a:pt x="42" y="53"/>
                  </a:lnTo>
                  <a:lnTo>
                    <a:pt x="10" y="4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3" name="Freeform 1604"/>
            <p:cNvSpPr>
              <a:spLocks/>
            </p:cNvSpPr>
            <p:nvPr/>
          </p:nvSpPr>
          <p:spPr bwMode="auto">
            <a:xfrm>
              <a:off x="10244138" y="820738"/>
              <a:ext cx="127000" cy="641350"/>
            </a:xfrm>
            <a:custGeom>
              <a:avLst/>
              <a:gdLst>
                <a:gd name="T0" fmla="*/ 0 w 80"/>
                <a:gd name="T1" fmla="*/ 0 h 404"/>
                <a:gd name="T2" fmla="*/ 68 w 80"/>
                <a:gd name="T3" fmla="*/ 42 h 404"/>
                <a:gd name="T4" fmla="*/ 33 w 80"/>
                <a:gd name="T5" fmla="*/ 54 h 404"/>
                <a:gd name="T6" fmla="*/ 80 w 80"/>
                <a:gd name="T7" fmla="*/ 67 h 404"/>
                <a:gd name="T8" fmla="*/ 48 w 80"/>
                <a:gd name="T9" fmla="*/ 404 h 404"/>
                <a:gd name="T10" fmla="*/ 46 w 80"/>
                <a:gd name="T11" fmla="*/ 350 h 404"/>
                <a:gd name="T12" fmla="*/ 42 w 80"/>
                <a:gd name="T13" fmla="*/ 298 h 404"/>
                <a:gd name="T14" fmla="*/ 37 w 80"/>
                <a:gd name="T15" fmla="*/ 245 h 404"/>
                <a:gd name="T16" fmla="*/ 32 w 80"/>
                <a:gd name="T17" fmla="*/ 196 h 404"/>
                <a:gd name="T18" fmla="*/ 27 w 80"/>
                <a:gd name="T19" fmla="*/ 150 h 404"/>
                <a:gd name="T20" fmla="*/ 22 w 80"/>
                <a:gd name="T21" fmla="*/ 108 h 404"/>
                <a:gd name="T22" fmla="*/ 15 w 80"/>
                <a:gd name="T23" fmla="*/ 72 h 404"/>
                <a:gd name="T24" fmla="*/ 9 w 80"/>
                <a:gd name="T25" fmla="*/ 41 h 404"/>
                <a:gd name="T26" fmla="*/ 4 w 80"/>
                <a:gd name="T27" fmla="*/ 17 h 404"/>
                <a:gd name="T28" fmla="*/ 0 w 80"/>
                <a:gd name="T2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404">
                  <a:moveTo>
                    <a:pt x="0" y="0"/>
                  </a:moveTo>
                  <a:lnTo>
                    <a:pt x="68" y="42"/>
                  </a:lnTo>
                  <a:lnTo>
                    <a:pt x="33" y="54"/>
                  </a:lnTo>
                  <a:lnTo>
                    <a:pt x="80" y="67"/>
                  </a:lnTo>
                  <a:lnTo>
                    <a:pt x="48" y="404"/>
                  </a:lnTo>
                  <a:lnTo>
                    <a:pt x="46" y="350"/>
                  </a:lnTo>
                  <a:lnTo>
                    <a:pt x="42" y="298"/>
                  </a:lnTo>
                  <a:lnTo>
                    <a:pt x="37" y="245"/>
                  </a:lnTo>
                  <a:lnTo>
                    <a:pt x="32" y="196"/>
                  </a:lnTo>
                  <a:lnTo>
                    <a:pt x="27" y="150"/>
                  </a:lnTo>
                  <a:lnTo>
                    <a:pt x="22" y="108"/>
                  </a:lnTo>
                  <a:lnTo>
                    <a:pt x="15" y="72"/>
                  </a:lnTo>
                  <a:lnTo>
                    <a:pt x="9" y="41"/>
                  </a:lnTo>
                  <a:lnTo>
                    <a:pt x="4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4" name="Freeform 1605"/>
            <p:cNvSpPr>
              <a:spLocks/>
            </p:cNvSpPr>
            <p:nvPr/>
          </p:nvSpPr>
          <p:spPr bwMode="auto">
            <a:xfrm>
              <a:off x="10213976" y="376238"/>
              <a:ext cx="166688" cy="93663"/>
            </a:xfrm>
            <a:custGeom>
              <a:avLst/>
              <a:gdLst>
                <a:gd name="T0" fmla="*/ 0 w 105"/>
                <a:gd name="T1" fmla="*/ 0 h 59"/>
                <a:gd name="T2" fmla="*/ 4 w 105"/>
                <a:gd name="T3" fmla="*/ 11 h 59"/>
                <a:gd name="T4" fmla="*/ 14 w 105"/>
                <a:gd name="T5" fmla="*/ 20 h 59"/>
                <a:gd name="T6" fmla="*/ 27 w 105"/>
                <a:gd name="T7" fmla="*/ 29 h 59"/>
                <a:gd name="T8" fmla="*/ 45 w 105"/>
                <a:gd name="T9" fmla="*/ 36 h 59"/>
                <a:gd name="T10" fmla="*/ 64 w 105"/>
                <a:gd name="T11" fmla="*/ 43 h 59"/>
                <a:gd name="T12" fmla="*/ 84 w 105"/>
                <a:gd name="T13" fmla="*/ 45 h 59"/>
                <a:gd name="T14" fmla="*/ 105 w 105"/>
                <a:gd name="T15" fmla="*/ 45 h 59"/>
                <a:gd name="T16" fmla="*/ 82 w 105"/>
                <a:gd name="T17" fmla="*/ 55 h 59"/>
                <a:gd name="T18" fmla="*/ 61 w 105"/>
                <a:gd name="T19" fmla="*/ 59 h 59"/>
                <a:gd name="T20" fmla="*/ 42 w 105"/>
                <a:gd name="T21" fmla="*/ 57 h 59"/>
                <a:gd name="T22" fmla="*/ 27 w 105"/>
                <a:gd name="T23" fmla="*/ 50 h 59"/>
                <a:gd name="T24" fmla="*/ 14 w 105"/>
                <a:gd name="T25" fmla="*/ 40 h 59"/>
                <a:gd name="T26" fmla="*/ 4 w 105"/>
                <a:gd name="T27" fmla="*/ 29 h 59"/>
                <a:gd name="T28" fmla="*/ 0 w 105"/>
                <a:gd name="T29" fmla="*/ 14 h 59"/>
                <a:gd name="T30" fmla="*/ 0 w 105"/>
                <a:gd name="T3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59">
                  <a:moveTo>
                    <a:pt x="0" y="0"/>
                  </a:moveTo>
                  <a:lnTo>
                    <a:pt x="4" y="11"/>
                  </a:lnTo>
                  <a:lnTo>
                    <a:pt x="14" y="20"/>
                  </a:lnTo>
                  <a:lnTo>
                    <a:pt x="27" y="29"/>
                  </a:lnTo>
                  <a:lnTo>
                    <a:pt x="45" y="36"/>
                  </a:lnTo>
                  <a:lnTo>
                    <a:pt x="64" y="43"/>
                  </a:lnTo>
                  <a:lnTo>
                    <a:pt x="84" y="45"/>
                  </a:lnTo>
                  <a:lnTo>
                    <a:pt x="105" y="45"/>
                  </a:lnTo>
                  <a:lnTo>
                    <a:pt x="82" y="55"/>
                  </a:lnTo>
                  <a:lnTo>
                    <a:pt x="61" y="59"/>
                  </a:lnTo>
                  <a:lnTo>
                    <a:pt x="42" y="57"/>
                  </a:lnTo>
                  <a:lnTo>
                    <a:pt x="27" y="50"/>
                  </a:lnTo>
                  <a:lnTo>
                    <a:pt x="14" y="40"/>
                  </a:lnTo>
                  <a:lnTo>
                    <a:pt x="4" y="29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5" name="Freeform 1606"/>
            <p:cNvSpPr>
              <a:spLocks/>
            </p:cNvSpPr>
            <p:nvPr/>
          </p:nvSpPr>
          <p:spPr bwMode="auto">
            <a:xfrm>
              <a:off x="10202863" y="393700"/>
              <a:ext cx="192088" cy="104775"/>
            </a:xfrm>
            <a:custGeom>
              <a:avLst/>
              <a:gdLst>
                <a:gd name="T0" fmla="*/ 2 w 121"/>
                <a:gd name="T1" fmla="*/ 0 h 66"/>
                <a:gd name="T2" fmla="*/ 6 w 121"/>
                <a:gd name="T3" fmla="*/ 10 h 66"/>
                <a:gd name="T4" fmla="*/ 16 w 121"/>
                <a:gd name="T5" fmla="*/ 21 h 66"/>
                <a:gd name="T6" fmla="*/ 32 w 121"/>
                <a:gd name="T7" fmla="*/ 32 h 66"/>
                <a:gd name="T8" fmla="*/ 52 w 121"/>
                <a:gd name="T9" fmla="*/ 41 h 66"/>
                <a:gd name="T10" fmla="*/ 74 w 121"/>
                <a:gd name="T11" fmla="*/ 47 h 66"/>
                <a:gd name="T12" fmla="*/ 98 w 121"/>
                <a:gd name="T13" fmla="*/ 51 h 66"/>
                <a:gd name="T14" fmla="*/ 121 w 121"/>
                <a:gd name="T15" fmla="*/ 50 h 66"/>
                <a:gd name="T16" fmla="*/ 95 w 121"/>
                <a:gd name="T17" fmla="*/ 62 h 66"/>
                <a:gd name="T18" fmla="*/ 72 w 121"/>
                <a:gd name="T19" fmla="*/ 66 h 66"/>
                <a:gd name="T20" fmla="*/ 50 w 121"/>
                <a:gd name="T21" fmla="*/ 64 h 66"/>
                <a:gd name="T22" fmla="*/ 31 w 121"/>
                <a:gd name="T23" fmla="*/ 56 h 66"/>
                <a:gd name="T24" fmla="*/ 16 w 121"/>
                <a:gd name="T25" fmla="*/ 44 h 66"/>
                <a:gd name="T26" fmla="*/ 6 w 121"/>
                <a:gd name="T27" fmla="*/ 30 h 66"/>
                <a:gd name="T28" fmla="*/ 0 w 121"/>
                <a:gd name="T29" fmla="*/ 15 h 66"/>
                <a:gd name="T30" fmla="*/ 2 w 121"/>
                <a:gd name="T3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66">
                  <a:moveTo>
                    <a:pt x="2" y="0"/>
                  </a:moveTo>
                  <a:lnTo>
                    <a:pt x="6" y="10"/>
                  </a:lnTo>
                  <a:lnTo>
                    <a:pt x="16" y="21"/>
                  </a:lnTo>
                  <a:lnTo>
                    <a:pt x="32" y="32"/>
                  </a:lnTo>
                  <a:lnTo>
                    <a:pt x="52" y="41"/>
                  </a:lnTo>
                  <a:lnTo>
                    <a:pt x="74" y="47"/>
                  </a:lnTo>
                  <a:lnTo>
                    <a:pt x="98" y="51"/>
                  </a:lnTo>
                  <a:lnTo>
                    <a:pt x="121" y="50"/>
                  </a:lnTo>
                  <a:lnTo>
                    <a:pt x="95" y="62"/>
                  </a:lnTo>
                  <a:lnTo>
                    <a:pt x="72" y="66"/>
                  </a:lnTo>
                  <a:lnTo>
                    <a:pt x="50" y="64"/>
                  </a:lnTo>
                  <a:lnTo>
                    <a:pt x="31" y="56"/>
                  </a:lnTo>
                  <a:lnTo>
                    <a:pt x="16" y="44"/>
                  </a:lnTo>
                  <a:lnTo>
                    <a:pt x="6" y="30"/>
                  </a:lnTo>
                  <a:lnTo>
                    <a:pt x="0" y="1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6" name="Freeform 1607"/>
            <p:cNvSpPr>
              <a:spLocks/>
            </p:cNvSpPr>
            <p:nvPr/>
          </p:nvSpPr>
          <p:spPr bwMode="auto">
            <a:xfrm>
              <a:off x="10144126" y="381000"/>
              <a:ext cx="192088" cy="92075"/>
            </a:xfrm>
            <a:custGeom>
              <a:avLst/>
              <a:gdLst>
                <a:gd name="T0" fmla="*/ 0 w 121"/>
                <a:gd name="T1" fmla="*/ 0 h 58"/>
                <a:gd name="T2" fmla="*/ 5 w 121"/>
                <a:gd name="T3" fmla="*/ 10 h 58"/>
                <a:gd name="T4" fmla="*/ 17 w 121"/>
                <a:gd name="T5" fmla="*/ 20 h 58"/>
                <a:gd name="T6" fmla="*/ 32 w 121"/>
                <a:gd name="T7" fmla="*/ 28 h 58"/>
                <a:gd name="T8" fmla="*/ 53 w 121"/>
                <a:gd name="T9" fmla="*/ 34 h 58"/>
                <a:gd name="T10" fmla="*/ 75 w 121"/>
                <a:gd name="T11" fmla="*/ 38 h 58"/>
                <a:gd name="T12" fmla="*/ 98 w 121"/>
                <a:gd name="T13" fmla="*/ 40 h 58"/>
                <a:gd name="T14" fmla="*/ 121 w 121"/>
                <a:gd name="T15" fmla="*/ 37 h 58"/>
                <a:gd name="T16" fmla="*/ 98 w 121"/>
                <a:gd name="T17" fmla="*/ 51 h 58"/>
                <a:gd name="T18" fmla="*/ 75 w 121"/>
                <a:gd name="T19" fmla="*/ 58 h 58"/>
                <a:gd name="T20" fmla="*/ 54 w 121"/>
                <a:gd name="T21" fmla="*/ 58 h 58"/>
                <a:gd name="T22" fmla="*/ 35 w 121"/>
                <a:gd name="T23" fmla="*/ 52 h 58"/>
                <a:gd name="T24" fmla="*/ 19 w 121"/>
                <a:gd name="T25" fmla="*/ 42 h 58"/>
                <a:gd name="T26" fmla="*/ 8 w 121"/>
                <a:gd name="T27" fmla="*/ 31 h 58"/>
                <a:gd name="T28" fmla="*/ 0 w 121"/>
                <a:gd name="T29" fmla="*/ 15 h 58"/>
                <a:gd name="T30" fmla="*/ 0 w 121"/>
                <a:gd name="T3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58">
                  <a:moveTo>
                    <a:pt x="0" y="0"/>
                  </a:moveTo>
                  <a:lnTo>
                    <a:pt x="5" y="10"/>
                  </a:lnTo>
                  <a:lnTo>
                    <a:pt x="17" y="20"/>
                  </a:lnTo>
                  <a:lnTo>
                    <a:pt x="32" y="28"/>
                  </a:lnTo>
                  <a:lnTo>
                    <a:pt x="53" y="34"/>
                  </a:lnTo>
                  <a:lnTo>
                    <a:pt x="75" y="38"/>
                  </a:lnTo>
                  <a:lnTo>
                    <a:pt x="98" y="40"/>
                  </a:lnTo>
                  <a:lnTo>
                    <a:pt x="121" y="37"/>
                  </a:lnTo>
                  <a:lnTo>
                    <a:pt x="98" y="51"/>
                  </a:lnTo>
                  <a:lnTo>
                    <a:pt x="75" y="58"/>
                  </a:lnTo>
                  <a:lnTo>
                    <a:pt x="54" y="58"/>
                  </a:lnTo>
                  <a:lnTo>
                    <a:pt x="35" y="52"/>
                  </a:lnTo>
                  <a:lnTo>
                    <a:pt x="19" y="42"/>
                  </a:lnTo>
                  <a:lnTo>
                    <a:pt x="8" y="31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7" name="Freeform 1608"/>
            <p:cNvSpPr>
              <a:spLocks/>
            </p:cNvSpPr>
            <p:nvPr/>
          </p:nvSpPr>
          <p:spPr bwMode="auto">
            <a:xfrm>
              <a:off x="10113963" y="401638"/>
              <a:ext cx="188913" cy="74613"/>
            </a:xfrm>
            <a:custGeom>
              <a:avLst/>
              <a:gdLst>
                <a:gd name="T0" fmla="*/ 0 w 119"/>
                <a:gd name="T1" fmla="*/ 0 h 47"/>
                <a:gd name="T2" fmla="*/ 6 w 119"/>
                <a:gd name="T3" fmla="*/ 9 h 47"/>
                <a:gd name="T4" fmla="*/ 18 w 119"/>
                <a:gd name="T5" fmla="*/ 16 h 47"/>
                <a:gd name="T6" fmla="*/ 35 w 119"/>
                <a:gd name="T7" fmla="*/ 21 h 47"/>
                <a:gd name="T8" fmla="*/ 54 w 119"/>
                <a:gd name="T9" fmla="*/ 25 h 47"/>
                <a:gd name="T10" fmla="*/ 76 w 119"/>
                <a:gd name="T11" fmla="*/ 27 h 47"/>
                <a:gd name="T12" fmla="*/ 97 w 119"/>
                <a:gd name="T13" fmla="*/ 25 h 47"/>
                <a:gd name="T14" fmla="*/ 119 w 119"/>
                <a:gd name="T15" fmla="*/ 20 h 47"/>
                <a:gd name="T16" fmla="*/ 99 w 119"/>
                <a:gd name="T17" fmla="*/ 36 h 47"/>
                <a:gd name="T18" fmla="*/ 78 w 119"/>
                <a:gd name="T19" fmla="*/ 45 h 47"/>
                <a:gd name="T20" fmla="*/ 58 w 119"/>
                <a:gd name="T21" fmla="*/ 47 h 47"/>
                <a:gd name="T22" fmla="*/ 40 w 119"/>
                <a:gd name="T23" fmla="*/ 45 h 47"/>
                <a:gd name="T24" fmla="*/ 23 w 119"/>
                <a:gd name="T25" fmla="*/ 38 h 47"/>
                <a:gd name="T26" fmla="*/ 10 w 119"/>
                <a:gd name="T27" fmla="*/ 27 h 47"/>
                <a:gd name="T28" fmla="*/ 3 w 119"/>
                <a:gd name="T29" fmla="*/ 14 h 47"/>
                <a:gd name="T30" fmla="*/ 0 w 119"/>
                <a:gd name="T3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" h="47">
                  <a:moveTo>
                    <a:pt x="0" y="0"/>
                  </a:moveTo>
                  <a:lnTo>
                    <a:pt x="6" y="9"/>
                  </a:lnTo>
                  <a:lnTo>
                    <a:pt x="18" y="16"/>
                  </a:lnTo>
                  <a:lnTo>
                    <a:pt x="35" y="21"/>
                  </a:lnTo>
                  <a:lnTo>
                    <a:pt x="54" y="25"/>
                  </a:lnTo>
                  <a:lnTo>
                    <a:pt x="76" y="27"/>
                  </a:lnTo>
                  <a:lnTo>
                    <a:pt x="97" y="25"/>
                  </a:lnTo>
                  <a:lnTo>
                    <a:pt x="119" y="20"/>
                  </a:lnTo>
                  <a:lnTo>
                    <a:pt x="99" y="36"/>
                  </a:lnTo>
                  <a:lnTo>
                    <a:pt x="78" y="45"/>
                  </a:lnTo>
                  <a:lnTo>
                    <a:pt x="58" y="47"/>
                  </a:lnTo>
                  <a:lnTo>
                    <a:pt x="40" y="45"/>
                  </a:lnTo>
                  <a:lnTo>
                    <a:pt x="23" y="38"/>
                  </a:lnTo>
                  <a:lnTo>
                    <a:pt x="10" y="27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8" name="Freeform 1609"/>
            <p:cNvSpPr>
              <a:spLocks/>
            </p:cNvSpPr>
            <p:nvPr/>
          </p:nvSpPr>
          <p:spPr bwMode="auto">
            <a:xfrm>
              <a:off x="10156826" y="358775"/>
              <a:ext cx="149225" cy="50800"/>
            </a:xfrm>
            <a:custGeom>
              <a:avLst/>
              <a:gdLst>
                <a:gd name="T0" fmla="*/ 94 w 94"/>
                <a:gd name="T1" fmla="*/ 0 h 32"/>
                <a:gd name="T2" fmla="*/ 81 w 94"/>
                <a:gd name="T3" fmla="*/ 15 h 32"/>
                <a:gd name="T4" fmla="*/ 67 w 94"/>
                <a:gd name="T5" fmla="*/ 25 h 32"/>
                <a:gd name="T6" fmla="*/ 51 w 94"/>
                <a:gd name="T7" fmla="*/ 31 h 32"/>
                <a:gd name="T8" fmla="*/ 37 w 94"/>
                <a:gd name="T9" fmla="*/ 32 h 32"/>
                <a:gd name="T10" fmla="*/ 24 w 94"/>
                <a:gd name="T11" fmla="*/ 29 h 32"/>
                <a:gd name="T12" fmla="*/ 13 w 94"/>
                <a:gd name="T13" fmla="*/ 24 h 32"/>
                <a:gd name="T14" fmla="*/ 4 w 94"/>
                <a:gd name="T15" fmla="*/ 15 h 32"/>
                <a:gd name="T16" fmla="*/ 0 w 94"/>
                <a:gd name="T17" fmla="*/ 5 h 32"/>
                <a:gd name="T18" fmla="*/ 8 w 94"/>
                <a:gd name="T19" fmla="*/ 11 h 32"/>
                <a:gd name="T20" fmla="*/ 20 w 94"/>
                <a:gd name="T21" fmla="*/ 15 h 32"/>
                <a:gd name="T22" fmla="*/ 37 w 94"/>
                <a:gd name="T23" fmla="*/ 16 h 32"/>
                <a:gd name="T24" fmla="*/ 56 w 94"/>
                <a:gd name="T25" fmla="*/ 14 h 32"/>
                <a:gd name="T26" fmla="*/ 76 w 94"/>
                <a:gd name="T27" fmla="*/ 9 h 32"/>
                <a:gd name="T28" fmla="*/ 94 w 94"/>
                <a:gd name="T2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32">
                  <a:moveTo>
                    <a:pt x="94" y="0"/>
                  </a:moveTo>
                  <a:lnTo>
                    <a:pt x="81" y="15"/>
                  </a:lnTo>
                  <a:lnTo>
                    <a:pt x="67" y="25"/>
                  </a:lnTo>
                  <a:lnTo>
                    <a:pt x="51" y="31"/>
                  </a:lnTo>
                  <a:lnTo>
                    <a:pt x="37" y="32"/>
                  </a:lnTo>
                  <a:lnTo>
                    <a:pt x="24" y="29"/>
                  </a:lnTo>
                  <a:lnTo>
                    <a:pt x="13" y="24"/>
                  </a:lnTo>
                  <a:lnTo>
                    <a:pt x="4" y="15"/>
                  </a:lnTo>
                  <a:lnTo>
                    <a:pt x="0" y="5"/>
                  </a:lnTo>
                  <a:lnTo>
                    <a:pt x="8" y="11"/>
                  </a:lnTo>
                  <a:lnTo>
                    <a:pt x="20" y="15"/>
                  </a:lnTo>
                  <a:lnTo>
                    <a:pt x="37" y="16"/>
                  </a:lnTo>
                  <a:lnTo>
                    <a:pt x="56" y="14"/>
                  </a:lnTo>
                  <a:lnTo>
                    <a:pt x="76" y="9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9" name="Freeform 1610"/>
            <p:cNvSpPr>
              <a:spLocks/>
            </p:cNvSpPr>
            <p:nvPr/>
          </p:nvSpPr>
          <p:spPr bwMode="auto">
            <a:xfrm>
              <a:off x="10090151" y="381000"/>
              <a:ext cx="66675" cy="109538"/>
            </a:xfrm>
            <a:custGeom>
              <a:avLst/>
              <a:gdLst>
                <a:gd name="T0" fmla="*/ 33 w 42"/>
                <a:gd name="T1" fmla="*/ 0 h 69"/>
                <a:gd name="T2" fmla="*/ 26 w 42"/>
                <a:gd name="T3" fmla="*/ 5 h 69"/>
                <a:gd name="T4" fmla="*/ 21 w 42"/>
                <a:gd name="T5" fmla="*/ 14 h 69"/>
                <a:gd name="T6" fmla="*/ 20 w 42"/>
                <a:gd name="T7" fmla="*/ 27 h 69"/>
                <a:gd name="T8" fmla="*/ 21 w 42"/>
                <a:gd name="T9" fmla="*/ 41 h 69"/>
                <a:gd name="T10" fmla="*/ 29 w 42"/>
                <a:gd name="T11" fmla="*/ 55 h 69"/>
                <a:gd name="T12" fmla="*/ 42 w 42"/>
                <a:gd name="T13" fmla="*/ 69 h 69"/>
                <a:gd name="T14" fmla="*/ 23 w 42"/>
                <a:gd name="T15" fmla="*/ 63 h 69"/>
                <a:gd name="T16" fmla="*/ 11 w 42"/>
                <a:gd name="T17" fmla="*/ 55 h 69"/>
                <a:gd name="T18" fmla="*/ 3 w 42"/>
                <a:gd name="T19" fmla="*/ 46 h 69"/>
                <a:gd name="T20" fmla="*/ 0 w 42"/>
                <a:gd name="T21" fmla="*/ 37 h 69"/>
                <a:gd name="T22" fmla="*/ 1 w 42"/>
                <a:gd name="T23" fmla="*/ 27 h 69"/>
                <a:gd name="T24" fmla="*/ 5 w 42"/>
                <a:gd name="T25" fmla="*/ 18 h 69"/>
                <a:gd name="T26" fmla="*/ 12 w 42"/>
                <a:gd name="T27" fmla="*/ 9 h 69"/>
                <a:gd name="T28" fmla="*/ 21 w 42"/>
                <a:gd name="T29" fmla="*/ 2 h 69"/>
                <a:gd name="T30" fmla="*/ 33 w 42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69">
                  <a:moveTo>
                    <a:pt x="33" y="0"/>
                  </a:moveTo>
                  <a:lnTo>
                    <a:pt x="26" y="5"/>
                  </a:lnTo>
                  <a:lnTo>
                    <a:pt x="21" y="14"/>
                  </a:lnTo>
                  <a:lnTo>
                    <a:pt x="20" y="27"/>
                  </a:lnTo>
                  <a:lnTo>
                    <a:pt x="21" y="41"/>
                  </a:lnTo>
                  <a:lnTo>
                    <a:pt x="29" y="55"/>
                  </a:lnTo>
                  <a:lnTo>
                    <a:pt x="42" y="69"/>
                  </a:lnTo>
                  <a:lnTo>
                    <a:pt x="23" y="63"/>
                  </a:lnTo>
                  <a:lnTo>
                    <a:pt x="11" y="55"/>
                  </a:lnTo>
                  <a:lnTo>
                    <a:pt x="3" y="46"/>
                  </a:lnTo>
                  <a:lnTo>
                    <a:pt x="0" y="37"/>
                  </a:lnTo>
                  <a:lnTo>
                    <a:pt x="1" y="27"/>
                  </a:lnTo>
                  <a:lnTo>
                    <a:pt x="5" y="18"/>
                  </a:lnTo>
                  <a:lnTo>
                    <a:pt x="12" y="9"/>
                  </a:lnTo>
                  <a:lnTo>
                    <a:pt x="21" y="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0" name="Freeform 1611"/>
            <p:cNvSpPr>
              <a:spLocks/>
            </p:cNvSpPr>
            <p:nvPr/>
          </p:nvSpPr>
          <p:spPr bwMode="auto">
            <a:xfrm>
              <a:off x="10052051" y="395288"/>
              <a:ext cx="69850" cy="109538"/>
            </a:xfrm>
            <a:custGeom>
              <a:avLst/>
              <a:gdLst>
                <a:gd name="T0" fmla="*/ 44 w 44"/>
                <a:gd name="T1" fmla="*/ 0 h 69"/>
                <a:gd name="T2" fmla="*/ 36 w 44"/>
                <a:gd name="T3" fmla="*/ 5 h 69"/>
                <a:gd name="T4" fmla="*/ 29 w 44"/>
                <a:gd name="T5" fmla="*/ 15 h 69"/>
                <a:gd name="T6" fmla="*/ 24 w 44"/>
                <a:gd name="T7" fmla="*/ 31 h 69"/>
                <a:gd name="T8" fmla="*/ 25 w 44"/>
                <a:gd name="T9" fmla="*/ 49 h 69"/>
                <a:gd name="T10" fmla="*/ 31 w 44"/>
                <a:gd name="T11" fmla="*/ 69 h 69"/>
                <a:gd name="T12" fmla="*/ 15 w 44"/>
                <a:gd name="T13" fmla="*/ 56 h 69"/>
                <a:gd name="T14" fmla="*/ 4 w 44"/>
                <a:gd name="T15" fmla="*/ 45 h 69"/>
                <a:gd name="T16" fmla="*/ 0 w 44"/>
                <a:gd name="T17" fmla="*/ 32 h 69"/>
                <a:gd name="T18" fmla="*/ 3 w 44"/>
                <a:gd name="T19" fmla="*/ 20 h 69"/>
                <a:gd name="T20" fmla="*/ 8 w 44"/>
                <a:gd name="T21" fmla="*/ 11 h 69"/>
                <a:gd name="T22" fmla="*/ 18 w 44"/>
                <a:gd name="T23" fmla="*/ 5 h 69"/>
                <a:gd name="T24" fmla="*/ 30 w 44"/>
                <a:gd name="T25" fmla="*/ 0 h 69"/>
                <a:gd name="T26" fmla="*/ 44 w 44"/>
                <a:gd name="T2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69">
                  <a:moveTo>
                    <a:pt x="44" y="0"/>
                  </a:moveTo>
                  <a:lnTo>
                    <a:pt x="36" y="5"/>
                  </a:lnTo>
                  <a:lnTo>
                    <a:pt x="29" y="15"/>
                  </a:lnTo>
                  <a:lnTo>
                    <a:pt x="24" y="31"/>
                  </a:lnTo>
                  <a:lnTo>
                    <a:pt x="25" y="49"/>
                  </a:lnTo>
                  <a:lnTo>
                    <a:pt x="31" y="69"/>
                  </a:lnTo>
                  <a:lnTo>
                    <a:pt x="15" y="56"/>
                  </a:lnTo>
                  <a:lnTo>
                    <a:pt x="4" y="45"/>
                  </a:lnTo>
                  <a:lnTo>
                    <a:pt x="0" y="32"/>
                  </a:lnTo>
                  <a:lnTo>
                    <a:pt x="3" y="20"/>
                  </a:lnTo>
                  <a:lnTo>
                    <a:pt x="8" y="11"/>
                  </a:lnTo>
                  <a:lnTo>
                    <a:pt x="18" y="5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1" name="Freeform 1612"/>
            <p:cNvSpPr>
              <a:spLocks/>
            </p:cNvSpPr>
            <p:nvPr/>
          </p:nvSpPr>
          <p:spPr bwMode="auto">
            <a:xfrm>
              <a:off x="10013951" y="560388"/>
              <a:ext cx="347663" cy="260350"/>
            </a:xfrm>
            <a:custGeom>
              <a:avLst/>
              <a:gdLst>
                <a:gd name="T0" fmla="*/ 0 w 219"/>
                <a:gd name="T1" fmla="*/ 0 h 164"/>
                <a:gd name="T2" fmla="*/ 5 w 219"/>
                <a:gd name="T3" fmla="*/ 19 h 164"/>
                <a:gd name="T4" fmla="*/ 12 w 219"/>
                <a:gd name="T5" fmla="*/ 36 h 164"/>
                <a:gd name="T6" fmla="*/ 13 w 219"/>
                <a:gd name="T7" fmla="*/ 56 h 164"/>
                <a:gd name="T8" fmla="*/ 17 w 219"/>
                <a:gd name="T9" fmla="*/ 75 h 164"/>
                <a:gd name="T10" fmla="*/ 22 w 219"/>
                <a:gd name="T11" fmla="*/ 95 h 164"/>
                <a:gd name="T12" fmla="*/ 30 w 219"/>
                <a:gd name="T13" fmla="*/ 111 h 164"/>
                <a:gd name="T14" fmla="*/ 41 w 219"/>
                <a:gd name="T15" fmla="*/ 124 h 164"/>
                <a:gd name="T16" fmla="*/ 51 w 219"/>
                <a:gd name="T17" fmla="*/ 133 h 164"/>
                <a:gd name="T18" fmla="*/ 59 w 219"/>
                <a:gd name="T19" fmla="*/ 140 h 164"/>
                <a:gd name="T20" fmla="*/ 66 w 219"/>
                <a:gd name="T21" fmla="*/ 142 h 164"/>
                <a:gd name="T22" fmla="*/ 73 w 219"/>
                <a:gd name="T23" fmla="*/ 145 h 164"/>
                <a:gd name="T24" fmla="*/ 81 w 219"/>
                <a:gd name="T25" fmla="*/ 146 h 164"/>
                <a:gd name="T26" fmla="*/ 90 w 219"/>
                <a:gd name="T27" fmla="*/ 147 h 164"/>
                <a:gd name="T28" fmla="*/ 95 w 219"/>
                <a:gd name="T29" fmla="*/ 146 h 164"/>
                <a:gd name="T30" fmla="*/ 99 w 219"/>
                <a:gd name="T31" fmla="*/ 145 h 164"/>
                <a:gd name="T32" fmla="*/ 103 w 219"/>
                <a:gd name="T33" fmla="*/ 142 h 164"/>
                <a:gd name="T34" fmla="*/ 109 w 219"/>
                <a:gd name="T35" fmla="*/ 141 h 164"/>
                <a:gd name="T36" fmla="*/ 118 w 219"/>
                <a:gd name="T37" fmla="*/ 142 h 164"/>
                <a:gd name="T38" fmla="*/ 126 w 219"/>
                <a:gd name="T39" fmla="*/ 145 h 164"/>
                <a:gd name="T40" fmla="*/ 132 w 219"/>
                <a:gd name="T41" fmla="*/ 147 h 164"/>
                <a:gd name="T42" fmla="*/ 141 w 219"/>
                <a:gd name="T43" fmla="*/ 146 h 164"/>
                <a:gd name="T44" fmla="*/ 150 w 219"/>
                <a:gd name="T45" fmla="*/ 145 h 164"/>
                <a:gd name="T46" fmla="*/ 157 w 219"/>
                <a:gd name="T47" fmla="*/ 142 h 164"/>
                <a:gd name="T48" fmla="*/ 163 w 219"/>
                <a:gd name="T49" fmla="*/ 140 h 164"/>
                <a:gd name="T50" fmla="*/ 171 w 219"/>
                <a:gd name="T51" fmla="*/ 133 h 164"/>
                <a:gd name="T52" fmla="*/ 182 w 219"/>
                <a:gd name="T53" fmla="*/ 124 h 164"/>
                <a:gd name="T54" fmla="*/ 193 w 219"/>
                <a:gd name="T55" fmla="*/ 111 h 164"/>
                <a:gd name="T56" fmla="*/ 200 w 219"/>
                <a:gd name="T57" fmla="*/ 95 h 164"/>
                <a:gd name="T58" fmla="*/ 205 w 219"/>
                <a:gd name="T59" fmla="*/ 75 h 164"/>
                <a:gd name="T60" fmla="*/ 209 w 219"/>
                <a:gd name="T61" fmla="*/ 56 h 164"/>
                <a:gd name="T62" fmla="*/ 212 w 219"/>
                <a:gd name="T63" fmla="*/ 36 h 164"/>
                <a:gd name="T64" fmla="*/ 216 w 219"/>
                <a:gd name="T65" fmla="*/ 23 h 164"/>
                <a:gd name="T66" fmla="*/ 219 w 219"/>
                <a:gd name="T67" fmla="*/ 7 h 164"/>
                <a:gd name="T68" fmla="*/ 219 w 219"/>
                <a:gd name="T69" fmla="*/ 14 h 164"/>
                <a:gd name="T70" fmla="*/ 219 w 219"/>
                <a:gd name="T71" fmla="*/ 34 h 164"/>
                <a:gd name="T72" fmla="*/ 216 w 219"/>
                <a:gd name="T73" fmla="*/ 57 h 164"/>
                <a:gd name="T74" fmla="*/ 210 w 219"/>
                <a:gd name="T75" fmla="*/ 79 h 164"/>
                <a:gd name="T76" fmla="*/ 204 w 219"/>
                <a:gd name="T77" fmla="*/ 101 h 164"/>
                <a:gd name="T78" fmla="*/ 195 w 219"/>
                <a:gd name="T79" fmla="*/ 117 h 164"/>
                <a:gd name="T80" fmla="*/ 181 w 219"/>
                <a:gd name="T81" fmla="*/ 131 h 164"/>
                <a:gd name="T82" fmla="*/ 163 w 219"/>
                <a:gd name="T83" fmla="*/ 143 h 164"/>
                <a:gd name="T84" fmla="*/ 142 w 219"/>
                <a:gd name="T85" fmla="*/ 154 h 164"/>
                <a:gd name="T86" fmla="*/ 123 w 219"/>
                <a:gd name="T87" fmla="*/ 161 h 164"/>
                <a:gd name="T88" fmla="*/ 110 w 219"/>
                <a:gd name="T89" fmla="*/ 164 h 164"/>
                <a:gd name="T90" fmla="*/ 96 w 219"/>
                <a:gd name="T91" fmla="*/ 161 h 164"/>
                <a:gd name="T92" fmla="*/ 77 w 219"/>
                <a:gd name="T93" fmla="*/ 154 h 164"/>
                <a:gd name="T94" fmla="*/ 58 w 219"/>
                <a:gd name="T95" fmla="*/ 143 h 164"/>
                <a:gd name="T96" fmla="*/ 40 w 219"/>
                <a:gd name="T97" fmla="*/ 131 h 164"/>
                <a:gd name="T98" fmla="*/ 26 w 219"/>
                <a:gd name="T99" fmla="*/ 117 h 164"/>
                <a:gd name="T100" fmla="*/ 17 w 219"/>
                <a:gd name="T101" fmla="*/ 100 h 164"/>
                <a:gd name="T102" fmla="*/ 10 w 219"/>
                <a:gd name="T103" fmla="*/ 79 h 164"/>
                <a:gd name="T104" fmla="*/ 4 w 219"/>
                <a:gd name="T105" fmla="*/ 57 h 164"/>
                <a:gd name="T106" fmla="*/ 1 w 219"/>
                <a:gd name="T107" fmla="*/ 34 h 164"/>
                <a:gd name="T108" fmla="*/ 0 w 219"/>
                <a:gd name="T109" fmla="*/ 14 h 164"/>
                <a:gd name="T110" fmla="*/ 0 w 219"/>
                <a:gd name="T111" fmla="*/ 6 h 164"/>
                <a:gd name="T112" fmla="*/ 0 w 219"/>
                <a:gd name="T113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4">
                  <a:moveTo>
                    <a:pt x="0" y="0"/>
                  </a:moveTo>
                  <a:lnTo>
                    <a:pt x="5" y="19"/>
                  </a:lnTo>
                  <a:lnTo>
                    <a:pt x="12" y="36"/>
                  </a:lnTo>
                  <a:lnTo>
                    <a:pt x="13" y="56"/>
                  </a:lnTo>
                  <a:lnTo>
                    <a:pt x="17" y="75"/>
                  </a:lnTo>
                  <a:lnTo>
                    <a:pt x="22" y="95"/>
                  </a:lnTo>
                  <a:lnTo>
                    <a:pt x="30" y="111"/>
                  </a:lnTo>
                  <a:lnTo>
                    <a:pt x="41" y="124"/>
                  </a:lnTo>
                  <a:lnTo>
                    <a:pt x="51" y="133"/>
                  </a:lnTo>
                  <a:lnTo>
                    <a:pt x="59" y="140"/>
                  </a:lnTo>
                  <a:lnTo>
                    <a:pt x="66" y="142"/>
                  </a:lnTo>
                  <a:lnTo>
                    <a:pt x="73" y="145"/>
                  </a:lnTo>
                  <a:lnTo>
                    <a:pt x="81" y="146"/>
                  </a:lnTo>
                  <a:lnTo>
                    <a:pt x="90" y="147"/>
                  </a:lnTo>
                  <a:lnTo>
                    <a:pt x="95" y="146"/>
                  </a:lnTo>
                  <a:lnTo>
                    <a:pt x="99" y="145"/>
                  </a:lnTo>
                  <a:lnTo>
                    <a:pt x="103" y="142"/>
                  </a:lnTo>
                  <a:lnTo>
                    <a:pt x="109" y="141"/>
                  </a:lnTo>
                  <a:lnTo>
                    <a:pt x="118" y="142"/>
                  </a:lnTo>
                  <a:lnTo>
                    <a:pt x="126" y="145"/>
                  </a:lnTo>
                  <a:lnTo>
                    <a:pt x="132" y="147"/>
                  </a:lnTo>
                  <a:lnTo>
                    <a:pt x="141" y="146"/>
                  </a:lnTo>
                  <a:lnTo>
                    <a:pt x="150" y="145"/>
                  </a:lnTo>
                  <a:lnTo>
                    <a:pt x="157" y="142"/>
                  </a:lnTo>
                  <a:lnTo>
                    <a:pt x="163" y="140"/>
                  </a:lnTo>
                  <a:lnTo>
                    <a:pt x="171" y="133"/>
                  </a:lnTo>
                  <a:lnTo>
                    <a:pt x="182" y="124"/>
                  </a:lnTo>
                  <a:lnTo>
                    <a:pt x="193" y="111"/>
                  </a:lnTo>
                  <a:lnTo>
                    <a:pt x="200" y="95"/>
                  </a:lnTo>
                  <a:lnTo>
                    <a:pt x="205" y="75"/>
                  </a:lnTo>
                  <a:lnTo>
                    <a:pt x="209" y="56"/>
                  </a:lnTo>
                  <a:lnTo>
                    <a:pt x="212" y="36"/>
                  </a:lnTo>
                  <a:lnTo>
                    <a:pt x="216" y="23"/>
                  </a:lnTo>
                  <a:lnTo>
                    <a:pt x="219" y="7"/>
                  </a:lnTo>
                  <a:lnTo>
                    <a:pt x="219" y="14"/>
                  </a:lnTo>
                  <a:lnTo>
                    <a:pt x="219" y="34"/>
                  </a:lnTo>
                  <a:lnTo>
                    <a:pt x="216" y="57"/>
                  </a:lnTo>
                  <a:lnTo>
                    <a:pt x="210" y="79"/>
                  </a:lnTo>
                  <a:lnTo>
                    <a:pt x="204" y="101"/>
                  </a:lnTo>
                  <a:lnTo>
                    <a:pt x="195" y="117"/>
                  </a:lnTo>
                  <a:lnTo>
                    <a:pt x="181" y="131"/>
                  </a:lnTo>
                  <a:lnTo>
                    <a:pt x="163" y="143"/>
                  </a:lnTo>
                  <a:lnTo>
                    <a:pt x="142" y="154"/>
                  </a:lnTo>
                  <a:lnTo>
                    <a:pt x="123" y="161"/>
                  </a:lnTo>
                  <a:lnTo>
                    <a:pt x="110" y="164"/>
                  </a:lnTo>
                  <a:lnTo>
                    <a:pt x="96" y="161"/>
                  </a:lnTo>
                  <a:lnTo>
                    <a:pt x="77" y="154"/>
                  </a:lnTo>
                  <a:lnTo>
                    <a:pt x="58" y="143"/>
                  </a:lnTo>
                  <a:lnTo>
                    <a:pt x="40" y="131"/>
                  </a:lnTo>
                  <a:lnTo>
                    <a:pt x="26" y="117"/>
                  </a:lnTo>
                  <a:lnTo>
                    <a:pt x="17" y="100"/>
                  </a:lnTo>
                  <a:lnTo>
                    <a:pt x="10" y="79"/>
                  </a:lnTo>
                  <a:lnTo>
                    <a:pt x="4" y="57"/>
                  </a:lnTo>
                  <a:lnTo>
                    <a:pt x="1" y="34"/>
                  </a:lnTo>
                  <a:lnTo>
                    <a:pt x="0" y="14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2" name="Freeform 1613"/>
            <p:cNvSpPr>
              <a:spLocks/>
            </p:cNvSpPr>
            <p:nvPr/>
          </p:nvSpPr>
          <p:spPr bwMode="auto">
            <a:xfrm>
              <a:off x="9963151" y="1597025"/>
              <a:ext cx="87313" cy="34925"/>
            </a:xfrm>
            <a:custGeom>
              <a:avLst/>
              <a:gdLst>
                <a:gd name="T0" fmla="*/ 1 w 55"/>
                <a:gd name="T1" fmla="*/ 0 h 22"/>
                <a:gd name="T2" fmla="*/ 55 w 55"/>
                <a:gd name="T3" fmla="*/ 8 h 22"/>
                <a:gd name="T4" fmla="*/ 54 w 55"/>
                <a:gd name="T5" fmla="*/ 22 h 22"/>
                <a:gd name="T6" fmla="*/ 0 w 55"/>
                <a:gd name="T7" fmla="*/ 14 h 22"/>
                <a:gd name="T8" fmla="*/ 1 w 5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2">
                  <a:moveTo>
                    <a:pt x="1" y="0"/>
                  </a:moveTo>
                  <a:lnTo>
                    <a:pt x="55" y="8"/>
                  </a:lnTo>
                  <a:lnTo>
                    <a:pt x="54" y="22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73" name="Group 4772"/>
          <p:cNvGrpSpPr/>
          <p:nvPr/>
        </p:nvGrpSpPr>
        <p:grpSpPr>
          <a:xfrm>
            <a:off x="7169885" y="2517587"/>
            <a:ext cx="127701" cy="424224"/>
            <a:chOff x="7091363" y="3482975"/>
            <a:chExt cx="773113" cy="2593976"/>
          </a:xfrm>
        </p:grpSpPr>
        <p:sp>
          <p:nvSpPr>
            <p:cNvPr id="4774" name="Freeform 2165"/>
            <p:cNvSpPr>
              <a:spLocks/>
            </p:cNvSpPr>
            <p:nvPr/>
          </p:nvSpPr>
          <p:spPr bwMode="auto">
            <a:xfrm>
              <a:off x="7329488" y="3505200"/>
              <a:ext cx="401638" cy="900113"/>
            </a:xfrm>
            <a:custGeom>
              <a:avLst/>
              <a:gdLst>
                <a:gd name="T0" fmla="*/ 155 w 253"/>
                <a:gd name="T1" fmla="*/ 0 h 567"/>
                <a:gd name="T2" fmla="*/ 171 w 253"/>
                <a:gd name="T3" fmla="*/ 0 h 567"/>
                <a:gd name="T4" fmla="*/ 185 w 253"/>
                <a:gd name="T5" fmla="*/ 3 h 567"/>
                <a:gd name="T6" fmla="*/ 198 w 253"/>
                <a:gd name="T7" fmla="*/ 6 h 567"/>
                <a:gd name="T8" fmla="*/ 210 w 253"/>
                <a:gd name="T9" fmla="*/ 14 h 567"/>
                <a:gd name="T10" fmla="*/ 221 w 253"/>
                <a:gd name="T11" fmla="*/ 26 h 567"/>
                <a:gd name="T12" fmla="*/ 231 w 253"/>
                <a:gd name="T13" fmla="*/ 42 h 567"/>
                <a:gd name="T14" fmla="*/ 240 w 253"/>
                <a:gd name="T15" fmla="*/ 65 h 567"/>
                <a:gd name="T16" fmla="*/ 244 w 253"/>
                <a:gd name="T17" fmla="*/ 85 h 567"/>
                <a:gd name="T18" fmla="*/ 246 w 253"/>
                <a:gd name="T19" fmla="*/ 110 h 567"/>
                <a:gd name="T20" fmla="*/ 249 w 253"/>
                <a:gd name="T21" fmla="*/ 139 h 567"/>
                <a:gd name="T22" fmla="*/ 252 w 253"/>
                <a:gd name="T23" fmla="*/ 169 h 567"/>
                <a:gd name="T24" fmla="*/ 252 w 253"/>
                <a:gd name="T25" fmla="*/ 201 h 567"/>
                <a:gd name="T26" fmla="*/ 253 w 253"/>
                <a:gd name="T27" fmla="*/ 232 h 567"/>
                <a:gd name="T28" fmla="*/ 253 w 253"/>
                <a:gd name="T29" fmla="*/ 260 h 567"/>
                <a:gd name="T30" fmla="*/ 253 w 253"/>
                <a:gd name="T31" fmla="*/ 284 h 567"/>
                <a:gd name="T32" fmla="*/ 252 w 253"/>
                <a:gd name="T33" fmla="*/ 330 h 567"/>
                <a:gd name="T34" fmla="*/ 246 w 253"/>
                <a:gd name="T35" fmla="*/ 373 h 567"/>
                <a:gd name="T36" fmla="*/ 239 w 253"/>
                <a:gd name="T37" fmla="*/ 413 h 567"/>
                <a:gd name="T38" fmla="*/ 228 w 253"/>
                <a:gd name="T39" fmla="*/ 450 h 567"/>
                <a:gd name="T40" fmla="*/ 216 w 253"/>
                <a:gd name="T41" fmla="*/ 484 h 567"/>
                <a:gd name="T42" fmla="*/ 201 w 253"/>
                <a:gd name="T43" fmla="*/ 512 h 567"/>
                <a:gd name="T44" fmla="*/ 185 w 253"/>
                <a:gd name="T45" fmla="*/ 535 h 567"/>
                <a:gd name="T46" fmla="*/ 167 w 253"/>
                <a:gd name="T47" fmla="*/ 552 h 567"/>
                <a:gd name="T48" fmla="*/ 146 w 253"/>
                <a:gd name="T49" fmla="*/ 563 h 567"/>
                <a:gd name="T50" fmla="*/ 126 w 253"/>
                <a:gd name="T51" fmla="*/ 567 h 567"/>
                <a:gd name="T52" fmla="*/ 105 w 253"/>
                <a:gd name="T53" fmla="*/ 563 h 567"/>
                <a:gd name="T54" fmla="*/ 86 w 253"/>
                <a:gd name="T55" fmla="*/ 552 h 567"/>
                <a:gd name="T56" fmla="*/ 68 w 253"/>
                <a:gd name="T57" fmla="*/ 535 h 567"/>
                <a:gd name="T58" fmla="*/ 51 w 253"/>
                <a:gd name="T59" fmla="*/ 512 h 567"/>
                <a:gd name="T60" fmla="*/ 37 w 253"/>
                <a:gd name="T61" fmla="*/ 484 h 567"/>
                <a:gd name="T62" fmla="*/ 24 w 253"/>
                <a:gd name="T63" fmla="*/ 450 h 567"/>
                <a:gd name="T64" fmla="*/ 14 w 253"/>
                <a:gd name="T65" fmla="*/ 413 h 567"/>
                <a:gd name="T66" fmla="*/ 6 w 253"/>
                <a:gd name="T67" fmla="*/ 373 h 567"/>
                <a:gd name="T68" fmla="*/ 1 w 253"/>
                <a:gd name="T69" fmla="*/ 330 h 567"/>
                <a:gd name="T70" fmla="*/ 0 w 253"/>
                <a:gd name="T71" fmla="*/ 284 h 567"/>
                <a:gd name="T72" fmla="*/ 0 w 253"/>
                <a:gd name="T73" fmla="*/ 253 h 567"/>
                <a:gd name="T74" fmla="*/ 0 w 253"/>
                <a:gd name="T75" fmla="*/ 221 h 567"/>
                <a:gd name="T76" fmla="*/ 1 w 253"/>
                <a:gd name="T77" fmla="*/ 187 h 567"/>
                <a:gd name="T78" fmla="*/ 4 w 253"/>
                <a:gd name="T79" fmla="*/ 155 h 567"/>
                <a:gd name="T80" fmla="*/ 8 w 253"/>
                <a:gd name="T81" fmla="*/ 126 h 567"/>
                <a:gd name="T82" fmla="*/ 14 w 253"/>
                <a:gd name="T83" fmla="*/ 100 h 567"/>
                <a:gd name="T84" fmla="*/ 24 w 253"/>
                <a:gd name="T85" fmla="*/ 72 h 567"/>
                <a:gd name="T86" fmla="*/ 39 w 253"/>
                <a:gd name="T87" fmla="*/ 49 h 567"/>
                <a:gd name="T88" fmla="*/ 54 w 253"/>
                <a:gd name="T89" fmla="*/ 30 h 567"/>
                <a:gd name="T90" fmla="*/ 71 w 253"/>
                <a:gd name="T91" fmla="*/ 17 h 567"/>
                <a:gd name="T92" fmla="*/ 89 w 253"/>
                <a:gd name="T93" fmla="*/ 8 h 567"/>
                <a:gd name="T94" fmla="*/ 108 w 253"/>
                <a:gd name="T95" fmla="*/ 3 h 567"/>
                <a:gd name="T96" fmla="*/ 126 w 253"/>
                <a:gd name="T97" fmla="*/ 1 h 567"/>
                <a:gd name="T98" fmla="*/ 141 w 253"/>
                <a:gd name="T99" fmla="*/ 0 h 567"/>
                <a:gd name="T100" fmla="*/ 155 w 253"/>
                <a:gd name="T101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3" h="567">
                  <a:moveTo>
                    <a:pt x="155" y="0"/>
                  </a:moveTo>
                  <a:lnTo>
                    <a:pt x="171" y="0"/>
                  </a:lnTo>
                  <a:lnTo>
                    <a:pt x="185" y="3"/>
                  </a:lnTo>
                  <a:lnTo>
                    <a:pt x="198" y="6"/>
                  </a:lnTo>
                  <a:lnTo>
                    <a:pt x="210" y="14"/>
                  </a:lnTo>
                  <a:lnTo>
                    <a:pt x="221" y="26"/>
                  </a:lnTo>
                  <a:lnTo>
                    <a:pt x="231" y="42"/>
                  </a:lnTo>
                  <a:lnTo>
                    <a:pt x="240" y="65"/>
                  </a:lnTo>
                  <a:lnTo>
                    <a:pt x="244" y="85"/>
                  </a:lnTo>
                  <a:lnTo>
                    <a:pt x="246" y="110"/>
                  </a:lnTo>
                  <a:lnTo>
                    <a:pt x="249" y="139"/>
                  </a:lnTo>
                  <a:lnTo>
                    <a:pt x="252" y="169"/>
                  </a:lnTo>
                  <a:lnTo>
                    <a:pt x="252" y="201"/>
                  </a:lnTo>
                  <a:lnTo>
                    <a:pt x="253" y="232"/>
                  </a:lnTo>
                  <a:lnTo>
                    <a:pt x="253" y="260"/>
                  </a:lnTo>
                  <a:lnTo>
                    <a:pt x="253" y="284"/>
                  </a:lnTo>
                  <a:lnTo>
                    <a:pt x="252" y="330"/>
                  </a:lnTo>
                  <a:lnTo>
                    <a:pt x="246" y="373"/>
                  </a:lnTo>
                  <a:lnTo>
                    <a:pt x="239" y="413"/>
                  </a:lnTo>
                  <a:lnTo>
                    <a:pt x="228" y="450"/>
                  </a:lnTo>
                  <a:lnTo>
                    <a:pt x="216" y="484"/>
                  </a:lnTo>
                  <a:lnTo>
                    <a:pt x="201" y="512"/>
                  </a:lnTo>
                  <a:lnTo>
                    <a:pt x="185" y="535"/>
                  </a:lnTo>
                  <a:lnTo>
                    <a:pt x="167" y="552"/>
                  </a:lnTo>
                  <a:lnTo>
                    <a:pt x="146" y="563"/>
                  </a:lnTo>
                  <a:lnTo>
                    <a:pt x="126" y="567"/>
                  </a:lnTo>
                  <a:lnTo>
                    <a:pt x="105" y="563"/>
                  </a:lnTo>
                  <a:lnTo>
                    <a:pt x="86" y="552"/>
                  </a:lnTo>
                  <a:lnTo>
                    <a:pt x="68" y="535"/>
                  </a:lnTo>
                  <a:lnTo>
                    <a:pt x="51" y="512"/>
                  </a:lnTo>
                  <a:lnTo>
                    <a:pt x="37" y="484"/>
                  </a:lnTo>
                  <a:lnTo>
                    <a:pt x="24" y="450"/>
                  </a:lnTo>
                  <a:lnTo>
                    <a:pt x="14" y="413"/>
                  </a:lnTo>
                  <a:lnTo>
                    <a:pt x="6" y="373"/>
                  </a:lnTo>
                  <a:lnTo>
                    <a:pt x="1" y="330"/>
                  </a:lnTo>
                  <a:lnTo>
                    <a:pt x="0" y="284"/>
                  </a:lnTo>
                  <a:lnTo>
                    <a:pt x="0" y="253"/>
                  </a:lnTo>
                  <a:lnTo>
                    <a:pt x="0" y="221"/>
                  </a:lnTo>
                  <a:lnTo>
                    <a:pt x="1" y="187"/>
                  </a:lnTo>
                  <a:lnTo>
                    <a:pt x="4" y="155"/>
                  </a:lnTo>
                  <a:lnTo>
                    <a:pt x="8" y="126"/>
                  </a:lnTo>
                  <a:lnTo>
                    <a:pt x="14" y="100"/>
                  </a:lnTo>
                  <a:lnTo>
                    <a:pt x="24" y="72"/>
                  </a:lnTo>
                  <a:lnTo>
                    <a:pt x="39" y="49"/>
                  </a:lnTo>
                  <a:lnTo>
                    <a:pt x="54" y="30"/>
                  </a:lnTo>
                  <a:lnTo>
                    <a:pt x="71" y="17"/>
                  </a:lnTo>
                  <a:lnTo>
                    <a:pt x="89" y="8"/>
                  </a:lnTo>
                  <a:lnTo>
                    <a:pt x="108" y="3"/>
                  </a:lnTo>
                  <a:lnTo>
                    <a:pt x="126" y="1"/>
                  </a:lnTo>
                  <a:lnTo>
                    <a:pt x="141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5" name="Freeform 2166"/>
            <p:cNvSpPr>
              <a:spLocks/>
            </p:cNvSpPr>
            <p:nvPr/>
          </p:nvSpPr>
          <p:spPr bwMode="auto">
            <a:xfrm>
              <a:off x="7408863" y="3556000"/>
              <a:ext cx="107950" cy="576263"/>
            </a:xfrm>
            <a:custGeom>
              <a:avLst/>
              <a:gdLst>
                <a:gd name="T0" fmla="*/ 68 w 68"/>
                <a:gd name="T1" fmla="*/ 0 h 363"/>
                <a:gd name="T2" fmla="*/ 51 w 68"/>
                <a:gd name="T3" fmla="*/ 33 h 363"/>
                <a:gd name="T4" fmla="*/ 40 w 68"/>
                <a:gd name="T5" fmla="*/ 72 h 363"/>
                <a:gd name="T6" fmla="*/ 31 w 68"/>
                <a:gd name="T7" fmla="*/ 116 h 363"/>
                <a:gd name="T8" fmla="*/ 26 w 68"/>
                <a:gd name="T9" fmla="*/ 162 h 363"/>
                <a:gd name="T10" fmla="*/ 26 w 68"/>
                <a:gd name="T11" fmla="*/ 211 h 363"/>
                <a:gd name="T12" fmla="*/ 28 w 68"/>
                <a:gd name="T13" fmla="*/ 261 h 363"/>
                <a:gd name="T14" fmla="*/ 36 w 68"/>
                <a:gd name="T15" fmla="*/ 312 h 363"/>
                <a:gd name="T16" fmla="*/ 48 w 68"/>
                <a:gd name="T17" fmla="*/ 363 h 363"/>
                <a:gd name="T18" fmla="*/ 44 w 68"/>
                <a:gd name="T19" fmla="*/ 357 h 363"/>
                <a:gd name="T20" fmla="*/ 37 w 68"/>
                <a:gd name="T21" fmla="*/ 345 h 363"/>
                <a:gd name="T22" fmla="*/ 31 w 68"/>
                <a:gd name="T23" fmla="*/ 329 h 363"/>
                <a:gd name="T24" fmla="*/ 24 w 68"/>
                <a:gd name="T25" fmla="*/ 308 h 363"/>
                <a:gd name="T26" fmla="*/ 17 w 68"/>
                <a:gd name="T27" fmla="*/ 285 h 363"/>
                <a:gd name="T28" fmla="*/ 12 w 68"/>
                <a:gd name="T29" fmla="*/ 259 h 363"/>
                <a:gd name="T30" fmla="*/ 7 w 68"/>
                <a:gd name="T31" fmla="*/ 231 h 363"/>
                <a:gd name="T32" fmla="*/ 3 w 68"/>
                <a:gd name="T33" fmla="*/ 203 h 363"/>
                <a:gd name="T34" fmla="*/ 0 w 68"/>
                <a:gd name="T35" fmla="*/ 172 h 363"/>
                <a:gd name="T36" fmla="*/ 0 w 68"/>
                <a:gd name="T37" fmla="*/ 143 h 363"/>
                <a:gd name="T38" fmla="*/ 3 w 68"/>
                <a:gd name="T39" fmla="*/ 114 h 363"/>
                <a:gd name="T40" fmla="*/ 8 w 68"/>
                <a:gd name="T41" fmla="*/ 86 h 363"/>
                <a:gd name="T42" fmla="*/ 17 w 68"/>
                <a:gd name="T43" fmla="*/ 60 h 363"/>
                <a:gd name="T44" fmla="*/ 30 w 68"/>
                <a:gd name="T45" fmla="*/ 37 h 363"/>
                <a:gd name="T46" fmla="*/ 46 w 68"/>
                <a:gd name="T47" fmla="*/ 17 h 363"/>
                <a:gd name="T48" fmla="*/ 68 w 68"/>
                <a:gd name="T49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" h="363">
                  <a:moveTo>
                    <a:pt x="68" y="0"/>
                  </a:moveTo>
                  <a:lnTo>
                    <a:pt x="51" y="33"/>
                  </a:lnTo>
                  <a:lnTo>
                    <a:pt x="40" y="72"/>
                  </a:lnTo>
                  <a:lnTo>
                    <a:pt x="31" y="116"/>
                  </a:lnTo>
                  <a:lnTo>
                    <a:pt x="26" y="162"/>
                  </a:lnTo>
                  <a:lnTo>
                    <a:pt x="26" y="211"/>
                  </a:lnTo>
                  <a:lnTo>
                    <a:pt x="28" y="261"/>
                  </a:lnTo>
                  <a:lnTo>
                    <a:pt x="36" y="312"/>
                  </a:lnTo>
                  <a:lnTo>
                    <a:pt x="48" y="363"/>
                  </a:lnTo>
                  <a:lnTo>
                    <a:pt x="44" y="357"/>
                  </a:lnTo>
                  <a:lnTo>
                    <a:pt x="37" y="345"/>
                  </a:lnTo>
                  <a:lnTo>
                    <a:pt x="31" y="329"/>
                  </a:lnTo>
                  <a:lnTo>
                    <a:pt x="24" y="308"/>
                  </a:lnTo>
                  <a:lnTo>
                    <a:pt x="17" y="285"/>
                  </a:lnTo>
                  <a:lnTo>
                    <a:pt x="12" y="259"/>
                  </a:lnTo>
                  <a:lnTo>
                    <a:pt x="7" y="231"/>
                  </a:lnTo>
                  <a:lnTo>
                    <a:pt x="3" y="203"/>
                  </a:lnTo>
                  <a:lnTo>
                    <a:pt x="0" y="172"/>
                  </a:lnTo>
                  <a:lnTo>
                    <a:pt x="0" y="143"/>
                  </a:lnTo>
                  <a:lnTo>
                    <a:pt x="3" y="114"/>
                  </a:lnTo>
                  <a:lnTo>
                    <a:pt x="8" y="86"/>
                  </a:lnTo>
                  <a:lnTo>
                    <a:pt x="17" y="60"/>
                  </a:lnTo>
                  <a:lnTo>
                    <a:pt x="30" y="37"/>
                  </a:lnTo>
                  <a:lnTo>
                    <a:pt x="46" y="17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6" name="Freeform 2167"/>
            <p:cNvSpPr>
              <a:spLocks/>
            </p:cNvSpPr>
            <p:nvPr/>
          </p:nvSpPr>
          <p:spPr bwMode="auto">
            <a:xfrm>
              <a:off x="7573963" y="3556000"/>
              <a:ext cx="107950" cy="576263"/>
            </a:xfrm>
            <a:custGeom>
              <a:avLst/>
              <a:gdLst>
                <a:gd name="T0" fmla="*/ 0 w 68"/>
                <a:gd name="T1" fmla="*/ 0 h 363"/>
                <a:gd name="T2" fmla="*/ 22 w 68"/>
                <a:gd name="T3" fmla="*/ 17 h 363"/>
                <a:gd name="T4" fmla="*/ 39 w 68"/>
                <a:gd name="T5" fmla="*/ 37 h 363"/>
                <a:gd name="T6" fmla="*/ 51 w 68"/>
                <a:gd name="T7" fmla="*/ 60 h 363"/>
                <a:gd name="T8" fmla="*/ 59 w 68"/>
                <a:gd name="T9" fmla="*/ 86 h 363"/>
                <a:gd name="T10" fmla="*/ 65 w 68"/>
                <a:gd name="T11" fmla="*/ 114 h 363"/>
                <a:gd name="T12" fmla="*/ 68 w 68"/>
                <a:gd name="T13" fmla="*/ 143 h 363"/>
                <a:gd name="T14" fmla="*/ 68 w 68"/>
                <a:gd name="T15" fmla="*/ 172 h 363"/>
                <a:gd name="T16" fmla="*/ 65 w 68"/>
                <a:gd name="T17" fmla="*/ 203 h 363"/>
                <a:gd name="T18" fmla="*/ 62 w 68"/>
                <a:gd name="T19" fmla="*/ 231 h 363"/>
                <a:gd name="T20" fmla="*/ 56 w 68"/>
                <a:gd name="T21" fmla="*/ 259 h 363"/>
                <a:gd name="T22" fmla="*/ 50 w 68"/>
                <a:gd name="T23" fmla="*/ 285 h 363"/>
                <a:gd name="T24" fmla="*/ 44 w 68"/>
                <a:gd name="T25" fmla="*/ 308 h 363"/>
                <a:gd name="T26" fmla="*/ 37 w 68"/>
                <a:gd name="T27" fmla="*/ 329 h 363"/>
                <a:gd name="T28" fmla="*/ 30 w 68"/>
                <a:gd name="T29" fmla="*/ 345 h 363"/>
                <a:gd name="T30" fmla="*/ 24 w 68"/>
                <a:gd name="T31" fmla="*/ 357 h 363"/>
                <a:gd name="T32" fmla="*/ 19 w 68"/>
                <a:gd name="T33" fmla="*/ 363 h 363"/>
                <a:gd name="T34" fmla="*/ 31 w 68"/>
                <a:gd name="T35" fmla="*/ 312 h 363"/>
                <a:gd name="T36" fmla="*/ 39 w 68"/>
                <a:gd name="T37" fmla="*/ 261 h 363"/>
                <a:gd name="T38" fmla="*/ 42 w 68"/>
                <a:gd name="T39" fmla="*/ 211 h 363"/>
                <a:gd name="T40" fmla="*/ 41 w 68"/>
                <a:gd name="T41" fmla="*/ 162 h 363"/>
                <a:gd name="T42" fmla="*/ 37 w 68"/>
                <a:gd name="T43" fmla="*/ 116 h 363"/>
                <a:gd name="T44" fmla="*/ 28 w 68"/>
                <a:gd name="T45" fmla="*/ 72 h 363"/>
                <a:gd name="T46" fmla="*/ 15 w 68"/>
                <a:gd name="T47" fmla="*/ 33 h 363"/>
                <a:gd name="T48" fmla="*/ 0 w 68"/>
                <a:gd name="T49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" h="363">
                  <a:moveTo>
                    <a:pt x="0" y="0"/>
                  </a:moveTo>
                  <a:lnTo>
                    <a:pt x="22" y="17"/>
                  </a:lnTo>
                  <a:lnTo>
                    <a:pt x="39" y="37"/>
                  </a:lnTo>
                  <a:lnTo>
                    <a:pt x="51" y="60"/>
                  </a:lnTo>
                  <a:lnTo>
                    <a:pt x="59" y="86"/>
                  </a:lnTo>
                  <a:lnTo>
                    <a:pt x="65" y="114"/>
                  </a:lnTo>
                  <a:lnTo>
                    <a:pt x="68" y="143"/>
                  </a:lnTo>
                  <a:lnTo>
                    <a:pt x="68" y="172"/>
                  </a:lnTo>
                  <a:lnTo>
                    <a:pt x="65" y="203"/>
                  </a:lnTo>
                  <a:lnTo>
                    <a:pt x="62" y="231"/>
                  </a:lnTo>
                  <a:lnTo>
                    <a:pt x="56" y="259"/>
                  </a:lnTo>
                  <a:lnTo>
                    <a:pt x="50" y="285"/>
                  </a:lnTo>
                  <a:lnTo>
                    <a:pt x="44" y="308"/>
                  </a:lnTo>
                  <a:lnTo>
                    <a:pt x="37" y="329"/>
                  </a:lnTo>
                  <a:lnTo>
                    <a:pt x="30" y="345"/>
                  </a:lnTo>
                  <a:lnTo>
                    <a:pt x="24" y="357"/>
                  </a:lnTo>
                  <a:lnTo>
                    <a:pt x="19" y="363"/>
                  </a:lnTo>
                  <a:lnTo>
                    <a:pt x="31" y="312"/>
                  </a:lnTo>
                  <a:lnTo>
                    <a:pt x="39" y="261"/>
                  </a:lnTo>
                  <a:lnTo>
                    <a:pt x="42" y="211"/>
                  </a:lnTo>
                  <a:lnTo>
                    <a:pt x="41" y="162"/>
                  </a:lnTo>
                  <a:lnTo>
                    <a:pt x="37" y="116"/>
                  </a:lnTo>
                  <a:lnTo>
                    <a:pt x="28" y="72"/>
                  </a:lnTo>
                  <a:lnTo>
                    <a:pt x="15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7" name="Freeform 2168"/>
            <p:cNvSpPr>
              <a:spLocks/>
            </p:cNvSpPr>
            <p:nvPr/>
          </p:nvSpPr>
          <p:spPr bwMode="auto">
            <a:xfrm>
              <a:off x="7683501" y="4549775"/>
              <a:ext cx="169863" cy="357188"/>
            </a:xfrm>
            <a:custGeom>
              <a:avLst/>
              <a:gdLst>
                <a:gd name="T0" fmla="*/ 7 w 107"/>
                <a:gd name="T1" fmla="*/ 0 h 225"/>
                <a:gd name="T2" fmla="*/ 13 w 107"/>
                <a:gd name="T3" fmla="*/ 3 h 225"/>
                <a:gd name="T4" fmla="*/ 22 w 107"/>
                <a:gd name="T5" fmla="*/ 12 h 225"/>
                <a:gd name="T6" fmla="*/ 29 w 107"/>
                <a:gd name="T7" fmla="*/ 22 h 225"/>
                <a:gd name="T8" fmla="*/ 32 w 107"/>
                <a:gd name="T9" fmla="*/ 30 h 225"/>
                <a:gd name="T10" fmla="*/ 36 w 107"/>
                <a:gd name="T11" fmla="*/ 36 h 225"/>
                <a:gd name="T12" fmla="*/ 40 w 107"/>
                <a:gd name="T13" fmla="*/ 43 h 225"/>
                <a:gd name="T14" fmla="*/ 44 w 107"/>
                <a:gd name="T15" fmla="*/ 49 h 225"/>
                <a:gd name="T16" fmla="*/ 50 w 107"/>
                <a:gd name="T17" fmla="*/ 57 h 225"/>
                <a:gd name="T18" fmla="*/ 61 w 107"/>
                <a:gd name="T19" fmla="*/ 68 h 225"/>
                <a:gd name="T20" fmla="*/ 73 w 107"/>
                <a:gd name="T21" fmla="*/ 84 h 225"/>
                <a:gd name="T22" fmla="*/ 84 w 107"/>
                <a:gd name="T23" fmla="*/ 100 h 225"/>
                <a:gd name="T24" fmla="*/ 94 w 107"/>
                <a:gd name="T25" fmla="*/ 118 h 225"/>
                <a:gd name="T26" fmla="*/ 100 w 107"/>
                <a:gd name="T27" fmla="*/ 136 h 225"/>
                <a:gd name="T28" fmla="*/ 104 w 107"/>
                <a:gd name="T29" fmla="*/ 155 h 225"/>
                <a:gd name="T30" fmla="*/ 107 w 107"/>
                <a:gd name="T31" fmla="*/ 173 h 225"/>
                <a:gd name="T32" fmla="*/ 106 w 107"/>
                <a:gd name="T33" fmla="*/ 190 h 225"/>
                <a:gd name="T34" fmla="*/ 102 w 107"/>
                <a:gd name="T35" fmla="*/ 206 h 225"/>
                <a:gd name="T36" fmla="*/ 94 w 107"/>
                <a:gd name="T37" fmla="*/ 216 h 225"/>
                <a:gd name="T38" fmla="*/ 82 w 107"/>
                <a:gd name="T39" fmla="*/ 223 h 225"/>
                <a:gd name="T40" fmla="*/ 67 w 107"/>
                <a:gd name="T41" fmla="*/ 225 h 225"/>
                <a:gd name="T42" fmla="*/ 53 w 107"/>
                <a:gd name="T43" fmla="*/ 221 h 225"/>
                <a:gd name="T44" fmla="*/ 41 w 107"/>
                <a:gd name="T45" fmla="*/ 214 h 225"/>
                <a:gd name="T46" fmla="*/ 35 w 107"/>
                <a:gd name="T47" fmla="*/ 203 h 225"/>
                <a:gd name="T48" fmla="*/ 30 w 107"/>
                <a:gd name="T49" fmla="*/ 189 h 225"/>
                <a:gd name="T50" fmla="*/ 27 w 107"/>
                <a:gd name="T51" fmla="*/ 172 h 225"/>
                <a:gd name="T52" fmla="*/ 27 w 107"/>
                <a:gd name="T53" fmla="*/ 154 h 225"/>
                <a:gd name="T54" fmla="*/ 27 w 107"/>
                <a:gd name="T55" fmla="*/ 136 h 225"/>
                <a:gd name="T56" fmla="*/ 27 w 107"/>
                <a:gd name="T57" fmla="*/ 117 h 225"/>
                <a:gd name="T58" fmla="*/ 27 w 107"/>
                <a:gd name="T59" fmla="*/ 99 h 225"/>
                <a:gd name="T60" fmla="*/ 26 w 107"/>
                <a:gd name="T61" fmla="*/ 82 h 225"/>
                <a:gd name="T62" fmla="*/ 22 w 107"/>
                <a:gd name="T63" fmla="*/ 67 h 225"/>
                <a:gd name="T64" fmla="*/ 18 w 107"/>
                <a:gd name="T65" fmla="*/ 54 h 225"/>
                <a:gd name="T66" fmla="*/ 8 w 107"/>
                <a:gd name="T67" fmla="*/ 39 h 225"/>
                <a:gd name="T68" fmla="*/ 3 w 107"/>
                <a:gd name="T69" fmla="*/ 25 h 225"/>
                <a:gd name="T70" fmla="*/ 0 w 107"/>
                <a:gd name="T71" fmla="*/ 12 h 225"/>
                <a:gd name="T72" fmla="*/ 3 w 107"/>
                <a:gd name="T73" fmla="*/ 4 h 225"/>
                <a:gd name="T74" fmla="*/ 7 w 107"/>
                <a:gd name="T7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7" h="225">
                  <a:moveTo>
                    <a:pt x="7" y="0"/>
                  </a:moveTo>
                  <a:lnTo>
                    <a:pt x="13" y="3"/>
                  </a:lnTo>
                  <a:lnTo>
                    <a:pt x="22" y="12"/>
                  </a:lnTo>
                  <a:lnTo>
                    <a:pt x="29" y="22"/>
                  </a:lnTo>
                  <a:lnTo>
                    <a:pt x="32" y="30"/>
                  </a:lnTo>
                  <a:lnTo>
                    <a:pt x="36" y="36"/>
                  </a:lnTo>
                  <a:lnTo>
                    <a:pt x="40" y="43"/>
                  </a:lnTo>
                  <a:lnTo>
                    <a:pt x="44" y="49"/>
                  </a:lnTo>
                  <a:lnTo>
                    <a:pt x="50" y="57"/>
                  </a:lnTo>
                  <a:lnTo>
                    <a:pt x="61" y="68"/>
                  </a:lnTo>
                  <a:lnTo>
                    <a:pt x="73" y="84"/>
                  </a:lnTo>
                  <a:lnTo>
                    <a:pt x="84" y="100"/>
                  </a:lnTo>
                  <a:lnTo>
                    <a:pt x="94" y="118"/>
                  </a:lnTo>
                  <a:lnTo>
                    <a:pt x="100" y="136"/>
                  </a:lnTo>
                  <a:lnTo>
                    <a:pt x="104" y="155"/>
                  </a:lnTo>
                  <a:lnTo>
                    <a:pt x="107" y="173"/>
                  </a:lnTo>
                  <a:lnTo>
                    <a:pt x="106" y="190"/>
                  </a:lnTo>
                  <a:lnTo>
                    <a:pt x="102" y="206"/>
                  </a:lnTo>
                  <a:lnTo>
                    <a:pt x="94" y="216"/>
                  </a:lnTo>
                  <a:lnTo>
                    <a:pt x="82" y="223"/>
                  </a:lnTo>
                  <a:lnTo>
                    <a:pt x="67" y="225"/>
                  </a:lnTo>
                  <a:lnTo>
                    <a:pt x="53" y="221"/>
                  </a:lnTo>
                  <a:lnTo>
                    <a:pt x="41" y="214"/>
                  </a:lnTo>
                  <a:lnTo>
                    <a:pt x="35" y="203"/>
                  </a:lnTo>
                  <a:lnTo>
                    <a:pt x="30" y="189"/>
                  </a:lnTo>
                  <a:lnTo>
                    <a:pt x="27" y="172"/>
                  </a:lnTo>
                  <a:lnTo>
                    <a:pt x="27" y="154"/>
                  </a:lnTo>
                  <a:lnTo>
                    <a:pt x="27" y="136"/>
                  </a:lnTo>
                  <a:lnTo>
                    <a:pt x="27" y="117"/>
                  </a:lnTo>
                  <a:lnTo>
                    <a:pt x="27" y="99"/>
                  </a:lnTo>
                  <a:lnTo>
                    <a:pt x="26" y="82"/>
                  </a:lnTo>
                  <a:lnTo>
                    <a:pt x="22" y="67"/>
                  </a:lnTo>
                  <a:lnTo>
                    <a:pt x="18" y="54"/>
                  </a:lnTo>
                  <a:lnTo>
                    <a:pt x="8" y="39"/>
                  </a:lnTo>
                  <a:lnTo>
                    <a:pt x="3" y="25"/>
                  </a:lnTo>
                  <a:lnTo>
                    <a:pt x="0" y="12"/>
                  </a:lnTo>
                  <a:lnTo>
                    <a:pt x="3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8" name="Freeform 2169"/>
            <p:cNvSpPr>
              <a:spLocks/>
            </p:cNvSpPr>
            <p:nvPr/>
          </p:nvSpPr>
          <p:spPr bwMode="auto">
            <a:xfrm>
              <a:off x="7626351" y="4025900"/>
              <a:ext cx="192088" cy="430213"/>
            </a:xfrm>
            <a:custGeom>
              <a:avLst/>
              <a:gdLst>
                <a:gd name="T0" fmla="*/ 35 w 121"/>
                <a:gd name="T1" fmla="*/ 0 h 271"/>
                <a:gd name="T2" fmla="*/ 48 w 121"/>
                <a:gd name="T3" fmla="*/ 7 h 271"/>
                <a:gd name="T4" fmla="*/ 58 w 121"/>
                <a:gd name="T5" fmla="*/ 18 h 271"/>
                <a:gd name="T6" fmla="*/ 68 w 121"/>
                <a:gd name="T7" fmla="*/ 33 h 271"/>
                <a:gd name="T8" fmla="*/ 79 w 121"/>
                <a:gd name="T9" fmla="*/ 51 h 271"/>
                <a:gd name="T10" fmla="*/ 86 w 121"/>
                <a:gd name="T11" fmla="*/ 70 h 271"/>
                <a:gd name="T12" fmla="*/ 93 w 121"/>
                <a:gd name="T13" fmla="*/ 89 h 271"/>
                <a:gd name="T14" fmla="*/ 98 w 121"/>
                <a:gd name="T15" fmla="*/ 107 h 271"/>
                <a:gd name="T16" fmla="*/ 102 w 121"/>
                <a:gd name="T17" fmla="*/ 124 h 271"/>
                <a:gd name="T18" fmla="*/ 106 w 121"/>
                <a:gd name="T19" fmla="*/ 142 h 271"/>
                <a:gd name="T20" fmla="*/ 109 w 121"/>
                <a:gd name="T21" fmla="*/ 161 h 271"/>
                <a:gd name="T22" fmla="*/ 115 w 121"/>
                <a:gd name="T23" fmla="*/ 181 h 271"/>
                <a:gd name="T24" fmla="*/ 117 w 121"/>
                <a:gd name="T25" fmla="*/ 202 h 271"/>
                <a:gd name="T26" fmla="*/ 120 w 121"/>
                <a:gd name="T27" fmla="*/ 222 h 271"/>
                <a:gd name="T28" fmla="*/ 121 w 121"/>
                <a:gd name="T29" fmla="*/ 240 h 271"/>
                <a:gd name="T30" fmla="*/ 121 w 121"/>
                <a:gd name="T31" fmla="*/ 255 h 271"/>
                <a:gd name="T32" fmla="*/ 117 w 121"/>
                <a:gd name="T33" fmla="*/ 266 h 271"/>
                <a:gd name="T34" fmla="*/ 112 w 121"/>
                <a:gd name="T35" fmla="*/ 271 h 271"/>
                <a:gd name="T36" fmla="*/ 104 w 121"/>
                <a:gd name="T37" fmla="*/ 270 h 271"/>
                <a:gd name="T38" fmla="*/ 95 w 121"/>
                <a:gd name="T39" fmla="*/ 263 h 271"/>
                <a:gd name="T40" fmla="*/ 86 w 121"/>
                <a:gd name="T41" fmla="*/ 252 h 271"/>
                <a:gd name="T42" fmla="*/ 77 w 121"/>
                <a:gd name="T43" fmla="*/ 237 h 271"/>
                <a:gd name="T44" fmla="*/ 68 w 121"/>
                <a:gd name="T45" fmla="*/ 219 h 271"/>
                <a:gd name="T46" fmla="*/ 59 w 121"/>
                <a:gd name="T47" fmla="*/ 199 h 271"/>
                <a:gd name="T48" fmla="*/ 50 w 121"/>
                <a:gd name="T49" fmla="*/ 180 h 271"/>
                <a:gd name="T50" fmla="*/ 43 w 121"/>
                <a:gd name="T51" fmla="*/ 161 h 271"/>
                <a:gd name="T52" fmla="*/ 36 w 121"/>
                <a:gd name="T53" fmla="*/ 145 h 271"/>
                <a:gd name="T54" fmla="*/ 30 w 121"/>
                <a:gd name="T55" fmla="*/ 131 h 271"/>
                <a:gd name="T56" fmla="*/ 23 w 121"/>
                <a:gd name="T57" fmla="*/ 115 h 271"/>
                <a:gd name="T58" fmla="*/ 16 w 121"/>
                <a:gd name="T59" fmla="*/ 97 h 271"/>
                <a:gd name="T60" fmla="*/ 9 w 121"/>
                <a:gd name="T61" fmla="*/ 79 h 271"/>
                <a:gd name="T62" fmla="*/ 4 w 121"/>
                <a:gd name="T63" fmla="*/ 61 h 271"/>
                <a:gd name="T64" fmla="*/ 2 w 121"/>
                <a:gd name="T65" fmla="*/ 44 h 271"/>
                <a:gd name="T66" fmla="*/ 0 w 121"/>
                <a:gd name="T67" fmla="*/ 29 h 271"/>
                <a:gd name="T68" fmla="*/ 3 w 121"/>
                <a:gd name="T69" fmla="*/ 16 h 271"/>
                <a:gd name="T70" fmla="*/ 9 w 121"/>
                <a:gd name="T71" fmla="*/ 7 h 271"/>
                <a:gd name="T72" fmla="*/ 21 w 121"/>
                <a:gd name="T73" fmla="*/ 2 h 271"/>
                <a:gd name="T74" fmla="*/ 35 w 121"/>
                <a:gd name="T75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1" h="271">
                  <a:moveTo>
                    <a:pt x="35" y="0"/>
                  </a:moveTo>
                  <a:lnTo>
                    <a:pt x="48" y="7"/>
                  </a:lnTo>
                  <a:lnTo>
                    <a:pt x="58" y="18"/>
                  </a:lnTo>
                  <a:lnTo>
                    <a:pt x="68" y="33"/>
                  </a:lnTo>
                  <a:lnTo>
                    <a:pt x="79" y="51"/>
                  </a:lnTo>
                  <a:lnTo>
                    <a:pt x="86" y="70"/>
                  </a:lnTo>
                  <a:lnTo>
                    <a:pt x="93" y="89"/>
                  </a:lnTo>
                  <a:lnTo>
                    <a:pt x="98" y="107"/>
                  </a:lnTo>
                  <a:lnTo>
                    <a:pt x="102" y="124"/>
                  </a:lnTo>
                  <a:lnTo>
                    <a:pt x="106" y="142"/>
                  </a:lnTo>
                  <a:lnTo>
                    <a:pt x="109" y="161"/>
                  </a:lnTo>
                  <a:lnTo>
                    <a:pt x="115" y="181"/>
                  </a:lnTo>
                  <a:lnTo>
                    <a:pt x="117" y="202"/>
                  </a:lnTo>
                  <a:lnTo>
                    <a:pt x="120" y="222"/>
                  </a:lnTo>
                  <a:lnTo>
                    <a:pt x="121" y="240"/>
                  </a:lnTo>
                  <a:lnTo>
                    <a:pt x="121" y="255"/>
                  </a:lnTo>
                  <a:lnTo>
                    <a:pt x="117" y="266"/>
                  </a:lnTo>
                  <a:lnTo>
                    <a:pt x="112" y="271"/>
                  </a:lnTo>
                  <a:lnTo>
                    <a:pt x="104" y="270"/>
                  </a:lnTo>
                  <a:lnTo>
                    <a:pt x="95" y="263"/>
                  </a:lnTo>
                  <a:lnTo>
                    <a:pt x="86" y="252"/>
                  </a:lnTo>
                  <a:lnTo>
                    <a:pt x="77" y="237"/>
                  </a:lnTo>
                  <a:lnTo>
                    <a:pt x="68" y="219"/>
                  </a:lnTo>
                  <a:lnTo>
                    <a:pt x="59" y="199"/>
                  </a:lnTo>
                  <a:lnTo>
                    <a:pt x="50" y="180"/>
                  </a:lnTo>
                  <a:lnTo>
                    <a:pt x="43" y="161"/>
                  </a:lnTo>
                  <a:lnTo>
                    <a:pt x="36" y="145"/>
                  </a:lnTo>
                  <a:lnTo>
                    <a:pt x="30" y="131"/>
                  </a:lnTo>
                  <a:lnTo>
                    <a:pt x="23" y="115"/>
                  </a:lnTo>
                  <a:lnTo>
                    <a:pt x="16" y="97"/>
                  </a:lnTo>
                  <a:lnTo>
                    <a:pt x="9" y="79"/>
                  </a:lnTo>
                  <a:lnTo>
                    <a:pt x="4" y="61"/>
                  </a:lnTo>
                  <a:lnTo>
                    <a:pt x="2" y="44"/>
                  </a:lnTo>
                  <a:lnTo>
                    <a:pt x="0" y="29"/>
                  </a:lnTo>
                  <a:lnTo>
                    <a:pt x="3" y="16"/>
                  </a:lnTo>
                  <a:lnTo>
                    <a:pt x="9" y="7"/>
                  </a:lnTo>
                  <a:lnTo>
                    <a:pt x="21" y="2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9" name="Freeform 2170"/>
            <p:cNvSpPr>
              <a:spLocks/>
            </p:cNvSpPr>
            <p:nvPr/>
          </p:nvSpPr>
          <p:spPr bwMode="auto">
            <a:xfrm>
              <a:off x="7312026" y="3989388"/>
              <a:ext cx="419100" cy="823913"/>
            </a:xfrm>
            <a:custGeom>
              <a:avLst/>
              <a:gdLst>
                <a:gd name="T0" fmla="*/ 128 w 264"/>
                <a:gd name="T1" fmla="*/ 0 h 519"/>
                <a:gd name="T2" fmla="*/ 153 w 264"/>
                <a:gd name="T3" fmla="*/ 0 h 519"/>
                <a:gd name="T4" fmla="*/ 178 w 264"/>
                <a:gd name="T5" fmla="*/ 3 h 519"/>
                <a:gd name="T6" fmla="*/ 201 w 264"/>
                <a:gd name="T7" fmla="*/ 8 h 519"/>
                <a:gd name="T8" fmla="*/ 220 w 264"/>
                <a:gd name="T9" fmla="*/ 16 h 519"/>
                <a:gd name="T10" fmla="*/ 238 w 264"/>
                <a:gd name="T11" fmla="*/ 25 h 519"/>
                <a:gd name="T12" fmla="*/ 252 w 264"/>
                <a:gd name="T13" fmla="*/ 35 h 519"/>
                <a:gd name="T14" fmla="*/ 260 w 264"/>
                <a:gd name="T15" fmla="*/ 49 h 519"/>
                <a:gd name="T16" fmla="*/ 264 w 264"/>
                <a:gd name="T17" fmla="*/ 65 h 519"/>
                <a:gd name="T18" fmla="*/ 261 w 264"/>
                <a:gd name="T19" fmla="*/ 82 h 519"/>
                <a:gd name="T20" fmla="*/ 250 w 264"/>
                <a:gd name="T21" fmla="*/ 115 h 519"/>
                <a:gd name="T22" fmla="*/ 239 w 264"/>
                <a:gd name="T23" fmla="*/ 147 h 519"/>
                <a:gd name="T24" fmla="*/ 230 w 264"/>
                <a:gd name="T25" fmla="*/ 177 h 519"/>
                <a:gd name="T26" fmla="*/ 224 w 264"/>
                <a:gd name="T27" fmla="*/ 208 h 519"/>
                <a:gd name="T28" fmla="*/ 220 w 264"/>
                <a:gd name="T29" fmla="*/ 236 h 519"/>
                <a:gd name="T30" fmla="*/ 220 w 264"/>
                <a:gd name="T31" fmla="*/ 263 h 519"/>
                <a:gd name="T32" fmla="*/ 227 w 264"/>
                <a:gd name="T33" fmla="*/ 288 h 519"/>
                <a:gd name="T34" fmla="*/ 241 w 264"/>
                <a:gd name="T35" fmla="*/ 325 h 519"/>
                <a:gd name="T36" fmla="*/ 252 w 264"/>
                <a:gd name="T37" fmla="*/ 356 h 519"/>
                <a:gd name="T38" fmla="*/ 260 w 264"/>
                <a:gd name="T39" fmla="*/ 385 h 519"/>
                <a:gd name="T40" fmla="*/ 263 w 264"/>
                <a:gd name="T41" fmla="*/ 412 h 519"/>
                <a:gd name="T42" fmla="*/ 259 w 264"/>
                <a:gd name="T43" fmla="*/ 428 h 519"/>
                <a:gd name="T44" fmla="*/ 250 w 264"/>
                <a:gd name="T45" fmla="*/ 444 h 519"/>
                <a:gd name="T46" fmla="*/ 236 w 264"/>
                <a:gd name="T47" fmla="*/ 462 h 519"/>
                <a:gd name="T48" fmla="*/ 219 w 264"/>
                <a:gd name="T49" fmla="*/ 480 h 519"/>
                <a:gd name="T50" fmla="*/ 200 w 264"/>
                <a:gd name="T51" fmla="*/ 496 h 519"/>
                <a:gd name="T52" fmla="*/ 179 w 264"/>
                <a:gd name="T53" fmla="*/ 507 h 519"/>
                <a:gd name="T54" fmla="*/ 157 w 264"/>
                <a:gd name="T55" fmla="*/ 516 h 519"/>
                <a:gd name="T56" fmla="*/ 137 w 264"/>
                <a:gd name="T57" fmla="*/ 519 h 519"/>
                <a:gd name="T58" fmla="*/ 116 w 264"/>
                <a:gd name="T59" fmla="*/ 516 h 519"/>
                <a:gd name="T60" fmla="*/ 94 w 264"/>
                <a:gd name="T61" fmla="*/ 507 h 519"/>
                <a:gd name="T62" fmla="*/ 74 w 264"/>
                <a:gd name="T63" fmla="*/ 496 h 519"/>
                <a:gd name="T64" fmla="*/ 55 w 264"/>
                <a:gd name="T65" fmla="*/ 480 h 519"/>
                <a:gd name="T66" fmla="*/ 38 w 264"/>
                <a:gd name="T67" fmla="*/ 462 h 519"/>
                <a:gd name="T68" fmla="*/ 25 w 264"/>
                <a:gd name="T69" fmla="*/ 444 h 519"/>
                <a:gd name="T70" fmla="*/ 16 w 264"/>
                <a:gd name="T71" fmla="*/ 428 h 519"/>
                <a:gd name="T72" fmla="*/ 12 w 264"/>
                <a:gd name="T73" fmla="*/ 412 h 519"/>
                <a:gd name="T74" fmla="*/ 14 w 264"/>
                <a:gd name="T75" fmla="*/ 385 h 519"/>
                <a:gd name="T76" fmla="*/ 21 w 264"/>
                <a:gd name="T77" fmla="*/ 356 h 519"/>
                <a:gd name="T78" fmla="*/ 33 w 264"/>
                <a:gd name="T79" fmla="*/ 325 h 519"/>
                <a:gd name="T80" fmla="*/ 48 w 264"/>
                <a:gd name="T81" fmla="*/ 288 h 519"/>
                <a:gd name="T82" fmla="*/ 53 w 264"/>
                <a:gd name="T83" fmla="*/ 266 h 519"/>
                <a:gd name="T84" fmla="*/ 55 w 264"/>
                <a:gd name="T85" fmla="*/ 242 h 519"/>
                <a:gd name="T86" fmla="*/ 52 w 264"/>
                <a:gd name="T87" fmla="*/ 216 h 519"/>
                <a:gd name="T88" fmla="*/ 47 w 264"/>
                <a:gd name="T89" fmla="*/ 188 h 519"/>
                <a:gd name="T90" fmla="*/ 39 w 264"/>
                <a:gd name="T91" fmla="*/ 159 h 519"/>
                <a:gd name="T92" fmla="*/ 29 w 264"/>
                <a:gd name="T93" fmla="*/ 131 h 519"/>
                <a:gd name="T94" fmla="*/ 17 w 264"/>
                <a:gd name="T95" fmla="*/ 103 h 519"/>
                <a:gd name="T96" fmla="*/ 5 w 264"/>
                <a:gd name="T97" fmla="*/ 76 h 519"/>
                <a:gd name="T98" fmla="*/ 0 w 264"/>
                <a:gd name="T99" fmla="*/ 61 h 519"/>
                <a:gd name="T100" fmla="*/ 2 w 264"/>
                <a:gd name="T101" fmla="*/ 47 h 519"/>
                <a:gd name="T102" fmla="*/ 8 w 264"/>
                <a:gd name="T103" fmla="*/ 35 h 519"/>
                <a:gd name="T104" fmla="*/ 21 w 264"/>
                <a:gd name="T105" fmla="*/ 25 h 519"/>
                <a:gd name="T106" fmla="*/ 38 w 264"/>
                <a:gd name="T107" fmla="*/ 16 h 519"/>
                <a:gd name="T108" fmla="*/ 57 w 264"/>
                <a:gd name="T109" fmla="*/ 9 h 519"/>
                <a:gd name="T110" fmla="*/ 80 w 264"/>
                <a:gd name="T111" fmla="*/ 4 h 519"/>
                <a:gd name="T112" fmla="*/ 103 w 264"/>
                <a:gd name="T113" fmla="*/ 0 h 519"/>
                <a:gd name="T114" fmla="*/ 128 w 264"/>
                <a:gd name="T115" fmla="*/ 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4" h="519">
                  <a:moveTo>
                    <a:pt x="128" y="0"/>
                  </a:moveTo>
                  <a:lnTo>
                    <a:pt x="153" y="0"/>
                  </a:lnTo>
                  <a:lnTo>
                    <a:pt x="178" y="3"/>
                  </a:lnTo>
                  <a:lnTo>
                    <a:pt x="201" y="8"/>
                  </a:lnTo>
                  <a:lnTo>
                    <a:pt x="220" y="16"/>
                  </a:lnTo>
                  <a:lnTo>
                    <a:pt x="238" y="25"/>
                  </a:lnTo>
                  <a:lnTo>
                    <a:pt x="252" y="35"/>
                  </a:lnTo>
                  <a:lnTo>
                    <a:pt x="260" y="49"/>
                  </a:lnTo>
                  <a:lnTo>
                    <a:pt x="264" y="65"/>
                  </a:lnTo>
                  <a:lnTo>
                    <a:pt x="261" y="82"/>
                  </a:lnTo>
                  <a:lnTo>
                    <a:pt x="250" y="115"/>
                  </a:lnTo>
                  <a:lnTo>
                    <a:pt x="239" y="147"/>
                  </a:lnTo>
                  <a:lnTo>
                    <a:pt x="230" y="177"/>
                  </a:lnTo>
                  <a:lnTo>
                    <a:pt x="224" y="208"/>
                  </a:lnTo>
                  <a:lnTo>
                    <a:pt x="220" y="236"/>
                  </a:lnTo>
                  <a:lnTo>
                    <a:pt x="220" y="263"/>
                  </a:lnTo>
                  <a:lnTo>
                    <a:pt x="227" y="288"/>
                  </a:lnTo>
                  <a:lnTo>
                    <a:pt x="241" y="325"/>
                  </a:lnTo>
                  <a:lnTo>
                    <a:pt x="252" y="356"/>
                  </a:lnTo>
                  <a:lnTo>
                    <a:pt x="260" y="385"/>
                  </a:lnTo>
                  <a:lnTo>
                    <a:pt x="263" y="412"/>
                  </a:lnTo>
                  <a:lnTo>
                    <a:pt x="259" y="428"/>
                  </a:lnTo>
                  <a:lnTo>
                    <a:pt x="250" y="444"/>
                  </a:lnTo>
                  <a:lnTo>
                    <a:pt x="236" y="462"/>
                  </a:lnTo>
                  <a:lnTo>
                    <a:pt x="219" y="480"/>
                  </a:lnTo>
                  <a:lnTo>
                    <a:pt x="200" y="496"/>
                  </a:lnTo>
                  <a:lnTo>
                    <a:pt x="179" y="507"/>
                  </a:lnTo>
                  <a:lnTo>
                    <a:pt x="157" y="516"/>
                  </a:lnTo>
                  <a:lnTo>
                    <a:pt x="137" y="519"/>
                  </a:lnTo>
                  <a:lnTo>
                    <a:pt x="116" y="516"/>
                  </a:lnTo>
                  <a:lnTo>
                    <a:pt x="94" y="507"/>
                  </a:lnTo>
                  <a:lnTo>
                    <a:pt x="74" y="496"/>
                  </a:lnTo>
                  <a:lnTo>
                    <a:pt x="55" y="480"/>
                  </a:lnTo>
                  <a:lnTo>
                    <a:pt x="38" y="462"/>
                  </a:lnTo>
                  <a:lnTo>
                    <a:pt x="25" y="444"/>
                  </a:lnTo>
                  <a:lnTo>
                    <a:pt x="16" y="428"/>
                  </a:lnTo>
                  <a:lnTo>
                    <a:pt x="12" y="412"/>
                  </a:lnTo>
                  <a:lnTo>
                    <a:pt x="14" y="385"/>
                  </a:lnTo>
                  <a:lnTo>
                    <a:pt x="21" y="356"/>
                  </a:lnTo>
                  <a:lnTo>
                    <a:pt x="33" y="325"/>
                  </a:lnTo>
                  <a:lnTo>
                    <a:pt x="48" y="288"/>
                  </a:lnTo>
                  <a:lnTo>
                    <a:pt x="53" y="266"/>
                  </a:lnTo>
                  <a:lnTo>
                    <a:pt x="55" y="242"/>
                  </a:lnTo>
                  <a:lnTo>
                    <a:pt x="52" y="216"/>
                  </a:lnTo>
                  <a:lnTo>
                    <a:pt x="47" y="188"/>
                  </a:lnTo>
                  <a:lnTo>
                    <a:pt x="39" y="159"/>
                  </a:lnTo>
                  <a:lnTo>
                    <a:pt x="29" y="131"/>
                  </a:lnTo>
                  <a:lnTo>
                    <a:pt x="17" y="103"/>
                  </a:lnTo>
                  <a:lnTo>
                    <a:pt x="5" y="76"/>
                  </a:lnTo>
                  <a:lnTo>
                    <a:pt x="0" y="61"/>
                  </a:lnTo>
                  <a:lnTo>
                    <a:pt x="2" y="47"/>
                  </a:lnTo>
                  <a:lnTo>
                    <a:pt x="8" y="35"/>
                  </a:lnTo>
                  <a:lnTo>
                    <a:pt x="21" y="25"/>
                  </a:lnTo>
                  <a:lnTo>
                    <a:pt x="38" y="16"/>
                  </a:lnTo>
                  <a:lnTo>
                    <a:pt x="57" y="9"/>
                  </a:lnTo>
                  <a:lnTo>
                    <a:pt x="80" y="4"/>
                  </a:lnTo>
                  <a:lnTo>
                    <a:pt x="103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265A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0" name="Freeform 2171"/>
            <p:cNvSpPr>
              <a:spLocks/>
            </p:cNvSpPr>
            <p:nvPr/>
          </p:nvSpPr>
          <p:spPr bwMode="auto">
            <a:xfrm>
              <a:off x="7539038" y="4498975"/>
              <a:ext cx="200025" cy="831850"/>
            </a:xfrm>
            <a:custGeom>
              <a:avLst/>
              <a:gdLst>
                <a:gd name="T0" fmla="*/ 72 w 126"/>
                <a:gd name="T1" fmla="*/ 0 h 524"/>
                <a:gd name="T2" fmla="*/ 82 w 126"/>
                <a:gd name="T3" fmla="*/ 4 h 524"/>
                <a:gd name="T4" fmla="*/ 93 w 126"/>
                <a:gd name="T5" fmla="*/ 13 h 524"/>
                <a:gd name="T6" fmla="*/ 103 w 126"/>
                <a:gd name="T7" fmla="*/ 27 h 524"/>
                <a:gd name="T8" fmla="*/ 111 w 126"/>
                <a:gd name="T9" fmla="*/ 45 h 524"/>
                <a:gd name="T10" fmla="*/ 118 w 126"/>
                <a:gd name="T11" fmla="*/ 68 h 524"/>
                <a:gd name="T12" fmla="*/ 123 w 126"/>
                <a:gd name="T13" fmla="*/ 95 h 524"/>
                <a:gd name="T14" fmla="*/ 126 w 126"/>
                <a:gd name="T15" fmla="*/ 127 h 524"/>
                <a:gd name="T16" fmla="*/ 126 w 126"/>
                <a:gd name="T17" fmla="*/ 162 h 524"/>
                <a:gd name="T18" fmla="*/ 123 w 126"/>
                <a:gd name="T19" fmla="*/ 199 h 524"/>
                <a:gd name="T20" fmla="*/ 120 w 126"/>
                <a:gd name="T21" fmla="*/ 234 h 524"/>
                <a:gd name="T22" fmla="*/ 116 w 126"/>
                <a:gd name="T23" fmla="*/ 270 h 524"/>
                <a:gd name="T24" fmla="*/ 112 w 126"/>
                <a:gd name="T25" fmla="*/ 306 h 524"/>
                <a:gd name="T26" fmla="*/ 107 w 126"/>
                <a:gd name="T27" fmla="*/ 343 h 524"/>
                <a:gd name="T28" fmla="*/ 102 w 126"/>
                <a:gd name="T29" fmla="*/ 377 h 524"/>
                <a:gd name="T30" fmla="*/ 96 w 126"/>
                <a:gd name="T31" fmla="*/ 411 h 524"/>
                <a:gd name="T32" fmla="*/ 90 w 126"/>
                <a:gd name="T33" fmla="*/ 442 h 524"/>
                <a:gd name="T34" fmla="*/ 84 w 126"/>
                <a:gd name="T35" fmla="*/ 468 h 524"/>
                <a:gd name="T36" fmla="*/ 76 w 126"/>
                <a:gd name="T37" fmla="*/ 492 h 524"/>
                <a:gd name="T38" fmla="*/ 67 w 126"/>
                <a:gd name="T39" fmla="*/ 508 h 524"/>
                <a:gd name="T40" fmla="*/ 58 w 126"/>
                <a:gd name="T41" fmla="*/ 520 h 524"/>
                <a:gd name="T42" fmla="*/ 48 w 126"/>
                <a:gd name="T43" fmla="*/ 524 h 524"/>
                <a:gd name="T44" fmla="*/ 39 w 126"/>
                <a:gd name="T45" fmla="*/ 520 h 524"/>
                <a:gd name="T46" fmla="*/ 31 w 126"/>
                <a:gd name="T47" fmla="*/ 508 h 524"/>
                <a:gd name="T48" fmla="*/ 25 w 126"/>
                <a:gd name="T49" fmla="*/ 490 h 524"/>
                <a:gd name="T50" fmla="*/ 18 w 126"/>
                <a:gd name="T51" fmla="*/ 466 h 524"/>
                <a:gd name="T52" fmla="*/ 13 w 126"/>
                <a:gd name="T53" fmla="*/ 438 h 524"/>
                <a:gd name="T54" fmla="*/ 9 w 126"/>
                <a:gd name="T55" fmla="*/ 407 h 524"/>
                <a:gd name="T56" fmla="*/ 5 w 126"/>
                <a:gd name="T57" fmla="*/ 374 h 524"/>
                <a:gd name="T58" fmla="*/ 3 w 126"/>
                <a:gd name="T59" fmla="*/ 339 h 524"/>
                <a:gd name="T60" fmla="*/ 1 w 126"/>
                <a:gd name="T61" fmla="*/ 304 h 524"/>
                <a:gd name="T62" fmla="*/ 0 w 126"/>
                <a:gd name="T63" fmla="*/ 271 h 524"/>
                <a:gd name="T64" fmla="*/ 0 w 126"/>
                <a:gd name="T65" fmla="*/ 240 h 524"/>
                <a:gd name="T66" fmla="*/ 0 w 126"/>
                <a:gd name="T67" fmla="*/ 212 h 524"/>
                <a:gd name="T68" fmla="*/ 1 w 126"/>
                <a:gd name="T69" fmla="*/ 187 h 524"/>
                <a:gd name="T70" fmla="*/ 5 w 126"/>
                <a:gd name="T71" fmla="*/ 141 h 524"/>
                <a:gd name="T72" fmla="*/ 12 w 126"/>
                <a:gd name="T73" fmla="*/ 101 h 524"/>
                <a:gd name="T74" fmla="*/ 19 w 126"/>
                <a:gd name="T75" fmla="*/ 68 h 524"/>
                <a:gd name="T76" fmla="*/ 28 w 126"/>
                <a:gd name="T77" fmla="*/ 42 h 524"/>
                <a:gd name="T78" fmla="*/ 39 w 126"/>
                <a:gd name="T79" fmla="*/ 23 h 524"/>
                <a:gd name="T80" fmla="*/ 49 w 126"/>
                <a:gd name="T81" fmla="*/ 9 h 524"/>
                <a:gd name="T82" fmla="*/ 61 w 126"/>
                <a:gd name="T83" fmla="*/ 3 h 524"/>
                <a:gd name="T84" fmla="*/ 72 w 126"/>
                <a:gd name="T85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6" h="524">
                  <a:moveTo>
                    <a:pt x="72" y="0"/>
                  </a:moveTo>
                  <a:lnTo>
                    <a:pt x="82" y="4"/>
                  </a:lnTo>
                  <a:lnTo>
                    <a:pt x="93" y="13"/>
                  </a:lnTo>
                  <a:lnTo>
                    <a:pt x="103" y="27"/>
                  </a:lnTo>
                  <a:lnTo>
                    <a:pt x="111" y="45"/>
                  </a:lnTo>
                  <a:lnTo>
                    <a:pt x="118" y="68"/>
                  </a:lnTo>
                  <a:lnTo>
                    <a:pt x="123" y="95"/>
                  </a:lnTo>
                  <a:lnTo>
                    <a:pt x="126" y="127"/>
                  </a:lnTo>
                  <a:lnTo>
                    <a:pt x="126" y="162"/>
                  </a:lnTo>
                  <a:lnTo>
                    <a:pt x="123" y="199"/>
                  </a:lnTo>
                  <a:lnTo>
                    <a:pt x="120" y="234"/>
                  </a:lnTo>
                  <a:lnTo>
                    <a:pt x="116" y="270"/>
                  </a:lnTo>
                  <a:lnTo>
                    <a:pt x="112" y="306"/>
                  </a:lnTo>
                  <a:lnTo>
                    <a:pt x="107" y="343"/>
                  </a:lnTo>
                  <a:lnTo>
                    <a:pt x="102" y="377"/>
                  </a:lnTo>
                  <a:lnTo>
                    <a:pt x="96" y="411"/>
                  </a:lnTo>
                  <a:lnTo>
                    <a:pt x="90" y="442"/>
                  </a:lnTo>
                  <a:lnTo>
                    <a:pt x="84" y="468"/>
                  </a:lnTo>
                  <a:lnTo>
                    <a:pt x="76" y="492"/>
                  </a:lnTo>
                  <a:lnTo>
                    <a:pt x="67" y="508"/>
                  </a:lnTo>
                  <a:lnTo>
                    <a:pt x="58" y="520"/>
                  </a:lnTo>
                  <a:lnTo>
                    <a:pt x="48" y="524"/>
                  </a:lnTo>
                  <a:lnTo>
                    <a:pt x="39" y="520"/>
                  </a:lnTo>
                  <a:lnTo>
                    <a:pt x="31" y="508"/>
                  </a:lnTo>
                  <a:lnTo>
                    <a:pt x="25" y="490"/>
                  </a:lnTo>
                  <a:lnTo>
                    <a:pt x="18" y="466"/>
                  </a:lnTo>
                  <a:lnTo>
                    <a:pt x="13" y="438"/>
                  </a:lnTo>
                  <a:lnTo>
                    <a:pt x="9" y="407"/>
                  </a:lnTo>
                  <a:lnTo>
                    <a:pt x="5" y="374"/>
                  </a:lnTo>
                  <a:lnTo>
                    <a:pt x="3" y="339"/>
                  </a:lnTo>
                  <a:lnTo>
                    <a:pt x="1" y="304"/>
                  </a:lnTo>
                  <a:lnTo>
                    <a:pt x="0" y="271"/>
                  </a:lnTo>
                  <a:lnTo>
                    <a:pt x="0" y="240"/>
                  </a:lnTo>
                  <a:lnTo>
                    <a:pt x="0" y="212"/>
                  </a:lnTo>
                  <a:lnTo>
                    <a:pt x="1" y="187"/>
                  </a:lnTo>
                  <a:lnTo>
                    <a:pt x="5" y="141"/>
                  </a:lnTo>
                  <a:lnTo>
                    <a:pt x="12" y="101"/>
                  </a:lnTo>
                  <a:lnTo>
                    <a:pt x="19" y="68"/>
                  </a:lnTo>
                  <a:lnTo>
                    <a:pt x="28" y="42"/>
                  </a:lnTo>
                  <a:lnTo>
                    <a:pt x="39" y="23"/>
                  </a:lnTo>
                  <a:lnTo>
                    <a:pt x="49" y="9"/>
                  </a:lnTo>
                  <a:lnTo>
                    <a:pt x="61" y="3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265A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1" name="Freeform 2172"/>
            <p:cNvSpPr>
              <a:spLocks/>
            </p:cNvSpPr>
            <p:nvPr/>
          </p:nvSpPr>
          <p:spPr bwMode="auto">
            <a:xfrm>
              <a:off x="7092951" y="4305300"/>
              <a:ext cx="209550" cy="277813"/>
            </a:xfrm>
            <a:custGeom>
              <a:avLst/>
              <a:gdLst>
                <a:gd name="T0" fmla="*/ 28 w 132"/>
                <a:gd name="T1" fmla="*/ 0 h 175"/>
                <a:gd name="T2" fmla="*/ 40 w 132"/>
                <a:gd name="T3" fmla="*/ 4 h 175"/>
                <a:gd name="T4" fmla="*/ 52 w 132"/>
                <a:gd name="T5" fmla="*/ 14 h 175"/>
                <a:gd name="T6" fmla="*/ 63 w 132"/>
                <a:gd name="T7" fmla="*/ 27 h 175"/>
                <a:gd name="T8" fmla="*/ 73 w 132"/>
                <a:gd name="T9" fmla="*/ 43 h 175"/>
                <a:gd name="T10" fmla="*/ 82 w 132"/>
                <a:gd name="T11" fmla="*/ 58 h 175"/>
                <a:gd name="T12" fmla="*/ 89 w 132"/>
                <a:gd name="T13" fmla="*/ 71 h 175"/>
                <a:gd name="T14" fmla="*/ 96 w 132"/>
                <a:gd name="T15" fmla="*/ 85 h 175"/>
                <a:gd name="T16" fmla="*/ 105 w 132"/>
                <a:gd name="T17" fmla="*/ 100 h 175"/>
                <a:gd name="T18" fmla="*/ 114 w 132"/>
                <a:gd name="T19" fmla="*/ 117 h 175"/>
                <a:gd name="T20" fmla="*/ 122 w 132"/>
                <a:gd name="T21" fmla="*/ 132 h 175"/>
                <a:gd name="T22" fmla="*/ 129 w 132"/>
                <a:gd name="T23" fmla="*/ 147 h 175"/>
                <a:gd name="T24" fmla="*/ 132 w 132"/>
                <a:gd name="T25" fmla="*/ 159 h 175"/>
                <a:gd name="T26" fmla="*/ 132 w 132"/>
                <a:gd name="T27" fmla="*/ 168 h 175"/>
                <a:gd name="T28" fmla="*/ 127 w 132"/>
                <a:gd name="T29" fmla="*/ 175 h 175"/>
                <a:gd name="T30" fmla="*/ 122 w 132"/>
                <a:gd name="T31" fmla="*/ 175 h 175"/>
                <a:gd name="T32" fmla="*/ 113 w 132"/>
                <a:gd name="T33" fmla="*/ 170 h 175"/>
                <a:gd name="T34" fmla="*/ 103 w 132"/>
                <a:gd name="T35" fmla="*/ 162 h 175"/>
                <a:gd name="T36" fmla="*/ 91 w 132"/>
                <a:gd name="T37" fmla="*/ 150 h 175"/>
                <a:gd name="T38" fmla="*/ 80 w 132"/>
                <a:gd name="T39" fmla="*/ 136 h 175"/>
                <a:gd name="T40" fmla="*/ 67 w 132"/>
                <a:gd name="T41" fmla="*/ 123 h 175"/>
                <a:gd name="T42" fmla="*/ 55 w 132"/>
                <a:gd name="T43" fmla="*/ 109 h 175"/>
                <a:gd name="T44" fmla="*/ 45 w 132"/>
                <a:gd name="T45" fmla="*/ 98 h 175"/>
                <a:gd name="T46" fmla="*/ 36 w 132"/>
                <a:gd name="T47" fmla="*/ 87 h 175"/>
                <a:gd name="T48" fmla="*/ 22 w 132"/>
                <a:gd name="T49" fmla="*/ 71 h 175"/>
                <a:gd name="T50" fmla="*/ 9 w 132"/>
                <a:gd name="T51" fmla="*/ 53 h 175"/>
                <a:gd name="T52" fmla="*/ 0 w 132"/>
                <a:gd name="T53" fmla="*/ 35 h 175"/>
                <a:gd name="T54" fmla="*/ 0 w 132"/>
                <a:gd name="T55" fmla="*/ 25 h 175"/>
                <a:gd name="T56" fmla="*/ 4 w 132"/>
                <a:gd name="T57" fmla="*/ 14 h 175"/>
                <a:gd name="T58" fmla="*/ 9 w 132"/>
                <a:gd name="T59" fmla="*/ 7 h 175"/>
                <a:gd name="T60" fmla="*/ 16 w 132"/>
                <a:gd name="T61" fmla="*/ 2 h 175"/>
                <a:gd name="T62" fmla="*/ 28 w 132"/>
                <a:gd name="T6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175">
                  <a:moveTo>
                    <a:pt x="28" y="0"/>
                  </a:moveTo>
                  <a:lnTo>
                    <a:pt x="40" y="4"/>
                  </a:lnTo>
                  <a:lnTo>
                    <a:pt x="52" y="14"/>
                  </a:lnTo>
                  <a:lnTo>
                    <a:pt x="63" y="27"/>
                  </a:lnTo>
                  <a:lnTo>
                    <a:pt x="73" y="43"/>
                  </a:lnTo>
                  <a:lnTo>
                    <a:pt x="82" y="58"/>
                  </a:lnTo>
                  <a:lnTo>
                    <a:pt x="89" y="71"/>
                  </a:lnTo>
                  <a:lnTo>
                    <a:pt x="96" y="85"/>
                  </a:lnTo>
                  <a:lnTo>
                    <a:pt x="105" y="100"/>
                  </a:lnTo>
                  <a:lnTo>
                    <a:pt x="114" y="117"/>
                  </a:lnTo>
                  <a:lnTo>
                    <a:pt x="122" y="132"/>
                  </a:lnTo>
                  <a:lnTo>
                    <a:pt x="129" y="147"/>
                  </a:lnTo>
                  <a:lnTo>
                    <a:pt x="132" y="159"/>
                  </a:lnTo>
                  <a:lnTo>
                    <a:pt x="132" y="168"/>
                  </a:lnTo>
                  <a:lnTo>
                    <a:pt x="127" y="175"/>
                  </a:lnTo>
                  <a:lnTo>
                    <a:pt x="122" y="175"/>
                  </a:lnTo>
                  <a:lnTo>
                    <a:pt x="113" y="170"/>
                  </a:lnTo>
                  <a:lnTo>
                    <a:pt x="103" y="162"/>
                  </a:lnTo>
                  <a:lnTo>
                    <a:pt x="91" y="150"/>
                  </a:lnTo>
                  <a:lnTo>
                    <a:pt x="80" y="136"/>
                  </a:lnTo>
                  <a:lnTo>
                    <a:pt x="67" y="123"/>
                  </a:lnTo>
                  <a:lnTo>
                    <a:pt x="55" y="109"/>
                  </a:lnTo>
                  <a:lnTo>
                    <a:pt x="45" y="98"/>
                  </a:lnTo>
                  <a:lnTo>
                    <a:pt x="36" y="87"/>
                  </a:lnTo>
                  <a:lnTo>
                    <a:pt x="22" y="71"/>
                  </a:lnTo>
                  <a:lnTo>
                    <a:pt x="9" y="53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4" y="14"/>
                  </a:lnTo>
                  <a:lnTo>
                    <a:pt x="9" y="7"/>
                  </a:lnTo>
                  <a:lnTo>
                    <a:pt x="16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2" name="Freeform 2173"/>
            <p:cNvSpPr>
              <a:spLocks/>
            </p:cNvSpPr>
            <p:nvPr/>
          </p:nvSpPr>
          <p:spPr bwMode="auto">
            <a:xfrm>
              <a:off x="7091363" y="4017963"/>
              <a:ext cx="333375" cy="350838"/>
            </a:xfrm>
            <a:custGeom>
              <a:avLst/>
              <a:gdLst>
                <a:gd name="T0" fmla="*/ 189 w 210"/>
                <a:gd name="T1" fmla="*/ 0 h 221"/>
                <a:gd name="T2" fmla="*/ 201 w 210"/>
                <a:gd name="T3" fmla="*/ 7 h 221"/>
                <a:gd name="T4" fmla="*/ 209 w 210"/>
                <a:gd name="T5" fmla="*/ 16 h 221"/>
                <a:gd name="T6" fmla="*/ 210 w 210"/>
                <a:gd name="T7" fmla="*/ 27 h 221"/>
                <a:gd name="T8" fmla="*/ 208 w 210"/>
                <a:gd name="T9" fmla="*/ 41 h 221"/>
                <a:gd name="T10" fmla="*/ 200 w 210"/>
                <a:gd name="T11" fmla="*/ 56 h 221"/>
                <a:gd name="T12" fmla="*/ 190 w 210"/>
                <a:gd name="T13" fmla="*/ 70 h 221"/>
                <a:gd name="T14" fmla="*/ 177 w 210"/>
                <a:gd name="T15" fmla="*/ 85 h 221"/>
                <a:gd name="T16" fmla="*/ 163 w 210"/>
                <a:gd name="T17" fmla="*/ 99 h 221"/>
                <a:gd name="T18" fmla="*/ 150 w 210"/>
                <a:gd name="T19" fmla="*/ 112 h 221"/>
                <a:gd name="T20" fmla="*/ 136 w 210"/>
                <a:gd name="T21" fmla="*/ 125 h 221"/>
                <a:gd name="T22" fmla="*/ 124 w 210"/>
                <a:gd name="T23" fmla="*/ 135 h 221"/>
                <a:gd name="T24" fmla="*/ 112 w 210"/>
                <a:gd name="T25" fmla="*/ 148 h 221"/>
                <a:gd name="T26" fmla="*/ 97 w 210"/>
                <a:gd name="T27" fmla="*/ 161 h 221"/>
                <a:gd name="T28" fmla="*/ 82 w 210"/>
                <a:gd name="T29" fmla="*/ 175 h 221"/>
                <a:gd name="T30" fmla="*/ 65 w 210"/>
                <a:gd name="T31" fmla="*/ 189 h 221"/>
                <a:gd name="T32" fmla="*/ 50 w 210"/>
                <a:gd name="T33" fmla="*/ 200 h 221"/>
                <a:gd name="T34" fmla="*/ 35 w 210"/>
                <a:gd name="T35" fmla="*/ 211 h 221"/>
                <a:gd name="T36" fmla="*/ 22 w 210"/>
                <a:gd name="T37" fmla="*/ 218 h 221"/>
                <a:gd name="T38" fmla="*/ 10 w 210"/>
                <a:gd name="T39" fmla="*/ 221 h 221"/>
                <a:gd name="T40" fmla="*/ 4 w 210"/>
                <a:gd name="T41" fmla="*/ 218 h 221"/>
                <a:gd name="T42" fmla="*/ 0 w 210"/>
                <a:gd name="T43" fmla="*/ 211 h 221"/>
                <a:gd name="T44" fmla="*/ 3 w 210"/>
                <a:gd name="T45" fmla="*/ 199 h 221"/>
                <a:gd name="T46" fmla="*/ 8 w 210"/>
                <a:gd name="T47" fmla="*/ 186 h 221"/>
                <a:gd name="T48" fmla="*/ 17 w 210"/>
                <a:gd name="T49" fmla="*/ 170 h 221"/>
                <a:gd name="T50" fmla="*/ 27 w 210"/>
                <a:gd name="T51" fmla="*/ 153 h 221"/>
                <a:gd name="T52" fmla="*/ 38 w 210"/>
                <a:gd name="T53" fmla="*/ 136 h 221"/>
                <a:gd name="T54" fmla="*/ 51 w 210"/>
                <a:gd name="T55" fmla="*/ 118 h 221"/>
                <a:gd name="T56" fmla="*/ 63 w 210"/>
                <a:gd name="T57" fmla="*/ 103 h 221"/>
                <a:gd name="T58" fmla="*/ 74 w 210"/>
                <a:gd name="T59" fmla="*/ 89 h 221"/>
                <a:gd name="T60" fmla="*/ 85 w 210"/>
                <a:gd name="T61" fmla="*/ 75 h 221"/>
                <a:gd name="T62" fmla="*/ 97 w 210"/>
                <a:gd name="T63" fmla="*/ 61 h 221"/>
                <a:gd name="T64" fmla="*/ 112 w 210"/>
                <a:gd name="T65" fmla="*/ 45 h 221"/>
                <a:gd name="T66" fmla="*/ 127 w 210"/>
                <a:gd name="T67" fmla="*/ 30 h 221"/>
                <a:gd name="T68" fmla="*/ 144 w 210"/>
                <a:gd name="T69" fmla="*/ 17 h 221"/>
                <a:gd name="T70" fmla="*/ 159 w 210"/>
                <a:gd name="T71" fmla="*/ 7 h 221"/>
                <a:gd name="T72" fmla="*/ 174 w 210"/>
                <a:gd name="T73" fmla="*/ 2 h 221"/>
                <a:gd name="T74" fmla="*/ 189 w 210"/>
                <a:gd name="T7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21">
                  <a:moveTo>
                    <a:pt x="189" y="0"/>
                  </a:moveTo>
                  <a:lnTo>
                    <a:pt x="201" y="7"/>
                  </a:lnTo>
                  <a:lnTo>
                    <a:pt x="209" y="16"/>
                  </a:lnTo>
                  <a:lnTo>
                    <a:pt x="210" y="27"/>
                  </a:lnTo>
                  <a:lnTo>
                    <a:pt x="208" y="41"/>
                  </a:lnTo>
                  <a:lnTo>
                    <a:pt x="200" y="56"/>
                  </a:lnTo>
                  <a:lnTo>
                    <a:pt x="190" y="70"/>
                  </a:lnTo>
                  <a:lnTo>
                    <a:pt x="177" y="85"/>
                  </a:lnTo>
                  <a:lnTo>
                    <a:pt x="163" y="99"/>
                  </a:lnTo>
                  <a:lnTo>
                    <a:pt x="150" y="112"/>
                  </a:lnTo>
                  <a:lnTo>
                    <a:pt x="136" y="125"/>
                  </a:lnTo>
                  <a:lnTo>
                    <a:pt x="124" y="135"/>
                  </a:lnTo>
                  <a:lnTo>
                    <a:pt x="112" y="148"/>
                  </a:lnTo>
                  <a:lnTo>
                    <a:pt x="97" y="161"/>
                  </a:lnTo>
                  <a:lnTo>
                    <a:pt x="82" y="175"/>
                  </a:lnTo>
                  <a:lnTo>
                    <a:pt x="65" y="189"/>
                  </a:lnTo>
                  <a:lnTo>
                    <a:pt x="50" y="200"/>
                  </a:lnTo>
                  <a:lnTo>
                    <a:pt x="35" y="211"/>
                  </a:lnTo>
                  <a:lnTo>
                    <a:pt x="22" y="218"/>
                  </a:lnTo>
                  <a:lnTo>
                    <a:pt x="10" y="221"/>
                  </a:lnTo>
                  <a:lnTo>
                    <a:pt x="4" y="218"/>
                  </a:lnTo>
                  <a:lnTo>
                    <a:pt x="0" y="211"/>
                  </a:lnTo>
                  <a:lnTo>
                    <a:pt x="3" y="199"/>
                  </a:lnTo>
                  <a:lnTo>
                    <a:pt x="8" y="186"/>
                  </a:lnTo>
                  <a:lnTo>
                    <a:pt x="17" y="170"/>
                  </a:lnTo>
                  <a:lnTo>
                    <a:pt x="27" y="153"/>
                  </a:lnTo>
                  <a:lnTo>
                    <a:pt x="38" y="136"/>
                  </a:lnTo>
                  <a:lnTo>
                    <a:pt x="51" y="118"/>
                  </a:lnTo>
                  <a:lnTo>
                    <a:pt x="63" y="103"/>
                  </a:lnTo>
                  <a:lnTo>
                    <a:pt x="74" y="89"/>
                  </a:lnTo>
                  <a:lnTo>
                    <a:pt x="85" y="75"/>
                  </a:lnTo>
                  <a:lnTo>
                    <a:pt x="97" y="61"/>
                  </a:lnTo>
                  <a:lnTo>
                    <a:pt x="112" y="45"/>
                  </a:lnTo>
                  <a:lnTo>
                    <a:pt x="127" y="30"/>
                  </a:lnTo>
                  <a:lnTo>
                    <a:pt x="144" y="17"/>
                  </a:lnTo>
                  <a:lnTo>
                    <a:pt x="159" y="7"/>
                  </a:lnTo>
                  <a:lnTo>
                    <a:pt x="174" y="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3" name="Freeform 2174"/>
            <p:cNvSpPr>
              <a:spLocks/>
            </p:cNvSpPr>
            <p:nvPr/>
          </p:nvSpPr>
          <p:spPr bwMode="auto">
            <a:xfrm>
              <a:off x="7316788" y="4489450"/>
              <a:ext cx="211138" cy="841375"/>
            </a:xfrm>
            <a:custGeom>
              <a:avLst/>
              <a:gdLst>
                <a:gd name="T0" fmla="*/ 58 w 133"/>
                <a:gd name="T1" fmla="*/ 0 h 530"/>
                <a:gd name="T2" fmla="*/ 70 w 133"/>
                <a:gd name="T3" fmla="*/ 0 h 530"/>
                <a:gd name="T4" fmla="*/ 81 w 133"/>
                <a:gd name="T5" fmla="*/ 6 h 530"/>
                <a:gd name="T6" fmla="*/ 93 w 133"/>
                <a:gd name="T7" fmla="*/ 19 h 530"/>
                <a:gd name="T8" fmla="*/ 103 w 133"/>
                <a:gd name="T9" fmla="*/ 37 h 530"/>
                <a:gd name="T10" fmla="*/ 113 w 133"/>
                <a:gd name="T11" fmla="*/ 63 h 530"/>
                <a:gd name="T12" fmla="*/ 121 w 133"/>
                <a:gd name="T13" fmla="*/ 95 h 530"/>
                <a:gd name="T14" fmla="*/ 127 w 133"/>
                <a:gd name="T15" fmla="*/ 133 h 530"/>
                <a:gd name="T16" fmla="*/ 131 w 133"/>
                <a:gd name="T17" fmla="*/ 181 h 530"/>
                <a:gd name="T18" fmla="*/ 133 w 133"/>
                <a:gd name="T19" fmla="*/ 205 h 530"/>
                <a:gd name="T20" fmla="*/ 133 w 133"/>
                <a:gd name="T21" fmla="*/ 233 h 530"/>
                <a:gd name="T22" fmla="*/ 131 w 133"/>
                <a:gd name="T23" fmla="*/ 265 h 530"/>
                <a:gd name="T24" fmla="*/ 130 w 133"/>
                <a:gd name="T25" fmla="*/ 300 h 530"/>
                <a:gd name="T26" fmla="*/ 127 w 133"/>
                <a:gd name="T27" fmla="*/ 336 h 530"/>
                <a:gd name="T28" fmla="*/ 125 w 133"/>
                <a:gd name="T29" fmla="*/ 372 h 530"/>
                <a:gd name="T30" fmla="*/ 121 w 133"/>
                <a:gd name="T31" fmla="*/ 408 h 530"/>
                <a:gd name="T32" fmla="*/ 116 w 133"/>
                <a:gd name="T33" fmla="*/ 440 h 530"/>
                <a:gd name="T34" fmla="*/ 109 w 133"/>
                <a:gd name="T35" fmla="*/ 469 h 530"/>
                <a:gd name="T36" fmla="*/ 103 w 133"/>
                <a:gd name="T37" fmla="*/ 494 h 530"/>
                <a:gd name="T38" fmla="*/ 97 w 133"/>
                <a:gd name="T39" fmla="*/ 513 h 530"/>
                <a:gd name="T40" fmla="*/ 88 w 133"/>
                <a:gd name="T41" fmla="*/ 526 h 530"/>
                <a:gd name="T42" fmla="*/ 79 w 133"/>
                <a:gd name="T43" fmla="*/ 530 h 530"/>
                <a:gd name="T44" fmla="*/ 68 w 133"/>
                <a:gd name="T45" fmla="*/ 526 h 530"/>
                <a:gd name="T46" fmla="*/ 59 w 133"/>
                <a:gd name="T47" fmla="*/ 514 h 530"/>
                <a:gd name="T48" fmla="*/ 52 w 133"/>
                <a:gd name="T49" fmla="*/ 498 h 530"/>
                <a:gd name="T50" fmla="*/ 44 w 133"/>
                <a:gd name="T51" fmla="*/ 474 h 530"/>
                <a:gd name="T52" fmla="*/ 36 w 133"/>
                <a:gd name="T53" fmla="*/ 448 h 530"/>
                <a:gd name="T54" fmla="*/ 30 w 133"/>
                <a:gd name="T55" fmla="*/ 417 h 530"/>
                <a:gd name="T56" fmla="*/ 25 w 133"/>
                <a:gd name="T57" fmla="*/ 383 h 530"/>
                <a:gd name="T58" fmla="*/ 20 w 133"/>
                <a:gd name="T59" fmla="*/ 349 h 530"/>
                <a:gd name="T60" fmla="*/ 14 w 133"/>
                <a:gd name="T61" fmla="*/ 312 h 530"/>
                <a:gd name="T62" fmla="*/ 11 w 133"/>
                <a:gd name="T63" fmla="*/ 276 h 530"/>
                <a:gd name="T64" fmla="*/ 7 w 133"/>
                <a:gd name="T65" fmla="*/ 240 h 530"/>
                <a:gd name="T66" fmla="*/ 3 w 133"/>
                <a:gd name="T67" fmla="*/ 205 h 530"/>
                <a:gd name="T68" fmla="*/ 0 w 133"/>
                <a:gd name="T69" fmla="*/ 168 h 530"/>
                <a:gd name="T70" fmla="*/ 2 w 133"/>
                <a:gd name="T71" fmla="*/ 132 h 530"/>
                <a:gd name="T72" fmla="*/ 4 w 133"/>
                <a:gd name="T73" fmla="*/ 100 h 530"/>
                <a:gd name="T74" fmla="*/ 9 w 133"/>
                <a:gd name="T75" fmla="*/ 73 h 530"/>
                <a:gd name="T76" fmla="*/ 17 w 133"/>
                <a:gd name="T77" fmla="*/ 48 h 530"/>
                <a:gd name="T78" fmla="*/ 26 w 133"/>
                <a:gd name="T79" fmla="*/ 29 h 530"/>
                <a:gd name="T80" fmla="*/ 36 w 133"/>
                <a:gd name="T81" fmla="*/ 14 h 530"/>
                <a:gd name="T82" fmla="*/ 47 w 133"/>
                <a:gd name="T83" fmla="*/ 4 h 530"/>
                <a:gd name="T84" fmla="*/ 58 w 133"/>
                <a:gd name="T85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3" h="530">
                  <a:moveTo>
                    <a:pt x="58" y="0"/>
                  </a:moveTo>
                  <a:lnTo>
                    <a:pt x="70" y="0"/>
                  </a:lnTo>
                  <a:lnTo>
                    <a:pt x="81" y="6"/>
                  </a:lnTo>
                  <a:lnTo>
                    <a:pt x="93" y="19"/>
                  </a:lnTo>
                  <a:lnTo>
                    <a:pt x="103" y="37"/>
                  </a:lnTo>
                  <a:lnTo>
                    <a:pt x="113" y="63"/>
                  </a:lnTo>
                  <a:lnTo>
                    <a:pt x="121" y="95"/>
                  </a:lnTo>
                  <a:lnTo>
                    <a:pt x="127" y="133"/>
                  </a:lnTo>
                  <a:lnTo>
                    <a:pt x="131" y="181"/>
                  </a:lnTo>
                  <a:lnTo>
                    <a:pt x="133" y="205"/>
                  </a:lnTo>
                  <a:lnTo>
                    <a:pt x="133" y="233"/>
                  </a:lnTo>
                  <a:lnTo>
                    <a:pt x="131" y="265"/>
                  </a:lnTo>
                  <a:lnTo>
                    <a:pt x="130" y="300"/>
                  </a:lnTo>
                  <a:lnTo>
                    <a:pt x="127" y="336"/>
                  </a:lnTo>
                  <a:lnTo>
                    <a:pt x="125" y="372"/>
                  </a:lnTo>
                  <a:lnTo>
                    <a:pt x="121" y="408"/>
                  </a:lnTo>
                  <a:lnTo>
                    <a:pt x="116" y="440"/>
                  </a:lnTo>
                  <a:lnTo>
                    <a:pt x="109" y="469"/>
                  </a:lnTo>
                  <a:lnTo>
                    <a:pt x="103" y="494"/>
                  </a:lnTo>
                  <a:lnTo>
                    <a:pt x="97" y="513"/>
                  </a:lnTo>
                  <a:lnTo>
                    <a:pt x="88" y="526"/>
                  </a:lnTo>
                  <a:lnTo>
                    <a:pt x="79" y="530"/>
                  </a:lnTo>
                  <a:lnTo>
                    <a:pt x="68" y="526"/>
                  </a:lnTo>
                  <a:lnTo>
                    <a:pt x="59" y="514"/>
                  </a:lnTo>
                  <a:lnTo>
                    <a:pt x="52" y="498"/>
                  </a:lnTo>
                  <a:lnTo>
                    <a:pt x="44" y="474"/>
                  </a:lnTo>
                  <a:lnTo>
                    <a:pt x="36" y="448"/>
                  </a:lnTo>
                  <a:lnTo>
                    <a:pt x="30" y="417"/>
                  </a:lnTo>
                  <a:lnTo>
                    <a:pt x="25" y="383"/>
                  </a:lnTo>
                  <a:lnTo>
                    <a:pt x="20" y="349"/>
                  </a:lnTo>
                  <a:lnTo>
                    <a:pt x="14" y="312"/>
                  </a:lnTo>
                  <a:lnTo>
                    <a:pt x="11" y="276"/>
                  </a:lnTo>
                  <a:lnTo>
                    <a:pt x="7" y="240"/>
                  </a:lnTo>
                  <a:lnTo>
                    <a:pt x="3" y="205"/>
                  </a:lnTo>
                  <a:lnTo>
                    <a:pt x="0" y="168"/>
                  </a:lnTo>
                  <a:lnTo>
                    <a:pt x="2" y="132"/>
                  </a:lnTo>
                  <a:lnTo>
                    <a:pt x="4" y="100"/>
                  </a:lnTo>
                  <a:lnTo>
                    <a:pt x="9" y="73"/>
                  </a:lnTo>
                  <a:lnTo>
                    <a:pt x="17" y="48"/>
                  </a:lnTo>
                  <a:lnTo>
                    <a:pt x="26" y="29"/>
                  </a:lnTo>
                  <a:lnTo>
                    <a:pt x="36" y="14"/>
                  </a:lnTo>
                  <a:lnTo>
                    <a:pt x="47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265A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4" name="Freeform 2175"/>
            <p:cNvSpPr>
              <a:spLocks/>
            </p:cNvSpPr>
            <p:nvPr/>
          </p:nvSpPr>
          <p:spPr bwMode="auto">
            <a:xfrm>
              <a:off x="7500938" y="4611688"/>
              <a:ext cx="57150" cy="180975"/>
            </a:xfrm>
            <a:custGeom>
              <a:avLst/>
              <a:gdLst>
                <a:gd name="T0" fmla="*/ 25 w 36"/>
                <a:gd name="T1" fmla="*/ 0 h 114"/>
                <a:gd name="T2" fmla="*/ 34 w 36"/>
                <a:gd name="T3" fmla="*/ 0 h 114"/>
                <a:gd name="T4" fmla="*/ 34 w 36"/>
                <a:gd name="T5" fmla="*/ 10 h 114"/>
                <a:gd name="T6" fmla="*/ 36 w 36"/>
                <a:gd name="T7" fmla="*/ 24 h 114"/>
                <a:gd name="T8" fmla="*/ 36 w 36"/>
                <a:gd name="T9" fmla="*/ 92 h 114"/>
                <a:gd name="T10" fmla="*/ 34 w 36"/>
                <a:gd name="T11" fmla="*/ 99 h 114"/>
                <a:gd name="T12" fmla="*/ 33 w 36"/>
                <a:gd name="T13" fmla="*/ 104 h 114"/>
                <a:gd name="T14" fmla="*/ 32 w 36"/>
                <a:gd name="T15" fmla="*/ 106 h 114"/>
                <a:gd name="T16" fmla="*/ 31 w 36"/>
                <a:gd name="T17" fmla="*/ 110 h 114"/>
                <a:gd name="T18" fmla="*/ 27 w 36"/>
                <a:gd name="T19" fmla="*/ 111 h 114"/>
                <a:gd name="T20" fmla="*/ 27 w 36"/>
                <a:gd name="T21" fmla="*/ 113 h 114"/>
                <a:gd name="T22" fmla="*/ 9 w 36"/>
                <a:gd name="T23" fmla="*/ 113 h 114"/>
                <a:gd name="T24" fmla="*/ 2 w 36"/>
                <a:gd name="T25" fmla="*/ 114 h 114"/>
                <a:gd name="T26" fmla="*/ 0 w 36"/>
                <a:gd name="T27" fmla="*/ 114 h 114"/>
                <a:gd name="T28" fmla="*/ 0 w 36"/>
                <a:gd name="T29" fmla="*/ 105 h 114"/>
                <a:gd name="T30" fmla="*/ 2 w 36"/>
                <a:gd name="T31" fmla="*/ 105 h 114"/>
                <a:gd name="T32" fmla="*/ 9 w 36"/>
                <a:gd name="T33" fmla="*/ 104 h 114"/>
                <a:gd name="T34" fmla="*/ 24 w 36"/>
                <a:gd name="T35" fmla="*/ 104 h 114"/>
                <a:gd name="T36" fmla="*/ 25 w 36"/>
                <a:gd name="T37" fmla="*/ 99 h 114"/>
                <a:gd name="T38" fmla="*/ 27 w 36"/>
                <a:gd name="T39" fmla="*/ 92 h 114"/>
                <a:gd name="T40" fmla="*/ 27 w 36"/>
                <a:gd name="T41" fmla="*/ 24 h 114"/>
                <a:gd name="T42" fmla="*/ 25 w 36"/>
                <a:gd name="T43" fmla="*/ 10 h 114"/>
                <a:gd name="T44" fmla="*/ 25 w 36"/>
                <a:gd name="T4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14">
                  <a:moveTo>
                    <a:pt x="25" y="0"/>
                  </a:moveTo>
                  <a:lnTo>
                    <a:pt x="34" y="0"/>
                  </a:lnTo>
                  <a:lnTo>
                    <a:pt x="34" y="10"/>
                  </a:lnTo>
                  <a:lnTo>
                    <a:pt x="36" y="24"/>
                  </a:lnTo>
                  <a:lnTo>
                    <a:pt x="36" y="92"/>
                  </a:lnTo>
                  <a:lnTo>
                    <a:pt x="34" y="99"/>
                  </a:lnTo>
                  <a:lnTo>
                    <a:pt x="33" y="104"/>
                  </a:lnTo>
                  <a:lnTo>
                    <a:pt x="32" y="106"/>
                  </a:lnTo>
                  <a:lnTo>
                    <a:pt x="31" y="110"/>
                  </a:lnTo>
                  <a:lnTo>
                    <a:pt x="27" y="111"/>
                  </a:lnTo>
                  <a:lnTo>
                    <a:pt x="27" y="113"/>
                  </a:lnTo>
                  <a:lnTo>
                    <a:pt x="9" y="113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2" y="105"/>
                  </a:lnTo>
                  <a:lnTo>
                    <a:pt x="9" y="104"/>
                  </a:lnTo>
                  <a:lnTo>
                    <a:pt x="24" y="104"/>
                  </a:lnTo>
                  <a:lnTo>
                    <a:pt x="25" y="99"/>
                  </a:lnTo>
                  <a:lnTo>
                    <a:pt x="27" y="92"/>
                  </a:lnTo>
                  <a:lnTo>
                    <a:pt x="27" y="24"/>
                  </a:lnTo>
                  <a:lnTo>
                    <a:pt x="25" y="1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1A41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5" name="Freeform 2176"/>
            <p:cNvSpPr>
              <a:spLocks/>
            </p:cNvSpPr>
            <p:nvPr/>
          </p:nvSpPr>
          <p:spPr bwMode="auto">
            <a:xfrm>
              <a:off x="7581901" y="5810250"/>
              <a:ext cx="277813" cy="263525"/>
            </a:xfrm>
            <a:custGeom>
              <a:avLst/>
              <a:gdLst>
                <a:gd name="T0" fmla="*/ 22 w 175"/>
                <a:gd name="T1" fmla="*/ 0 h 166"/>
                <a:gd name="T2" fmla="*/ 30 w 175"/>
                <a:gd name="T3" fmla="*/ 2 h 166"/>
                <a:gd name="T4" fmla="*/ 37 w 175"/>
                <a:gd name="T5" fmla="*/ 7 h 166"/>
                <a:gd name="T6" fmla="*/ 42 w 175"/>
                <a:gd name="T7" fmla="*/ 15 h 166"/>
                <a:gd name="T8" fmla="*/ 42 w 175"/>
                <a:gd name="T9" fmla="*/ 25 h 166"/>
                <a:gd name="T10" fmla="*/ 45 w 175"/>
                <a:gd name="T11" fmla="*/ 34 h 166"/>
                <a:gd name="T12" fmla="*/ 51 w 175"/>
                <a:gd name="T13" fmla="*/ 44 h 166"/>
                <a:gd name="T14" fmla="*/ 60 w 175"/>
                <a:gd name="T15" fmla="*/ 56 h 166"/>
                <a:gd name="T16" fmla="*/ 72 w 175"/>
                <a:gd name="T17" fmla="*/ 67 h 166"/>
                <a:gd name="T18" fmla="*/ 85 w 175"/>
                <a:gd name="T19" fmla="*/ 77 h 166"/>
                <a:gd name="T20" fmla="*/ 98 w 175"/>
                <a:gd name="T21" fmla="*/ 86 h 166"/>
                <a:gd name="T22" fmla="*/ 110 w 175"/>
                <a:gd name="T23" fmla="*/ 95 h 166"/>
                <a:gd name="T24" fmla="*/ 122 w 175"/>
                <a:gd name="T25" fmla="*/ 104 h 166"/>
                <a:gd name="T26" fmla="*/ 130 w 175"/>
                <a:gd name="T27" fmla="*/ 111 h 166"/>
                <a:gd name="T28" fmla="*/ 136 w 175"/>
                <a:gd name="T29" fmla="*/ 115 h 166"/>
                <a:gd name="T30" fmla="*/ 153 w 175"/>
                <a:gd name="T31" fmla="*/ 122 h 166"/>
                <a:gd name="T32" fmla="*/ 166 w 175"/>
                <a:gd name="T33" fmla="*/ 130 h 166"/>
                <a:gd name="T34" fmla="*/ 173 w 175"/>
                <a:gd name="T35" fmla="*/ 139 h 166"/>
                <a:gd name="T36" fmla="*/ 175 w 175"/>
                <a:gd name="T37" fmla="*/ 147 h 166"/>
                <a:gd name="T38" fmla="*/ 170 w 175"/>
                <a:gd name="T39" fmla="*/ 156 h 166"/>
                <a:gd name="T40" fmla="*/ 161 w 175"/>
                <a:gd name="T41" fmla="*/ 162 h 166"/>
                <a:gd name="T42" fmla="*/ 148 w 175"/>
                <a:gd name="T43" fmla="*/ 165 h 166"/>
                <a:gd name="T44" fmla="*/ 134 w 175"/>
                <a:gd name="T45" fmla="*/ 166 h 166"/>
                <a:gd name="T46" fmla="*/ 118 w 175"/>
                <a:gd name="T47" fmla="*/ 166 h 166"/>
                <a:gd name="T48" fmla="*/ 103 w 175"/>
                <a:gd name="T49" fmla="*/ 162 h 166"/>
                <a:gd name="T50" fmla="*/ 90 w 175"/>
                <a:gd name="T51" fmla="*/ 157 h 166"/>
                <a:gd name="T52" fmla="*/ 81 w 175"/>
                <a:gd name="T53" fmla="*/ 149 h 166"/>
                <a:gd name="T54" fmla="*/ 68 w 175"/>
                <a:gd name="T55" fmla="*/ 140 h 166"/>
                <a:gd name="T56" fmla="*/ 53 w 175"/>
                <a:gd name="T57" fmla="*/ 133 h 166"/>
                <a:gd name="T58" fmla="*/ 36 w 175"/>
                <a:gd name="T59" fmla="*/ 127 h 166"/>
                <a:gd name="T60" fmla="*/ 21 w 175"/>
                <a:gd name="T61" fmla="*/ 122 h 166"/>
                <a:gd name="T62" fmla="*/ 9 w 175"/>
                <a:gd name="T63" fmla="*/ 117 h 166"/>
                <a:gd name="T64" fmla="*/ 3 w 175"/>
                <a:gd name="T65" fmla="*/ 109 h 166"/>
                <a:gd name="T66" fmla="*/ 0 w 175"/>
                <a:gd name="T67" fmla="*/ 99 h 166"/>
                <a:gd name="T68" fmla="*/ 1 w 175"/>
                <a:gd name="T69" fmla="*/ 85 h 166"/>
                <a:gd name="T70" fmla="*/ 3 w 175"/>
                <a:gd name="T71" fmla="*/ 68 h 166"/>
                <a:gd name="T72" fmla="*/ 5 w 175"/>
                <a:gd name="T73" fmla="*/ 53 h 166"/>
                <a:gd name="T74" fmla="*/ 5 w 175"/>
                <a:gd name="T75" fmla="*/ 36 h 166"/>
                <a:gd name="T76" fmla="*/ 4 w 175"/>
                <a:gd name="T77" fmla="*/ 22 h 166"/>
                <a:gd name="T78" fmla="*/ 3 w 175"/>
                <a:gd name="T79" fmla="*/ 12 h 166"/>
                <a:gd name="T80" fmla="*/ 7 w 175"/>
                <a:gd name="T81" fmla="*/ 6 h 166"/>
                <a:gd name="T82" fmla="*/ 13 w 175"/>
                <a:gd name="T83" fmla="*/ 2 h 166"/>
                <a:gd name="T84" fmla="*/ 22 w 175"/>
                <a:gd name="T8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5" h="166">
                  <a:moveTo>
                    <a:pt x="22" y="0"/>
                  </a:moveTo>
                  <a:lnTo>
                    <a:pt x="30" y="2"/>
                  </a:lnTo>
                  <a:lnTo>
                    <a:pt x="37" y="7"/>
                  </a:lnTo>
                  <a:lnTo>
                    <a:pt x="42" y="15"/>
                  </a:lnTo>
                  <a:lnTo>
                    <a:pt x="42" y="25"/>
                  </a:lnTo>
                  <a:lnTo>
                    <a:pt x="45" y="34"/>
                  </a:lnTo>
                  <a:lnTo>
                    <a:pt x="51" y="44"/>
                  </a:lnTo>
                  <a:lnTo>
                    <a:pt x="60" y="56"/>
                  </a:lnTo>
                  <a:lnTo>
                    <a:pt x="72" y="67"/>
                  </a:lnTo>
                  <a:lnTo>
                    <a:pt x="85" y="77"/>
                  </a:lnTo>
                  <a:lnTo>
                    <a:pt x="98" y="86"/>
                  </a:lnTo>
                  <a:lnTo>
                    <a:pt x="110" y="95"/>
                  </a:lnTo>
                  <a:lnTo>
                    <a:pt x="122" y="104"/>
                  </a:lnTo>
                  <a:lnTo>
                    <a:pt x="130" y="111"/>
                  </a:lnTo>
                  <a:lnTo>
                    <a:pt x="136" y="115"/>
                  </a:lnTo>
                  <a:lnTo>
                    <a:pt x="153" y="122"/>
                  </a:lnTo>
                  <a:lnTo>
                    <a:pt x="166" y="130"/>
                  </a:lnTo>
                  <a:lnTo>
                    <a:pt x="173" y="139"/>
                  </a:lnTo>
                  <a:lnTo>
                    <a:pt x="175" y="147"/>
                  </a:lnTo>
                  <a:lnTo>
                    <a:pt x="170" y="156"/>
                  </a:lnTo>
                  <a:lnTo>
                    <a:pt x="161" y="162"/>
                  </a:lnTo>
                  <a:lnTo>
                    <a:pt x="148" y="165"/>
                  </a:lnTo>
                  <a:lnTo>
                    <a:pt x="134" y="166"/>
                  </a:lnTo>
                  <a:lnTo>
                    <a:pt x="118" y="166"/>
                  </a:lnTo>
                  <a:lnTo>
                    <a:pt x="103" y="162"/>
                  </a:lnTo>
                  <a:lnTo>
                    <a:pt x="90" y="157"/>
                  </a:lnTo>
                  <a:lnTo>
                    <a:pt x="81" y="149"/>
                  </a:lnTo>
                  <a:lnTo>
                    <a:pt x="68" y="140"/>
                  </a:lnTo>
                  <a:lnTo>
                    <a:pt x="53" y="133"/>
                  </a:lnTo>
                  <a:lnTo>
                    <a:pt x="36" y="127"/>
                  </a:lnTo>
                  <a:lnTo>
                    <a:pt x="21" y="122"/>
                  </a:lnTo>
                  <a:lnTo>
                    <a:pt x="9" y="117"/>
                  </a:lnTo>
                  <a:lnTo>
                    <a:pt x="3" y="109"/>
                  </a:lnTo>
                  <a:lnTo>
                    <a:pt x="0" y="99"/>
                  </a:lnTo>
                  <a:lnTo>
                    <a:pt x="1" y="85"/>
                  </a:lnTo>
                  <a:lnTo>
                    <a:pt x="3" y="68"/>
                  </a:lnTo>
                  <a:lnTo>
                    <a:pt x="5" y="53"/>
                  </a:lnTo>
                  <a:lnTo>
                    <a:pt x="5" y="36"/>
                  </a:lnTo>
                  <a:lnTo>
                    <a:pt x="4" y="22"/>
                  </a:lnTo>
                  <a:lnTo>
                    <a:pt x="3" y="12"/>
                  </a:lnTo>
                  <a:lnTo>
                    <a:pt x="7" y="6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6" name="Freeform 2177"/>
            <p:cNvSpPr>
              <a:spLocks/>
            </p:cNvSpPr>
            <p:nvPr/>
          </p:nvSpPr>
          <p:spPr bwMode="auto">
            <a:xfrm>
              <a:off x="7194551" y="5810250"/>
              <a:ext cx="277813" cy="263525"/>
            </a:xfrm>
            <a:custGeom>
              <a:avLst/>
              <a:gdLst>
                <a:gd name="T0" fmla="*/ 154 w 175"/>
                <a:gd name="T1" fmla="*/ 0 h 166"/>
                <a:gd name="T2" fmla="*/ 162 w 175"/>
                <a:gd name="T3" fmla="*/ 2 h 166"/>
                <a:gd name="T4" fmla="*/ 168 w 175"/>
                <a:gd name="T5" fmla="*/ 6 h 166"/>
                <a:gd name="T6" fmla="*/ 172 w 175"/>
                <a:gd name="T7" fmla="*/ 12 h 166"/>
                <a:gd name="T8" fmla="*/ 171 w 175"/>
                <a:gd name="T9" fmla="*/ 22 h 166"/>
                <a:gd name="T10" fmla="*/ 170 w 175"/>
                <a:gd name="T11" fmla="*/ 36 h 166"/>
                <a:gd name="T12" fmla="*/ 170 w 175"/>
                <a:gd name="T13" fmla="*/ 53 h 166"/>
                <a:gd name="T14" fmla="*/ 172 w 175"/>
                <a:gd name="T15" fmla="*/ 68 h 166"/>
                <a:gd name="T16" fmla="*/ 174 w 175"/>
                <a:gd name="T17" fmla="*/ 85 h 166"/>
                <a:gd name="T18" fmla="*/ 175 w 175"/>
                <a:gd name="T19" fmla="*/ 99 h 166"/>
                <a:gd name="T20" fmla="*/ 174 w 175"/>
                <a:gd name="T21" fmla="*/ 109 h 166"/>
                <a:gd name="T22" fmla="*/ 166 w 175"/>
                <a:gd name="T23" fmla="*/ 117 h 166"/>
                <a:gd name="T24" fmla="*/ 154 w 175"/>
                <a:gd name="T25" fmla="*/ 122 h 166"/>
                <a:gd name="T26" fmla="*/ 139 w 175"/>
                <a:gd name="T27" fmla="*/ 127 h 166"/>
                <a:gd name="T28" fmla="*/ 124 w 175"/>
                <a:gd name="T29" fmla="*/ 133 h 166"/>
                <a:gd name="T30" fmla="*/ 107 w 175"/>
                <a:gd name="T31" fmla="*/ 140 h 166"/>
                <a:gd name="T32" fmla="*/ 95 w 175"/>
                <a:gd name="T33" fmla="*/ 149 h 166"/>
                <a:gd name="T34" fmla="*/ 85 w 175"/>
                <a:gd name="T35" fmla="*/ 157 h 166"/>
                <a:gd name="T36" fmla="*/ 72 w 175"/>
                <a:gd name="T37" fmla="*/ 162 h 166"/>
                <a:gd name="T38" fmla="*/ 58 w 175"/>
                <a:gd name="T39" fmla="*/ 166 h 166"/>
                <a:gd name="T40" fmla="*/ 43 w 175"/>
                <a:gd name="T41" fmla="*/ 166 h 166"/>
                <a:gd name="T42" fmla="*/ 27 w 175"/>
                <a:gd name="T43" fmla="*/ 165 h 166"/>
                <a:gd name="T44" fmla="*/ 14 w 175"/>
                <a:gd name="T45" fmla="*/ 162 h 166"/>
                <a:gd name="T46" fmla="*/ 6 w 175"/>
                <a:gd name="T47" fmla="*/ 156 h 166"/>
                <a:gd name="T48" fmla="*/ 0 w 175"/>
                <a:gd name="T49" fmla="*/ 147 h 166"/>
                <a:gd name="T50" fmla="*/ 3 w 175"/>
                <a:gd name="T51" fmla="*/ 139 h 166"/>
                <a:gd name="T52" fmla="*/ 9 w 175"/>
                <a:gd name="T53" fmla="*/ 130 h 166"/>
                <a:gd name="T54" fmla="*/ 22 w 175"/>
                <a:gd name="T55" fmla="*/ 122 h 166"/>
                <a:gd name="T56" fmla="*/ 39 w 175"/>
                <a:gd name="T57" fmla="*/ 115 h 166"/>
                <a:gd name="T58" fmla="*/ 45 w 175"/>
                <a:gd name="T59" fmla="*/ 111 h 166"/>
                <a:gd name="T60" fmla="*/ 54 w 175"/>
                <a:gd name="T61" fmla="*/ 104 h 166"/>
                <a:gd name="T62" fmla="*/ 65 w 175"/>
                <a:gd name="T63" fmla="*/ 95 h 166"/>
                <a:gd name="T64" fmla="*/ 77 w 175"/>
                <a:gd name="T65" fmla="*/ 86 h 166"/>
                <a:gd name="T66" fmla="*/ 90 w 175"/>
                <a:gd name="T67" fmla="*/ 77 h 166"/>
                <a:gd name="T68" fmla="*/ 103 w 175"/>
                <a:gd name="T69" fmla="*/ 67 h 166"/>
                <a:gd name="T70" fmla="*/ 115 w 175"/>
                <a:gd name="T71" fmla="*/ 56 h 166"/>
                <a:gd name="T72" fmla="*/ 125 w 175"/>
                <a:gd name="T73" fmla="*/ 44 h 166"/>
                <a:gd name="T74" fmla="*/ 130 w 175"/>
                <a:gd name="T75" fmla="*/ 34 h 166"/>
                <a:gd name="T76" fmla="*/ 133 w 175"/>
                <a:gd name="T77" fmla="*/ 25 h 166"/>
                <a:gd name="T78" fmla="*/ 133 w 175"/>
                <a:gd name="T79" fmla="*/ 15 h 166"/>
                <a:gd name="T80" fmla="*/ 138 w 175"/>
                <a:gd name="T81" fmla="*/ 7 h 166"/>
                <a:gd name="T82" fmla="*/ 145 w 175"/>
                <a:gd name="T83" fmla="*/ 2 h 166"/>
                <a:gd name="T84" fmla="*/ 154 w 175"/>
                <a:gd name="T8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5" h="166">
                  <a:moveTo>
                    <a:pt x="154" y="0"/>
                  </a:moveTo>
                  <a:lnTo>
                    <a:pt x="162" y="2"/>
                  </a:lnTo>
                  <a:lnTo>
                    <a:pt x="168" y="6"/>
                  </a:lnTo>
                  <a:lnTo>
                    <a:pt x="172" y="12"/>
                  </a:lnTo>
                  <a:lnTo>
                    <a:pt x="171" y="22"/>
                  </a:lnTo>
                  <a:lnTo>
                    <a:pt x="170" y="36"/>
                  </a:lnTo>
                  <a:lnTo>
                    <a:pt x="170" y="53"/>
                  </a:lnTo>
                  <a:lnTo>
                    <a:pt x="172" y="68"/>
                  </a:lnTo>
                  <a:lnTo>
                    <a:pt x="174" y="85"/>
                  </a:lnTo>
                  <a:lnTo>
                    <a:pt x="175" y="99"/>
                  </a:lnTo>
                  <a:lnTo>
                    <a:pt x="174" y="109"/>
                  </a:lnTo>
                  <a:lnTo>
                    <a:pt x="166" y="117"/>
                  </a:lnTo>
                  <a:lnTo>
                    <a:pt x="154" y="122"/>
                  </a:lnTo>
                  <a:lnTo>
                    <a:pt x="139" y="127"/>
                  </a:lnTo>
                  <a:lnTo>
                    <a:pt x="124" y="133"/>
                  </a:lnTo>
                  <a:lnTo>
                    <a:pt x="107" y="140"/>
                  </a:lnTo>
                  <a:lnTo>
                    <a:pt x="95" y="149"/>
                  </a:lnTo>
                  <a:lnTo>
                    <a:pt x="85" y="157"/>
                  </a:lnTo>
                  <a:lnTo>
                    <a:pt x="72" y="162"/>
                  </a:lnTo>
                  <a:lnTo>
                    <a:pt x="58" y="166"/>
                  </a:lnTo>
                  <a:lnTo>
                    <a:pt x="43" y="166"/>
                  </a:lnTo>
                  <a:lnTo>
                    <a:pt x="27" y="165"/>
                  </a:lnTo>
                  <a:lnTo>
                    <a:pt x="14" y="162"/>
                  </a:lnTo>
                  <a:lnTo>
                    <a:pt x="6" y="156"/>
                  </a:lnTo>
                  <a:lnTo>
                    <a:pt x="0" y="147"/>
                  </a:lnTo>
                  <a:lnTo>
                    <a:pt x="3" y="139"/>
                  </a:lnTo>
                  <a:lnTo>
                    <a:pt x="9" y="130"/>
                  </a:lnTo>
                  <a:lnTo>
                    <a:pt x="22" y="122"/>
                  </a:lnTo>
                  <a:lnTo>
                    <a:pt x="39" y="115"/>
                  </a:lnTo>
                  <a:lnTo>
                    <a:pt x="45" y="111"/>
                  </a:lnTo>
                  <a:lnTo>
                    <a:pt x="54" y="104"/>
                  </a:lnTo>
                  <a:lnTo>
                    <a:pt x="65" y="95"/>
                  </a:lnTo>
                  <a:lnTo>
                    <a:pt x="77" y="86"/>
                  </a:lnTo>
                  <a:lnTo>
                    <a:pt x="90" y="77"/>
                  </a:lnTo>
                  <a:lnTo>
                    <a:pt x="103" y="67"/>
                  </a:lnTo>
                  <a:lnTo>
                    <a:pt x="115" y="56"/>
                  </a:lnTo>
                  <a:lnTo>
                    <a:pt x="125" y="44"/>
                  </a:lnTo>
                  <a:lnTo>
                    <a:pt x="130" y="34"/>
                  </a:lnTo>
                  <a:lnTo>
                    <a:pt x="133" y="25"/>
                  </a:lnTo>
                  <a:lnTo>
                    <a:pt x="133" y="15"/>
                  </a:lnTo>
                  <a:lnTo>
                    <a:pt x="138" y="7"/>
                  </a:lnTo>
                  <a:lnTo>
                    <a:pt x="145" y="2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7" name="Freeform 2178"/>
            <p:cNvSpPr>
              <a:spLocks/>
            </p:cNvSpPr>
            <p:nvPr/>
          </p:nvSpPr>
          <p:spPr bwMode="auto">
            <a:xfrm>
              <a:off x="7312026" y="3989388"/>
              <a:ext cx="425450" cy="646113"/>
            </a:xfrm>
            <a:custGeom>
              <a:avLst/>
              <a:gdLst>
                <a:gd name="T0" fmla="*/ 128 w 268"/>
                <a:gd name="T1" fmla="*/ 0 h 407"/>
                <a:gd name="T2" fmla="*/ 153 w 268"/>
                <a:gd name="T3" fmla="*/ 0 h 407"/>
                <a:gd name="T4" fmla="*/ 178 w 268"/>
                <a:gd name="T5" fmla="*/ 3 h 407"/>
                <a:gd name="T6" fmla="*/ 201 w 268"/>
                <a:gd name="T7" fmla="*/ 8 h 407"/>
                <a:gd name="T8" fmla="*/ 220 w 268"/>
                <a:gd name="T9" fmla="*/ 16 h 407"/>
                <a:gd name="T10" fmla="*/ 238 w 268"/>
                <a:gd name="T11" fmla="*/ 25 h 407"/>
                <a:gd name="T12" fmla="*/ 252 w 268"/>
                <a:gd name="T13" fmla="*/ 35 h 407"/>
                <a:gd name="T14" fmla="*/ 260 w 268"/>
                <a:gd name="T15" fmla="*/ 49 h 407"/>
                <a:gd name="T16" fmla="*/ 264 w 268"/>
                <a:gd name="T17" fmla="*/ 65 h 407"/>
                <a:gd name="T18" fmla="*/ 261 w 268"/>
                <a:gd name="T19" fmla="*/ 82 h 407"/>
                <a:gd name="T20" fmla="*/ 251 w 268"/>
                <a:gd name="T21" fmla="*/ 115 h 407"/>
                <a:gd name="T22" fmla="*/ 241 w 268"/>
                <a:gd name="T23" fmla="*/ 148 h 407"/>
                <a:gd name="T24" fmla="*/ 233 w 268"/>
                <a:gd name="T25" fmla="*/ 179 h 407"/>
                <a:gd name="T26" fmla="*/ 228 w 268"/>
                <a:gd name="T27" fmla="*/ 210 h 407"/>
                <a:gd name="T28" fmla="*/ 225 w 268"/>
                <a:gd name="T29" fmla="*/ 239 h 407"/>
                <a:gd name="T30" fmla="*/ 227 w 268"/>
                <a:gd name="T31" fmla="*/ 265 h 407"/>
                <a:gd name="T32" fmla="*/ 232 w 268"/>
                <a:gd name="T33" fmla="*/ 286 h 407"/>
                <a:gd name="T34" fmla="*/ 245 w 268"/>
                <a:gd name="T35" fmla="*/ 319 h 407"/>
                <a:gd name="T36" fmla="*/ 255 w 268"/>
                <a:gd name="T37" fmla="*/ 346 h 407"/>
                <a:gd name="T38" fmla="*/ 264 w 268"/>
                <a:gd name="T39" fmla="*/ 369 h 407"/>
                <a:gd name="T40" fmla="*/ 268 w 268"/>
                <a:gd name="T41" fmla="*/ 390 h 407"/>
                <a:gd name="T42" fmla="*/ 234 w 268"/>
                <a:gd name="T43" fmla="*/ 398 h 407"/>
                <a:gd name="T44" fmla="*/ 196 w 268"/>
                <a:gd name="T45" fmla="*/ 403 h 407"/>
                <a:gd name="T46" fmla="*/ 152 w 268"/>
                <a:gd name="T47" fmla="*/ 407 h 407"/>
                <a:gd name="T48" fmla="*/ 106 w 268"/>
                <a:gd name="T49" fmla="*/ 406 h 407"/>
                <a:gd name="T50" fmla="*/ 57 w 268"/>
                <a:gd name="T51" fmla="*/ 401 h 407"/>
                <a:gd name="T52" fmla="*/ 7 w 268"/>
                <a:gd name="T53" fmla="*/ 390 h 407"/>
                <a:gd name="T54" fmla="*/ 11 w 268"/>
                <a:gd name="T55" fmla="*/ 369 h 407"/>
                <a:gd name="T56" fmla="*/ 20 w 268"/>
                <a:gd name="T57" fmla="*/ 346 h 407"/>
                <a:gd name="T58" fmla="*/ 30 w 268"/>
                <a:gd name="T59" fmla="*/ 320 h 407"/>
                <a:gd name="T60" fmla="*/ 43 w 268"/>
                <a:gd name="T61" fmla="*/ 288 h 407"/>
                <a:gd name="T62" fmla="*/ 48 w 268"/>
                <a:gd name="T63" fmla="*/ 267 h 407"/>
                <a:gd name="T64" fmla="*/ 50 w 268"/>
                <a:gd name="T65" fmla="*/ 244 h 407"/>
                <a:gd name="T66" fmla="*/ 48 w 268"/>
                <a:gd name="T67" fmla="*/ 217 h 407"/>
                <a:gd name="T68" fmla="*/ 44 w 268"/>
                <a:gd name="T69" fmla="*/ 189 h 407"/>
                <a:gd name="T70" fmla="*/ 37 w 268"/>
                <a:gd name="T71" fmla="*/ 161 h 407"/>
                <a:gd name="T72" fmla="*/ 28 w 268"/>
                <a:gd name="T73" fmla="*/ 131 h 407"/>
                <a:gd name="T74" fmla="*/ 17 w 268"/>
                <a:gd name="T75" fmla="*/ 103 h 407"/>
                <a:gd name="T76" fmla="*/ 5 w 268"/>
                <a:gd name="T77" fmla="*/ 76 h 407"/>
                <a:gd name="T78" fmla="*/ 0 w 268"/>
                <a:gd name="T79" fmla="*/ 61 h 407"/>
                <a:gd name="T80" fmla="*/ 2 w 268"/>
                <a:gd name="T81" fmla="*/ 47 h 407"/>
                <a:gd name="T82" fmla="*/ 8 w 268"/>
                <a:gd name="T83" fmla="*/ 35 h 407"/>
                <a:gd name="T84" fmla="*/ 21 w 268"/>
                <a:gd name="T85" fmla="*/ 25 h 407"/>
                <a:gd name="T86" fmla="*/ 38 w 268"/>
                <a:gd name="T87" fmla="*/ 16 h 407"/>
                <a:gd name="T88" fmla="*/ 57 w 268"/>
                <a:gd name="T89" fmla="*/ 9 h 407"/>
                <a:gd name="T90" fmla="*/ 80 w 268"/>
                <a:gd name="T91" fmla="*/ 4 h 407"/>
                <a:gd name="T92" fmla="*/ 103 w 268"/>
                <a:gd name="T93" fmla="*/ 0 h 407"/>
                <a:gd name="T94" fmla="*/ 128 w 268"/>
                <a:gd name="T95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8" h="407">
                  <a:moveTo>
                    <a:pt x="128" y="0"/>
                  </a:moveTo>
                  <a:lnTo>
                    <a:pt x="153" y="0"/>
                  </a:lnTo>
                  <a:lnTo>
                    <a:pt x="178" y="3"/>
                  </a:lnTo>
                  <a:lnTo>
                    <a:pt x="201" y="8"/>
                  </a:lnTo>
                  <a:lnTo>
                    <a:pt x="220" y="16"/>
                  </a:lnTo>
                  <a:lnTo>
                    <a:pt x="238" y="25"/>
                  </a:lnTo>
                  <a:lnTo>
                    <a:pt x="252" y="35"/>
                  </a:lnTo>
                  <a:lnTo>
                    <a:pt x="260" y="49"/>
                  </a:lnTo>
                  <a:lnTo>
                    <a:pt x="264" y="65"/>
                  </a:lnTo>
                  <a:lnTo>
                    <a:pt x="261" y="82"/>
                  </a:lnTo>
                  <a:lnTo>
                    <a:pt x="251" y="115"/>
                  </a:lnTo>
                  <a:lnTo>
                    <a:pt x="241" y="148"/>
                  </a:lnTo>
                  <a:lnTo>
                    <a:pt x="233" y="179"/>
                  </a:lnTo>
                  <a:lnTo>
                    <a:pt x="228" y="210"/>
                  </a:lnTo>
                  <a:lnTo>
                    <a:pt x="225" y="239"/>
                  </a:lnTo>
                  <a:lnTo>
                    <a:pt x="227" y="265"/>
                  </a:lnTo>
                  <a:lnTo>
                    <a:pt x="232" y="286"/>
                  </a:lnTo>
                  <a:lnTo>
                    <a:pt x="245" y="319"/>
                  </a:lnTo>
                  <a:lnTo>
                    <a:pt x="255" y="346"/>
                  </a:lnTo>
                  <a:lnTo>
                    <a:pt x="264" y="369"/>
                  </a:lnTo>
                  <a:lnTo>
                    <a:pt x="268" y="390"/>
                  </a:lnTo>
                  <a:lnTo>
                    <a:pt x="234" y="398"/>
                  </a:lnTo>
                  <a:lnTo>
                    <a:pt x="196" y="403"/>
                  </a:lnTo>
                  <a:lnTo>
                    <a:pt x="152" y="407"/>
                  </a:lnTo>
                  <a:lnTo>
                    <a:pt x="106" y="406"/>
                  </a:lnTo>
                  <a:lnTo>
                    <a:pt x="57" y="401"/>
                  </a:lnTo>
                  <a:lnTo>
                    <a:pt x="7" y="390"/>
                  </a:lnTo>
                  <a:lnTo>
                    <a:pt x="11" y="369"/>
                  </a:lnTo>
                  <a:lnTo>
                    <a:pt x="20" y="346"/>
                  </a:lnTo>
                  <a:lnTo>
                    <a:pt x="30" y="320"/>
                  </a:lnTo>
                  <a:lnTo>
                    <a:pt x="43" y="288"/>
                  </a:lnTo>
                  <a:lnTo>
                    <a:pt x="48" y="267"/>
                  </a:lnTo>
                  <a:lnTo>
                    <a:pt x="50" y="244"/>
                  </a:lnTo>
                  <a:lnTo>
                    <a:pt x="48" y="217"/>
                  </a:lnTo>
                  <a:lnTo>
                    <a:pt x="44" y="189"/>
                  </a:lnTo>
                  <a:lnTo>
                    <a:pt x="37" y="161"/>
                  </a:lnTo>
                  <a:lnTo>
                    <a:pt x="28" y="131"/>
                  </a:lnTo>
                  <a:lnTo>
                    <a:pt x="17" y="103"/>
                  </a:lnTo>
                  <a:lnTo>
                    <a:pt x="5" y="76"/>
                  </a:lnTo>
                  <a:lnTo>
                    <a:pt x="0" y="61"/>
                  </a:lnTo>
                  <a:lnTo>
                    <a:pt x="2" y="47"/>
                  </a:lnTo>
                  <a:lnTo>
                    <a:pt x="8" y="35"/>
                  </a:lnTo>
                  <a:lnTo>
                    <a:pt x="21" y="25"/>
                  </a:lnTo>
                  <a:lnTo>
                    <a:pt x="38" y="16"/>
                  </a:lnTo>
                  <a:lnTo>
                    <a:pt x="57" y="9"/>
                  </a:lnTo>
                  <a:lnTo>
                    <a:pt x="80" y="4"/>
                  </a:lnTo>
                  <a:lnTo>
                    <a:pt x="103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8" name="Freeform 2179"/>
            <p:cNvSpPr>
              <a:spLocks/>
            </p:cNvSpPr>
            <p:nvPr/>
          </p:nvSpPr>
          <p:spPr bwMode="auto">
            <a:xfrm>
              <a:off x="7623176" y="4021138"/>
              <a:ext cx="161925" cy="209550"/>
            </a:xfrm>
            <a:custGeom>
              <a:avLst/>
              <a:gdLst>
                <a:gd name="T0" fmla="*/ 20 w 102"/>
                <a:gd name="T1" fmla="*/ 0 h 132"/>
                <a:gd name="T2" fmla="*/ 37 w 102"/>
                <a:gd name="T3" fmla="*/ 1 h 132"/>
                <a:gd name="T4" fmla="*/ 52 w 102"/>
                <a:gd name="T5" fmla="*/ 9 h 132"/>
                <a:gd name="T6" fmla="*/ 68 w 102"/>
                <a:gd name="T7" fmla="*/ 24 h 132"/>
                <a:gd name="T8" fmla="*/ 82 w 102"/>
                <a:gd name="T9" fmla="*/ 43 h 132"/>
                <a:gd name="T10" fmla="*/ 93 w 102"/>
                <a:gd name="T11" fmla="*/ 65 h 132"/>
                <a:gd name="T12" fmla="*/ 102 w 102"/>
                <a:gd name="T13" fmla="*/ 88 h 132"/>
                <a:gd name="T14" fmla="*/ 83 w 102"/>
                <a:gd name="T15" fmla="*/ 106 h 132"/>
                <a:gd name="T16" fmla="*/ 58 w 102"/>
                <a:gd name="T17" fmla="*/ 119 h 132"/>
                <a:gd name="T18" fmla="*/ 28 w 102"/>
                <a:gd name="T19" fmla="*/ 128 h 132"/>
                <a:gd name="T20" fmla="*/ 28 w 102"/>
                <a:gd name="T21" fmla="*/ 132 h 132"/>
                <a:gd name="T22" fmla="*/ 22 w 102"/>
                <a:gd name="T23" fmla="*/ 115 h 132"/>
                <a:gd name="T24" fmla="*/ 14 w 102"/>
                <a:gd name="T25" fmla="*/ 97 h 132"/>
                <a:gd name="T26" fmla="*/ 9 w 102"/>
                <a:gd name="T27" fmla="*/ 79 h 132"/>
                <a:gd name="T28" fmla="*/ 4 w 102"/>
                <a:gd name="T29" fmla="*/ 60 h 132"/>
                <a:gd name="T30" fmla="*/ 1 w 102"/>
                <a:gd name="T31" fmla="*/ 43 h 132"/>
                <a:gd name="T32" fmla="*/ 0 w 102"/>
                <a:gd name="T33" fmla="*/ 28 h 132"/>
                <a:gd name="T34" fmla="*/ 2 w 102"/>
                <a:gd name="T35" fmla="*/ 15 h 132"/>
                <a:gd name="T36" fmla="*/ 9 w 102"/>
                <a:gd name="T37" fmla="*/ 6 h 132"/>
                <a:gd name="T38" fmla="*/ 20 w 102"/>
                <a:gd name="T3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" h="132">
                  <a:moveTo>
                    <a:pt x="20" y="0"/>
                  </a:moveTo>
                  <a:lnTo>
                    <a:pt x="37" y="1"/>
                  </a:lnTo>
                  <a:lnTo>
                    <a:pt x="52" y="9"/>
                  </a:lnTo>
                  <a:lnTo>
                    <a:pt x="68" y="24"/>
                  </a:lnTo>
                  <a:lnTo>
                    <a:pt x="82" y="43"/>
                  </a:lnTo>
                  <a:lnTo>
                    <a:pt x="93" y="65"/>
                  </a:lnTo>
                  <a:lnTo>
                    <a:pt x="102" y="88"/>
                  </a:lnTo>
                  <a:lnTo>
                    <a:pt x="83" y="106"/>
                  </a:lnTo>
                  <a:lnTo>
                    <a:pt x="58" y="119"/>
                  </a:lnTo>
                  <a:lnTo>
                    <a:pt x="28" y="128"/>
                  </a:lnTo>
                  <a:lnTo>
                    <a:pt x="28" y="132"/>
                  </a:lnTo>
                  <a:lnTo>
                    <a:pt x="22" y="115"/>
                  </a:lnTo>
                  <a:lnTo>
                    <a:pt x="14" y="97"/>
                  </a:lnTo>
                  <a:lnTo>
                    <a:pt x="9" y="79"/>
                  </a:lnTo>
                  <a:lnTo>
                    <a:pt x="4" y="60"/>
                  </a:lnTo>
                  <a:lnTo>
                    <a:pt x="1" y="43"/>
                  </a:lnTo>
                  <a:lnTo>
                    <a:pt x="0" y="28"/>
                  </a:lnTo>
                  <a:lnTo>
                    <a:pt x="2" y="15"/>
                  </a:lnTo>
                  <a:lnTo>
                    <a:pt x="9" y="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9" name="Freeform 2180"/>
            <p:cNvSpPr>
              <a:spLocks/>
            </p:cNvSpPr>
            <p:nvPr/>
          </p:nvSpPr>
          <p:spPr bwMode="auto">
            <a:xfrm>
              <a:off x="7250113" y="4014788"/>
              <a:ext cx="193675" cy="188913"/>
            </a:xfrm>
            <a:custGeom>
              <a:avLst/>
              <a:gdLst>
                <a:gd name="T0" fmla="*/ 85 w 122"/>
                <a:gd name="T1" fmla="*/ 0 h 119"/>
                <a:gd name="T2" fmla="*/ 99 w 122"/>
                <a:gd name="T3" fmla="*/ 1 h 119"/>
                <a:gd name="T4" fmla="*/ 112 w 122"/>
                <a:gd name="T5" fmla="*/ 7 h 119"/>
                <a:gd name="T6" fmla="*/ 119 w 122"/>
                <a:gd name="T7" fmla="*/ 16 h 119"/>
                <a:gd name="T8" fmla="*/ 122 w 122"/>
                <a:gd name="T9" fmla="*/ 28 h 119"/>
                <a:gd name="T10" fmla="*/ 118 w 122"/>
                <a:gd name="T11" fmla="*/ 41 h 119"/>
                <a:gd name="T12" fmla="*/ 112 w 122"/>
                <a:gd name="T13" fmla="*/ 55 h 119"/>
                <a:gd name="T14" fmla="*/ 103 w 122"/>
                <a:gd name="T15" fmla="*/ 68 h 119"/>
                <a:gd name="T16" fmla="*/ 92 w 122"/>
                <a:gd name="T17" fmla="*/ 81 h 119"/>
                <a:gd name="T18" fmla="*/ 80 w 122"/>
                <a:gd name="T19" fmla="*/ 93 h 119"/>
                <a:gd name="T20" fmla="*/ 69 w 122"/>
                <a:gd name="T21" fmla="*/ 104 h 119"/>
                <a:gd name="T22" fmla="*/ 59 w 122"/>
                <a:gd name="T23" fmla="*/ 113 h 119"/>
                <a:gd name="T24" fmla="*/ 50 w 122"/>
                <a:gd name="T25" fmla="*/ 119 h 119"/>
                <a:gd name="T26" fmla="*/ 33 w 122"/>
                <a:gd name="T27" fmla="*/ 106 h 119"/>
                <a:gd name="T28" fmla="*/ 19 w 122"/>
                <a:gd name="T29" fmla="*/ 91 h 119"/>
                <a:gd name="T30" fmla="*/ 9 w 122"/>
                <a:gd name="T31" fmla="*/ 72 h 119"/>
                <a:gd name="T32" fmla="*/ 0 w 122"/>
                <a:gd name="T33" fmla="*/ 51 h 119"/>
                <a:gd name="T34" fmla="*/ 15 w 122"/>
                <a:gd name="T35" fmla="*/ 37 h 119"/>
                <a:gd name="T36" fmla="*/ 32 w 122"/>
                <a:gd name="T37" fmla="*/ 23 h 119"/>
                <a:gd name="T38" fmla="*/ 50 w 122"/>
                <a:gd name="T39" fmla="*/ 13 h 119"/>
                <a:gd name="T40" fmla="*/ 67 w 122"/>
                <a:gd name="T41" fmla="*/ 4 h 119"/>
                <a:gd name="T42" fmla="*/ 85 w 122"/>
                <a:gd name="T4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" h="119">
                  <a:moveTo>
                    <a:pt x="85" y="0"/>
                  </a:moveTo>
                  <a:lnTo>
                    <a:pt x="99" y="1"/>
                  </a:lnTo>
                  <a:lnTo>
                    <a:pt x="112" y="7"/>
                  </a:lnTo>
                  <a:lnTo>
                    <a:pt x="119" y="16"/>
                  </a:lnTo>
                  <a:lnTo>
                    <a:pt x="122" y="28"/>
                  </a:lnTo>
                  <a:lnTo>
                    <a:pt x="118" y="41"/>
                  </a:lnTo>
                  <a:lnTo>
                    <a:pt x="112" y="55"/>
                  </a:lnTo>
                  <a:lnTo>
                    <a:pt x="103" y="68"/>
                  </a:lnTo>
                  <a:lnTo>
                    <a:pt x="92" y="81"/>
                  </a:lnTo>
                  <a:lnTo>
                    <a:pt x="80" y="93"/>
                  </a:lnTo>
                  <a:lnTo>
                    <a:pt x="69" y="104"/>
                  </a:lnTo>
                  <a:lnTo>
                    <a:pt x="59" y="113"/>
                  </a:lnTo>
                  <a:lnTo>
                    <a:pt x="50" y="119"/>
                  </a:lnTo>
                  <a:lnTo>
                    <a:pt x="33" y="106"/>
                  </a:lnTo>
                  <a:lnTo>
                    <a:pt x="19" y="91"/>
                  </a:lnTo>
                  <a:lnTo>
                    <a:pt x="9" y="72"/>
                  </a:lnTo>
                  <a:lnTo>
                    <a:pt x="0" y="51"/>
                  </a:lnTo>
                  <a:lnTo>
                    <a:pt x="15" y="37"/>
                  </a:lnTo>
                  <a:lnTo>
                    <a:pt x="32" y="23"/>
                  </a:lnTo>
                  <a:lnTo>
                    <a:pt x="50" y="13"/>
                  </a:lnTo>
                  <a:lnTo>
                    <a:pt x="67" y="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0" name="Freeform 2181"/>
            <p:cNvSpPr>
              <a:spLocks/>
            </p:cNvSpPr>
            <p:nvPr/>
          </p:nvSpPr>
          <p:spPr bwMode="auto">
            <a:xfrm>
              <a:off x="7415213" y="3989388"/>
              <a:ext cx="230188" cy="77788"/>
            </a:xfrm>
            <a:custGeom>
              <a:avLst/>
              <a:gdLst>
                <a:gd name="T0" fmla="*/ 58 w 145"/>
                <a:gd name="T1" fmla="*/ 0 h 49"/>
                <a:gd name="T2" fmla="*/ 88 w 145"/>
                <a:gd name="T3" fmla="*/ 0 h 49"/>
                <a:gd name="T4" fmla="*/ 118 w 145"/>
                <a:gd name="T5" fmla="*/ 4 h 49"/>
                <a:gd name="T6" fmla="*/ 145 w 145"/>
                <a:gd name="T7" fmla="*/ 11 h 49"/>
                <a:gd name="T8" fmla="*/ 145 w 145"/>
                <a:gd name="T9" fmla="*/ 12 h 49"/>
                <a:gd name="T10" fmla="*/ 142 w 145"/>
                <a:gd name="T11" fmla="*/ 26 h 49"/>
                <a:gd name="T12" fmla="*/ 133 w 145"/>
                <a:gd name="T13" fmla="*/ 39 h 49"/>
                <a:gd name="T14" fmla="*/ 122 w 145"/>
                <a:gd name="T15" fmla="*/ 47 h 49"/>
                <a:gd name="T16" fmla="*/ 106 w 145"/>
                <a:gd name="T17" fmla="*/ 49 h 49"/>
                <a:gd name="T18" fmla="*/ 92 w 145"/>
                <a:gd name="T19" fmla="*/ 47 h 49"/>
                <a:gd name="T20" fmla="*/ 81 w 145"/>
                <a:gd name="T21" fmla="*/ 40 h 49"/>
                <a:gd name="T22" fmla="*/ 72 w 145"/>
                <a:gd name="T23" fmla="*/ 29 h 49"/>
                <a:gd name="T24" fmla="*/ 64 w 145"/>
                <a:gd name="T25" fmla="*/ 40 h 49"/>
                <a:gd name="T26" fmla="*/ 53 w 145"/>
                <a:gd name="T27" fmla="*/ 47 h 49"/>
                <a:gd name="T28" fmla="*/ 38 w 145"/>
                <a:gd name="T29" fmla="*/ 49 h 49"/>
                <a:gd name="T30" fmla="*/ 23 w 145"/>
                <a:gd name="T31" fmla="*/ 47 h 49"/>
                <a:gd name="T32" fmla="*/ 11 w 145"/>
                <a:gd name="T33" fmla="*/ 39 h 49"/>
                <a:gd name="T34" fmla="*/ 3 w 145"/>
                <a:gd name="T35" fmla="*/ 26 h 49"/>
                <a:gd name="T36" fmla="*/ 0 w 145"/>
                <a:gd name="T37" fmla="*/ 12 h 49"/>
                <a:gd name="T38" fmla="*/ 0 w 145"/>
                <a:gd name="T39" fmla="*/ 7 h 49"/>
                <a:gd name="T40" fmla="*/ 28 w 145"/>
                <a:gd name="T41" fmla="*/ 2 h 49"/>
                <a:gd name="T42" fmla="*/ 58 w 145"/>
                <a:gd name="T4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5" h="49">
                  <a:moveTo>
                    <a:pt x="58" y="0"/>
                  </a:moveTo>
                  <a:lnTo>
                    <a:pt x="88" y="0"/>
                  </a:lnTo>
                  <a:lnTo>
                    <a:pt x="118" y="4"/>
                  </a:lnTo>
                  <a:lnTo>
                    <a:pt x="145" y="11"/>
                  </a:lnTo>
                  <a:lnTo>
                    <a:pt x="145" y="12"/>
                  </a:lnTo>
                  <a:lnTo>
                    <a:pt x="142" y="26"/>
                  </a:lnTo>
                  <a:lnTo>
                    <a:pt x="133" y="39"/>
                  </a:lnTo>
                  <a:lnTo>
                    <a:pt x="122" y="47"/>
                  </a:lnTo>
                  <a:lnTo>
                    <a:pt x="106" y="49"/>
                  </a:lnTo>
                  <a:lnTo>
                    <a:pt x="92" y="47"/>
                  </a:lnTo>
                  <a:lnTo>
                    <a:pt x="81" y="40"/>
                  </a:lnTo>
                  <a:lnTo>
                    <a:pt x="72" y="29"/>
                  </a:lnTo>
                  <a:lnTo>
                    <a:pt x="64" y="40"/>
                  </a:lnTo>
                  <a:lnTo>
                    <a:pt x="53" y="47"/>
                  </a:lnTo>
                  <a:lnTo>
                    <a:pt x="38" y="49"/>
                  </a:lnTo>
                  <a:lnTo>
                    <a:pt x="23" y="47"/>
                  </a:lnTo>
                  <a:lnTo>
                    <a:pt x="11" y="39"/>
                  </a:lnTo>
                  <a:lnTo>
                    <a:pt x="3" y="26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8" y="2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1" name="Freeform 2182"/>
            <p:cNvSpPr>
              <a:spLocks/>
            </p:cNvSpPr>
            <p:nvPr/>
          </p:nvSpPr>
          <p:spPr bwMode="auto">
            <a:xfrm>
              <a:off x="7350126" y="4157663"/>
              <a:ext cx="350838" cy="146050"/>
            </a:xfrm>
            <a:custGeom>
              <a:avLst/>
              <a:gdLst>
                <a:gd name="T0" fmla="*/ 0 w 221"/>
                <a:gd name="T1" fmla="*/ 0 h 92"/>
                <a:gd name="T2" fmla="*/ 5 w 221"/>
                <a:gd name="T3" fmla="*/ 16 h 92"/>
                <a:gd name="T4" fmla="*/ 11 w 221"/>
                <a:gd name="T5" fmla="*/ 33 h 92"/>
                <a:gd name="T6" fmla="*/ 18 w 221"/>
                <a:gd name="T7" fmla="*/ 50 h 92"/>
                <a:gd name="T8" fmla="*/ 28 w 221"/>
                <a:gd name="T9" fmla="*/ 62 h 92"/>
                <a:gd name="T10" fmla="*/ 42 w 221"/>
                <a:gd name="T11" fmla="*/ 71 h 92"/>
                <a:gd name="T12" fmla="*/ 59 w 221"/>
                <a:gd name="T13" fmla="*/ 75 h 92"/>
                <a:gd name="T14" fmla="*/ 78 w 221"/>
                <a:gd name="T15" fmla="*/ 77 h 92"/>
                <a:gd name="T16" fmla="*/ 97 w 221"/>
                <a:gd name="T17" fmla="*/ 75 h 92"/>
                <a:gd name="T18" fmla="*/ 118 w 221"/>
                <a:gd name="T19" fmla="*/ 74 h 92"/>
                <a:gd name="T20" fmla="*/ 135 w 221"/>
                <a:gd name="T21" fmla="*/ 74 h 92"/>
                <a:gd name="T22" fmla="*/ 151 w 221"/>
                <a:gd name="T23" fmla="*/ 74 h 92"/>
                <a:gd name="T24" fmla="*/ 168 w 221"/>
                <a:gd name="T25" fmla="*/ 74 h 92"/>
                <a:gd name="T26" fmla="*/ 181 w 221"/>
                <a:gd name="T27" fmla="*/ 71 h 92"/>
                <a:gd name="T28" fmla="*/ 192 w 221"/>
                <a:gd name="T29" fmla="*/ 66 h 92"/>
                <a:gd name="T30" fmla="*/ 203 w 221"/>
                <a:gd name="T31" fmla="*/ 59 h 92"/>
                <a:gd name="T32" fmla="*/ 209 w 221"/>
                <a:gd name="T33" fmla="*/ 51 h 92"/>
                <a:gd name="T34" fmla="*/ 213 w 221"/>
                <a:gd name="T35" fmla="*/ 43 h 92"/>
                <a:gd name="T36" fmla="*/ 214 w 221"/>
                <a:gd name="T37" fmla="*/ 34 h 92"/>
                <a:gd name="T38" fmla="*/ 217 w 221"/>
                <a:gd name="T39" fmla="*/ 23 h 92"/>
                <a:gd name="T40" fmla="*/ 221 w 221"/>
                <a:gd name="T41" fmla="*/ 6 h 92"/>
                <a:gd name="T42" fmla="*/ 219 w 221"/>
                <a:gd name="T43" fmla="*/ 25 h 92"/>
                <a:gd name="T44" fmla="*/ 219 w 221"/>
                <a:gd name="T45" fmla="*/ 39 h 92"/>
                <a:gd name="T46" fmla="*/ 221 w 221"/>
                <a:gd name="T47" fmla="*/ 51 h 92"/>
                <a:gd name="T48" fmla="*/ 219 w 221"/>
                <a:gd name="T49" fmla="*/ 60 h 92"/>
                <a:gd name="T50" fmla="*/ 215 w 221"/>
                <a:gd name="T51" fmla="*/ 70 h 92"/>
                <a:gd name="T52" fmla="*/ 209 w 221"/>
                <a:gd name="T53" fmla="*/ 79 h 92"/>
                <a:gd name="T54" fmla="*/ 197 w 221"/>
                <a:gd name="T55" fmla="*/ 88 h 92"/>
                <a:gd name="T56" fmla="*/ 185 w 221"/>
                <a:gd name="T57" fmla="*/ 92 h 92"/>
                <a:gd name="T58" fmla="*/ 169 w 221"/>
                <a:gd name="T59" fmla="*/ 92 h 92"/>
                <a:gd name="T60" fmla="*/ 154 w 221"/>
                <a:gd name="T61" fmla="*/ 91 h 92"/>
                <a:gd name="T62" fmla="*/ 136 w 221"/>
                <a:gd name="T63" fmla="*/ 89 h 92"/>
                <a:gd name="T64" fmla="*/ 118 w 221"/>
                <a:gd name="T65" fmla="*/ 88 h 92"/>
                <a:gd name="T66" fmla="*/ 101 w 221"/>
                <a:gd name="T67" fmla="*/ 89 h 92"/>
                <a:gd name="T68" fmla="*/ 83 w 221"/>
                <a:gd name="T69" fmla="*/ 91 h 92"/>
                <a:gd name="T70" fmla="*/ 65 w 221"/>
                <a:gd name="T71" fmla="*/ 92 h 92"/>
                <a:gd name="T72" fmla="*/ 49 w 221"/>
                <a:gd name="T73" fmla="*/ 91 h 92"/>
                <a:gd name="T74" fmla="*/ 33 w 221"/>
                <a:gd name="T75" fmla="*/ 88 h 92"/>
                <a:gd name="T76" fmla="*/ 20 w 221"/>
                <a:gd name="T77" fmla="*/ 80 h 92"/>
                <a:gd name="T78" fmla="*/ 11 w 221"/>
                <a:gd name="T79" fmla="*/ 71 h 92"/>
                <a:gd name="T80" fmla="*/ 5 w 221"/>
                <a:gd name="T81" fmla="*/ 61 h 92"/>
                <a:gd name="T82" fmla="*/ 2 w 221"/>
                <a:gd name="T83" fmla="*/ 51 h 92"/>
                <a:gd name="T84" fmla="*/ 2 w 221"/>
                <a:gd name="T85" fmla="*/ 37 h 92"/>
                <a:gd name="T86" fmla="*/ 1 w 221"/>
                <a:gd name="T87" fmla="*/ 20 h 92"/>
                <a:gd name="T88" fmla="*/ 0 w 221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1" h="92">
                  <a:moveTo>
                    <a:pt x="0" y="0"/>
                  </a:moveTo>
                  <a:lnTo>
                    <a:pt x="5" y="16"/>
                  </a:lnTo>
                  <a:lnTo>
                    <a:pt x="11" y="33"/>
                  </a:lnTo>
                  <a:lnTo>
                    <a:pt x="18" y="50"/>
                  </a:lnTo>
                  <a:lnTo>
                    <a:pt x="28" y="62"/>
                  </a:lnTo>
                  <a:lnTo>
                    <a:pt x="42" y="71"/>
                  </a:lnTo>
                  <a:lnTo>
                    <a:pt x="59" y="75"/>
                  </a:lnTo>
                  <a:lnTo>
                    <a:pt x="78" y="77"/>
                  </a:lnTo>
                  <a:lnTo>
                    <a:pt x="97" y="75"/>
                  </a:lnTo>
                  <a:lnTo>
                    <a:pt x="118" y="74"/>
                  </a:lnTo>
                  <a:lnTo>
                    <a:pt x="135" y="74"/>
                  </a:lnTo>
                  <a:lnTo>
                    <a:pt x="151" y="74"/>
                  </a:lnTo>
                  <a:lnTo>
                    <a:pt x="168" y="74"/>
                  </a:lnTo>
                  <a:lnTo>
                    <a:pt x="181" y="71"/>
                  </a:lnTo>
                  <a:lnTo>
                    <a:pt x="192" y="66"/>
                  </a:lnTo>
                  <a:lnTo>
                    <a:pt x="203" y="59"/>
                  </a:lnTo>
                  <a:lnTo>
                    <a:pt x="209" y="51"/>
                  </a:lnTo>
                  <a:lnTo>
                    <a:pt x="213" y="43"/>
                  </a:lnTo>
                  <a:lnTo>
                    <a:pt x="214" y="34"/>
                  </a:lnTo>
                  <a:lnTo>
                    <a:pt x="217" y="23"/>
                  </a:lnTo>
                  <a:lnTo>
                    <a:pt x="221" y="6"/>
                  </a:lnTo>
                  <a:lnTo>
                    <a:pt x="219" y="25"/>
                  </a:lnTo>
                  <a:lnTo>
                    <a:pt x="219" y="39"/>
                  </a:lnTo>
                  <a:lnTo>
                    <a:pt x="221" y="51"/>
                  </a:lnTo>
                  <a:lnTo>
                    <a:pt x="219" y="60"/>
                  </a:lnTo>
                  <a:lnTo>
                    <a:pt x="215" y="70"/>
                  </a:lnTo>
                  <a:lnTo>
                    <a:pt x="209" y="79"/>
                  </a:lnTo>
                  <a:lnTo>
                    <a:pt x="197" y="88"/>
                  </a:lnTo>
                  <a:lnTo>
                    <a:pt x="185" y="92"/>
                  </a:lnTo>
                  <a:lnTo>
                    <a:pt x="169" y="92"/>
                  </a:lnTo>
                  <a:lnTo>
                    <a:pt x="154" y="91"/>
                  </a:lnTo>
                  <a:lnTo>
                    <a:pt x="136" y="89"/>
                  </a:lnTo>
                  <a:lnTo>
                    <a:pt x="118" y="88"/>
                  </a:lnTo>
                  <a:lnTo>
                    <a:pt x="101" y="89"/>
                  </a:lnTo>
                  <a:lnTo>
                    <a:pt x="83" y="91"/>
                  </a:lnTo>
                  <a:lnTo>
                    <a:pt x="65" y="92"/>
                  </a:lnTo>
                  <a:lnTo>
                    <a:pt x="49" y="91"/>
                  </a:lnTo>
                  <a:lnTo>
                    <a:pt x="33" y="88"/>
                  </a:lnTo>
                  <a:lnTo>
                    <a:pt x="20" y="80"/>
                  </a:lnTo>
                  <a:lnTo>
                    <a:pt x="11" y="71"/>
                  </a:lnTo>
                  <a:lnTo>
                    <a:pt x="5" y="61"/>
                  </a:lnTo>
                  <a:lnTo>
                    <a:pt x="2" y="51"/>
                  </a:lnTo>
                  <a:lnTo>
                    <a:pt x="2" y="37"/>
                  </a:lnTo>
                  <a:lnTo>
                    <a:pt x="1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2" name="Freeform 2183"/>
            <p:cNvSpPr>
              <a:spLocks/>
            </p:cNvSpPr>
            <p:nvPr/>
          </p:nvSpPr>
          <p:spPr bwMode="auto">
            <a:xfrm>
              <a:off x="7486651" y="3822700"/>
              <a:ext cx="87313" cy="206375"/>
            </a:xfrm>
            <a:custGeom>
              <a:avLst/>
              <a:gdLst>
                <a:gd name="T0" fmla="*/ 0 w 55"/>
                <a:gd name="T1" fmla="*/ 0 h 130"/>
                <a:gd name="T2" fmla="*/ 55 w 55"/>
                <a:gd name="T3" fmla="*/ 0 h 130"/>
                <a:gd name="T4" fmla="*/ 55 w 55"/>
                <a:gd name="T5" fmla="*/ 103 h 130"/>
                <a:gd name="T6" fmla="*/ 51 w 55"/>
                <a:gd name="T7" fmla="*/ 116 h 130"/>
                <a:gd name="T8" fmla="*/ 41 w 55"/>
                <a:gd name="T9" fmla="*/ 126 h 130"/>
                <a:gd name="T10" fmla="*/ 27 w 55"/>
                <a:gd name="T11" fmla="*/ 130 h 130"/>
                <a:gd name="T12" fmla="*/ 14 w 55"/>
                <a:gd name="T13" fmla="*/ 126 h 130"/>
                <a:gd name="T14" fmla="*/ 4 w 55"/>
                <a:gd name="T15" fmla="*/ 116 h 130"/>
                <a:gd name="T16" fmla="*/ 0 w 55"/>
                <a:gd name="T17" fmla="*/ 103 h 130"/>
                <a:gd name="T18" fmla="*/ 0 w 55"/>
                <a:gd name="T19" fmla="*/ 0 h 130"/>
                <a:gd name="T20" fmla="*/ 0 w 55"/>
                <a:gd name="T2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30">
                  <a:moveTo>
                    <a:pt x="0" y="0"/>
                  </a:moveTo>
                  <a:lnTo>
                    <a:pt x="55" y="0"/>
                  </a:lnTo>
                  <a:lnTo>
                    <a:pt x="55" y="103"/>
                  </a:lnTo>
                  <a:lnTo>
                    <a:pt x="51" y="116"/>
                  </a:lnTo>
                  <a:lnTo>
                    <a:pt x="41" y="126"/>
                  </a:lnTo>
                  <a:lnTo>
                    <a:pt x="27" y="130"/>
                  </a:lnTo>
                  <a:lnTo>
                    <a:pt x="14" y="126"/>
                  </a:lnTo>
                  <a:lnTo>
                    <a:pt x="4" y="116"/>
                  </a:lnTo>
                  <a:lnTo>
                    <a:pt x="0" y="10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3" name="Freeform 2184"/>
            <p:cNvSpPr>
              <a:spLocks/>
            </p:cNvSpPr>
            <p:nvPr/>
          </p:nvSpPr>
          <p:spPr bwMode="auto">
            <a:xfrm>
              <a:off x="7351713" y="3556000"/>
              <a:ext cx="107950" cy="576263"/>
            </a:xfrm>
            <a:custGeom>
              <a:avLst/>
              <a:gdLst>
                <a:gd name="T0" fmla="*/ 68 w 68"/>
                <a:gd name="T1" fmla="*/ 0 h 363"/>
                <a:gd name="T2" fmla="*/ 53 w 68"/>
                <a:gd name="T3" fmla="*/ 33 h 363"/>
                <a:gd name="T4" fmla="*/ 40 w 68"/>
                <a:gd name="T5" fmla="*/ 72 h 363"/>
                <a:gd name="T6" fmla="*/ 32 w 68"/>
                <a:gd name="T7" fmla="*/ 116 h 363"/>
                <a:gd name="T8" fmla="*/ 27 w 68"/>
                <a:gd name="T9" fmla="*/ 162 h 363"/>
                <a:gd name="T10" fmla="*/ 26 w 68"/>
                <a:gd name="T11" fmla="*/ 211 h 363"/>
                <a:gd name="T12" fmla="*/ 30 w 68"/>
                <a:gd name="T13" fmla="*/ 261 h 363"/>
                <a:gd name="T14" fmla="*/ 37 w 68"/>
                <a:gd name="T15" fmla="*/ 312 h 363"/>
                <a:gd name="T16" fmla="*/ 49 w 68"/>
                <a:gd name="T17" fmla="*/ 363 h 363"/>
                <a:gd name="T18" fmla="*/ 44 w 68"/>
                <a:gd name="T19" fmla="*/ 357 h 363"/>
                <a:gd name="T20" fmla="*/ 39 w 68"/>
                <a:gd name="T21" fmla="*/ 345 h 363"/>
                <a:gd name="T22" fmla="*/ 32 w 68"/>
                <a:gd name="T23" fmla="*/ 329 h 363"/>
                <a:gd name="T24" fmla="*/ 25 w 68"/>
                <a:gd name="T25" fmla="*/ 308 h 363"/>
                <a:gd name="T26" fmla="*/ 18 w 68"/>
                <a:gd name="T27" fmla="*/ 285 h 363"/>
                <a:gd name="T28" fmla="*/ 12 w 68"/>
                <a:gd name="T29" fmla="*/ 259 h 363"/>
                <a:gd name="T30" fmla="*/ 7 w 68"/>
                <a:gd name="T31" fmla="*/ 231 h 363"/>
                <a:gd name="T32" fmla="*/ 3 w 68"/>
                <a:gd name="T33" fmla="*/ 203 h 363"/>
                <a:gd name="T34" fmla="*/ 0 w 68"/>
                <a:gd name="T35" fmla="*/ 172 h 363"/>
                <a:gd name="T36" fmla="*/ 0 w 68"/>
                <a:gd name="T37" fmla="*/ 143 h 363"/>
                <a:gd name="T38" fmla="*/ 3 w 68"/>
                <a:gd name="T39" fmla="*/ 114 h 363"/>
                <a:gd name="T40" fmla="*/ 9 w 68"/>
                <a:gd name="T41" fmla="*/ 86 h 363"/>
                <a:gd name="T42" fmla="*/ 18 w 68"/>
                <a:gd name="T43" fmla="*/ 60 h 363"/>
                <a:gd name="T44" fmla="*/ 30 w 68"/>
                <a:gd name="T45" fmla="*/ 37 h 363"/>
                <a:gd name="T46" fmla="*/ 46 w 68"/>
                <a:gd name="T47" fmla="*/ 17 h 363"/>
                <a:gd name="T48" fmla="*/ 68 w 68"/>
                <a:gd name="T49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" h="363">
                  <a:moveTo>
                    <a:pt x="68" y="0"/>
                  </a:moveTo>
                  <a:lnTo>
                    <a:pt x="53" y="33"/>
                  </a:lnTo>
                  <a:lnTo>
                    <a:pt x="40" y="72"/>
                  </a:lnTo>
                  <a:lnTo>
                    <a:pt x="32" y="116"/>
                  </a:lnTo>
                  <a:lnTo>
                    <a:pt x="27" y="162"/>
                  </a:lnTo>
                  <a:lnTo>
                    <a:pt x="26" y="211"/>
                  </a:lnTo>
                  <a:lnTo>
                    <a:pt x="30" y="261"/>
                  </a:lnTo>
                  <a:lnTo>
                    <a:pt x="37" y="312"/>
                  </a:lnTo>
                  <a:lnTo>
                    <a:pt x="49" y="363"/>
                  </a:lnTo>
                  <a:lnTo>
                    <a:pt x="44" y="357"/>
                  </a:lnTo>
                  <a:lnTo>
                    <a:pt x="39" y="345"/>
                  </a:lnTo>
                  <a:lnTo>
                    <a:pt x="32" y="329"/>
                  </a:lnTo>
                  <a:lnTo>
                    <a:pt x="25" y="308"/>
                  </a:lnTo>
                  <a:lnTo>
                    <a:pt x="18" y="285"/>
                  </a:lnTo>
                  <a:lnTo>
                    <a:pt x="12" y="259"/>
                  </a:lnTo>
                  <a:lnTo>
                    <a:pt x="7" y="231"/>
                  </a:lnTo>
                  <a:lnTo>
                    <a:pt x="3" y="203"/>
                  </a:lnTo>
                  <a:lnTo>
                    <a:pt x="0" y="172"/>
                  </a:lnTo>
                  <a:lnTo>
                    <a:pt x="0" y="143"/>
                  </a:lnTo>
                  <a:lnTo>
                    <a:pt x="3" y="114"/>
                  </a:lnTo>
                  <a:lnTo>
                    <a:pt x="9" y="86"/>
                  </a:lnTo>
                  <a:lnTo>
                    <a:pt x="18" y="60"/>
                  </a:lnTo>
                  <a:lnTo>
                    <a:pt x="30" y="37"/>
                  </a:lnTo>
                  <a:lnTo>
                    <a:pt x="46" y="17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6D522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4" name="Freeform 2185"/>
            <p:cNvSpPr>
              <a:spLocks/>
            </p:cNvSpPr>
            <p:nvPr/>
          </p:nvSpPr>
          <p:spPr bwMode="auto">
            <a:xfrm>
              <a:off x="7367588" y="3482975"/>
              <a:ext cx="323850" cy="454025"/>
            </a:xfrm>
            <a:custGeom>
              <a:avLst/>
              <a:gdLst>
                <a:gd name="T0" fmla="*/ 101 w 204"/>
                <a:gd name="T1" fmla="*/ 0 h 286"/>
                <a:gd name="T2" fmla="*/ 125 w 204"/>
                <a:gd name="T3" fmla="*/ 2 h 286"/>
                <a:gd name="T4" fmla="*/ 145 w 204"/>
                <a:gd name="T5" fmla="*/ 9 h 286"/>
                <a:gd name="T6" fmla="*/ 162 w 204"/>
                <a:gd name="T7" fmla="*/ 20 h 286"/>
                <a:gd name="T8" fmla="*/ 176 w 204"/>
                <a:gd name="T9" fmla="*/ 33 h 286"/>
                <a:gd name="T10" fmla="*/ 188 w 204"/>
                <a:gd name="T11" fmla="*/ 50 h 286"/>
                <a:gd name="T12" fmla="*/ 195 w 204"/>
                <a:gd name="T13" fmla="*/ 69 h 286"/>
                <a:gd name="T14" fmla="*/ 201 w 204"/>
                <a:gd name="T15" fmla="*/ 90 h 286"/>
                <a:gd name="T16" fmla="*/ 204 w 204"/>
                <a:gd name="T17" fmla="*/ 112 h 286"/>
                <a:gd name="T18" fmla="*/ 204 w 204"/>
                <a:gd name="T19" fmla="*/ 135 h 286"/>
                <a:gd name="T20" fmla="*/ 203 w 204"/>
                <a:gd name="T21" fmla="*/ 156 h 286"/>
                <a:gd name="T22" fmla="*/ 199 w 204"/>
                <a:gd name="T23" fmla="*/ 180 h 286"/>
                <a:gd name="T24" fmla="*/ 194 w 204"/>
                <a:gd name="T25" fmla="*/ 200 h 286"/>
                <a:gd name="T26" fmla="*/ 185 w 204"/>
                <a:gd name="T27" fmla="*/ 222 h 286"/>
                <a:gd name="T28" fmla="*/ 172 w 204"/>
                <a:gd name="T29" fmla="*/ 242 h 286"/>
                <a:gd name="T30" fmla="*/ 156 w 204"/>
                <a:gd name="T31" fmla="*/ 260 h 286"/>
                <a:gd name="T32" fmla="*/ 136 w 204"/>
                <a:gd name="T33" fmla="*/ 274 h 286"/>
                <a:gd name="T34" fmla="*/ 118 w 204"/>
                <a:gd name="T35" fmla="*/ 283 h 286"/>
                <a:gd name="T36" fmla="*/ 101 w 204"/>
                <a:gd name="T37" fmla="*/ 286 h 286"/>
                <a:gd name="T38" fmla="*/ 84 w 204"/>
                <a:gd name="T39" fmla="*/ 283 h 286"/>
                <a:gd name="T40" fmla="*/ 66 w 204"/>
                <a:gd name="T41" fmla="*/ 274 h 286"/>
                <a:gd name="T42" fmla="*/ 48 w 204"/>
                <a:gd name="T43" fmla="*/ 263 h 286"/>
                <a:gd name="T44" fmla="*/ 31 w 204"/>
                <a:gd name="T45" fmla="*/ 246 h 286"/>
                <a:gd name="T46" fmla="*/ 18 w 204"/>
                <a:gd name="T47" fmla="*/ 227 h 286"/>
                <a:gd name="T48" fmla="*/ 9 w 204"/>
                <a:gd name="T49" fmla="*/ 206 h 286"/>
                <a:gd name="T50" fmla="*/ 6 w 204"/>
                <a:gd name="T51" fmla="*/ 186 h 286"/>
                <a:gd name="T52" fmla="*/ 2 w 204"/>
                <a:gd name="T53" fmla="*/ 163 h 286"/>
                <a:gd name="T54" fmla="*/ 0 w 204"/>
                <a:gd name="T55" fmla="*/ 140 h 286"/>
                <a:gd name="T56" fmla="*/ 0 w 204"/>
                <a:gd name="T57" fmla="*/ 117 h 286"/>
                <a:gd name="T58" fmla="*/ 3 w 204"/>
                <a:gd name="T59" fmla="*/ 94 h 286"/>
                <a:gd name="T60" fmla="*/ 8 w 204"/>
                <a:gd name="T61" fmla="*/ 73 h 286"/>
                <a:gd name="T62" fmla="*/ 15 w 204"/>
                <a:gd name="T63" fmla="*/ 53 h 286"/>
                <a:gd name="T64" fmla="*/ 26 w 204"/>
                <a:gd name="T65" fmla="*/ 36 h 286"/>
                <a:gd name="T66" fmla="*/ 39 w 204"/>
                <a:gd name="T67" fmla="*/ 20 h 286"/>
                <a:gd name="T68" fmla="*/ 56 w 204"/>
                <a:gd name="T69" fmla="*/ 10 h 286"/>
                <a:gd name="T70" fmla="*/ 76 w 204"/>
                <a:gd name="T71" fmla="*/ 2 h 286"/>
                <a:gd name="T72" fmla="*/ 101 w 204"/>
                <a:gd name="T73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4" h="286">
                  <a:moveTo>
                    <a:pt x="101" y="0"/>
                  </a:moveTo>
                  <a:lnTo>
                    <a:pt x="125" y="2"/>
                  </a:lnTo>
                  <a:lnTo>
                    <a:pt x="145" y="9"/>
                  </a:lnTo>
                  <a:lnTo>
                    <a:pt x="162" y="20"/>
                  </a:lnTo>
                  <a:lnTo>
                    <a:pt x="176" y="33"/>
                  </a:lnTo>
                  <a:lnTo>
                    <a:pt x="188" y="50"/>
                  </a:lnTo>
                  <a:lnTo>
                    <a:pt x="195" y="69"/>
                  </a:lnTo>
                  <a:lnTo>
                    <a:pt x="201" y="90"/>
                  </a:lnTo>
                  <a:lnTo>
                    <a:pt x="204" y="112"/>
                  </a:lnTo>
                  <a:lnTo>
                    <a:pt x="204" y="135"/>
                  </a:lnTo>
                  <a:lnTo>
                    <a:pt x="203" y="156"/>
                  </a:lnTo>
                  <a:lnTo>
                    <a:pt x="199" y="180"/>
                  </a:lnTo>
                  <a:lnTo>
                    <a:pt x="194" y="200"/>
                  </a:lnTo>
                  <a:lnTo>
                    <a:pt x="185" y="222"/>
                  </a:lnTo>
                  <a:lnTo>
                    <a:pt x="172" y="242"/>
                  </a:lnTo>
                  <a:lnTo>
                    <a:pt x="156" y="260"/>
                  </a:lnTo>
                  <a:lnTo>
                    <a:pt x="136" y="274"/>
                  </a:lnTo>
                  <a:lnTo>
                    <a:pt x="118" y="283"/>
                  </a:lnTo>
                  <a:lnTo>
                    <a:pt x="101" y="286"/>
                  </a:lnTo>
                  <a:lnTo>
                    <a:pt x="84" y="283"/>
                  </a:lnTo>
                  <a:lnTo>
                    <a:pt x="66" y="274"/>
                  </a:lnTo>
                  <a:lnTo>
                    <a:pt x="48" y="263"/>
                  </a:lnTo>
                  <a:lnTo>
                    <a:pt x="31" y="246"/>
                  </a:lnTo>
                  <a:lnTo>
                    <a:pt x="18" y="227"/>
                  </a:lnTo>
                  <a:lnTo>
                    <a:pt x="9" y="206"/>
                  </a:lnTo>
                  <a:lnTo>
                    <a:pt x="6" y="186"/>
                  </a:lnTo>
                  <a:lnTo>
                    <a:pt x="2" y="163"/>
                  </a:lnTo>
                  <a:lnTo>
                    <a:pt x="0" y="140"/>
                  </a:lnTo>
                  <a:lnTo>
                    <a:pt x="0" y="117"/>
                  </a:lnTo>
                  <a:lnTo>
                    <a:pt x="3" y="94"/>
                  </a:lnTo>
                  <a:lnTo>
                    <a:pt x="8" y="73"/>
                  </a:lnTo>
                  <a:lnTo>
                    <a:pt x="15" y="53"/>
                  </a:lnTo>
                  <a:lnTo>
                    <a:pt x="26" y="36"/>
                  </a:lnTo>
                  <a:lnTo>
                    <a:pt x="39" y="20"/>
                  </a:lnTo>
                  <a:lnTo>
                    <a:pt x="56" y="10"/>
                  </a:lnTo>
                  <a:lnTo>
                    <a:pt x="76" y="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5" name="Freeform 2186"/>
            <p:cNvSpPr>
              <a:spLocks/>
            </p:cNvSpPr>
            <p:nvPr/>
          </p:nvSpPr>
          <p:spPr bwMode="auto">
            <a:xfrm>
              <a:off x="7550151" y="3686175"/>
              <a:ext cx="103188" cy="84138"/>
            </a:xfrm>
            <a:custGeom>
              <a:avLst/>
              <a:gdLst>
                <a:gd name="T0" fmla="*/ 43 w 65"/>
                <a:gd name="T1" fmla="*/ 0 h 53"/>
                <a:gd name="T2" fmla="*/ 54 w 65"/>
                <a:gd name="T3" fmla="*/ 1 h 53"/>
                <a:gd name="T4" fmla="*/ 60 w 65"/>
                <a:gd name="T5" fmla="*/ 3 h 53"/>
                <a:gd name="T6" fmla="*/ 64 w 65"/>
                <a:gd name="T7" fmla="*/ 9 h 53"/>
                <a:gd name="T8" fmla="*/ 65 w 65"/>
                <a:gd name="T9" fmla="*/ 19 h 53"/>
                <a:gd name="T10" fmla="*/ 64 w 65"/>
                <a:gd name="T11" fmla="*/ 31 h 53"/>
                <a:gd name="T12" fmla="*/ 60 w 65"/>
                <a:gd name="T13" fmla="*/ 41 h 53"/>
                <a:gd name="T14" fmla="*/ 52 w 65"/>
                <a:gd name="T15" fmla="*/ 48 h 53"/>
                <a:gd name="T16" fmla="*/ 41 w 65"/>
                <a:gd name="T17" fmla="*/ 53 h 53"/>
                <a:gd name="T18" fmla="*/ 29 w 65"/>
                <a:gd name="T19" fmla="*/ 53 h 53"/>
                <a:gd name="T20" fmla="*/ 19 w 65"/>
                <a:gd name="T21" fmla="*/ 50 h 53"/>
                <a:gd name="T22" fmla="*/ 12 w 65"/>
                <a:gd name="T23" fmla="*/ 45 h 53"/>
                <a:gd name="T24" fmla="*/ 6 w 65"/>
                <a:gd name="T25" fmla="*/ 36 h 53"/>
                <a:gd name="T26" fmla="*/ 1 w 65"/>
                <a:gd name="T27" fmla="*/ 27 h 53"/>
                <a:gd name="T28" fmla="*/ 0 w 65"/>
                <a:gd name="T29" fmla="*/ 17 h 53"/>
                <a:gd name="T30" fmla="*/ 2 w 65"/>
                <a:gd name="T31" fmla="*/ 10 h 53"/>
                <a:gd name="T32" fmla="*/ 10 w 65"/>
                <a:gd name="T33" fmla="*/ 5 h 53"/>
                <a:gd name="T34" fmla="*/ 20 w 65"/>
                <a:gd name="T35" fmla="*/ 1 h 53"/>
                <a:gd name="T36" fmla="*/ 32 w 65"/>
                <a:gd name="T37" fmla="*/ 0 h 53"/>
                <a:gd name="T38" fmla="*/ 43 w 65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53">
                  <a:moveTo>
                    <a:pt x="43" y="0"/>
                  </a:moveTo>
                  <a:lnTo>
                    <a:pt x="54" y="1"/>
                  </a:lnTo>
                  <a:lnTo>
                    <a:pt x="60" y="3"/>
                  </a:lnTo>
                  <a:lnTo>
                    <a:pt x="64" y="9"/>
                  </a:lnTo>
                  <a:lnTo>
                    <a:pt x="65" y="19"/>
                  </a:lnTo>
                  <a:lnTo>
                    <a:pt x="64" y="31"/>
                  </a:lnTo>
                  <a:lnTo>
                    <a:pt x="60" y="41"/>
                  </a:lnTo>
                  <a:lnTo>
                    <a:pt x="52" y="48"/>
                  </a:lnTo>
                  <a:lnTo>
                    <a:pt x="41" y="53"/>
                  </a:lnTo>
                  <a:lnTo>
                    <a:pt x="29" y="53"/>
                  </a:lnTo>
                  <a:lnTo>
                    <a:pt x="19" y="50"/>
                  </a:lnTo>
                  <a:lnTo>
                    <a:pt x="12" y="45"/>
                  </a:lnTo>
                  <a:lnTo>
                    <a:pt x="6" y="36"/>
                  </a:lnTo>
                  <a:lnTo>
                    <a:pt x="1" y="27"/>
                  </a:lnTo>
                  <a:lnTo>
                    <a:pt x="0" y="17"/>
                  </a:lnTo>
                  <a:lnTo>
                    <a:pt x="2" y="10"/>
                  </a:lnTo>
                  <a:lnTo>
                    <a:pt x="10" y="5"/>
                  </a:lnTo>
                  <a:lnTo>
                    <a:pt x="20" y="1"/>
                  </a:lnTo>
                  <a:lnTo>
                    <a:pt x="32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6" name="Freeform 2187"/>
            <p:cNvSpPr>
              <a:spLocks/>
            </p:cNvSpPr>
            <p:nvPr/>
          </p:nvSpPr>
          <p:spPr bwMode="auto">
            <a:xfrm>
              <a:off x="7402513" y="3686175"/>
              <a:ext cx="104775" cy="84138"/>
            </a:xfrm>
            <a:custGeom>
              <a:avLst/>
              <a:gdLst>
                <a:gd name="T0" fmla="*/ 34 w 66"/>
                <a:gd name="T1" fmla="*/ 0 h 53"/>
                <a:gd name="T2" fmla="*/ 46 w 66"/>
                <a:gd name="T3" fmla="*/ 1 h 53"/>
                <a:gd name="T4" fmla="*/ 57 w 66"/>
                <a:gd name="T5" fmla="*/ 5 h 53"/>
                <a:gd name="T6" fmla="*/ 63 w 66"/>
                <a:gd name="T7" fmla="*/ 10 h 53"/>
                <a:gd name="T8" fmla="*/ 66 w 66"/>
                <a:gd name="T9" fmla="*/ 18 h 53"/>
                <a:gd name="T10" fmla="*/ 64 w 66"/>
                <a:gd name="T11" fmla="*/ 27 h 53"/>
                <a:gd name="T12" fmla="*/ 61 w 66"/>
                <a:gd name="T13" fmla="*/ 37 h 53"/>
                <a:gd name="T14" fmla="*/ 54 w 66"/>
                <a:gd name="T15" fmla="*/ 45 h 53"/>
                <a:gd name="T16" fmla="*/ 48 w 66"/>
                <a:gd name="T17" fmla="*/ 50 h 53"/>
                <a:gd name="T18" fmla="*/ 37 w 66"/>
                <a:gd name="T19" fmla="*/ 53 h 53"/>
                <a:gd name="T20" fmla="*/ 25 w 66"/>
                <a:gd name="T21" fmla="*/ 53 h 53"/>
                <a:gd name="T22" fmla="*/ 13 w 66"/>
                <a:gd name="T23" fmla="*/ 49 h 53"/>
                <a:gd name="T24" fmla="*/ 5 w 66"/>
                <a:gd name="T25" fmla="*/ 41 h 53"/>
                <a:gd name="T26" fmla="*/ 3 w 66"/>
                <a:gd name="T27" fmla="*/ 32 h 53"/>
                <a:gd name="T28" fmla="*/ 0 w 66"/>
                <a:gd name="T29" fmla="*/ 21 h 53"/>
                <a:gd name="T30" fmla="*/ 2 w 66"/>
                <a:gd name="T31" fmla="*/ 10 h 53"/>
                <a:gd name="T32" fmla="*/ 7 w 66"/>
                <a:gd name="T33" fmla="*/ 4 h 53"/>
                <a:gd name="T34" fmla="*/ 12 w 66"/>
                <a:gd name="T35" fmla="*/ 1 h 53"/>
                <a:gd name="T36" fmla="*/ 22 w 66"/>
                <a:gd name="T37" fmla="*/ 0 h 53"/>
                <a:gd name="T38" fmla="*/ 34 w 66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53">
                  <a:moveTo>
                    <a:pt x="34" y="0"/>
                  </a:moveTo>
                  <a:lnTo>
                    <a:pt x="46" y="1"/>
                  </a:lnTo>
                  <a:lnTo>
                    <a:pt x="57" y="5"/>
                  </a:lnTo>
                  <a:lnTo>
                    <a:pt x="63" y="10"/>
                  </a:lnTo>
                  <a:lnTo>
                    <a:pt x="66" y="18"/>
                  </a:lnTo>
                  <a:lnTo>
                    <a:pt x="64" y="27"/>
                  </a:lnTo>
                  <a:lnTo>
                    <a:pt x="61" y="37"/>
                  </a:lnTo>
                  <a:lnTo>
                    <a:pt x="54" y="45"/>
                  </a:lnTo>
                  <a:lnTo>
                    <a:pt x="48" y="50"/>
                  </a:lnTo>
                  <a:lnTo>
                    <a:pt x="37" y="53"/>
                  </a:lnTo>
                  <a:lnTo>
                    <a:pt x="25" y="53"/>
                  </a:lnTo>
                  <a:lnTo>
                    <a:pt x="13" y="49"/>
                  </a:lnTo>
                  <a:lnTo>
                    <a:pt x="5" y="41"/>
                  </a:lnTo>
                  <a:lnTo>
                    <a:pt x="3" y="32"/>
                  </a:lnTo>
                  <a:lnTo>
                    <a:pt x="0" y="21"/>
                  </a:lnTo>
                  <a:lnTo>
                    <a:pt x="2" y="10"/>
                  </a:lnTo>
                  <a:lnTo>
                    <a:pt x="7" y="4"/>
                  </a:lnTo>
                  <a:lnTo>
                    <a:pt x="12" y="1"/>
                  </a:lnTo>
                  <a:lnTo>
                    <a:pt x="22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7" name="Freeform 2188"/>
            <p:cNvSpPr>
              <a:spLocks/>
            </p:cNvSpPr>
            <p:nvPr/>
          </p:nvSpPr>
          <p:spPr bwMode="auto">
            <a:xfrm>
              <a:off x="7453313" y="3810000"/>
              <a:ext cx="147638" cy="66675"/>
            </a:xfrm>
            <a:custGeom>
              <a:avLst/>
              <a:gdLst>
                <a:gd name="T0" fmla="*/ 47 w 93"/>
                <a:gd name="T1" fmla="*/ 0 h 42"/>
                <a:gd name="T2" fmla="*/ 72 w 93"/>
                <a:gd name="T3" fmla="*/ 0 h 42"/>
                <a:gd name="T4" fmla="*/ 93 w 93"/>
                <a:gd name="T5" fmla="*/ 2 h 42"/>
                <a:gd name="T6" fmla="*/ 84 w 93"/>
                <a:gd name="T7" fmla="*/ 20 h 42"/>
                <a:gd name="T8" fmla="*/ 72 w 93"/>
                <a:gd name="T9" fmla="*/ 31 h 42"/>
                <a:gd name="T10" fmla="*/ 59 w 93"/>
                <a:gd name="T11" fmla="*/ 39 h 42"/>
                <a:gd name="T12" fmla="*/ 47 w 93"/>
                <a:gd name="T13" fmla="*/ 42 h 42"/>
                <a:gd name="T14" fmla="*/ 32 w 93"/>
                <a:gd name="T15" fmla="*/ 39 h 42"/>
                <a:gd name="T16" fmla="*/ 20 w 93"/>
                <a:gd name="T17" fmla="*/ 31 h 42"/>
                <a:gd name="T18" fmla="*/ 9 w 93"/>
                <a:gd name="T19" fmla="*/ 20 h 42"/>
                <a:gd name="T20" fmla="*/ 0 w 93"/>
                <a:gd name="T21" fmla="*/ 2 h 42"/>
                <a:gd name="T22" fmla="*/ 22 w 93"/>
                <a:gd name="T23" fmla="*/ 0 h 42"/>
                <a:gd name="T24" fmla="*/ 47 w 93"/>
                <a:gd name="T2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42">
                  <a:moveTo>
                    <a:pt x="47" y="0"/>
                  </a:moveTo>
                  <a:lnTo>
                    <a:pt x="72" y="0"/>
                  </a:lnTo>
                  <a:lnTo>
                    <a:pt x="93" y="2"/>
                  </a:lnTo>
                  <a:lnTo>
                    <a:pt x="84" y="20"/>
                  </a:lnTo>
                  <a:lnTo>
                    <a:pt x="72" y="31"/>
                  </a:lnTo>
                  <a:lnTo>
                    <a:pt x="59" y="39"/>
                  </a:lnTo>
                  <a:lnTo>
                    <a:pt x="47" y="42"/>
                  </a:lnTo>
                  <a:lnTo>
                    <a:pt x="32" y="39"/>
                  </a:lnTo>
                  <a:lnTo>
                    <a:pt x="20" y="31"/>
                  </a:lnTo>
                  <a:lnTo>
                    <a:pt x="9" y="20"/>
                  </a:lnTo>
                  <a:lnTo>
                    <a:pt x="0" y="2"/>
                  </a:lnTo>
                  <a:lnTo>
                    <a:pt x="22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649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8" name="Freeform 2189"/>
            <p:cNvSpPr>
              <a:spLocks/>
            </p:cNvSpPr>
            <p:nvPr/>
          </p:nvSpPr>
          <p:spPr bwMode="auto">
            <a:xfrm>
              <a:off x="7580313" y="3671888"/>
              <a:ext cx="23813" cy="58738"/>
            </a:xfrm>
            <a:custGeom>
              <a:avLst/>
              <a:gdLst>
                <a:gd name="T0" fmla="*/ 8 w 15"/>
                <a:gd name="T1" fmla="*/ 0 h 37"/>
                <a:gd name="T2" fmla="*/ 10 w 15"/>
                <a:gd name="T3" fmla="*/ 2 h 37"/>
                <a:gd name="T4" fmla="*/ 13 w 15"/>
                <a:gd name="T5" fmla="*/ 4 h 37"/>
                <a:gd name="T6" fmla="*/ 14 w 15"/>
                <a:gd name="T7" fmla="*/ 8 h 37"/>
                <a:gd name="T8" fmla="*/ 15 w 15"/>
                <a:gd name="T9" fmla="*/ 13 h 37"/>
                <a:gd name="T10" fmla="*/ 15 w 15"/>
                <a:gd name="T11" fmla="*/ 19 h 37"/>
                <a:gd name="T12" fmla="*/ 15 w 15"/>
                <a:gd name="T13" fmla="*/ 25 h 37"/>
                <a:gd name="T14" fmla="*/ 14 w 15"/>
                <a:gd name="T15" fmla="*/ 30 h 37"/>
                <a:gd name="T16" fmla="*/ 13 w 15"/>
                <a:gd name="T17" fmla="*/ 34 h 37"/>
                <a:gd name="T18" fmla="*/ 10 w 15"/>
                <a:gd name="T19" fmla="*/ 36 h 37"/>
                <a:gd name="T20" fmla="*/ 8 w 15"/>
                <a:gd name="T21" fmla="*/ 37 h 37"/>
                <a:gd name="T22" fmla="*/ 5 w 15"/>
                <a:gd name="T23" fmla="*/ 36 h 37"/>
                <a:gd name="T24" fmla="*/ 4 w 15"/>
                <a:gd name="T25" fmla="*/ 34 h 37"/>
                <a:gd name="T26" fmla="*/ 1 w 15"/>
                <a:gd name="T27" fmla="*/ 30 h 37"/>
                <a:gd name="T28" fmla="*/ 1 w 15"/>
                <a:gd name="T29" fmla="*/ 25 h 37"/>
                <a:gd name="T30" fmla="*/ 0 w 15"/>
                <a:gd name="T31" fmla="*/ 19 h 37"/>
                <a:gd name="T32" fmla="*/ 1 w 15"/>
                <a:gd name="T33" fmla="*/ 13 h 37"/>
                <a:gd name="T34" fmla="*/ 1 w 15"/>
                <a:gd name="T35" fmla="*/ 8 h 37"/>
                <a:gd name="T36" fmla="*/ 4 w 15"/>
                <a:gd name="T37" fmla="*/ 4 h 37"/>
                <a:gd name="T38" fmla="*/ 5 w 15"/>
                <a:gd name="T39" fmla="*/ 2 h 37"/>
                <a:gd name="T40" fmla="*/ 8 w 15"/>
                <a:gd name="T4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37">
                  <a:moveTo>
                    <a:pt x="8" y="0"/>
                  </a:moveTo>
                  <a:lnTo>
                    <a:pt x="10" y="2"/>
                  </a:lnTo>
                  <a:lnTo>
                    <a:pt x="13" y="4"/>
                  </a:lnTo>
                  <a:lnTo>
                    <a:pt x="14" y="8"/>
                  </a:lnTo>
                  <a:lnTo>
                    <a:pt x="15" y="13"/>
                  </a:lnTo>
                  <a:lnTo>
                    <a:pt x="15" y="19"/>
                  </a:lnTo>
                  <a:lnTo>
                    <a:pt x="15" y="25"/>
                  </a:lnTo>
                  <a:lnTo>
                    <a:pt x="14" y="30"/>
                  </a:lnTo>
                  <a:lnTo>
                    <a:pt x="13" y="34"/>
                  </a:lnTo>
                  <a:lnTo>
                    <a:pt x="10" y="36"/>
                  </a:lnTo>
                  <a:lnTo>
                    <a:pt x="8" y="37"/>
                  </a:lnTo>
                  <a:lnTo>
                    <a:pt x="5" y="36"/>
                  </a:lnTo>
                  <a:lnTo>
                    <a:pt x="4" y="34"/>
                  </a:lnTo>
                  <a:lnTo>
                    <a:pt x="1" y="30"/>
                  </a:lnTo>
                  <a:lnTo>
                    <a:pt x="1" y="25"/>
                  </a:lnTo>
                  <a:lnTo>
                    <a:pt x="0" y="19"/>
                  </a:lnTo>
                  <a:lnTo>
                    <a:pt x="1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5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9" name="Freeform 2190"/>
            <p:cNvSpPr>
              <a:spLocks/>
            </p:cNvSpPr>
            <p:nvPr/>
          </p:nvSpPr>
          <p:spPr bwMode="auto">
            <a:xfrm>
              <a:off x="7456488" y="3671888"/>
              <a:ext cx="23813" cy="58738"/>
            </a:xfrm>
            <a:custGeom>
              <a:avLst/>
              <a:gdLst>
                <a:gd name="T0" fmla="*/ 7 w 15"/>
                <a:gd name="T1" fmla="*/ 0 h 37"/>
                <a:gd name="T2" fmla="*/ 10 w 15"/>
                <a:gd name="T3" fmla="*/ 2 h 37"/>
                <a:gd name="T4" fmla="*/ 11 w 15"/>
                <a:gd name="T5" fmla="*/ 4 h 37"/>
                <a:gd name="T6" fmla="*/ 12 w 15"/>
                <a:gd name="T7" fmla="*/ 8 h 37"/>
                <a:gd name="T8" fmla="*/ 14 w 15"/>
                <a:gd name="T9" fmla="*/ 13 h 37"/>
                <a:gd name="T10" fmla="*/ 15 w 15"/>
                <a:gd name="T11" fmla="*/ 19 h 37"/>
                <a:gd name="T12" fmla="*/ 14 w 15"/>
                <a:gd name="T13" fmla="*/ 25 h 37"/>
                <a:gd name="T14" fmla="*/ 12 w 15"/>
                <a:gd name="T15" fmla="*/ 30 h 37"/>
                <a:gd name="T16" fmla="*/ 11 w 15"/>
                <a:gd name="T17" fmla="*/ 34 h 37"/>
                <a:gd name="T18" fmla="*/ 10 w 15"/>
                <a:gd name="T19" fmla="*/ 36 h 37"/>
                <a:gd name="T20" fmla="*/ 7 w 15"/>
                <a:gd name="T21" fmla="*/ 37 h 37"/>
                <a:gd name="T22" fmla="*/ 5 w 15"/>
                <a:gd name="T23" fmla="*/ 36 h 37"/>
                <a:gd name="T24" fmla="*/ 2 w 15"/>
                <a:gd name="T25" fmla="*/ 34 h 37"/>
                <a:gd name="T26" fmla="*/ 1 w 15"/>
                <a:gd name="T27" fmla="*/ 30 h 37"/>
                <a:gd name="T28" fmla="*/ 0 w 15"/>
                <a:gd name="T29" fmla="*/ 25 h 37"/>
                <a:gd name="T30" fmla="*/ 0 w 15"/>
                <a:gd name="T31" fmla="*/ 19 h 37"/>
                <a:gd name="T32" fmla="*/ 0 w 15"/>
                <a:gd name="T33" fmla="*/ 13 h 37"/>
                <a:gd name="T34" fmla="*/ 1 w 15"/>
                <a:gd name="T35" fmla="*/ 8 h 37"/>
                <a:gd name="T36" fmla="*/ 2 w 15"/>
                <a:gd name="T37" fmla="*/ 4 h 37"/>
                <a:gd name="T38" fmla="*/ 5 w 15"/>
                <a:gd name="T39" fmla="*/ 2 h 37"/>
                <a:gd name="T40" fmla="*/ 7 w 15"/>
                <a:gd name="T4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37">
                  <a:moveTo>
                    <a:pt x="7" y="0"/>
                  </a:moveTo>
                  <a:lnTo>
                    <a:pt x="10" y="2"/>
                  </a:lnTo>
                  <a:lnTo>
                    <a:pt x="11" y="4"/>
                  </a:lnTo>
                  <a:lnTo>
                    <a:pt x="12" y="8"/>
                  </a:lnTo>
                  <a:lnTo>
                    <a:pt x="14" y="13"/>
                  </a:lnTo>
                  <a:lnTo>
                    <a:pt x="15" y="19"/>
                  </a:lnTo>
                  <a:lnTo>
                    <a:pt x="14" y="25"/>
                  </a:lnTo>
                  <a:lnTo>
                    <a:pt x="12" y="30"/>
                  </a:lnTo>
                  <a:lnTo>
                    <a:pt x="11" y="34"/>
                  </a:lnTo>
                  <a:lnTo>
                    <a:pt x="10" y="36"/>
                  </a:lnTo>
                  <a:lnTo>
                    <a:pt x="7" y="37"/>
                  </a:lnTo>
                  <a:lnTo>
                    <a:pt x="5" y="36"/>
                  </a:lnTo>
                  <a:lnTo>
                    <a:pt x="2" y="34"/>
                  </a:lnTo>
                  <a:lnTo>
                    <a:pt x="1" y="30"/>
                  </a:lnTo>
                  <a:lnTo>
                    <a:pt x="0" y="25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2" y="4"/>
                  </a:lnTo>
                  <a:lnTo>
                    <a:pt x="5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0" name="Freeform 2191"/>
            <p:cNvSpPr>
              <a:spLocks/>
            </p:cNvSpPr>
            <p:nvPr/>
          </p:nvSpPr>
          <p:spPr bwMode="auto">
            <a:xfrm>
              <a:off x="7675563" y="3690938"/>
              <a:ext cx="42863" cy="79375"/>
            </a:xfrm>
            <a:custGeom>
              <a:avLst/>
              <a:gdLst>
                <a:gd name="T0" fmla="*/ 18 w 27"/>
                <a:gd name="T1" fmla="*/ 0 h 50"/>
                <a:gd name="T2" fmla="*/ 25 w 27"/>
                <a:gd name="T3" fmla="*/ 4 h 50"/>
                <a:gd name="T4" fmla="*/ 27 w 27"/>
                <a:gd name="T5" fmla="*/ 14 h 50"/>
                <a:gd name="T6" fmla="*/ 26 w 27"/>
                <a:gd name="T7" fmla="*/ 27 h 50"/>
                <a:gd name="T8" fmla="*/ 22 w 27"/>
                <a:gd name="T9" fmla="*/ 40 h 50"/>
                <a:gd name="T10" fmla="*/ 16 w 27"/>
                <a:gd name="T11" fmla="*/ 49 h 50"/>
                <a:gd name="T12" fmla="*/ 8 w 27"/>
                <a:gd name="T13" fmla="*/ 50 h 50"/>
                <a:gd name="T14" fmla="*/ 3 w 27"/>
                <a:gd name="T15" fmla="*/ 46 h 50"/>
                <a:gd name="T16" fmla="*/ 0 w 27"/>
                <a:gd name="T17" fmla="*/ 36 h 50"/>
                <a:gd name="T18" fmla="*/ 1 w 27"/>
                <a:gd name="T19" fmla="*/ 22 h 50"/>
                <a:gd name="T20" fmla="*/ 5 w 27"/>
                <a:gd name="T21" fmla="*/ 10 h 50"/>
                <a:gd name="T22" fmla="*/ 12 w 27"/>
                <a:gd name="T23" fmla="*/ 1 h 50"/>
                <a:gd name="T24" fmla="*/ 18 w 27"/>
                <a:gd name="T2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0">
                  <a:moveTo>
                    <a:pt x="18" y="0"/>
                  </a:moveTo>
                  <a:lnTo>
                    <a:pt x="25" y="4"/>
                  </a:lnTo>
                  <a:lnTo>
                    <a:pt x="27" y="14"/>
                  </a:lnTo>
                  <a:lnTo>
                    <a:pt x="26" y="27"/>
                  </a:lnTo>
                  <a:lnTo>
                    <a:pt x="22" y="40"/>
                  </a:lnTo>
                  <a:lnTo>
                    <a:pt x="16" y="49"/>
                  </a:lnTo>
                  <a:lnTo>
                    <a:pt x="8" y="50"/>
                  </a:lnTo>
                  <a:lnTo>
                    <a:pt x="3" y="46"/>
                  </a:lnTo>
                  <a:lnTo>
                    <a:pt x="0" y="36"/>
                  </a:lnTo>
                  <a:lnTo>
                    <a:pt x="1" y="22"/>
                  </a:lnTo>
                  <a:lnTo>
                    <a:pt x="5" y="10"/>
                  </a:lnTo>
                  <a:lnTo>
                    <a:pt x="12" y="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1" name="Freeform 2192"/>
            <p:cNvSpPr>
              <a:spLocks/>
            </p:cNvSpPr>
            <p:nvPr/>
          </p:nvSpPr>
          <p:spPr bwMode="auto">
            <a:xfrm>
              <a:off x="7456488" y="3813175"/>
              <a:ext cx="141288" cy="50800"/>
            </a:xfrm>
            <a:custGeom>
              <a:avLst/>
              <a:gdLst>
                <a:gd name="T0" fmla="*/ 0 w 89"/>
                <a:gd name="T1" fmla="*/ 0 h 32"/>
                <a:gd name="T2" fmla="*/ 20 w 89"/>
                <a:gd name="T3" fmla="*/ 4 h 32"/>
                <a:gd name="T4" fmla="*/ 45 w 89"/>
                <a:gd name="T5" fmla="*/ 5 h 32"/>
                <a:gd name="T6" fmla="*/ 68 w 89"/>
                <a:gd name="T7" fmla="*/ 4 h 32"/>
                <a:gd name="T8" fmla="*/ 89 w 89"/>
                <a:gd name="T9" fmla="*/ 1 h 32"/>
                <a:gd name="T10" fmla="*/ 79 w 89"/>
                <a:gd name="T11" fmla="*/ 15 h 32"/>
                <a:gd name="T12" fmla="*/ 66 w 89"/>
                <a:gd name="T13" fmla="*/ 25 h 32"/>
                <a:gd name="T14" fmla="*/ 52 w 89"/>
                <a:gd name="T15" fmla="*/ 31 h 32"/>
                <a:gd name="T16" fmla="*/ 37 w 89"/>
                <a:gd name="T17" fmla="*/ 32 h 32"/>
                <a:gd name="T18" fmla="*/ 23 w 89"/>
                <a:gd name="T19" fmla="*/ 27 h 32"/>
                <a:gd name="T20" fmla="*/ 10 w 89"/>
                <a:gd name="T21" fmla="*/ 15 h 32"/>
                <a:gd name="T22" fmla="*/ 0 w 89"/>
                <a:gd name="T2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32">
                  <a:moveTo>
                    <a:pt x="0" y="0"/>
                  </a:moveTo>
                  <a:lnTo>
                    <a:pt x="20" y="4"/>
                  </a:lnTo>
                  <a:lnTo>
                    <a:pt x="45" y="5"/>
                  </a:lnTo>
                  <a:lnTo>
                    <a:pt x="68" y="4"/>
                  </a:lnTo>
                  <a:lnTo>
                    <a:pt x="89" y="1"/>
                  </a:lnTo>
                  <a:lnTo>
                    <a:pt x="79" y="15"/>
                  </a:lnTo>
                  <a:lnTo>
                    <a:pt x="66" y="25"/>
                  </a:lnTo>
                  <a:lnTo>
                    <a:pt x="52" y="31"/>
                  </a:lnTo>
                  <a:lnTo>
                    <a:pt x="37" y="32"/>
                  </a:lnTo>
                  <a:lnTo>
                    <a:pt x="23" y="27"/>
                  </a:lnTo>
                  <a:lnTo>
                    <a:pt x="1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2" name="Freeform 2193"/>
            <p:cNvSpPr>
              <a:spLocks/>
            </p:cNvSpPr>
            <p:nvPr/>
          </p:nvSpPr>
          <p:spPr bwMode="auto">
            <a:xfrm>
              <a:off x="7499351" y="3757613"/>
              <a:ext cx="41275" cy="34925"/>
            </a:xfrm>
            <a:custGeom>
              <a:avLst/>
              <a:gdLst>
                <a:gd name="T0" fmla="*/ 0 w 26"/>
                <a:gd name="T1" fmla="*/ 0 h 22"/>
                <a:gd name="T2" fmla="*/ 1 w 26"/>
                <a:gd name="T3" fmla="*/ 8 h 22"/>
                <a:gd name="T4" fmla="*/ 6 w 26"/>
                <a:gd name="T5" fmla="*/ 14 h 22"/>
                <a:gd name="T6" fmla="*/ 15 w 26"/>
                <a:gd name="T7" fmla="*/ 18 h 22"/>
                <a:gd name="T8" fmla="*/ 26 w 26"/>
                <a:gd name="T9" fmla="*/ 17 h 22"/>
                <a:gd name="T10" fmla="*/ 14 w 26"/>
                <a:gd name="T11" fmla="*/ 22 h 22"/>
                <a:gd name="T12" fmla="*/ 5 w 26"/>
                <a:gd name="T13" fmla="*/ 19 h 22"/>
                <a:gd name="T14" fmla="*/ 0 w 26"/>
                <a:gd name="T15" fmla="*/ 12 h 22"/>
                <a:gd name="T16" fmla="*/ 0 w 26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2">
                  <a:moveTo>
                    <a:pt x="0" y="0"/>
                  </a:moveTo>
                  <a:lnTo>
                    <a:pt x="1" y="8"/>
                  </a:lnTo>
                  <a:lnTo>
                    <a:pt x="6" y="14"/>
                  </a:lnTo>
                  <a:lnTo>
                    <a:pt x="15" y="18"/>
                  </a:lnTo>
                  <a:lnTo>
                    <a:pt x="26" y="17"/>
                  </a:lnTo>
                  <a:lnTo>
                    <a:pt x="14" y="22"/>
                  </a:lnTo>
                  <a:lnTo>
                    <a:pt x="5" y="19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3" name="Freeform 2194"/>
            <p:cNvSpPr>
              <a:spLocks/>
            </p:cNvSpPr>
            <p:nvPr/>
          </p:nvSpPr>
          <p:spPr bwMode="auto">
            <a:xfrm>
              <a:off x="7459663" y="3814763"/>
              <a:ext cx="134938" cy="20638"/>
            </a:xfrm>
            <a:custGeom>
              <a:avLst/>
              <a:gdLst>
                <a:gd name="T0" fmla="*/ 0 w 85"/>
                <a:gd name="T1" fmla="*/ 0 h 13"/>
                <a:gd name="T2" fmla="*/ 27 w 85"/>
                <a:gd name="T3" fmla="*/ 3 h 13"/>
                <a:gd name="T4" fmla="*/ 57 w 85"/>
                <a:gd name="T5" fmla="*/ 4 h 13"/>
                <a:gd name="T6" fmla="*/ 85 w 85"/>
                <a:gd name="T7" fmla="*/ 0 h 13"/>
                <a:gd name="T8" fmla="*/ 77 w 85"/>
                <a:gd name="T9" fmla="*/ 6 h 13"/>
                <a:gd name="T10" fmla="*/ 64 w 85"/>
                <a:gd name="T11" fmla="*/ 10 h 13"/>
                <a:gd name="T12" fmla="*/ 50 w 85"/>
                <a:gd name="T13" fmla="*/ 13 h 13"/>
                <a:gd name="T14" fmla="*/ 35 w 85"/>
                <a:gd name="T15" fmla="*/ 13 h 13"/>
                <a:gd name="T16" fmla="*/ 21 w 85"/>
                <a:gd name="T17" fmla="*/ 10 h 13"/>
                <a:gd name="T18" fmla="*/ 9 w 85"/>
                <a:gd name="T19" fmla="*/ 6 h 13"/>
                <a:gd name="T20" fmla="*/ 0 w 85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3">
                  <a:moveTo>
                    <a:pt x="0" y="0"/>
                  </a:moveTo>
                  <a:lnTo>
                    <a:pt x="27" y="3"/>
                  </a:lnTo>
                  <a:lnTo>
                    <a:pt x="57" y="4"/>
                  </a:lnTo>
                  <a:lnTo>
                    <a:pt x="85" y="0"/>
                  </a:lnTo>
                  <a:lnTo>
                    <a:pt x="77" y="6"/>
                  </a:lnTo>
                  <a:lnTo>
                    <a:pt x="64" y="10"/>
                  </a:lnTo>
                  <a:lnTo>
                    <a:pt x="50" y="13"/>
                  </a:lnTo>
                  <a:lnTo>
                    <a:pt x="35" y="13"/>
                  </a:lnTo>
                  <a:lnTo>
                    <a:pt x="21" y="10"/>
                  </a:lnTo>
                  <a:lnTo>
                    <a:pt x="9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4" name="Freeform 2195"/>
            <p:cNvSpPr>
              <a:spLocks/>
            </p:cNvSpPr>
            <p:nvPr/>
          </p:nvSpPr>
          <p:spPr bwMode="auto">
            <a:xfrm>
              <a:off x="7431088" y="3625850"/>
              <a:ext cx="65088" cy="30163"/>
            </a:xfrm>
            <a:custGeom>
              <a:avLst/>
              <a:gdLst>
                <a:gd name="T0" fmla="*/ 30 w 41"/>
                <a:gd name="T1" fmla="*/ 0 h 19"/>
                <a:gd name="T2" fmla="*/ 37 w 41"/>
                <a:gd name="T3" fmla="*/ 1 h 19"/>
                <a:gd name="T4" fmla="*/ 40 w 41"/>
                <a:gd name="T5" fmla="*/ 1 h 19"/>
                <a:gd name="T6" fmla="*/ 41 w 41"/>
                <a:gd name="T7" fmla="*/ 2 h 19"/>
                <a:gd name="T8" fmla="*/ 41 w 41"/>
                <a:gd name="T9" fmla="*/ 4 h 19"/>
                <a:gd name="T10" fmla="*/ 41 w 41"/>
                <a:gd name="T11" fmla="*/ 6 h 19"/>
                <a:gd name="T12" fmla="*/ 40 w 41"/>
                <a:gd name="T13" fmla="*/ 6 h 19"/>
                <a:gd name="T14" fmla="*/ 37 w 41"/>
                <a:gd name="T15" fmla="*/ 7 h 19"/>
                <a:gd name="T16" fmla="*/ 26 w 41"/>
                <a:gd name="T17" fmla="*/ 6 h 19"/>
                <a:gd name="T18" fmla="*/ 16 w 41"/>
                <a:gd name="T19" fmla="*/ 9 h 19"/>
                <a:gd name="T20" fmla="*/ 5 w 41"/>
                <a:gd name="T21" fmla="*/ 15 h 19"/>
                <a:gd name="T22" fmla="*/ 3 w 41"/>
                <a:gd name="T23" fmla="*/ 18 h 19"/>
                <a:gd name="T24" fmla="*/ 1 w 41"/>
                <a:gd name="T25" fmla="*/ 19 h 19"/>
                <a:gd name="T26" fmla="*/ 0 w 41"/>
                <a:gd name="T27" fmla="*/ 19 h 19"/>
                <a:gd name="T28" fmla="*/ 0 w 41"/>
                <a:gd name="T29" fmla="*/ 18 h 19"/>
                <a:gd name="T30" fmla="*/ 1 w 41"/>
                <a:gd name="T31" fmla="*/ 15 h 19"/>
                <a:gd name="T32" fmla="*/ 4 w 41"/>
                <a:gd name="T33" fmla="*/ 13 h 19"/>
                <a:gd name="T34" fmla="*/ 13 w 41"/>
                <a:gd name="T35" fmla="*/ 5 h 19"/>
                <a:gd name="T36" fmla="*/ 22 w 41"/>
                <a:gd name="T37" fmla="*/ 1 h 19"/>
                <a:gd name="T38" fmla="*/ 30 w 41"/>
                <a:gd name="T3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19">
                  <a:moveTo>
                    <a:pt x="30" y="0"/>
                  </a:moveTo>
                  <a:lnTo>
                    <a:pt x="37" y="1"/>
                  </a:lnTo>
                  <a:lnTo>
                    <a:pt x="40" y="1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6"/>
                  </a:lnTo>
                  <a:lnTo>
                    <a:pt x="40" y="6"/>
                  </a:lnTo>
                  <a:lnTo>
                    <a:pt x="37" y="7"/>
                  </a:lnTo>
                  <a:lnTo>
                    <a:pt x="26" y="6"/>
                  </a:lnTo>
                  <a:lnTo>
                    <a:pt x="16" y="9"/>
                  </a:lnTo>
                  <a:lnTo>
                    <a:pt x="5" y="15"/>
                  </a:lnTo>
                  <a:lnTo>
                    <a:pt x="3" y="18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1" y="15"/>
                  </a:lnTo>
                  <a:lnTo>
                    <a:pt x="4" y="13"/>
                  </a:lnTo>
                  <a:lnTo>
                    <a:pt x="13" y="5"/>
                  </a:lnTo>
                  <a:lnTo>
                    <a:pt x="22" y="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5" name="Freeform 2196"/>
            <p:cNvSpPr>
              <a:spLocks/>
            </p:cNvSpPr>
            <p:nvPr/>
          </p:nvSpPr>
          <p:spPr bwMode="auto">
            <a:xfrm>
              <a:off x="7362826" y="3482975"/>
              <a:ext cx="331788" cy="242888"/>
            </a:xfrm>
            <a:custGeom>
              <a:avLst/>
              <a:gdLst>
                <a:gd name="T0" fmla="*/ 129 w 209"/>
                <a:gd name="T1" fmla="*/ 2 h 153"/>
                <a:gd name="T2" fmla="*/ 170 w 209"/>
                <a:gd name="T3" fmla="*/ 22 h 153"/>
                <a:gd name="T4" fmla="*/ 195 w 209"/>
                <a:gd name="T5" fmla="*/ 54 h 153"/>
                <a:gd name="T6" fmla="*/ 207 w 209"/>
                <a:gd name="T7" fmla="*/ 97 h 153"/>
                <a:gd name="T8" fmla="*/ 209 w 209"/>
                <a:gd name="T9" fmla="*/ 127 h 153"/>
                <a:gd name="T10" fmla="*/ 209 w 209"/>
                <a:gd name="T11" fmla="*/ 138 h 153"/>
                <a:gd name="T12" fmla="*/ 207 w 209"/>
                <a:gd name="T13" fmla="*/ 145 h 153"/>
                <a:gd name="T14" fmla="*/ 205 w 209"/>
                <a:gd name="T15" fmla="*/ 150 h 153"/>
                <a:gd name="T16" fmla="*/ 202 w 209"/>
                <a:gd name="T17" fmla="*/ 153 h 153"/>
                <a:gd name="T18" fmla="*/ 201 w 209"/>
                <a:gd name="T19" fmla="*/ 150 h 153"/>
                <a:gd name="T20" fmla="*/ 200 w 209"/>
                <a:gd name="T21" fmla="*/ 142 h 153"/>
                <a:gd name="T22" fmla="*/ 198 w 209"/>
                <a:gd name="T23" fmla="*/ 113 h 153"/>
                <a:gd name="T24" fmla="*/ 192 w 209"/>
                <a:gd name="T25" fmla="*/ 76 h 153"/>
                <a:gd name="T26" fmla="*/ 175 w 209"/>
                <a:gd name="T27" fmla="*/ 46 h 153"/>
                <a:gd name="T28" fmla="*/ 148 w 209"/>
                <a:gd name="T29" fmla="*/ 33 h 153"/>
                <a:gd name="T30" fmla="*/ 119 w 209"/>
                <a:gd name="T31" fmla="*/ 35 h 153"/>
                <a:gd name="T32" fmla="*/ 105 w 209"/>
                <a:gd name="T33" fmla="*/ 36 h 153"/>
                <a:gd name="T34" fmla="*/ 89 w 209"/>
                <a:gd name="T35" fmla="*/ 35 h 153"/>
                <a:gd name="T36" fmla="*/ 61 w 209"/>
                <a:gd name="T37" fmla="*/ 33 h 153"/>
                <a:gd name="T38" fmla="*/ 33 w 209"/>
                <a:gd name="T39" fmla="*/ 46 h 153"/>
                <a:gd name="T40" fmla="*/ 16 w 209"/>
                <a:gd name="T41" fmla="*/ 76 h 153"/>
                <a:gd name="T42" fmla="*/ 10 w 209"/>
                <a:gd name="T43" fmla="*/ 113 h 153"/>
                <a:gd name="T44" fmla="*/ 9 w 209"/>
                <a:gd name="T45" fmla="*/ 142 h 153"/>
                <a:gd name="T46" fmla="*/ 7 w 209"/>
                <a:gd name="T47" fmla="*/ 150 h 153"/>
                <a:gd name="T48" fmla="*/ 6 w 209"/>
                <a:gd name="T49" fmla="*/ 153 h 153"/>
                <a:gd name="T50" fmla="*/ 3 w 209"/>
                <a:gd name="T51" fmla="*/ 150 h 153"/>
                <a:gd name="T52" fmla="*/ 2 w 209"/>
                <a:gd name="T53" fmla="*/ 145 h 153"/>
                <a:gd name="T54" fmla="*/ 1 w 209"/>
                <a:gd name="T55" fmla="*/ 138 h 153"/>
                <a:gd name="T56" fmla="*/ 0 w 209"/>
                <a:gd name="T57" fmla="*/ 127 h 153"/>
                <a:gd name="T58" fmla="*/ 1 w 209"/>
                <a:gd name="T59" fmla="*/ 97 h 153"/>
                <a:gd name="T60" fmla="*/ 14 w 209"/>
                <a:gd name="T61" fmla="*/ 54 h 153"/>
                <a:gd name="T62" fmla="*/ 39 w 209"/>
                <a:gd name="T63" fmla="*/ 22 h 153"/>
                <a:gd name="T64" fmla="*/ 80 w 209"/>
                <a:gd name="T65" fmla="*/ 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9" h="153">
                  <a:moveTo>
                    <a:pt x="105" y="0"/>
                  </a:moveTo>
                  <a:lnTo>
                    <a:pt x="129" y="2"/>
                  </a:lnTo>
                  <a:lnTo>
                    <a:pt x="152" y="10"/>
                  </a:lnTo>
                  <a:lnTo>
                    <a:pt x="170" y="22"/>
                  </a:lnTo>
                  <a:lnTo>
                    <a:pt x="186" y="37"/>
                  </a:lnTo>
                  <a:lnTo>
                    <a:pt x="195" y="54"/>
                  </a:lnTo>
                  <a:lnTo>
                    <a:pt x="204" y="78"/>
                  </a:lnTo>
                  <a:lnTo>
                    <a:pt x="207" y="97"/>
                  </a:lnTo>
                  <a:lnTo>
                    <a:pt x="209" y="114"/>
                  </a:lnTo>
                  <a:lnTo>
                    <a:pt x="209" y="127"/>
                  </a:lnTo>
                  <a:lnTo>
                    <a:pt x="209" y="136"/>
                  </a:lnTo>
                  <a:lnTo>
                    <a:pt x="209" y="138"/>
                  </a:lnTo>
                  <a:lnTo>
                    <a:pt x="207" y="141"/>
                  </a:lnTo>
                  <a:lnTo>
                    <a:pt x="207" y="145"/>
                  </a:lnTo>
                  <a:lnTo>
                    <a:pt x="206" y="147"/>
                  </a:lnTo>
                  <a:lnTo>
                    <a:pt x="205" y="150"/>
                  </a:lnTo>
                  <a:lnTo>
                    <a:pt x="204" y="151"/>
                  </a:lnTo>
                  <a:lnTo>
                    <a:pt x="202" y="153"/>
                  </a:lnTo>
                  <a:lnTo>
                    <a:pt x="201" y="151"/>
                  </a:lnTo>
                  <a:lnTo>
                    <a:pt x="201" y="150"/>
                  </a:lnTo>
                  <a:lnTo>
                    <a:pt x="200" y="147"/>
                  </a:lnTo>
                  <a:lnTo>
                    <a:pt x="200" y="142"/>
                  </a:lnTo>
                  <a:lnTo>
                    <a:pt x="200" y="129"/>
                  </a:lnTo>
                  <a:lnTo>
                    <a:pt x="198" y="113"/>
                  </a:lnTo>
                  <a:lnTo>
                    <a:pt x="196" y="95"/>
                  </a:lnTo>
                  <a:lnTo>
                    <a:pt x="192" y="76"/>
                  </a:lnTo>
                  <a:lnTo>
                    <a:pt x="186" y="59"/>
                  </a:lnTo>
                  <a:lnTo>
                    <a:pt x="175" y="46"/>
                  </a:lnTo>
                  <a:lnTo>
                    <a:pt x="163" y="36"/>
                  </a:lnTo>
                  <a:lnTo>
                    <a:pt x="148" y="33"/>
                  </a:lnTo>
                  <a:lnTo>
                    <a:pt x="133" y="33"/>
                  </a:lnTo>
                  <a:lnTo>
                    <a:pt x="119" y="35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4" y="36"/>
                  </a:lnTo>
                  <a:lnTo>
                    <a:pt x="89" y="35"/>
                  </a:lnTo>
                  <a:lnTo>
                    <a:pt x="75" y="33"/>
                  </a:lnTo>
                  <a:lnTo>
                    <a:pt x="61" y="33"/>
                  </a:lnTo>
                  <a:lnTo>
                    <a:pt x="47" y="36"/>
                  </a:lnTo>
                  <a:lnTo>
                    <a:pt x="33" y="46"/>
                  </a:lnTo>
                  <a:lnTo>
                    <a:pt x="24" y="59"/>
                  </a:lnTo>
                  <a:lnTo>
                    <a:pt x="16" y="76"/>
                  </a:lnTo>
                  <a:lnTo>
                    <a:pt x="12" y="95"/>
                  </a:lnTo>
                  <a:lnTo>
                    <a:pt x="10" y="113"/>
                  </a:lnTo>
                  <a:lnTo>
                    <a:pt x="9" y="129"/>
                  </a:lnTo>
                  <a:lnTo>
                    <a:pt x="9" y="142"/>
                  </a:lnTo>
                  <a:lnTo>
                    <a:pt x="9" y="147"/>
                  </a:lnTo>
                  <a:lnTo>
                    <a:pt x="7" y="150"/>
                  </a:lnTo>
                  <a:lnTo>
                    <a:pt x="7" y="151"/>
                  </a:lnTo>
                  <a:lnTo>
                    <a:pt x="6" y="153"/>
                  </a:lnTo>
                  <a:lnTo>
                    <a:pt x="5" y="151"/>
                  </a:lnTo>
                  <a:lnTo>
                    <a:pt x="3" y="150"/>
                  </a:lnTo>
                  <a:lnTo>
                    <a:pt x="3" y="147"/>
                  </a:lnTo>
                  <a:lnTo>
                    <a:pt x="2" y="145"/>
                  </a:lnTo>
                  <a:lnTo>
                    <a:pt x="1" y="141"/>
                  </a:lnTo>
                  <a:lnTo>
                    <a:pt x="1" y="138"/>
                  </a:lnTo>
                  <a:lnTo>
                    <a:pt x="0" y="136"/>
                  </a:lnTo>
                  <a:lnTo>
                    <a:pt x="0" y="127"/>
                  </a:lnTo>
                  <a:lnTo>
                    <a:pt x="0" y="114"/>
                  </a:lnTo>
                  <a:lnTo>
                    <a:pt x="1" y="97"/>
                  </a:lnTo>
                  <a:lnTo>
                    <a:pt x="6" y="78"/>
                  </a:lnTo>
                  <a:lnTo>
                    <a:pt x="14" y="54"/>
                  </a:lnTo>
                  <a:lnTo>
                    <a:pt x="24" y="37"/>
                  </a:lnTo>
                  <a:lnTo>
                    <a:pt x="39" y="22"/>
                  </a:lnTo>
                  <a:lnTo>
                    <a:pt x="59" y="10"/>
                  </a:lnTo>
                  <a:lnTo>
                    <a:pt x="80" y="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6" name="Freeform 2197"/>
            <p:cNvSpPr>
              <a:spLocks/>
            </p:cNvSpPr>
            <p:nvPr/>
          </p:nvSpPr>
          <p:spPr bwMode="auto">
            <a:xfrm>
              <a:off x="7251701" y="4524375"/>
              <a:ext cx="141288" cy="104775"/>
            </a:xfrm>
            <a:custGeom>
              <a:avLst/>
              <a:gdLst>
                <a:gd name="T0" fmla="*/ 26 w 89"/>
                <a:gd name="T1" fmla="*/ 2 h 66"/>
                <a:gd name="T2" fmla="*/ 38 w 89"/>
                <a:gd name="T3" fmla="*/ 15 h 66"/>
                <a:gd name="T4" fmla="*/ 53 w 89"/>
                <a:gd name="T5" fmla="*/ 14 h 66"/>
                <a:gd name="T6" fmla="*/ 71 w 89"/>
                <a:gd name="T7" fmla="*/ 11 h 66"/>
                <a:gd name="T8" fmla="*/ 84 w 89"/>
                <a:gd name="T9" fmla="*/ 17 h 66"/>
                <a:gd name="T10" fmla="*/ 88 w 89"/>
                <a:gd name="T11" fmla="*/ 23 h 66"/>
                <a:gd name="T12" fmla="*/ 88 w 89"/>
                <a:gd name="T13" fmla="*/ 26 h 66"/>
                <a:gd name="T14" fmla="*/ 84 w 89"/>
                <a:gd name="T15" fmla="*/ 26 h 66"/>
                <a:gd name="T16" fmla="*/ 70 w 89"/>
                <a:gd name="T17" fmla="*/ 20 h 66"/>
                <a:gd name="T18" fmla="*/ 57 w 89"/>
                <a:gd name="T19" fmla="*/ 20 h 66"/>
                <a:gd name="T20" fmla="*/ 68 w 89"/>
                <a:gd name="T21" fmla="*/ 23 h 66"/>
                <a:gd name="T22" fmla="*/ 81 w 89"/>
                <a:gd name="T23" fmla="*/ 34 h 66"/>
                <a:gd name="T24" fmla="*/ 84 w 89"/>
                <a:gd name="T25" fmla="*/ 42 h 66"/>
                <a:gd name="T26" fmla="*/ 82 w 89"/>
                <a:gd name="T27" fmla="*/ 47 h 66"/>
                <a:gd name="T28" fmla="*/ 80 w 89"/>
                <a:gd name="T29" fmla="*/ 48 h 66"/>
                <a:gd name="T30" fmla="*/ 79 w 89"/>
                <a:gd name="T31" fmla="*/ 43 h 66"/>
                <a:gd name="T32" fmla="*/ 75 w 89"/>
                <a:gd name="T33" fmla="*/ 37 h 66"/>
                <a:gd name="T34" fmla="*/ 68 w 89"/>
                <a:gd name="T35" fmla="*/ 33 h 66"/>
                <a:gd name="T36" fmla="*/ 61 w 89"/>
                <a:gd name="T37" fmla="*/ 32 h 66"/>
                <a:gd name="T38" fmla="*/ 55 w 89"/>
                <a:gd name="T39" fmla="*/ 32 h 66"/>
                <a:gd name="T40" fmla="*/ 57 w 89"/>
                <a:gd name="T41" fmla="*/ 33 h 66"/>
                <a:gd name="T42" fmla="*/ 63 w 89"/>
                <a:gd name="T43" fmla="*/ 35 h 66"/>
                <a:gd name="T44" fmla="*/ 68 w 89"/>
                <a:gd name="T45" fmla="*/ 39 h 66"/>
                <a:gd name="T46" fmla="*/ 72 w 89"/>
                <a:gd name="T47" fmla="*/ 48 h 66"/>
                <a:gd name="T48" fmla="*/ 73 w 89"/>
                <a:gd name="T49" fmla="*/ 56 h 66"/>
                <a:gd name="T50" fmla="*/ 71 w 89"/>
                <a:gd name="T51" fmla="*/ 57 h 66"/>
                <a:gd name="T52" fmla="*/ 67 w 89"/>
                <a:gd name="T53" fmla="*/ 52 h 66"/>
                <a:gd name="T54" fmla="*/ 62 w 89"/>
                <a:gd name="T55" fmla="*/ 46 h 66"/>
                <a:gd name="T56" fmla="*/ 54 w 89"/>
                <a:gd name="T57" fmla="*/ 42 h 66"/>
                <a:gd name="T58" fmla="*/ 52 w 89"/>
                <a:gd name="T59" fmla="*/ 43 h 66"/>
                <a:gd name="T60" fmla="*/ 53 w 89"/>
                <a:gd name="T61" fmla="*/ 46 h 66"/>
                <a:gd name="T62" fmla="*/ 58 w 89"/>
                <a:gd name="T63" fmla="*/ 52 h 66"/>
                <a:gd name="T64" fmla="*/ 62 w 89"/>
                <a:gd name="T65" fmla="*/ 60 h 66"/>
                <a:gd name="T66" fmla="*/ 62 w 89"/>
                <a:gd name="T67" fmla="*/ 66 h 66"/>
                <a:gd name="T68" fmla="*/ 59 w 89"/>
                <a:gd name="T69" fmla="*/ 66 h 66"/>
                <a:gd name="T70" fmla="*/ 52 w 89"/>
                <a:gd name="T71" fmla="*/ 57 h 66"/>
                <a:gd name="T72" fmla="*/ 32 w 89"/>
                <a:gd name="T73" fmla="*/ 55 h 66"/>
                <a:gd name="T74" fmla="*/ 18 w 89"/>
                <a:gd name="T75" fmla="*/ 51 h 66"/>
                <a:gd name="T76" fmla="*/ 13 w 89"/>
                <a:gd name="T77" fmla="*/ 37 h 66"/>
                <a:gd name="T78" fmla="*/ 2 w 89"/>
                <a:gd name="T79" fmla="*/ 23 h 66"/>
                <a:gd name="T80" fmla="*/ 3 w 89"/>
                <a:gd name="T81" fmla="*/ 12 h 66"/>
                <a:gd name="T82" fmla="*/ 16 w 89"/>
                <a:gd name="T83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" h="66">
                  <a:moveTo>
                    <a:pt x="22" y="0"/>
                  </a:moveTo>
                  <a:lnTo>
                    <a:pt x="26" y="2"/>
                  </a:lnTo>
                  <a:lnTo>
                    <a:pt x="31" y="10"/>
                  </a:lnTo>
                  <a:lnTo>
                    <a:pt x="38" y="15"/>
                  </a:lnTo>
                  <a:lnTo>
                    <a:pt x="45" y="15"/>
                  </a:lnTo>
                  <a:lnTo>
                    <a:pt x="53" y="14"/>
                  </a:lnTo>
                  <a:lnTo>
                    <a:pt x="63" y="11"/>
                  </a:lnTo>
                  <a:lnTo>
                    <a:pt x="71" y="11"/>
                  </a:lnTo>
                  <a:lnTo>
                    <a:pt x="81" y="16"/>
                  </a:lnTo>
                  <a:lnTo>
                    <a:pt x="84" y="17"/>
                  </a:lnTo>
                  <a:lnTo>
                    <a:pt x="86" y="20"/>
                  </a:lnTo>
                  <a:lnTo>
                    <a:pt x="88" y="23"/>
                  </a:lnTo>
                  <a:lnTo>
                    <a:pt x="89" y="24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4" y="26"/>
                  </a:lnTo>
                  <a:lnTo>
                    <a:pt x="81" y="25"/>
                  </a:lnTo>
                  <a:lnTo>
                    <a:pt x="70" y="20"/>
                  </a:lnTo>
                  <a:lnTo>
                    <a:pt x="62" y="19"/>
                  </a:lnTo>
                  <a:lnTo>
                    <a:pt x="57" y="20"/>
                  </a:lnTo>
                  <a:lnTo>
                    <a:pt x="59" y="21"/>
                  </a:lnTo>
                  <a:lnTo>
                    <a:pt x="68" y="23"/>
                  </a:lnTo>
                  <a:lnTo>
                    <a:pt x="75" y="26"/>
                  </a:lnTo>
                  <a:lnTo>
                    <a:pt x="81" y="34"/>
                  </a:lnTo>
                  <a:lnTo>
                    <a:pt x="82" y="38"/>
                  </a:lnTo>
                  <a:lnTo>
                    <a:pt x="84" y="42"/>
                  </a:lnTo>
                  <a:lnTo>
                    <a:pt x="84" y="46"/>
                  </a:lnTo>
                  <a:lnTo>
                    <a:pt x="82" y="47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7"/>
                  </a:lnTo>
                  <a:lnTo>
                    <a:pt x="79" y="43"/>
                  </a:lnTo>
                  <a:lnTo>
                    <a:pt x="77" y="41"/>
                  </a:lnTo>
                  <a:lnTo>
                    <a:pt x="75" y="37"/>
                  </a:lnTo>
                  <a:lnTo>
                    <a:pt x="72" y="34"/>
                  </a:lnTo>
                  <a:lnTo>
                    <a:pt x="68" y="33"/>
                  </a:lnTo>
                  <a:lnTo>
                    <a:pt x="64" y="32"/>
                  </a:lnTo>
                  <a:lnTo>
                    <a:pt x="61" y="32"/>
                  </a:lnTo>
                  <a:lnTo>
                    <a:pt x="58" y="32"/>
                  </a:lnTo>
                  <a:lnTo>
                    <a:pt x="55" y="32"/>
                  </a:lnTo>
                  <a:lnTo>
                    <a:pt x="55" y="33"/>
                  </a:lnTo>
                  <a:lnTo>
                    <a:pt x="57" y="33"/>
                  </a:lnTo>
                  <a:lnTo>
                    <a:pt x="61" y="34"/>
                  </a:lnTo>
                  <a:lnTo>
                    <a:pt x="63" y="35"/>
                  </a:lnTo>
                  <a:lnTo>
                    <a:pt x="66" y="37"/>
                  </a:lnTo>
                  <a:lnTo>
                    <a:pt x="68" y="39"/>
                  </a:lnTo>
                  <a:lnTo>
                    <a:pt x="71" y="43"/>
                  </a:lnTo>
                  <a:lnTo>
                    <a:pt x="72" y="48"/>
                  </a:lnTo>
                  <a:lnTo>
                    <a:pt x="73" y="52"/>
                  </a:lnTo>
                  <a:lnTo>
                    <a:pt x="73" y="56"/>
                  </a:lnTo>
                  <a:lnTo>
                    <a:pt x="72" y="57"/>
                  </a:lnTo>
                  <a:lnTo>
                    <a:pt x="71" y="57"/>
                  </a:lnTo>
                  <a:lnTo>
                    <a:pt x="70" y="56"/>
                  </a:lnTo>
                  <a:lnTo>
                    <a:pt x="67" y="52"/>
                  </a:lnTo>
                  <a:lnTo>
                    <a:pt x="66" y="48"/>
                  </a:lnTo>
                  <a:lnTo>
                    <a:pt x="62" y="46"/>
                  </a:lnTo>
                  <a:lnTo>
                    <a:pt x="58" y="43"/>
                  </a:lnTo>
                  <a:lnTo>
                    <a:pt x="54" y="42"/>
                  </a:lnTo>
                  <a:lnTo>
                    <a:pt x="53" y="42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3" y="46"/>
                  </a:lnTo>
                  <a:lnTo>
                    <a:pt x="54" y="48"/>
                  </a:lnTo>
                  <a:lnTo>
                    <a:pt x="58" y="52"/>
                  </a:lnTo>
                  <a:lnTo>
                    <a:pt x="61" y="56"/>
                  </a:lnTo>
                  <a:lnTo>
                    <a:pt x="62" y="60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1" y="66"/>
                  </a:lnTo>
                  <a:lnTo>
                    <a:pt x="59" y="66"/>
                  </a:lnTo>
                  <a:lnTo>
                    <a:pt x="58" y="64"/>
                  </a:lnTo>
                  <a:lnTo>
                    <a:pt x="52" y="57"/>
                  </a:lnTo>
                  <a:lnTo>
                    <a:pt x="43" y="55"/>
                  </a:lnTo>
                  <a:lnTo>
                    <a:pt x="32" y="55"/>
                  </a:lnTo>
                  <a:lnTo>
                    <a:pt x="23" y="55"/>
                  </a:lnTo>
                  <a:lnTo>
                    <a:pt x="18" y="51"/>
                  </a:lnTo>
                  <a:lnTo>
                    <a:pt x="16" y="44"/>
                  </a:lnTo>
                  <a:lnTo>
                    <a:pt x="13" y="37"/>
                  </a:lnTo>
                  <a:lnTo>
                    <a:pt x="9" y="29"/>
                  </a:lnTo>
                  <a:lnTo>
                    <a:pt x="2" y="23"/>
                  </a:lnTo>
                  <a:lnTo>
                    <a:pt x="0" y="17"/>
                  </a:lnTo>
                  <a:lnTo>
                    <a:pt x="3" y="12"/>
                  </a:lnTo>
                  <a:lnTo>
                    <a:pt x="9" y="6"/>
                  </a:lnTo>
                  <a:lnTo>
                    <a:pt x="16" y="1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7" name="Freeform 2198"/>
            <p:cNvSpPr>
              <a:spLocks/>
            </p:cNvSpPr>
            <p:nvPr/>
          </p:nvSpPr>
          <p:spPr bwMode="auto">
            <a:xfrm>
              <a:off x="7364413" y="4000500"/>
              <a:ext cx="477838" cy="820738"/>
            </a:xfrm>
            <a:custGeom>
              <a:avLst/>
              <a:gdLst>
                <a:gd name="T0" fmla="*/ 19 w 301"/>
                <a:gd name="T1" fmla="*/ 0 h 517"/>
                <a:gd name="T2" fmla="*/ 20 w 301"/>
                <a:gd name="T3" fmla="*/ 5 h 517"/>
                <a:gd name="T4" fmla="*/ 23 w 301"/>
                <a:gd name="T5" fmla="*/ 11 h 517"/>
                <a:gd name="T6" fmla="*/ 27 w 301"/>
                <a:gd name="T7" fmla="*/ 22 h 517"/>
                <a:gd name="T8" fmla="*/ 32 w 301"/>
                <a:gd name="T9" fmla="*/ 32 h 517"/>
                <a:gd name="T10" fmla="*/ 38 w 301"/>
                <a:gd name="T11" fmla="*/ 43 h 517"/>
                <a:gd name="T12" fmla="*/ 45 w 301"/>
                <a:gd name="T13" fmla="*/ 58 h 517"/>
                <a:gd name="T14" fmla="*/ 59 w 301"/>
                <a:gd name="T15" fmla="*/ 87 h 517"/>
                <a:gd name="T16" fmla="*/ 77 w 301"/>
                <a:gd name="T17" fmla="*/ 122 h 517"/>
                <a:gd name="T18" fmla="*/ 96 w 301"/>
                <a:gd name="T19" fmla="*/ 159 h 517"/>
                <a:gd name="T20" fmla="*/ 117 w 301"/>
                <a:gd name="T21" fmla="*/ 197 h 517"/>
                <a:gd name="T22" fmla="*/ 140 w 301"/>
                <a:gd name="T23" fmla="*/ 238 h 517"/>
                <a:gd name="T24" fmla="*/ 185 w 301"/>
                <a:gd name="T25" fmla="*/ 319 h 517"/>
                <a:gd name="T26" fmla="*/ 208 w 301"/>
                <a:gd name="T27" fmla="*/ 359 h 517"/>
                <a:gd name="T28" fmla="*/ 230 w 301"/>
                <a:gd name="T29" fmla="*/ 396 h 517"/>
                <a:gd name="T30" fmla="*/ 251 w 301"/>
                <a:gd name="T31" fmla="*/ 431 h 517"/>
                <a:gd name="T32" fmla="*/ 271 w 301"/>
                <a:gd name="T33" fmla="*/ 460 h 517"/>
                <a:gd name="T34" fmla="*/ 278 w 301"/>
                <a:gd name="T35" fmla="*/ 472 h 517"/>
                <a:gd name="T36" fmla="*/ 286 w 301"/>
                <a:gd name="T37" fmla="*/ 484 h 517"/>
                <a:gd name="T38" fmla="*/ 301 w 301"/>
                <a:gd name="T39" fmla="*/ 504 h 517"/>
                <a:gd name="T40" fmla="*/ 286 w 301"/>
                <a:gd name="T41" fmla="*/ 517 h 517"/>
                <a:gd name="T42" fmla="*/ 280 w 301"/>
                <a:gd name="T43" fmla="*/ 508 h 517"/>
                <a:gd name="T44" fmla="*/ 272 w 301"/>
                <a:gd name="T45" fmla="*/ 498 h 517"/>
                <a:gd name="T46" fmla="*/ 263 w 301"/>
                <a:gd name="T47" fmla="*/ 485 h 517"/>
                <a:gd name="T48" fmla="*/ 260 w 301"/>
                <a:gd name="T49" fmla="*/ 482 h 517"/>
                <a:gd name="T50" fmla="*/ 251 w 301"/>
                <a:gd name="T51" fmla="*/ 468 h 517"/>
                <a:gd name="T52" fmla="*/ 232 w 301"/>
                <a:gd name="T53" fmla="*/ 439 h 517"/>
                <a:gd name="T54" fmla="*/ 210 w 301"/>
                <a:gd name="T55" fmla="*/ 404 h 517"/>
                <a:gd name="T56" fmla="*/ 188 w 301"/>
                <a:gd name="T57" fmla="*/ 367 h 517"/>
                <a:gd name="T58" fmla="*/ 165 w 301"/>
                <a:gd name="T59" fmla="*/ 327 h 517"/>
                <a:gd name="T60" fmla="*/ 120 w 301"/>
                <a:gd name="T61" fmla="*/ 246 h 517"/>
                <a:gd name="T62" fmla="*/ 97 w 301"/>
                <a:gd name="T63" fmla="*/ 205 h 517"/>
                <a:gd name="T64" fmla="*/ 77 w 301"/>
                <a:gd name="T65" fmla="*/ 167 h 517"/>
                <a:gd name="T66" fmla="*/ 58 w 301"/>
                <a:gd name="T67" fmla="*/ 129 h 517"/>
                <a:gd name="T68" fmla="*/ 40 w 301"/>
                <a:gd name="T69" fmla="*/ 95 h 517"/>
                <a:gd name="T70" fmla="*/ 26 w 301"/>
                <a:gd name="T71" fmla="*/ 65 h 517"/>
                <a:gd name="T72" fmla="*/ 19 w 301"/>
                <a:gd name="T73" fmla="*/ 51 h 517"/>
                <a:gd name="T74" fmla="*/ 13 w 301"/>
                <a:gd name="T75" fmla="*/ 40 h 517"/>
                <a:gd name="T76" fmla="*/ 8 w 301"/>
                <a:gd name="T77" fmla="*/ 29 h 517"/>
                <a:gd name="T78" fmla="*/ 4 w 301"/>
                <a:gd name="T79" fmla="*/ 19 h 517"/>
                <a:gd name="T80" fmla="*/ 1 w 301"/>
                <a:gd name="T81" fmla="*/ 13 h 517"/>
                <a:gd name="T82" fmla="*/ 0 w 301"/>
                <a:gd name="T83" fmla="*/ 6 h 517"/>
                <a:gd name="T84" fmla="*/ 19 w 301"/>
                <a:gd name="T85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517">
                  <a:moveTo>
                    <a:pt x="19" y="0"/>
                  </a:moveTo>
                  <a:lnTo>
                    <a:pt x="20" y="5"/>
                  </a:lnTo>
                  <a:lnTo>
                    <a:pt x="23" y="11"/>
                  </a:lnTo>
                  <a:lnTo>
                    <a:pt x="27" y="22"/>
                  </a:lnTo>
                  <a:lnTo>
                    <a:pt x="32" y="32"/>
                  </a:lnTo>
                  <a:lnTo>
                    <a:pt x="38" y="43"/>
                  </a:lnTo>
                  <a:lnTo>
                    <a:pt x="45" y="58"/>
                  </a:lnTo>
                  <a:lnTo>
                    <a:pt x="59" y="87"/>
                  </a:lnTo>
                  <a:lnTo>
                    <a:pt x="77" y="122"/>
                  </a:lnTo>
                  <a:lnTo>
                    <a:pt x="96" y="159"/>
                  </a:lnTo>
                  <a:lnTo>
                    <a:pt x="117" y="197"/>
                  </a:lnTo>
                  <a:lnTo>
                    <a:pt x="140" y="238"/>
                  </a:lnTo>
                  <a:lnTo>
                    <a:pt x="185" y="319"/>
                  </a:lnTo>
                  <a:lnTo>
                    <a:pt x="208" y="359"/>
                  </a:lnTo>
                  <a:lnTo>
                    <a:pt x="230" y="396"/>
                  </a:lnTo>
                  <a:lnTo>
                    <a:pt x="251" y="431"/>
                  </a:lnTo>
                  <a:lnTo>
                    <a:pt x="271" y="460"/>
                  </a:lnTo>
                  <a:lnTo>
                    <a:pt x="278" y="472"/>
                  </a:lnTo>
                  <a:lnTo>
                    <a:pt x="286" y="484"/>
                  </a:lnTo>
                  <a:lnTo>
                    <a:pt x="301" y="504"/>
                  </a:lnTo>
                  <a:lnTo>
                    <a:pt x="286" y="517"/>
                  </a:lnTo>
                  <a:lnTo>
                    <a:pt x="280" y="508"/>
                  </a:lnTo>
                  <a:lnTo>
                    <a:pt x="272" y="498"/>
                  </a:lnTo>
                  <a:lnTo>
                    <a:pt x="263" y="485"/>
                  </a:lnTo>
                  <a:lnTo>
                    <a:pt x="260" y="482"/>
                  </a:lnTo>
                  <a:lnTo>
                    <a:pt x="251" y="468"/>
                  </a:lnTo>
                  <a:lnTo>
                    <a:pt x="232" y="439"/>
                  </a:lnTo>
                  <a:lnTo>
                    <a:pt x="210" y="404"/>
                  </a:lnTo>
                  <a:lnTo>
                    <a:pt x="188" y="367"/>
                  </a:lnTo>
                  <a:lnTo>
                    <a:pt x="165" y="327"/>
                  </a:lnTo>
                  <a:lnTo>
                    <a:pt x="120" y="246"/>
                  </a:lnTo>
                  <a:lnTo>
                    <a:pt x="97" y="205"/>
                  </a:lnTo>
                  <a:lnTo>
                    <a:pt x="77" y="167"/>
                  </a:lnTo>
                  <a:lnTo>
                    <a:pt x="58" y="129"/>
                  </a:lnTo>
                  <a:lnTo>
                    <a:pt x="40" y="95"/>
                  </a:lnTo>
                  <a:lnTo>
                    <a:pt x="26" y="65"/>
                  </a:lnTo>
                  <a:lnTo>
                    <a:pt x="19" y="51"/>
                  </a:lnTo>
                  <a:lnTo>
                    <a:pt x="13" y="40"/>
                  </a:lnTo>
                  <a:lnTo>
                    <a:pt x="8" y="29"/>
                  </a:lnTo>
                  <a:lnTo>
                    <a:pt x="4" y="19"/>
                  </a:lnTo>
                  <a:lnTo>
                    <a:pt x="1" y="13"/>
                  </a:lnTo>
                  <a:lnTo>
                    <a:pt x="0" y="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8" name="Freeform 2199"/>
            <p:cNvSpPr>
              <a:spLocks/>
            </p:cNvSpPr>
            <p:nvPr/>
          </p:nvSpPr>
          <p:spPr bwMode="auto">
            <a:xfrm>
              <a:off x="7380288" y="5073650"/>
              <a:ext cx="130175" cy="779463"/>
            </a:xfrm>
            <a:custGeom>
              <a:avLst/>
              <a:gdLst>
                <a:gd name="T0" fmla="*/ 40 w 82"/>
                <a:gd name="T1" fmla="*/ 0 h 491"/>
                <a:gd name="T2" fmla="*/ 49 w 82"/>
                <a:gd name="T3" fmla="*/ 1 h 491"/>
                <a:gd name="T4" fmla="*/ 57 w 82"/>
                <a:gd name="T5" fmla="*/ 6 h 491"/>
                <a:gd name="T6" fmla="*/ 63 w 82"/>
                <a:gd name="T7" fmla="*/ 14 h 491"/>
                <a:gd name="T8" fmla="*/ 69 w 82"/>
                <a:gd name="T9" fmla="*/ 26 h 491"/>
                <a:gd name="T10" fmla="*/ 73 w 82"/>
                <a:gd name="T11" fmla="*/ 38 h 491"/>
                <a:gd name="T12" fmla="*/ 75 w 82"/>
                <a:gd name="T13" fmla="*/ 55 h 491"/>
                <a:gd name="T14" fmla="*/ 75 w 82"/>
                <a:gd name="T15" fmla="*/ 73 h 491"/>
                <a:gd name="T16" fmla="*/ 71 w 82"/>
                <a:gd name="T17" fmla="*/ 92 h 491"/>
                <a:gd name="T18" fmla="*/ 68 w 82"/>
                <a:gd name="T19" fmla="*/ 118 h 491"/>
                <a:gd name="T20" fmla="*/ 71 w 82"/>
                <a:gd name="T21" fmla="*/ 145 h 491"/>
                <a:gd name="T22" fmla="*/ 76 w 82"/>
                <a:gd name="T23" fmla="*/ 173 h 491"/>
                <a:gd name="T24" fmla="*/ 81 w 82"/>
                <a:gd name="T25" fmla="*/ 201 h 491"/>
                <a:gd name="T26" fmla="*/ 82 w 82"/>
                <a:gd name="T27" fmla="*/ 231 h 491"/>
                <a:gd name="T28" fmla="*/ 82 w 82"/>
                <a:gd name="T29" fmla="*/ 251 h 491"/>
                <a:gd name="T30" fmla="*/ 81 w 82"/>
                <a:gd name="T31" fmla="*/ 278 h 491"/>
                <a:gd name="T32" fmla="*/ 80 w 82"/>
                <a:gd name="T33" fmla="*/ 310 h 491"/>
                <a:gd name="T34" fmla="*/ 78 w 82"/>
                <a:gd name="T35" fmla="*/ 346 h 491"/>
                <a:gd name="T36" fmla="*/ 76 w 82"/>
                <a:gd name="T37" fmla="*/ 384 h 491"/>
                <a:gd name="T38" fmla="*/ 72 w 82"/>
                <a:gd name="T39" fmla="*/ 421 h 491"/>
                <a:gd name="T40" fmla="*/ 67 w 82"/>
                <a:gd name="T41" fmla="*/ 455 h 491"/>
                <a:gd name="T42" fmla="*/ 62 w 82"/>
                <a:gd name="T43" fmla="*/ 488 h 491"/>
                <a:gd name="T44" fmla="*/ 50 w 82"/>
                <a:gd name="T45" fmla="*/ 490 h 491"/>
                <a:gd name="T46" fmla="*/ 36 w 82"/>
                <a:gd name="T47" fmla="*/ 491 h 491"/>
                <a:gd name="T48" fmla="*/ 22 w 82"/>
                <a:gd name="T49" fmla="*/ 490 h 491"/>
                <a:gd name="T50" fmla="*/ 10 w 82"/>
                <a:gd name="T51" fmla="*/ 486 h 491"/>
                <a:gd name="T52" fmla="*/ 8 w 82"/>
                <a:gd name="T53" fmla="*/ 454 h 491"/>
                <a:gd name="T54" fmla="*/ 5 w 82"/>
                <a:gd name="T55" fmla="*/ 418 h 491"/>
                <a:gd name="T56" fmla="*/ 5 w 82"/>
                <a:gd name="T57" fmla="*/ 377 h 491"/>
                <a:gd name="T58" fmla="*/ 4 w 82"/>
                <a:gd name="T59" fmla="*/ 335 h 491"/>
                <a:gd name="T60" fmla="*/ 4 w 82"/>
                <a:gd name="T61" fmla="*/ 292 h 491"/>
                <a:gd name="T62" fmla="*/ 4 w 82"/>
                <a:gd name="T63" fmla="*/ 251 h 491"/>
                <a:gd name="T64" fmla="*/ 4 w 82"/>
                <a:gd name="T65" fmla="*/ 214 h 491"/>
                <a:gd name="T66" fmla="*/ 3 w 82"/>
                <a:gd name="T67" fmla="*/ 180 h 491"/>
                <a:gd name="T68" fmla="*/ 1 w 82"/>
                <a:gd name="T69" fmla="*/ 153 h 491"/>
                <a:gd name="T70" fmla="*/ 0 w 82"/>
                <a:gd name="T71" fmla="*/ 114 h 491"/>
                <a:gd name="T72" fmla="*/ 1 w 82"/>
                <a:gd name="T73" fmla="*/ 83 h 491"/>
                <a:gd name="T74" fmla="*/ 4 w 82"/>
                <a:gd name="T75" fmla="*/ 56 h 491"/>
                <a:gd name="T76" fmla="*/ 9 w 82"/>
                <a:gd name="T77" fmla="*/ 36 h 491"/>
                <a:gd name="T78" fmla="*/ 16 w 82"/>
                <a:gd name="T79" fmla="*/ 20 h 491"/>
                <a:gd name="T80" fmla="*/ 23 w 82"/>
                <a:gd name="T81" fmla="*/ 9 h 491"/>
                <a:gd name="T82" fmla="*/ 32 w 82"/>
                <a:gd name="T83" fmla="*/ 3 h 491"/>
                <a:gd name="T84" fmla="*/ 40 w 82"/>
                <a:gd name="T85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" h="491">
                  <a:moveTo>
                    <a:pt x="40" y="0"/>
                  </a:moveTo>
                  <a:lnTo>
                    <a:pt x="49" y="1"/>
                  </a:lnTo>
                  <a:lnTo>
                    <a:pt x="57" y="6"/>
                  </a:lnTo>
                  <a:lnTo>
                    <a:pt x="63" y="14"/>
                  </a:lnTo>
                  <a:lnTo>
                    <a:pt x="69" y="26"/>
                  </a:lnTo>
                  <a:lnTo>
                    <a:pt x="73" y="38"/>
                  </a:lnTo>
                  <a:lnTo>
                    <a:pt x="75" y="55"/>
                  </a:lnTo>
                  <a:lnTo>
                    <a:pt x="75" y="73"/>
                  </a:lnTo>
                  <a:lnTo>
                    <a:pt x="71" y="92"/>
                  </a:lnTo>
                  <a:lnTo>
                    <a:pt x="68" y="118"/>
                  </a:lnTo>
                  <a:lnTo>
                    <a:pt x="71" y="145"/>
                  </a:lnTo>
                  <a:lnTo>
                    <a:pt x="76" y="173"/>
                  </a:lnTo>
                  <a:lnTo>
                    <a:pt x="81" y="201"/>
                  </a:lnTo>
                  <a:lnTo>
                    <a:pt x="82" y="231"/>
                  </a:lnTo>
                  <a:lnTo>
                    <a:pt x="82" y="251"/>
                  </a:lnTo>
                  <a:lnTo>
                    <a:pt x="81" y="278"/>
                  </a:lnTo>
                  <a:lnTo>
                    <a:pt x="80" y="310"/>
                  </a:lnTo>
                  <a:lnTo>
                    <a:pt x="78" y="346"/>
                  </a:lnTo>
                  <a:lnTo>
                    <a:pt x="76" y="384"/>
                  </a:lnTo>
                  <a:lnTo>
                    <a:pt x="72" y="421"/>
                  </a:lnTo>
                  <a:lnTo>
                    <a:pt x="67" y="455"/>
                  </a:lnTo>
                  <a:lnTo>
                    <a:pt x="62" y="488"/>
                  </a:lnTo>
                  <a:lnTo>
                    <a:pt x="50" y="490"/>
                  </a:lnTo>
                  <a:lnTo>
                    <a:pt x="36" y="491"/>
                  </a:lnTo>
                  <a:lnTo>
                    <a:pt x="22" y="490"/>
                  </a:lnTo>
                  <a:lnTo>
                    <a:pt x="10" y="486"/>
                  </a:lnTo>
                  <a:lnTo>
                    <a:pt x="8" y="454"/>
                  </a:lnTo>
                  <a:lnTo>
                    <a:pt x="5" y="418"/>
                  </a:lnTo>
                  <a:lnTo>
                    <a:pt x="5" y="377"/>
                  </a:lnTo>
                  <a:lnTo>
                    <a:pt x="4" y="335"/>
                  </a:lnTo>
                  <a:lnTo>
                    <a:pt x="4" y="292"/>
                  </a:lnTo>
                  <a:lnTo>
                    <a:pt x="4" y="251"/>
                  </a:lnTo>
                  <a:lnTo>
                    <a:pt x="4" y="214"/>
                  </a:lnTo>
                  <a:lnTo>
                    <a:pt x="3" y="180"/>
                  </a:lnTo>
                  <a:lnTo>
                    <a:pt x="1" y="153"/>
                  </a:lnTo>
                  <a:lnTo>
                    <a:pt x="0" y="114"/>
                  </a:lnTo>
                  <a:lnTo>
                    <a:pt x="1" y="83"/>
                  </a:lnTo>
                  <a:lnTo>
                    <a:pt x="4" y="56"/>
                  </a:lnTo>
                  <a:lnTo>
                    <a:pt x="9" y="36"/>
                  </a:lnTo>
                  <a:lnTo>
                    <a:pt x="16" y="20"/>
                  </a:lnTo>
                  <a:lnTo>
                    <a:pt x="23" y="9"/>
                  </a:lnTo>
                  <a:lnTo>
                    <a:pt x="32" y="3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265A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9" name="Freeform 2200"/>
            <p:cNvSpPr>
              <a:spLocks/>
            </p:cNvSpPr>
            <p:nvPr/>
          </p:nvSpPr>
          <p:spPr bwMode="auto">
            <a:xfrm>
              <a:off x="7545388" y="5065713"/>
              <a:ext cx="130175" cy="790575"/>
            </a:xfrm>
            <a:custGeom>
              <a:avLst/>
              <a:gdLst>
                <a:gd name="T0" fmla="*/ 46 w 82"/>
                <a:gd name="T1" fmla="*/ 0 h 498"/>
                <a:gd name="T2" fmla="*/ 54 w 82"/>
                <a:gd name="T3" fmla="*/ 2 h 498"/>
                <a:gd name="T4" fmla="*/ 62 w 82"/>
                <a:gd name="T5" fmla="*/ 9 h 498"/>
                <a:gd name="T6" fmla="*/ 68 w 82"/>
                <a:gd name="T7" fmla="*/ 20 h 498"/>
                <a:gd name="T8" fmla="*/ 74 w 82"/>
                <a:gd name="T9" fmla="*/ 36 h 498"/>
                <a:gd name="T10" fmla="*/ 80 w 82"/>
                <a:gd name="T11" fmla="*/ 58 h 498"/>
                <a:gd name="T12" fmla="*/ 82 w 82"/>
                <a:gd name="T13" fmla="*/ 85 h 498"/>
                <a:gd name="T14" fmla="*/ 82 w 82"/>
                <a:gd name="T15" fmla="*/ 118 h 498"/>
                <a:gd name="T16" fmla="*/ 81 w 82"/>
                <a:gd name="T17" fmla="*/ 158 h 498"/>
                <a:gd name="T18" fmla="*/ 80 w 82"/>
                <a:gd name="T19" fmla="*/ 185 h 498"/>
                <a:gd name="T20" fmla="*/ 78 w 82"/>
                <a:gd name="T21" fmla="*/ 219 h 498"/>
                <a:gd name="T22" fmla="*/ 78 w 82"/>
                <a:gd name="T23" fmla="*/ 256 h 498"/>
                <a:gd name="T24" fmla="*/ 78 w 82"/>
                <a:gd name="T25" fmla="*/ 297 h 498"/>
                <a:gd name="T26" fmla="*/ 78 w 82"/>
                <a:gd name="T27" fmla="*/ 340 h 498"/>
                <a:gd name="T28" fmla="*/ 77 w 82"/>
                <a:gd name="T29" fmla="*/ 382 h 498"/>
                <a:gd name="T30" fmla="*/ 77 w 82"/>
                <a:gd name="T31" fmla="*/ 423 h 498"/>
                <a:gd name="T32" fmla="*/ 74 w 82"/>
                <a:gd name="T33" fmla="*/ 459 h 498"/>
                <a:gd name="T34" fmla="*/ 72 w 82"/>
                <a:gd name="T35" fmla="*/ 491 h 498"/>
                <a:gd name="T36" fmla="*/ 60 w 82"/>
                <a:gd name="T37" fmla="*/ 496 h 498"/>
                <a:gd name="T38" fmla="*/ 46 w 82"/>
                <a:gd name="T39" fmla="*/ 498 h 498"/>
                <a:gd name="T40" fmla="*/ 33 w 82"/>
                <a:gd name="T41" fmla="*/ 496 h 498"/>
                <a:gd name="T42" fmla="*/ 22 w 82"/>
                <a:gd name="T43" fmla="*/ 491 h 498"/>
                <a:gd name="T44" fmla="*/ 15 w 82"/>
                <a:gd name="T45" fmla="*/ 460 h 498"/>
                <a:gd name="T46" fmla="*/ 10 w 82"/>
                <a:gd name="T47" fmla="*/ 426 h 498"/>
                <a:gd name="T48" fmla="*/ 6 w 82"/>
                <a:gd name="T49" fmla="*/ 389 h 498"/>
                <a:gd name="T50" fmla="*/ 4 w 82"/>
                <a:gd name="T51" fmla="*/ 351 h 498"/>
                <a:gd name="T52" fmla="*/ 3 w 82"/>
                <a:gd name="T53" fmla="*/ 315 h 498"/>
                <a:gd name="T54" fmla="*/ 1 w 82"/>
                <a:gd name="T55" fmla="*/ 283 h 498"/>
                <a:gd name="T56" fmla="*/ 1 w 82"/>
                <a:gd name="T57" fmla="*/ 256 h 498"/>
                <a:gd name="T58" fmla="*/ 0 w 82"/>
                <a:gd name="T59" fmla="*/ 236 h 498"/>
                <a:gd name="T60" fmla="*/ 1 w 82"/>
                <a:gd name="T61" fmla="*/ 213 h 498"/>
                <a:gd name="T62" fmla="*/ 4 w 82"/>
                <a:gd name="T63" fmla="*/ 190 h 498"/>
                <a:gd name="T64" fmla="*/ 8 w 82"/>
                <a:gd name="T65" fmla="*/ 164 h 498"/>
                <a:gd name="T66" fmla="*/ 12 w 82"/>
                <a:gd name="T67" fmla="*/ 140 h 498"/>
                <a:gd name="T68" fmla="*/ 13 w 82"/>
                <a:gd name="T69" fmla="*/ 117 h 498"/>
                <a:gd name="T70" fmla="*/ 12 w 82"/>
                <a:gd name="T71" fmla="*/ 96 h 498"/>
                <a:gd name="T72" fmla="*/ 10 w 82"/>
                <a:gd name="T73" fmla="*/ 76 h 498"/>
                <a:gd name="T74" fmla="*/ 10 w 82"/>
                <a:gd name="T75" fmla="*/ 58 h 498"/>
                <a:gd name="T76" fmla="*/ 13 w 82"/>
                <a:gd name="T77" fmla="*/ 41 h 498"/>
                <a:gd name="T78" fmla="*/ 17 w 82"/>
                <a:gd name="T79" fmla="*/ 27 h 498"/>
                <a:gd name="T80" fmla="*/ 23 w 82"/>
                <a:gd name="T81" fmla="*/ 15 h 498"/>
                <a:gd name="T82" fmla="*/ 30 w 82"/>
                <a:gd name="T83" fmla="*/ 6 h 498"/>
                <a:gd name="T84" fmla="*/ 37 w 82"/>
                <a:gd name="T85" fmla="*/ 1 h 498"/>
                <a:gd name="T86" fmla="*/ 46 w 82"/>
                <a:gd name="T87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" h="498">
                  <a:moveTo>
                    <a:pt x="46" y="0"/>
                  </a:moveTo>
                  <a:lnTo>
                    <a:pt x="54" y="2"/>
                  </a:lnTo>
                  <a:lnTo>
                    <a:pt x="62" y="9"/>
                  </a:lnTo>
                  <a:lnTo>
                    <a:pt x="68" y="20"/>
                  </a:lnTo>
                  <a:lnTo>
                    <a:pt x="74" y="36"/>
                  </a:lnTo>
                  <a:lnTo>
                    <a:pt x="80" y="58"/>
                  </a:lnTo>
                  <a:lnTo>
                    <a:pt x="82" y="85"/>
                  </a:lnTo>
                  <a:lnTo>
                    <a:pt x="82" y="118"/>
                  </a:lnTo>
                  <a:lnTo>
                    <a:pt x="81" y="158"/>
                  </a:lnTo>
                  <a:lnTo>
                    <a:pt x="80" y="185"/>
                  </a:lnTo>
                  <a:lnTo>
                    <a:pt x="78" y="219"/>
                  </a:lnTo>
                  <a:lnTo>
                    <a:pt x="78" y="256"/>
                  </a:lnTo>
                  <a:lnTo>
                    <a:pt x="78" y="297"/>
                  </a:lnTo>
                  <a:lnTo>
                    <a:pt x="78" y="340"/>
                  </a:lnTo>
                  <a:lnTo>
                    <a:pt x="77" y="382"/>
                  </a:lnTo>
                  <a:lnTo>
                    <a:pt x="77" y="423"/>
                  </a:lnTo>
                  <a:lnTo>
                    <a:pt x="74" y="459"/>
                  </a:lnTo>
                  <a:lnTo>
                    <a:pt x="72" y="491"/>
                  </a:lnTo>
                  <a:lnTo>
                    <a:pt x="60" y="496"/>
                  </a:lnTo>
                  <a:lnTo>
                    <a:pt x="46" y="498"/>
                  </a:lnTo>
                  <a:lnTo>
                    <a:pt x="33" y="496"/>
                  </a:lnTo>
                  <a:lnTo>
                    <a:pt x="22" y="491"/>
                  </a:lnTo>
                  <a:lnTo>
                    <a:pt x="15" y="460"/>
                  </a:lnTo>
                  <a:lnTo>
                    <a:pt x="10" y="426"/>
                  </a:lnTo>
                  <a:lnTo>
                    <a:pt x="6" y="389"/>
                  </a:lnTo>
                  <a:lnTo>
                    <a:pt x="4" y="351"/>
                  </a:lnTo>
                  <a:lnTo>
                    <a:pt x="3" y="315"/>
                  </a:lnTo>
                  <a:lnTo>
                    <a:pt x="1" y="283"/>
                  </a:lnTo>
                  <a:lnTo>
                    <a:pt x="1" y="256"/>
                  </a:lnTo>
                  <a:lnTo>
                    <a:pt x="0" y="236"/>
                  </a:lnTo>
                  <a:lnTo>
                    <a:pt x="1" y="213"/>
                  </a:lnTo>
                  <a:lnTo>
                    <a:pt x="4" y="190"/>
                  </a:lnTo>
                  <a:lnTo>
                    <a:pt x="8" y="164"/>
                  </a:lnTo>
                  <a:lnTo>
                    <a:pt x="12" y="140"/>
                  </a:lnTo>
                  <a:lnTo>
                    <a:pt x="13" y="117"/>
                  </a:lnTo>
                  <a:lnTo>
                    <a:pt x="12" y="96"/>
                  </a:lnTo>
                  <a:lnTo>
                    <a:pt x="10" y="76"/>
                  </a:lnTo>
                  <a:lnTo>
                    <a:pt x="10" y="58"/>
                  </a:lnTo>
                  <a:lnTo>
                    <a:pt x="13" y="41"/>
                  </a:lnTo>
                  <a:lnTo>
                    <a:pt x="17" y="27"/>
                  </a:lnTo>
                  <a:lnTo>
                    <a:pt x="23" y="15"/>
                  </a:lnTo>
                  <a:lnTo>
                    <a:pt x="30" y="6"/>
                  </a:lnTo>
                  <a:lnTo>
                    <a:pt x="37" y="1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265A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0" name="Rectangle 2201"/>
            <p:cNvSpPr>
              <a:spLocks noChangeArrowheads="1"/>
            </p:cNvSpPr>
            <p:nvPr/>
          </p:nvSpPr>
          <p:spPr bwMode="auto">
            <a:xfrm>
              <a:off x="7362826" y="3686175"/>
              <a:ext cx="33338" cy="14288"/>
            </a:xfrm>
            <a:prstGeom prst="rect">
              <a:avLst/>
            </a:prstGeom>
            <a:solidFill>
              <a:srgbClr val="154198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1" name="Freeform 2202"/>
            <p:cNvSpPr>
              <a:spLocks/>
            </p:cNvSpPr>
            <p:nvPr/>
          </p:nvSpPr>
          <p:spPr bwMode="auto">
            <a:xfrm>
              <a:off x="7342188" y="3690938"/>
              <a:ext cx="42863" cy="79375"/>
            </a:xfrm>
            <a:custGeom>
              <a:avLst/>
              <a:gdLst>
                <a:gd name="T0" fmla="*/ 9 w 27"/>
                <a:gd name="T1" fmla="*/ 0 h 50"/>
                <a:gd name="T2" fmla="*/ 15 w 27"/>
                <a:gd name="T3" fmla="*/ 1 h 50"/>
                <a:gd name="T4" fmla="*/ 22 w 27"/>
                <a:gd name="T5" fmla="*/ 10 h 50"/>
                <a:gd name="T6" fmla="*/ 25 w 27"/>
                <a:gd name="T7" fmla="*/ 22 h 50"/>
                <a:gd name="T8" fmla="*/ 27 w 27"/>
                <a:gd name="T9" fmla="*/ 36 h 50"/>
                <a:gd name="T10" fmla="*/ 24 w 27"/>
                <a:gd name="T11" fmla="*/ 46 h 50"/>
                <a:gd name="T12" fmla="*/ 19 w 27"/>
                <a:gd name="T13" fmla="*/ 50 h 50"/>
                <a:gd name="T14" fmla="*/ 11 w 27"/>
                <a:gd name="T15" fmla="*/ 49 h 50"/>
                <a:gd name="T16" fmla="*/ 5 w 27"/>
                <a:gd name="T17" fmla="*/ 40 h 50"/>
                <a:gd name="T18" fmla="*/ 1 w 27"/>
                <a:gd name="T19" fmla="*/ 27 h 50"/>
                <a:gd name="T20" fmla="*/ 0 w 27"/>
                <a:gd name="T21" fmla="*/ 14 h 50"/>
                <a:gd name="T22" fmla="*/ 2 w 27"/>
                <a:gd name="T23" fmla="*/ 4 h 50"/>
                <a:gd name="T24" fmla="*/ 9 w 27"/>
                <a:gd name="T2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0">
                  <a:moveTo>
                    <a:pt x="9" y="0"/>
                  </a:moveTo>
                  <a:lnTo>
                    <a:pt x="15" y="1"/>
                  </a:lnTo>
                  <a:lnTo>
                    <a:pt x="22" y="10"/>
                  </a:lnTo>
                  <a:lnTo>
                    <a:pt x="25" y="22"/>
                  </a:lnTo>
                  <a:lnTo>
                    <a:pt x="27" y="36"/>
                  </a:lnTo>
                  <a:lnTo>
                    <a:pt x="24" y="46"/>
                  </a:lnTo>
                  <a:lnTo>
                    <a:pt x="19" y="50"/>
                  </a:lnTo>
                  <a:lnTo>
                    <a:pt x="11" y="49"/>
                  </a:lnTo>
                  <a:lnTo>
                    <a:pt x="5" y="40"/>
                  </a:lnTo>
                  <a:lnTo>
                    <a:pt x="1" y="27"/>
                  </a:lnTo>
                  <a:lnTo>
                    <a:pt x="0" y="14"/>
                  </a:lnTo>
                  <a:lnTo>
                    <a:pt x="2" y="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2" name="Freeform 2203"/>
            <p:cNvSpPr>
              <a:spLocks/>
            </p:cNvSpPr>
            <p:nvPr/>
          </p:nvSpPr>
          <p:spPr bwMode="auto">
            <a:xfrm>
              <a:off x="7559676" y="3625850"/>
              <a:ext cx="65088" cy="30163"/>
            </a:xfrm>
            <a:custGeom>
              <a:avLst/>
              <a:gdLst>
                <a:gd name="T0" fmla="*/ 12 w 41"/>
                <a:gd name="T1" fmla="*/ 0 h 19"/>
                <a:gd name="T2" fmla="*/ 21 w 41"/>
                <a:gd name="T3" fmla="*/ 1 h 19"/>
                <a:gd name="T4" fmla="*/ 30 w 41"/>
                <a:gd name="T5" fmla="*/ 5 h 19"/>
                <a:gd name="T6" fmla="*/ 39 w 41"/>
                <a:gd name="T7" fmla="*/ 13 h 19"/>
                <a:gd name="T8" fmla="*/ 41 w 41"/>
                <a:gd name="T9" fmla="*/ 15 h 19"/>
                <a:gd name="T10" fmla="*/ 41 w 41"/>
                <a:gd name="T11" fmla="*/ 18 h 19"/>
                <a:gd name="T12" fmla="*/ 41 w 41"/>
                <a:gd name="T13" fmla="*/ 19 h 19"/>
                <a:gd name="T14" fmla="*/ 41 w 41"/>
                <a:gd name="T15" fmla="*/ 19 h 19"/>
                <a:gd name="T16" fmla="*/ 39 w 41"/>
                <a:gd name="T17" fmla="*/ 18 h 19"/>
                <a:gd name="T18" fmla="*/ 36 w 41"/>
                <a:gd name="T19" fmla="*/ 15 h 19"/>
                <a:gd name="T20" fmla="*/ 26 w 41"/>
                <a:gd name="T21" fmla="*/ 9 h 19"/>
                <a:gd name="T22" fmla="*/ 17 w 41"/>
                <a:gd name="T23" fmla="*/ 6 h 19"/>
                <a:gd name="T24" fmla="*/ 4 w 41"/>
                <a:gd name="T25" fmla="*/ 7 h 19"/>
                <a:gd name="T26" fmla="*/ 3 w 41"/>
                <a:gd name="T27" fmla="*/ 6 h 19"/>
                <a:gd name="T28" fmla="*/ 1 w 41"/>
                <a:gd name="T29" fmla="*/ 6 h 19"/>
                <a:gd name="T30" fmla="*/ 0 w 41"/>
                <a:gd name="T31" fmla="*/ 4 h 19"/>
                <a:gd name="T32" fmla="*/ 1 w 41"/>
                <a:gd name="T33" fmla="*/ 2 h 19"/>
                <a:gd name="T34" fmla="*/ 3 w 41"/>
                <a:gd name="T35" fmla="*/ 1 h 19"/>
                <a:gd name="T36" fmla="*/ 5 w 41"/>
                <a:gd name="T37" fmla="*/ 1 h 19"/>
                <a:gd name="T38" fmla="*/ 12 w 41"/>
                <a:gd name="T3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19">
                  <a:moveTo>
                    <a:pt x="12" y="0"/>
                  </a:moveTo>
                  <a:lnTo>
                    <a:pt x="21" y="1"/>
                  </a:lnTo>
                  <a:lnTo>
                    <a:pt x="30" y="5"/>
                  </a:lnTo>
                  <a:lnTo>
                    <a:pt x="39" y="13"/>
                  </a:lnTo>
                  <a:lnTo>
                    <a:pt x="41" y="15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39" y="18"/>
                  </a:lnTo>
                  <a:lnTo>
                    <a:pt x="36" y="15"/>
                  </a:lnTo>
                  <a:lnTo>
                    <a:pt x="26" y="9"/>
                  </a:lnTo>
                  <a:lnTo>
                    <a:pt x="17" y="6"/>
                  </a:lnTo>
                  <a:lnTo>
                    <a:pt x="4" y="7"/>
                  </a:lnTo>
                  <a:lnTo>
                    <a:pt x="3" y="6"/>
                  </a:lnTo>
                  <a:lnTo>
                    <a:pt x="1" y="6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3" name="Rectangle 2204"/>
            <p:cNvSpPr>
              <a:spLocks noChangeArrowheads="1"/>
            </p:cNvSpPr>
            <p:nvPr/>
          </p:nvSpPr>
          <p:spPr bwMode="auto">
            <a:xfrm>
              <a:off x="7662863" y="3686175"/>
              <a:ext cx="23813" cy="14288"/>
            </a:xfrm>
            <a:prstGeom prst="rect">
              <a:avLst/>
            </a:prstGeom>
            <a:solidFill>
              <a:srgbClr val="154198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4" name="Freeform 2205"/>
            <p:cNvSpPr>
              <a:spLocks noEditPoints="1"/>
            </p:cNvSpPr>
            <p:nvPr/>
          </p:nvSpPr>
          <p:spPr bwMode="auto">
            <a:xfrm>
              <a:off x="7385051" y="3679825"/>
              <a:ext cx="287338" cy="96838"/>
            </a:xfrm>
            <a:custGeom>
              <a:avLst/>
              <a:gdLst>
                <a:gd name="T0" fmla="*/ 33 w 181"/>
                <a:gd name="T1" fmla="*/ 4 h 61"/>
                <a:gd name="T2" fmla="*/ 18 w 181"/>
                <a:gd name="T3" fmla="*/ 8 h 61"/>
                <a:gd name="T4" fmla="*/ 11 w 181"/>
                <a:gd name="T5" fmla="*/ 25 h 61"/>
                <a:gd name="T6" fmla="*/ 16 w 181"/>
                <a:gd name="T7" fmla="*/ 45 h 61"/>
                <a:gd name="T8" fmla="*/ 36 w 181"/>
                <a:gd name="T9" fmla="*/ 57 h 61"/>
                <a:gd name="T10" fmla="*/ 59 w 181"/>
                <a:gd name="T11" fmla="*/ 54 h 61"/>
                <a:gd name="T12" fmla="*/ 72 w 181"/>
                <a:gd name="T13" fmla="*/ 41 h 61"/>
                <a:gd name="T14" fmla="*/ 77 w 181"/>
                <a:gd name="T15" fmla="*/ 22 h 61"/>
                <a:gd name="T16" fmla="*/ 68 w 181"/>
                <a:gd name="T17" fmla="*/ 9 h 61"/>
                <a:gd name="T18" fmla="*/ 45 w 181"/>
                <a:gd name="T19" fmla="*/ 4 h 61"/>
                <a:gd name="T20" fmla="*/ 136 w 181"/>
                <a:gd name="T21" fmla="*/ 4 h 61"/>
                <a:gd name="T22" fmla="*/ 114 w 181"/>
                <a:gd name="T23" fmla="*/ 9 h 61"/>
                <a:gd name="T24" fmla="*/ 104 w 181"/>
                <a:gd name="T25" fmla="*/ 21 h 61"/>
                <a:gd name="T26" fmla="*/ 110 w 181"/>
                <a:gd name="T27" fmla="*/ 40 h 61"/>
                <a:gd name="T28" fmla="*/ 123 w 181"/>
                <a:gd name="T29" fmla="*/ 54 h 61"/>
                <a:gd name="T30" fmla="*/ 145 w 181"/>
                <a:gd name="T31" fmla="*/ 57 h 61"/>
                <a:gd name="T32" fmla="*/ 164 w 181"/>
                <a:gd name="T33" fmla="*/ 45 h 61"/>
                <a:gd name="T34" fmla="*/ 169 w 181"/>
                <a:gd name="T35" fmla="*/ 23 h 61"/>
                <a:gd name="T36" fmla="*/ 164 w 181"/>
                <a:gd name="T37" fmla="*/ 7 h 61"/>
                <a:gd name="T38" fmla="*/ 147 w 181"/>
                <a:gd name="T39" fmla="*/ 4 h 61"/>
                <a:gd name="T40" fmla="*/ 159 w 181"/>
                <a:gd name="T41" fmla="*/ 0 h 61"/>
                <a:gd name="T42" fmla="*/ 175 w 181"/>
                <a:gd name="T43" fmla="*/ 3 h 61"/>
                <a:gd name="T44" fmla="*/ 181 w 181"/>
                <a:gd name="T45" fmla="*/ 4 h 61"/>
                <a:gd name="T46" fmla="*/ 181 w 181"/>
                <a:gd name="T47" fmla="*/ 8 h 61"/>
                <a:gd name="T48" fmla="*/ 181 w 181"/>
                <a:gd name="T49" fmla="*/ 13 h 61"/>
                <a:gd name="T50" fmla="*/ 178 w 181"/>
                <a:gd name="T51" fmla="*/ 16 h 61"/>
                <a:gd name="T52" fmla="*/ 175 w 181"/>
                <a:gd name="T53" fmla="*/ 18 h 61"/>
                <a:gd name="T54" fmla="*/ 173 w 181"/>
                <a:gd name="T55" fmla="*/ 25 h 61"/>
                <a:gd name="T56" fmla="*/ 172 w 181"/>
                <a:gd name="T57" fmla="*/ 36 h 61"/>
                <a:gd name="T58" fmla="*/ 164 w 181"/>
                <a:gd name="T59" fmla="*/ 52 h 61"/>
                <a:gd name="T60" fmla="*/ 140 w 181"/>
                <a:gd name="T61" fmla="*/ 61 h 61"/>
                <a:gd name="T62" fmla="*/ 118 w 181"/>
                <a:gd name="T63" fmla="*/ 56 h 61"/>
                <a:gd name="T64" fmla="*/ 107 w 181"/>
                <a:gd name="T65" fmla="*/ 47 h 61"/>
                <a:gd name="T66" fmla="*/ 104 w 181"/>
                <a:gd name="T67" fmla="*/ 35 h 61"/>
                <a:gd name="T68" fmla="*/ 97 w 181"/>
                <a:gd name="T69" fmla="*/ 23 h 61"/>
                <a:gd name="T70" fmla="*/ 83 w 181"/>
                <a:gd name="T71" fmla="*/ 23 h 61"/>
                <a:gd name="T72" fmla="*/ 78 w 181"/>
                <a:gd name="T73" fmla="*/ 35 h 61"/>
                <a:gd name="T74" fmla="*/ 73 w 181"/>
                <a:gd name="T75" fmla="*/ 47 h 61"/>
                <a:gd name="T76" fmla="*/ 63 w 181"/>
                <a:gd name="T77" fmla="*/ 57 h 61"/>
                <a:gd name="T78" fmla="*/ 41 w 181"/>
                <a:gd name="T79" fmla="*/ 61 h 61"/>
                <a:gd name="T80" fmla="*/ 18 w 181"/>
                <a:gd name="T81" fmla="*/ 53 h 61"/>
                <a:gd name="T82" fmla="*/ 9 w 181"/>
                <a:gd name="T83" fmla="*/ 36 h 61"/>
                <a:gd name="T84" fmla="*/ 7 w 181"/>
                <a:gd name="T85" fmla="*/ 25 h 61"/>
                <a:gd name="T86" fmla="*/ 6 w 181"/>
                <a:gd name="T87" fmla="*/ 18 h 61"/>
                <a:gd name="T88" fmla="*/ 2 w 181"/>
                <a:gd name="T89" fmla="*/ 16 h 61"/>
                <a:gd name="T90" fmla="*/ 0 w 181"/>
                <a:gd name="T91" fmla="*/ 13 h 61"/>
                <a:gd name="T92" fmla="*/ 0 w 181"/>
                <a:gd name="T93" fmla="*/ 8 h 61"/>
                <a:gd name="T94" fmla="*/ 1 w 181"/>
                <a:gd name="T95" fmla="*/ 5 h 61"/>
                <a:gd name="T96" fmla="*/ 5 w 181"/>
                <a:gd name="T97" fmla="*/ 3 h 61"/>
                <a:gd name="T98" fmla="*/ 22 w 181"/>
                <a:gd name="T99" fmla="*/ 2 h 61"/>
                <a:gd name="T100" fmla="*/ 47 w 181"/>
                <a:gd name="T101" fmla="*/ 0 h 61"/>
                <a:gd name="T102" fmla="*/ 73 w 181"/>
                <a:gd name="T103" fmla="*/ 5 h 61"/>
                <a:gd name="T104" fmla="*/ 91 w 181"/>
                <a:gd name="T105" fmla="*/ 8 h 61"/>
                <a:gd name="T106" fmla="*/ 119 w 181"/>
                <a:gd name="T107" fmla="*/ 3 h 61"/>
                <a:gd name="T108" fmla="*/ 146 w 181"/>
                <a:gd name="T10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1" h="61">
                  <a:moveTo>
                    <a:pt x="45" y="4"/>
                  </a:moveTo>
                  <a:lnTo>
                    <a:pt x="33" y="4"/>
                  </a:lnTo>
                  <a:lnTo>
                    <a:pt x="23" y="5"/>
                  </a:lnTo>
                  <a:lnTo>
                    <a:pt x="18" y="8"/>
                  </a:lnTo>
                  <a:lnTo>
                    <a:pt x="13" y="14"/>
                  </a:lnTo>
                  <a:lnTo>
                    <a:pt x="11" y="25"/>
                  </a:lnTo>
                  <a:lnTo>
                    <a:pt x="14" y="36"/>
                  </a:lnTo>
                  <a:lnTo>
                    <a:pt x="16" y="45"/>
                  </a:lnTo>
                  <a:lnTo>
                    <a:pt x="24" y="53"/>
                  </a:lnTo>
                  <a:lnTo>
                    <a:pt x="36" y="57"/>
                  </a:lnTo>
                  <a:lnTo>
                    <a:pt x="48" y="57"/>
                  </a:lnTo>
                  <a:lnTo>
                    <a:pt x="59" y="54"/>
                  </a:lnTo>
                  <a:lnTo>
                    <a:pt x="65" y="49"/>
                  </a:lnTo>
                  <a:lnTo>
                    <a:pt x="72" y="41"/>
                  </a:lnTo>
                  <a:lnTo>
                    <a:pt x="75" y="31"/>
                  </a:lnTo>
                  <a:lnTo>
                    <a:pt x="77" y="22"/>
                  </a:lnTo>
                  <a:lnTo>
                    <a:pt x="74" y="14"/>
                  </a:lnTo>
                  <a:lnTo>
                    <a:pt x="68" y="9"/>
                  </a:lnTo>
                  <a:lnTo>
                    <a:pt x="57" y="5"/>
                  </a:lnTo>
                  <a:lnTo>
                    <a:pt x="45" y="4"/>
                  </a:lnTo>
                  <a:close/>
                  <a:moveTo>
                    <a:pt x="147" y="4"/>
                  </a:moveTo>
                  <a:lnTo>
                    <a:pt x="136" y="4"/>
                  </a:lnTo>
                  <a:lnTo>
                    <a:pt x="124" y="5"/>
                  </a:lnTo>
                  <a:lnTo>
                    <a:pt x="114" y="9"/>
                  </a:lnTo>
                  <a:lnTo>
                    <a:pt x="106" y="14"/>
                  </a:lnTo>
                  <a:lnTo>
                    <a:pt x="104" y="21"/>
                  </a:lnTo>
                  <a:lnTo>
                    <a:pt x="105" y="31"/>
                  </a:lnTo>
                  <a:lnTo>
                    <a:pt x="110" y="40"/>
                  </a:lnTo>
                  <a:lnTo>
                    <a:pt x="116" y="49"/>
                  </a:lnTo>
                  <a:lnTo>
                    <a:pt x="123" y="54"/>
                  </a:lnTo>
                  <a:lnTo>
                    <a:pt x="133" y="57"/>
                  </a:lnTo>
                  <a:lnTo>
                    <a:pt x="145" y="57"/>
                  </a:lnTo>
                  <a:lnTo>
                    <a:pt x="156" y="52"/>
                  </a:lnTo>
                  <a:lnTo>
                    <a:pt x="164" y="45"/>
                  </a:lnTo>
                  <a:lnTo>
                    <a:pt x="168" y="35"/>
                  </a:lnTo>
                  <a:lnTo>
                    <a:pt x="169" y="23"/>
                  </a:lnTo>
                  <a:lnTo>
                    <a:pt x="168" y="13"/>
                  </a:lnTo>
                  <a:lnTo>
                    <a:pt x="164" y="7"/>
                  </a:lnTo>
                  <a:lnTo>
                    <a:pt x="158" y="5"/>
                  </a:lnTo>
                  <a:lnTo>
                    <a:pt x="147" y="4"/>
                  </a:lnTo>
                  <a:close/>
                  <a:moveTo>
                    <a:pt x="146" y="0"/>
                  </a:moveTo>
                  <a:lnTo>
                    <a:pt x="159" y="0"/>
                  </a:lnTo>
                  <a:lnTo>
                    <a:pt x="170" y="2"/>
                  </a:lnTo>
                  <a:lnTo>
                    <a:pt x="175" y="3"/>
                  </a:lnTo>
                  <a:lnTo>
                    <a:pt x="179" y="3"/>
                  </a:lnTo>
                  <a:lnTo>
                    <a:pt x="181" y="4"/>
                  </a:lnTo>
                  <a:lnTo>
                    <a:pt x="181" y="5"/>
                  </a:lnTo>
                  <a:lnTo>
                    <a:pt x="181" y="8"/>
                  </a:lnTo>
                  <a:lnTo>
                    <a:pt x="181" y="11"/>
                  </a:lnTo>
                  <a:lnTo>
                    <a:pt x="181" y="13"/>
                  </a:lnTo>
                  <a:lnTo>
                    <a:pt x="179" y="14"/>
                  </a:lnTo>
                  <a:lnTo>
                    <a:pt x="178" y="16"/>
                  </a:lnTo>
                  <a:lnTo>
                    <a:pt x="177" y="17"/>
                  </a:lnTo>
                  <a:lnTo>
                    <a:pt x="175" y="18"/>
                  </a:lnTo>
                  <a:lnTo>
                    <a:pt x="174" y="21"/>
                  </a:lnTo>
                  <a:lnTo>
                    <a:pt x="173" y="25"/>
                  </a:lnTo>
                  <a:lnTo>
                    <a:pt x="173" y="30"/>
                  </a:lnTo>
                  <a:lnTo>
                    <a:pt x="172" y="36"/>
                  </a:lnTo>
                  <a:lnTo>
                    <a:pt x="169" y="45"/>
                  </a:lnTo>
                  <a:lnTo>
                    <a:pt x="164" y="52"/>
                  </a:lnTo>
                  <a:lnTo>
                    <a:pt x="155" y="58"/>
                  </a:lnTo>
                  <a:lnTo>
                    <a:pt x="140" y="61"/>
                  </a:lnTo>
                  <a:lnTo>
                    <a:pt x="128" y="59"/>
                  </a:lnTo>
                  <a:lnTo>
                    <a:pt x="118" y="56"/>
                  </a:lnTo>
                  <a:lnTo>
                    <a:pt x="113" y="52"/>
                  </a:lnTo>
                  <a:lnTo>
                    <a:pt x="107" y="47"/>
                  </a:lnTo>
                  <a:lnTo>
                    <a:pt x="106" y="41"/>
                  </a:lnTo>
                  <a:lnTo>
                    <a:pt x="104" y="35"/>
                  </a:lnTo>
                  <a:lnTo>
                    <a:pt x="101" y="29"/>
                  </a:lnTo>
                  <a:lnTo>
                    <a:pt x="97" y="23"/>
                  </a:lnTo>
                  <a:lnTo>
                    <a:pt x="91" y="21"/>
                  </a:lnTo>
                  <a:lnTo>
                    <a:pt x="83" y="23"/>
                  </a:lnTo>
                  <a:lnTo>
                    <a:pt x="81" y="29"/>
                  </a:lnTo>
                  <a:lnTo>
                    <a:pt x="78" y="35"/>
                  </a:lnTo>
                  <a:lnTo>
                    <a:pt x="75" y="43"/>
                  </a:lnTo>
                  <a:lnTo>
                    <a:pt x="73" y="47"/>
                  </a:lnTo>
                  <a:lnTo>
                    <a:pt x="69" y="52"/>
                  </a:lnTo>
                  <a:lnTo>
                    <a:pt x="63" y="57"/>
                  </a:lnTo>
                  <a:lnTo>
                    <a:pt x="54" y="59"/>
                  </a:lnTo>
                  <a:lnTo>
                    <a:pt x="41" y="61"/>
                  </a:lnTo>
                  <a:lnTo>
                    <a:pt x="27" y="58"/>
                  </a:lnTo>
                  <a:lnTo>
                    <a:pt x="18" y="53"/>
                  </a:lnTo>
                  <a:lnTo>
                    <a:pt x="11" y="45"/>
                  </a:lnTo>
                  <a:lnTo>
                    <a:pt x="9" y="36"/>
                  </a:lnTo>
                  <a:lnTo>
                    <a:pt x="9" y="30"/>
                  </a:lnTo>
                  <a:lnTo>
                    <a:pt x="7" y="25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4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2" y="2"/>
                  </a:lnTo>
                  <a:lnTo>
                    <a:pt x="34" y="0"/>
                  </a:lnTo>
                  <a:lnTo>
                    <a:pt x="47" y="0"/>
                  </a:lnTo>
                  <a:lnTo>
                    <a:pt x="60" y="3"/>
                  </a:lnTo>
                  <a:lnTo>
                    <a:pt x="73" y="5"/>
                  </a:lnTo>
                  <a:lnTo>
                    <a:pt x="83" y="7"/>
                  </a:lnTo>
                  <a:lnTo>
                    <a:pt x="91" y="8"/>
                  </a:lnTo>
                  <a:lnTo>
                    <a:pt x="104" y="7"/>
                  </a:lnTo>
                  <a:lnTo>
                    <a:pt x="119" y="3"/>
                  </a:lnTo>
                  <a:lnTo>
                    <a:pt x="133" y="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15419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5" name="Freeform 2206"/>
            <p:cNvSpPr>
              <a:spLocks/>
            </p:cNvSpPr>
            <p:nvPr/>
          </p:nvSpPr>
          <p:spPr bwMode="auto">
            <a:xfrm>
              <a:off x="7737476" y="4643438"/>
              <a:ext cx="96838" cy="271463"/>
            </a:xfrm>
            <a:custGeom>
              <a:avLst/>
              <a:gdLst>
                <a:gd name="T0" fmla="*/ 37 w 61"/>
                <a:gd name="T1" fmla="*/ 0 h 171"/>
                <a:gd name="T2" fmla="*/ 46 w 61"/>
                <a:gd name="T3" fmla="*/ 2 h 171"/>
                <a:gd name="T4" fmla="*/ 55 w 61"/>
                <a:gd name="T5" fmla="*/ 7 h 171"/>
                <a:gd name="T6" fmla="*/ 60 w 61"/>
                <a:gd name="T7" fmla="*/ 13 h 171"/>
                <a:gd name="T8" fmla="*/ 61 w 61"/>
                <a:gd name="T9" fmla="*/ 25 h 171"/>
                <a:gd name="T10" fmla="*/ 60 w 61"/>
                <a:gd name="T11" fmla="*/ 41 h 171"/>
                <a:gd name="T12" fmla="*/ 59 w 61"/>
                <a:gd name="T13" fmla="*/ 61 h 171"/>
                <a:gd name="T14" fmla="*/ 57 w 61"/>
                <a:gd name="T15" fmla="*/ 81 h 171"/>
                <a:gd name="T16" fmla="*/ 56 w 61"/>
                <a:gd name="T17" fmla="*/ 102 h 171"/>
                <a:gd name="T18" fmla="*/ 54 w 61"/>
                <a:gd name="T19" fmla="*/ 120 h 171"/>
                <a:gd name="T20" fmla="*/ 50 w 61"/>
                <a:gd name="T21" fmla="*/ 132 h 171"/>
                <a:gd name="T22" fmla="*/ 45 w 61"/>
                <a:gd name="T23" fmla="*/ 141 h 171"/>
                <a:gd name="T24" fmla="*/ 39 w 61"/>
                <a:gd name="T25" fmla="*/ 152 h 171"/>
                <a:gd name="T26" fmla="*/ 33 w 61"/>
                <a:gd name="T27" fmla="*/ 159 h 171"/>
                <a:gd name="T28" fmla="*/ 23 w 61"/>
                <a:gd name="T29" fmla="*/ 166 h 171"/>
                <a:gd name="T30" fmla="*/ 12 w 61"/>
                <a:gd name="T31" fmla="*/ 170 h 171"/>
                <a:gd name="T32" fmla="*/ 6 w 61"/>
                <a:gd name="T33" fmla="*/ 171 h 171"/>
                <a:gd name="T34" fmla="*/ 2 w 61"/>
                <a:gd name="T35" fmla="*/ 171 h 171"/>
                <a:gd name="T36" fmla="*/ 0 w 61"/>
                <a:gd name="T37" fmla="*/ 170 h 171"/>
                <a:gd name="T38" fmla="*/ 0 w 61"/>
                <a:gd name="T39" fmla="*/ 167 h 171"/>
                <a:gd name="T40" fmla="*/ 0 w 61"/>
                <a:gd name="T41" fmla="*/ 166 h 171"/>
                <a:gd name="T42" fmla="*/ 2 w 61"/>
                <a:gd name="T43" fmla="*/ 163 h 171"/>
                <a:gd name="T44" fmla="*/ 6 w 61"/>
                <a:gd name="T45" fmla="*/ 161 h 171"/>
                <a:gd name="T46" fmla="*/ 10 w 61"/>
                <a:gd name="T47" fmla="*/ 159 h 171"/>
                <a:gd name="T48" fmla="*/ 12 w 61"/>
                <a:gd name="T49" fmla="*/ 157 h 171"/>
                <a:gd name="T50" fmla="*/ 18 w 61"/>
                <a:gd name="T51" fmla="*/ 154 h 171"/>
                <a:gd name="T52" fmla="*/ 21 w 61"/>
                <a:gd name="T53" fmla="*/ 152 h 171"/>
                <a:gd name="T54" fmla="*/ 27 w 61"/>
                <a:gd name="T55" fmla="*/ 143 h 171"/>
                <a:gd name="T56" fmla="*/ 30 w 61"/>
                <a:gd name="T57" fmla="*/ 134 h 171"/>
                <a:gd name="T58" fmla="*/ 32 w 61"/>
                <a:gd name="T59" fmla="*/ 126 h 171"/>
                <a:gd name="T60" fmla="*/ 32 w 61"/>
                <a:gd name="T61" fmla="*/ 122 h 171"/>
                <a:gd name="T62" fmla="*/ 25 w 61"/>
                <a:gd name="T63" fmla="*/ 123 h 171"/>
                <a:gd name="T64" fmla="*/ 19 w 61"/>
                <a:gd name="T65" fmla="*/ 130 h 171"/>
                <a:gd name="T66" fmla="*/ 14 w 61"/>
                <a:gd name="T67" fmla="*/ 139 h 171"/>
                <a:gd name="T68" fmla="*/ 7 w 61"/>
                <a:gd name="T69" fmla="*/ 145 h 171"/>
                <a:gd name="T70" fmla="*/ 2 w 61"/>
                <a:gd name="T71" fmla="*/ 147 h 171"/>
                <a:gd name="T72" fmla="*/ 1 w 61"/>
                <a:gd name="T73" fmla="*/ 143 h 171"/>
                <a:gd name="T74" fmla="*/ 2 w 61"/>
                <a:gd name="T75" fmla="*/ 138 h 171"/>
                <a:gd name="T76" fmla="*/ 5 w 61"/>
                <a:gd name="T77" fmla="*/ 130 h 171"/>
                <a:gd name="T78" fmla="*/ 9 w 61"/>
                <a:gd name="T79" fmla="*/ 122 h 171"/>
                <a:gd name="T80" fmla="*/ 10 w 61"/>
                <a:gd name="T81" fmla="*/ 116 h 171"/>
                <a:gd name="T82" fmla="*/ 11 w 61"/>
                <a:gd name="T83" fmla="*/ 107 h 171"/>
                <a:gd name="T84" fmla="*/ 12 w 61"/>
                <a:gd name="T85" fmla="*/ 96 h 171"/>
                <a:gd name="T86" fmla="*/ 15 w 61"/>
                <a:gd name="T87" fmla="*/ 86 h 171"/>
                <a:gd name="T88" fmla="*/ 19 w 61"/>
                <a:gd name="T89" fmla="*/ 77 h 171"/>
                <a:gd name="T90" fmla="*/ 27 w 61"/>
                <a:gd name="T91" fmla="*/ 66 h 171"/>
                <a:gd name="T92" fmla="*/ 29 w 61"/>
                <a:gd name="T93" fmla="*/ 53 h 171"/>
                <a:gd name="T94" fmla="*/ 28 w 61"/>
                <a:gd name="T95" fmla="*/ 40 h 171"/>
                <a:gd name="T96" fmla="*/ 27 w 61"/>
                <a:gd name="T97" fmla="*/ 26 h 171"/>
                <a:gd name="T98" fmla="*/ 23 w 61"/>
                <a:gd name="T99" fmla="*/ 13 h 171"/>
                <a:gd name="T100" fmla="*/ 24 w 61"/>
                <a:gd name="T101" fmla="*/ 5 h 171"/>
                <a:gd name="T102" fmla="*/ 29 w 61"/>
                <a:gd name="T103" fmla="*/ 2 h 171"/>
                <a:gd name="T104" fmla="*/ 37 w 61"/>
                <a:gd name="T10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" h="171">
                  <a:moveTo>
                    <a:pt x="37" y="0"/>
                  </a:moveTo>
                  <a:lnTo>
                    <a:pt x="46" y="2"/>
                  </a:lnTo>
                  <a:lnTo>
                    <a:pt x="55" y="7"/>
                  </a:lnTo>
                  <a:lnTo>
                    <a:pt x="60" y="13"/>
                  </a:lnTo>
                  <a:lnTo>
                    <a:pt x="61" y="25"/>
                  </a:lnTo>
                  <a:lnTo>
                    <a:pt x="60" y="41"/>
                  </a:lnTo>
                  <a:lnTo>
                    <a:pt x="59" y="61"/>
                  </a:lnTo>
                  <a:lnTo>
                    <a:pt x="57" y="81"/>
                  </a:lnTo>
                  <a:lnTo>
                    <a:pt x="56" y="102"/>
                  </a:lnTo>
                  <a:lnTo>
                    <a:pt x="54" y="120"/>
                  </a:lnTo>
                  <a:lnTo>
                    <a:pt x="50" y="132"/>
                  </a:lnTo>
                  <a:lnTo>
                    <a:pt x="45" y="141"/>
                  </a:lnTo>
                  <a:lnTo>
                    <a:pt x="39" y="152"/>
                  </a:lnTo>
                  <a:lnTo>
                    <a:pt x="33" y="159"/>
                  </a:lnTo>
                  <a:lnTo>
                    <a:pt x="23" y="166"/>
                  </a:lnTo>
                  <a:lnTo>
                    <a:pt x="12" y="170"/>
                  </a:lnTo>
                  <a:lnTo>
                    <a:pt x="6" y="171"/>
                  </a:lnTo>
                  <a:lnTo>
                    <a:pt x="2" y="171"/>
                  </a:lnTo>
                  <a:lnTo>
                    <a:pt x="0" y="170"/>
                  </a:lnTo>
                  <a:lnTo>
                    <a:pt x="0" y="167"/>
                  </a:lnTo>
                  <a:lnTo>
                    <a:pt x="0" y="166"/>
                  </a:lnTo>
                  <a:lnTo>
                    <a:pt x="2" y="163"/>
                  </a:lnTo>
                  <a:lnTo>
                    <a:pt x="6" y="161"/>
                  </a:lnTo>
                  <a:lnTo>
                    <a:pt x="10" y="159"/>
                  </a:lnTo>
                  <a:lnTo>
                    <a:pt x="12" y="157"/>
                  </a:lnTo>
                  <a:lnTo>
                    <a:pt x="18" y="154"/>
                  </a:lnTo>
                  <a:lnTo>
                    <a:pt x="21" y="152"/>
                  </a:lnTo>
                  <a:lnTo>
                    <a:pt x="27" y="143"/>
                  </a:lnTo>
                  <a:lnTo>
                    <a:pt x="30" y="134"/>
                  </a:lnTo>
                  <a:lnTo>
                    <a:pt x="32" y="126"/>
                  </a:lnTo>
                  <a:lnTo>
                    <a:pt x="32" y="122"/>
                  </a:lnTo>
                  <a:lnTo>
                    <a:pt x="25" y="123"/>
                  </a:lnTo>
                  <a:lnTo>
                    <a:pt x="19" y="130"/>
                  </a:lnTo>
                  <a:lnTo>
                    <a:pt x="14" y="139"/>
                  </a:lnTo>
                  <a:lnTo>
                    <a:pt x="7" y="145"/>
                  </a:lnTo>
                  <a:lnTo>
                    <a:pt x="2" y="147"/>
                  </a:lnTo>
                  <a:lnTo>
                    <a:pt x="1" y="143"/>
                  </a:lnTo>
                  <a:lnTo>
                    <a:pt x="2" y="138"/>
                  </a:lnTo>
                  <a:lnTo>
                    <a:pt x="5" y="130"/>
                  </a:lnTo>
                  <a:lnTo>
                    <a:pt x="9" y="122"/>
                  </a:lnTo>
                  <a:lnTo>
                    <a:pt x="10" y="116"/>
                  </a:lnTo>
                  <a:lnTo>
                    <a:pt x="11" y="107"/>
                  </a:lnTo>
                  <a:lnTo>
                    <a:pt x="12" y="96"/>
                  </a:lnTo>
                  <a:lnTo>
                    <a:pt x="15" y="86"/>
                  </a:lnTo>
                  <a:lnTo>
                    <a:pt x="19" y="77"/>
                  </a:lnTo>
                  <a:lnTo>
                    <a:pt x="27" y="66"/>
                  </a:lnTo>
                  <a:lnTo>
                    <a:pt x="29" y="53"/>
                  </a:lnTo>
                  <a:lnTo>
                    <a:pt x="28" y="40"/>
                  </a:lnTo>
                  <a:lnTo>
                    <a:pt x="27" y="26"/>
                  </a:lnTo>
                  <a:lnTo>
                    <a:pt x="23" y="13"/>
                  </a:lnTo>
                  <a:lnTo>
                    <a:pt x="24" y="5"/>
                  </a:lnTo>
                  <a:lnTo>
                    <a:pt x="29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6" name="Freeform 2207"/>
            <p:cNvSpPr>
              <a:spLocks/>
            </p:cNvSpPr>
            <p:nvPr/>
          </p:nvSpPr>
          <p:spPr bwMode="auto">
            <a:xfrm>
              <a:off x="7748588" y="4352925"/>
              <a:ext cx="90488" cy="387350"/>
            </a:xfrm>
            <a:custGeom>
              <a:avLst/>
              <a:gdLst>
                <a:gd name="T0" fmla="*/ 25 w 57"/>
                <a:gd name="T1" fmla="*/ 0 h 244"/>
                <a:gd name="T2" fmla="*/ 31 w 57"/>
                <a:gd name="T3" fmla="*/ 1 h 244"/>
                <a:gd name="T4" fmla="*/ 38 w 57"/>
                <a:gd name="T5" fmla="*/ 9 h 244"/>
                <a:gd name="T6" fmla="*/ 43 w 57"/>
                <a:gd name="T7" fmla="*/ 23 h 244"/>
                <a:gd name="T8" fmla="*/ 45 w 57"/>
                <a:gd name="T9" fmla="*/ 33 h 244"/>
                <a:gd name="T10" fmla="*/ 48 w 57"/>
                <a:gd name="T11" fmla="*/ 47 h 244"/>
                <a:gd name="T12" fmla="*/ 50 w 57"/>
                <a:gd name="T13" fmla="*/ 65 h 244"/>
                <a:gd name="T14" fmla="*/ 53 w 57"/>
                <a:gd name="T15" fmla="*/ 84 h 244"/>
                <a:gd name="T16" fmla="*/ 56 w 57"/>
                <a:gd name="T17" fmla="*/ 104 h 244"/>
                <a:gd name="T18" fmla="*/ 57 w 57"/>
                <a:gd name="T19" fmla="*/ 119 h 244"/>
                <a:gd name="T20" fmla="*/ 57 w 57"/>
                <a:gd name="T21" fmla="*/ 136 h 244"/>
                <a:gd name="T22" fmla="*/ 57 w 57"/>
                <a:gd name="T23" fmla="*/ 155 h 244"/>
                <a:gd name="T24" fmla="*/ 57 w 57"/>
                <a:gd name="T25" fmla="*/ 176 h 244"/>
                <a:gd name="T26" fmla="*/ 56 w 57"/>
                <a:gd name="T27" fmla="*/ 196 h 244"/>
                <a:gd name="T28" fmla="*/ 53 w 57"/>
                <a:gd name="T29" fmla="*/ 214 h 244"/>
                <a:gd name="T30" fmla="*/ 49 w 57"/>
                <a:gd name="T31" fmla="*/ 229 h 244"/>
                <a:gd name="T32" fmla="*/ 44 w 57"/>
                <a:gd name="T33" fmla="*/ 240 h 244"/>
                <a:gd name="T34" fmla="*/ 36 w 57"/>
                <a:gd name="T35" fmla="*/ 244 h 244"/>
                <a:gd name="T36" fmla="*/ 30 w 57"/>
                <a:gd name="T37" fmla="*/ 240 h 244"/>
                <a:gd name="T38" fmla="*/ 25 w 57"/>
                <a:gd name="T39" fmla="*/ 229 h 244"/>
                <a:gd name="T40" fmla="*/ 20 w 57"/>
                <a:gd name="T41" fmla="*/ 214 h 244"/>
                <a:gd name="T42" fmla="*/ 16 w 57"/>
                <a:gd name="T43" fmla="*/ 195 h 244"/>
                <a:gd name="T44" fmla="*/ 12 w 57"/>
                <a:gd name="T45" fmla="*/ 174 h 244"/>
                <a:gd name="T46" fmla="*/ 8 w 57"/>
                <a:gd name="T47" fmla="*/ 155 h 244"/>
                <a:gd name="T48" fmla="*/ 5 w 57"/>
                <a:gd name="T49" fmla="*/ 137 h 244"/>
                <a:gd name="T50" fmla="*/ 3 w 57"/>
                <a:gd name="T51" fmla="*/ 122 h 244"/>
                <a:gd name="T52" fmla="*/ 2 w 57"/>
                <a:gd name="T53" fmla="*/ 109 h 244"/>
                <a:gd name="T54" fmla="*/ 0 w 57"/>
                <a:gd name="T55" fmla="*/ 91 h 244"/>
                <a:gd name="T56" fmla="*/ 0 w 57"/>
                <a:gd name="T57" fmla="*/ 69 h 244"/>
                <a:gd name="T58" fmla="*/ 0 w 57"/>
                <a:gd name="T59" fmla="*/ 49 h 244"/>
                <a:gd name="T60" fmla="*/ 0 w 57"/>
                <a:gd name="T61" fmla="*/ 31 h 244"/>
                <a:gd name="T62" fmla="*/ 2 w 57"/>
                <a:gd name="T63" fmla="*/ 18 h 244"/>
                <a:gd name="T64" fmla="*/ 3 w 57"/>
                <a:gd name="T65" fmla="*/ 15 h 244"/>
                <a:gd name="T66" fmla="*/ 7 w 57"/>
                <a:gd name="T67" fmla="*/ 10 h 244"/>
                <a:gd name="T68" fmla="*/ 12 w 57"/>
                <a:gd name="T69" fmla="*/ 5 h 244"/>
                <a:gd name="T70" fmla="*/ 18 w 57"/>
                <a:gd name="T71" fmla="*/ 1 h 244"/>
                <a:gd name="T72" fmla="*/ 25 w 57"/>
                <a:gd name="T73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" h="244">
                  <a:moveTo>
                    <a:pt x="25" y="0"/>
                  </a:moveTo>
                  <a:lnTo>
                    <a:pt x="31" y="1"/>
                  </a:lnTo>
                  <a:lnTo>
                    <a:pt x="38" y="9"/>
                  </a:lnTo>
                  <a:lnTo>
                    <a:pt x="43" y="23"/>
                  </a:lnTo>
                  <a:lnTo>
                    <a:pt x="45" y="33"/>
                  </a:lnTo>
                  <a:lnTo>
                    <a:pt x="48" y="47"/>
                  </a:lnTo>
                  <a:lnTo>
                    <a:pt x="50" y="65"/>
                  </a:lnTo>
                  <a:lnTo>
                    <a:pt x="53" y="84"/>
                  </a:lnTo>
                  <a:lnTo>
                    <a:pt x="56" y="104"/>
                  </a:lnTo>
                  <a:lnTo>
                    <a:pt x="57" y="119"/>
                  </a:lnTo>
                  <a:lnTo>
                    <a:pt x="57" y="136"/>
                  </a:lnTo>
                  <a:lnTo>
                    <a:pt x="57" y="155"/>
                  </a:lnTo>
                  <a:lnTo>
                    <a:pt x="57" y="176"/>
                  </a:lnTo>
                  <a:lnTo>
                    <a:pt x="56" y="196"/>
                  </a:lnTo>
                  <a:lnTo>
                    <a:pt x="53" y="214"/>
                  </a:lnTo>
                  <a:lnTo>
                    <a:pt x="49" y="229"/>
                  </a:lnTo>
                  <a:lnTo>
                    <a:pt x="44" y="240"/>
                  </a:lnTo>
                  <a:lnTo>
                    <a:pt x="36" y="244"/>
                  </a:lnTo>
                  <a:lnTo>
                    <a:pt x="30" y="240"/>
                  </a:lnTo>
                  <a:lnTo>
                    <a:pt x="25" y="229"/>
                  </a:lnTo>
                  <a:lnTo>
                    <a:pt x="20" y="214"/>
                  </a:lnTo>
                  <a:lnTo>
                    <a:pt x="16" y="195"/>
                  </a:lnTo>
                  <a:lnTo>
                    <a:pt x="12" y="174"/>
                  </a:lnTo>
                  <a:lnTo>
                    <a:pt x="8" y="155"/>
                  </a:lnTo>
                  <a:lnTo>
                    <a:pt x="5" y="137"/>
                  </a:lnTo>
                  <a:lnTo>
                    <a:pt x="3" y="122"/>
                  </a:lnTo>
                  <a:lnTo>
                    <a:pt x="2" y="109"/>
                  </a:lnTo>
                  <a:lnTo>
                    <a:pt x="0" y="91"/>
                  </a:lnTo>
                  <a:lnTo>
                    <a:pt x="0" y="69"/>
                  </a:lnTo>
                  <a:lnTo>
                    <a:pt x="0" y="49"/>
                  </a:lnTo>
                  <a:lnTo>
                    <a:pt x="0" y="31"/>
                  </a:lnTo>
                  <a:lnTo>
                    <a:pt x="2" y="18"/>
                  </a:lnTo>
                  <a:lnTo>
                    <a:pt x="3" y="15"/>
                  </a:lnTo>
                  <a:lnTo>
                    <a:pt x="7" y="10"/>
                  </a:lnTo>
                  <a:lnTo>
                    <a:pt x="12" y="5"/>
                  </a:lnTo>
                  <a:lnTo>
                    <a:pt x="18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7" name="Freeform 2208"/>
            <p:cNvSpPr>
              <a:spLocks/>
            </p:cNvSpPr>
            <p:nvPr/>
          </p:nvSpPr>
          <p:spPr bwMode="auto">
            <a:xfrm>
              <a:off x="7292976" y="3503613"/>
              <a:ext cx="365125" cy="273050"/>
            </a:xfrm>
            <a:custGeom>
              <a:avLst/>
              <a:gdLst>
                <a:gd name="T0" fmla="*/ 135 w 230"/>
                <a:gd name="T1" fmla="*/ 0 h 172"/>
                <a:gd name="T2" fmla="*/ 163 w 230"/>
                <a:gd name="T3" fmla="*/ 4 h 172"/>
                <a:gd name="T4" fmla="*/ 194 w 230"/>
                <a:gd name="T5" fmla="*/ 13 h 172"/>
                <a:gd name="T6" fmla="*/ 230 w 230"/>
                <a:gd name="T7" fmla="*/ 27 h 172"/>
                <a:gd name="T8" fmla="*/ 217 w 230"/>
                <a:gd name="T9" fmla="*/ 48 h 172"/>
                <a:gd name="T10" fmla="*/ 199 w 230"/>
                <a:gd name="T11" fmla="*/ 72 h 172"/>
                <a:gd name="T12" fmla="*/ 174 w 230"/>
                <a:gd name="T13" fmla="*/ 93 h 172"/>
                <a:gd name="T14" fmla="*/ 145 w 230"/>
                <a:gd name="T15" fmla="*/ 115 h 172"/>
                <a:gd name="T16" fmla="*/ 113 w 230"/>
                <a:gd name="T17" fmla="*/ 136 h 172"/>
                <a:gd name="T18" fmla="*/ 77 w 230"/>
                <a:gd name="T19" fmla="*/ 152 h 172"/>
                <a:gd name="T20" fmla="*/ 38 w 230"/>
                <a:gd name="T21" fmla="*/ 165 h 172"/>
                <a:gd name="T22" fmla="*/ 0 w 230"/>
                <a:gd name="T23" fmla="*/ 172 h 172"/>
                <a:gd name="T24" fmla="*/ 14 w 230"/>
                <a:gd name="T25" fmla="*/ 156 h 172"/>
                <a:gd name="T26" fmla="*/ 24 w 230"/>
                <a:gd name="T27" fmla="*/ 138 h 172"/>
                <a:gd name="T28" fmla="*/ 31 w 230"/>
                <a:gd name="T29" fmla="*/ 119 h 172"/>
                <a:gd name="T30" fmla="*/ 35 w 230"/>
                <a:gd name="T31" fmla="*/ 99 h 172"/>
                <a:gd name="T32" fmla="*/ 40 w 230"/>
                <a:gd name="T33" fmla="*/ 78 h 172"/>
                <a:gd name="T34" fmla="*/ 46 w 230"/>
                <a:gd name="T35" fmla="*/ 57 h 172"/>
                <a:gd name="T36" fmla="*/ 58 w 230"/>
                <a:gd name="T37" fmla="*/ 37 h 172"/>
                <a:gd name="T38" fmla="*/ 71 w 230"/>
                <a:gd name="T39" fmla="*/ 22 h 172"/>
                <a:gd name="T40" fmla="*/ 88 w 230"/>
                <a:gd name="T41" fmla="*/ 10 h 172"/>
                <a:gd name="T42" fmla="*/ 109 w 230"/>
                <a:gd name="T43" fmla="*/ 2 h 172"/>
                <a:gd name="T44" fmla="*/ 135 w 230"/>
                <a:gd name="T4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0" h="172">
                  <a:moveTo>
                    <a:pt x="135" y="0"/>
                  </a:moveTo>
                  <a:lnTo>
                    <a:pt x="163" y="4"/>
                  </a:lnTo>
                  <a:lnTo>
                    <a:pt x="194" y="13"/>
                  </a:lnTo>
                  <a:lnTo>
                    <a:pt x="230" y="27"/>
                  </a:lnTo>
                  <a:lnTo>
                    <a:pt x="217" y="48"/>
                  </a:lnTo>
                  <a:lnTo>
                    <a:pt x="199" y="72"/>
                  </a:lnTo>
                  <a:lnTo>
                    <a:pt x="174" y="93"/>
                  </a:lnTo>
                  <a:lnTo>
                    <a:pt x="145" y="115"/>
                  </a:lnTo>
                  <a:lnTo>
                    <a:pt x="113" y="136"/>
                  </a:lnTo>
                  <a:lnTo>
                    <a:pt x="77" y="152"/>
                  </a:lnTo>
                  <a:lnTo>
                    <a:pt x="38" y="165"/>
                  </a:lnTo>
                  <a:lnTo>
                    <a:pt x="0" y="172"/>
                  </a:lnTo>
                  <a:lnTo>
                    <a:pt x="14" y="156"/>
                  </a:lnTo>
                  <a:lnTo>
                    <a:pt x="24" y="138"/>
                  </a:lnTo>
                  <a:lnTo>
                    <a:pt x="31" y="119"/>
                  </a:lnTo>
                  <a:lnTo>
                    <a:pt x="35" y="99"/>
                  </a:lnTo>
                  <a:lnTo>
                    <a:pt x="40" y="78"/>
                  </a:lnTo>
                  <a:lnTo>
                    <a:pt x="46" y="57"/>
                  </a:lnTo>
                  <a:lnTo>
                    <a:pt x="58" y="37"/>
                  </a:lnTo>
                  <a:lnTo>
                    <a:pt x="71" y="22"/>
                  </a:lnTo>
                  <a:lnTo>
                    <a:pt x="88" y="10"/>
                  </a:lnTo>
                  <a:lnTo>
                    <a:pt x="109" y="2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8" name="Freeform 2209"/>
            <p:cNvSpPr>
              <a:spLocks/>
            </p:cNvSpPr>
            <p:nvPr/>
          </p:nvSpPr>
          <p:spPr bwMode="auto">
            <a:xfrm>
              <a:off x="7596188" y="3519488"/>
              <a:ext cx="101600" cy="196850"/>
            </a:xfrm>
            <a:custGeom>
              <a:avLst/>
              <a:gdLst>
                <a:gd name="T0" fmla="*/ 18 w 64"/>
                <a:gd name="T1" fmla="*/ 0 h 124"/>
                <a:gd name="T2" fmla="*/ 32 w 64"/>
                <a:gd name="T3" fmla="*/ 0 h 124"/>
                <a:gd name="T4" fmla="*/ 44 w 64"/>
                <a:gd name="T5" fmla="*/ 5 h 124"/>
                <a:gd name="T6" fmla="*/ 51 w 64"/>
                <a:gd name="T7" fmla="*/ 14 h 124"/>
                <a:gd name="T8" fmla="*/ 58 w 64"/>
                <a:gd name="T9" fmla="*/ 27 h 124"/>
                <a:gd name="T10" fmla="*/ 62 w 64"/>
                <a:gd name="T11" fmla="*/ 41 h 124"/>
                <a:gd name="T12" fmla="*/ 64 w 64"/>
                <a:gd name="T13" fmla="*/ 56 h 124"/>
                <a:gd name="T14" fmla="*/ 64 w 64"/>
                <a:gd name="T15" fmla="*/ 73 h 124"/>
                <a:gd name="T16" fmla="*/ 63 w 64"/>
                <a:gd name="T17" fmla="*/ 89 h 124"/>
                <a:gd name="T18" fmla="*/ 62 w 64"/>
                <a:gd name="T19" fmla="*/ 103 h 124"/>
                <a:gd name="T20" fmla="*/ 59 w 64"/>
                <a:gd name="T21" fmla="*/ 115 h 124"/>
                <a:gd name="T22" fmla="*/ 57 w 64"/>
                <a:gd name="T23" fmla="*/ 124 h 124"/>
                <a:gd name="T24" fmla="*/ 46 w 64"/>
                <a:gd name="T25" fmla="*/ 94 h 124"/>
                <a:gd name="T26" fmla="*/ 35 w 64"/>
                <a:gd name="T27" fmla="*/ 68 h 124"/>
                <a:gd name="T28" fmla="*/ 25 w 64"/>
                <a:gd name="T29" fmla="*/ 47 h 124"/>
                <a:gd name="T30" fmla="*/ 16 w 64"/>
                <a:gd name="T31" fmla="*/ 31 h 124"/>
                <a:gd name="T32" fmla="*/ 7 w 64"/>
                <a:gd name="T33" fmla="*/ 17 h 124"/>
                <a:gd name="T34" fmla="*/ 0 w 64"/>
                <a:gd name="T35" fmla="*/ 5 h 124"/>
                <a:gd name="T36" fmla="*/ 18 w 64"/>
                <a:gd name="T3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24">
                  <a:moveTo>
                    <a:pt x="18" y="0"/>
                  </a:moveTo>
                  <a:lnTo>
                    <a:pt x="32" y="0"/>
                  </a:lnTo>
                  <a:lnTo>
                    <a:pt x="44" y="5"/>
                  </a:lnTo>
                  <a:lnTo>
                    <a:pt x="51" y="14"/>
                  </a:lnTo>
                  <a:lnTo>
                    <a:pt x="58" y="27"/>
                  </a:lnTo>
                  <a:lnTo>
                    <a:pt x="62" y="41"/>
                  </a:lnTo>
                  <a:lnTo>
                    <a:pt x="64" y="56"/>
                  </a:lnTo>
                  <a:lnTo>
                    <a:pt x="64" y="73"/>
                  </a:lnTo>
                  <a:lnTo>
                    <a:pt x="63" y="89"/>
                  </a:lnTo>
                  <a:lnTo>
                    <a:pt x="62" y="103"/>
                  </a:lnTo>
                  <a:lnTo>
                    <a:pt x="59" y="115"/>
                  </a:lnTo>
                  <a:lnTo>
                    <a:pt x="57" y="124"/>
                  </a:lnTo>
                  <a:lnTo>
                    <a:pt x="46" y="94"/>
                  </a:lnTo>
                  <a:lnTo>
                    <a:pt x="35" y="68"/>
                  </a:lnTo>
                  <a:lnTo>
                    <a:pt x="25" y="47"/>
                  </a:lnTo>
                  <a:lnTo>
                    <a:pt x="16" y="31"/>
                  </a:lnTo>
                  <a:lnTo>
                    <a:pt x="7" y="17"/>
                  </a:lnTo>
                  <a:lnTo>
                    <a:pt x="0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9" name="Freeform 2210"/>
            <p:cNvSpPr>
              <a:spLocks/>
            </p:cNvSpPr>
            <p:nvPr/>
          </p:nvSpPr>
          <p:spPr bwMode="auto">
            <a:xfrm>
              <a:off x="7191376" y="5910263"/>
              <a:ext cx="284163" cy="166688"/>
            </a:xfrm>
            <a:custGeom>
              <a:avLst/>
              <a:gdLst>
                <a:gd name="T0" fmla="*/ 174 w 179"/>
                <a:gd name="T1" fmla="*/ 0 h 105"/>
                <a:gd name="T2" fmla="*/ 178 w 179"/>
                <a:gd name="T3" fmla="*/ 16 h 105"/>
                <a:gd name="T4" fmla="*/ 179 w 179"/>
                <a:gd name="T5" fmla="*/ 32 h 105"/>
                <a:gd name="T6" fmla="*/ 177 w 179"/>
                <a:gd name="T7" fmla="*/ 48 h 105"/>
                <a:gd name="T8" fmla="*/ 170 w 179"/>
                <a:gd name="T9" fmla="*/ 55 h 105"/>
                <a:gd name="T10" fmla="*/ 160 w 179"/>
                <a:gd name="T11" fmla="*/ 61 h 105"/>
                <a:gd name="T12" fmla="*/ 146 w 179"/>
                <a:gd name="T13" fmla="*/ 66 h 105"/>
                <a:gd name="T14" fmla="*/ 131 w 179"/>
                <a:gd name="T15" fmla="*/ 72 h 105"/>
                <a:gd name="T16" fmla="*/ 114 w 179"/>
                <a:gd name="T17" fmla="*/ 79 h 105"/>
                <a:gd name="T18" fmla="*/ 99 w 179"/>
                <a:gd name="T19" fmla="*/ 89 h 105"/>
                <a:gd name="T20" fmla="*/ 84 w 179"/>
                <a:gd name="T21" fmla="*/ 97 h 105"/>
                <a:gd name="T22" fmla="*/ 69 w 179"/>
                <a:gd name="T23" fmla="*/ 102 h 105"/>
                <a:gd name="T24" fmla="*/ 52 w 179"/>
                <a:gd name="T25" fmla="*/ 104 h 105"/>
                <a:gd name="T26" fmla="*/ 36 w 179"/>
                <a:gd name="T27" fmla="*/ 105 h 105"/>
                <a:gd name="T28" fmla="*/ 20 w 179"/>
                <a:gd name="T29" fmla="*/ 103 h 105"/>
                <a:gd name="T30" fmla="*/ 9 w 179"/>
                <a:gd name="T31" fmla="*/ 98 h 105"/>
                <a:gd name="T32" fmla="*/ 1 w 179"/>
                <a:gd name="T33" fmla="*/ 91 h 105"/>
                <a:gd name="T34" fmla="*/ 0 w 179"/>
                <a:gd name="T35" fmla="*/ 82 h 105"/>
                <a:gd name="T36" fmla="*/ 4 w 179"/>
                <a:gd name="T37" fmla="*/ 75 h 105"/>
                <a:gd name="T38" fmla="*/ 14 w 179"/>
                <a:gd name="T39" fmla="*/ 66 h 105"/>
                <a:gd name="T40" fmla="*/ 28 w 179"/>
                <a:gd name="T41" fmla="*/ 57 h 105"/>
                <a:gd name="T42" fmla="*/ 33 w 179"/>
                <a:gd name="T43" fmla="*/ 58 h 105"/>
                <a:gd name="T44" fmla="*/ 41 w 179"/>
                <a:gd name="T45" fmla="*/ 61 h 105"/>
                <a:gd name="T46" fmla="*/ 49 w 179"/>
                <a:gd name="T47" fmla="*/ 66 h 105"/>
                <a:gd name="T48" fmla="*/ 54 w 179"/>
                <a:gd name="T49" fmla="*/ 72 h 105"/>
                <a:gd name="T50" fmla="*/ 56 w 179"/>
                <a:gd name="T51" fmla="*/ 80 h 105"/>
                <a:gd name="T52" fmla="*/ 68 w 179"/>
                <a:gd name="T53" fmla="*/ 80 h 105"/>
                <a:gd name="T54" fmla="*/ 83 w 179"/>
                <a:gd name="T55" fmla="*/ 76 h 105"/>
                <a:gd name="T56" fmla="*/ 100 w 179"/>
                <a:gd name="T57" fmla="*/ 68 h 105"/>
                <a:gd name="T58" fmla="*/ 117 w 179"/>
                <a:gd name="T59" fmla="*/ 58 h 105"/>
                <a:gd name="T60" fmla="*/ 133 w 179"/>
                <a:gd name="T61" fmla="*/ 46 h 105"/>
                <a:gd name="T62" fmla="*/ 149 w 179"/>
                <a:gd name="T63" fmla="*/ 34 h 105"/>
                <a:gd name="T64" fmla="*/ 161 w 179"/>
                <a:gd name="T65" fmla="*/ 21 h 105"/>
                <a:gd name="T66" fmla="*/ 170 w 179"/>
                <a:gd name="T67" fmla="*/ 9 h 105"/>
                <a:gd name="T68" fmla="*/ 174 w 179"/>
                <a:gd name="T6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9" h="105">
                  <a:moveTo>
                    <a:pt x="174" y="0"/>
                  </a:moveTo>
                  <a:lnTo>
                    <a:pt x="178" y="16"/>
                  </a:lnTo>
                  <a:lnTo>
                    <a:pt x="179" y="32"/>
                  </a:lnTo>
                  <a:lnTo>
                    <a:pt x="177" y="48"/>
                  </a:lnTo>
                  <a:lnTo>
                    <a:pt x="170" y="55"/>
                  </a:lnTo>
                  <a:lnTo>
                    <a:pt x="160" y="61"/>
                  </a:lnTo>
                  <a:lnTo>
                    <a:pt x="146" y="66"/>
                  </a:lnTo>
                  <a:lnTo>
                    <a:pt x="131" y="72"/>
                  </a:lnTo>
                  <a:lnTo>
                    <a:pt x="114" y="79"/>
                  </a:lnTo>
                  <a:lnTo>
                    <a:pt x="99" y="89"/>
                  </a:lnTo>
                  <a:lnTo>
                    <a:pt x="84" y="97"/>
                  </a:lnTo>
                  <a:lnTo>
                    <a:pt x="69" y="102"/>
                  </a:lnTo>
                  <a:lnTo>
                    <a:pt x="52" y="104"/>
                  </a:lnTo>
                  <a:lnTo>
                    <a:pt x="36" y="105"/>
                  </a:lnTo>
                  <a:lnTo>
                    <a:pt x="20" y="103"/>
                  </a:lnTo>
                  <a:lnTo>
                    <a:pt x="9" y="98"/>
                  </a:lnTo>
                  <a:lnTo>
                    <a:pt x="1" y="91"/>
                  </a:lnTo>
                  <a:lnTo>
                    <a:pt x="0" y="82"/>
                  </a:lnTo>
                  <a:lnTo>
                    <a:pt x="4" y="75"/>
                  </a:lnTo>
                  <a:lnTo>
                    <a:pt x="14" y="66"/>
                  </a:lnTo>
                  <a:lnTo>
                    <a:pt x="28" y="57"/>
                  </a:lnTo>
                  <a:lnTo>
                    <a:pt x="33" y="58"/>
                  </a:lnTo>
                  <a:lnTo>
                    <a:pt x="41" y="61"/>
                  </a:lnTo>
                  <a:lnTo>
                    <a:pt x="49" y="66"/>
                  </a:lnTo>
                  <a:lnTo>
                    <a:pt x="54" y="72"/>
                  </a:lnTo>
                  <a:lnTo>
                    <a:pt x="56" y="80"/>
                  </a:lnTo>
                  <a:lnTo>
                    <a:pt x="68" y="80"/>
                  </a:lnTo>
                  <a:lnTo>
                    <a:pt x="83" y="76"/>
                  </a:lnTo>
                  <a:lnTo>
                    <a:pt x="100" y="68"/>
                  </a:lnTo>
                  <a:lnTo>
                    <a:pt x="117" y="58"/>
                  </a:lnTo>
                  <a:lnTo>
                    <a:pt x="133" y="46"/>
                  </a:lnTo>
                  <a:lnTo>
                    <a:pt x="149" y="34"/>
                  </a:lnTo>
                  <a:lnTo>
                    <a:pt x="161" y="21"/>
                  </a:lnTo>
                  <a:lnTo>
                    <a:pt x="170" y="9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0" name="Freeform 2211"/>
            <p:cNvSpPr>
              <a:spLocks/>
            </p:cNvSpPr>
            <p:nvPr/>
          </p:nvSpPr>
          <p:spPr bwMode="auto">
            <a:xfrm>
              <a:off x="7580313" y="5910263"/>
              <a:ext cx="284163" cy="166688"/>
            </a:xfrm>
            <a:custGeom>
              <a:avLst/>
              <a:gdLst>
                <a:gd name="T0" fmla="*/ 5 w 179"/>
                <a:gd name="T1" fmla="*/ 0 h 105"/>
                <a:gd name="T2" fmla="*/ 9 w 179"/>
                <a:gd name="T3" fmla="*/ 9 h 105"/>
                <a:gd name="T4" fmla="*/ 18 w 179"/>
                <a:gd name="T5" fmla="*/ 21 h 105"/>
                <a:gd name="T6" fmla="*/ 31 w 179"/>
                <a:gd name="T7" fmla="*/ 34 h 105"/>
                <a:gd name="T8" fmla="*/ 46 w 179"/>
                <a:gd name="T9" fmla="*/ 46 h 105"/>
                <a:gd name="T10" fmla="*/ 63 w 179"/>
                <a:gd name="T11" fmla="*/ 58 h 105"/>
                <a:gd name="T12" fmla="*/ 79 w 179"/>
                <a:gd name="T13" fmla="*/ 68 h 105"/>
                <a:gd name="T14" fmla="*/ 96 w 179"/>
                <a:gd name="T15" fmla="*/ 76 h 105"/>
                <a:gd name="T16" fmla="*/ 111 w 179"/>
                <a:gd name="T17" fmla="*/ 80 h 105"/>
                <a:gd name="T18" fmla="*/ 124 w 179"/>
                <a:gd name="T19" fmla="*/ 80 h 105"/>
                <a:gd name="T20" fmla="*/ 126 w 179"/>
                <a:gd name="T21" fmla="*/ 72 h 105"/>
                <a:gd name="T22" fmla="*/ 131 w 179"/>
                <a:gd name="T23" fmla="*/ 66 h 105"/>
                <a:gd name="T24" fmla="*/ 138 w 179"/>
                <a:gd name="T25" fmla="*/ 61 h 105"/>
                <a:gd name="T26" fmla="*/ 146 w 179"/>
                <a:gd name="T27" fmla="*/ 58 h 105"/>
                <a:gd name="T28" fmla="*/ 153 w 179"/>
                <a:gd name="T29" fmla="*/ 57 h 105"/>
                <a:gd name="T30" fmla="*/ 167 w 179"/>
                <a:gd name="T31" fmla="*/ 66 h 105"/>
                <a:gd name="T32" fmla="*/ 176 w 179"/>
                <a:gd name="T33" fmla="*/ 75 h 105"/>
                <a:gd name="T34" fmla="*/ 179 w 179"/>
                <a:gd name="T35" fmla="*/ 82 h 105"/>
                <a:gd name="T36" fmla="*/ 178 w 179"/>
                <a:gd name="T37" fmla="*/ 91 h 105"/>
                <a:gd name="T38" fmla="*/ 171 w 179"/>
                <a:gd name="T39" fmla="*/ 98 h 105"/>
                <a:gd name="T40" fmla="*/ 159 w 179"/>
                <a:gd name="T41" fmla="*/ 103 h 105"/>
                <a:gd name="T42" fmla="*/ 144 w 179"/>
                <a:gd name="T43" fmla="*/ 105 h 105"/>
                <a:gd name="T44" fmla="*/ 127 w 179"/>
                <a:gd name="T45" fmla="*/ 104 h 105"/>
                <a:gd name="T46" fmla="*/ 110 w 179"/>
                <a:gd name="T47" fmla="*/ 102 h 105"/>
                <a:gd name="T48" fmla="*/ 95 w 179"/>
                <a:gd name="T49" fmla="*/ 97 h 105"/>
                <a:gd name="T50" fmla="*/ 82 w 179"/>
                <a:gd name="T51" fmla="*/ 89 h 105"/>
                <a:gd name="T52" fmla="*/ 65 w 179"/>
                <a:gd name="T53" fmla="*/ 79 h 105"/>
                <a:gd name="T54" fmla="*/ 49 w 179"/>
                <a:gd name="T55" fmla="*/ 72 h 105"/>
                <a:gd name="T56" fmla="*/ 33 w 179"/>
                <a:gd name="T57" fmla="*/ 67 h 105"/>
                <a:gd name="T58" fmla="*/ 19 w 179"/>
                <a:gd name="T59" fmla="*/ 62 h 105"/>
                <a:gd name="T60" fmla="*/ 9 w 179"/>
                <a:gd name="T61" fmla="*/ 57 h 105"/>
                <a:gd name="T62" fmla="*/ 2 w 179"/>
                <a:gd name="T63" fmla="*/ 49 h 105"/>
                <a:gd name="T64" fmla="*/ 0 w 179"/>
                <a:gd name="T65" fmla="*/ 37 h 105"/>
                <a:gd name="T66" fmla="*/ 0 w 179"/>
                <a:gd name="T67" fmla="*/ 25 h 105"/>
                <a:gd name="T68" fmla="*/ 1 w 179"/>
                <a:gd name="T69" fmla="*/ 12 h 105"/>
                <a:gd name="T70" fmla="*/ 5 w 179"/>
                <a:gd name="T7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9" h="105">
                  <a:moveTo>
                    <a:pt x="5" y="0"/>
                  </a:moveTo>
                  <a:lnTo>
                    <a:pt x="9" y="9"/>
                  </a:lnTo>
                  <a:lnTo>
                    <a:pt x="18" y="21"/>
                  </a:lnTo>
                  <a:lnTo>
                    <a:pt x="31" y="34"/>
                  </a:lnTo>
                  <a:lnTo>
                    <a:pt x="46" y="46"/>
                  </a:lnTo>
                  <a:lnTo>
                    <a:pt x="63" y="58"/>
                  </a:lnTo>
                  <a:lnTo>
                    <a:pt x="79" y="68"/>
                  </a:lnTo>
                  <a:lnTo>
                    <a:pt x="96" y="76"/>
                  </a:lnTo>
                  <a:lnTo>
                    <a:pt x="111" y="80"/>
                  </a:lnTo>
                  <a:lnTo>
                    <a:pt x="124" y="80"/>
                  </a:lnTo>
                  <a:lnTo>
                    <a:pt x="126" y="72"/>
                  </a:lnTo>
                  <a:lnTo>
                    <a:pt x="131" y="66"/>
                  </a:lnTo>
                  <a:lnTo>
                    <a:pt x="138" y="61"/>
                  </a:lnTo>
                  <a:lnTo>
                    <a:pt x="146" y="58"/>
                  </a:lnTo>
                  <a:lnTo>
                    <a:pt x="153" y="57"/>
                  </a:lnTo>
                  <a:lnTo>
                    <a:pt x="167" y="66"/>
                  </a:lnTo>
                  <a:lnTo>
                    <a:pt x="176" y="75"/>
                  </a:lnTo>
                  <a:lnTo>
                    <a:pt x="179" y="82"/>
                  </a:lnTo>
                  <a:lnTo>
                    <a:pt x="178" y="91"/>
                  </a:lnTo>
                  <a:lnTo>
                    <a:pt x="171" y="98"/>
                  </a:lnTo>
                  <a:lnTo>
                    <a:pt x="159" y="103"/>
                  </a:lnTo>
                  <a:lnTo>
                    <a:pt x="144" y="105"/>
                  </a:lnTo>
                  <a:lnTo>
                    <a:pt x="127" y="104"/>
                  </a:lnTo>
                  <a:lnTo>
                    <a:pt x="110" y="102"/>
                  </a:lnTo>
                  <a:lnTo>
                    <a:pt x="95" y="97"/>
                  </a:lnTo>
                  <a:lnTo>
                    <a:pt x="82" y="89"/>
                  </a:lnTo>
                  <a:lnTo>
                    <a:pt x="65" y="79"/>
                  </a:lnTo>
                  <a:lnTo>
                    <a:pt x="49" y="72"/>
                  </a:lnTo>
                  <a:lnTo>
                    <a:pt x="33" y="67"/>
                  </a:lnTo>
                  <a:lnTo>
                    <a:pt x="19" y="62"/>
                  </a:lnTo>
                  <a:lnTo>
                    <a:pt x="9" y="57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25"/>
                  </a:lnTo>
                  <a:lnTo>
                    <a:pt x="1" y="1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1" name="Freeform 2212"/>
            <p:cNvSpPr>
              <a:spLocks/>
            </p:cNvSpPr>
            <p:nvPr/>
          </p:nvSpPr>
          <p:spPr bwMode="auto">
            <a:xfrm>
              <a:off x="7351713" y="3532188"/>
              <a:ext cx="274638" cy="203200"/>
            </a:xfrm>
            <a:custGeom>
              <a:avLst/>
              <a:gdLst>
                <a:gd name="T0" fmla="*/ 173 w 173"/>
                <a:gd name="T1" fmla="*/ 0 h 128"/>
                <a:gd name="T2" fmla="*/ 172 w 173"/>
                <a:gd name="T3" fmla="*/ 13 h 128"/>
                <a:gd name="T4" fmla="*/ 166 w 173"/>
                <a:gd name="T5" fmla="*/ 28 h 128"/>
                <a:gd name="T6" fmla="*/ 154 w 173"/>
                <a:gd name="T7" fmla="*/ 43 h 128"/>
                <a:gd name="T8" fmla="*/ 140 w 173"/>
                <a:gd name="T9" fmla="*/ 60 h 128"/>
                <a:gd name="T10" fmla="*/ 121 w 173"/>
                <a:gd name="T11" fmla="*/ 77 h 128"/>
                <a:gd name="T12" fmla="*/ 100 w 173"/>
                <a:gd name="T13" fmla="*/ 92 h 128"/>
                <a:gd name="T14" fmla="*/ 76 w 173"/>
                <a:gd name="T15" fmla="*/ 105 h 128"/>
                <a:gd name="T16" fmla="*/ 51 w 173"/>
                <a:gd name="T17" fmla="*/ 115 h 128"/>
                <a:gd name="T18" fmla="*/ 26 w 173"/>
                <a:gd name="T19" fmla="*/ 124 h 128"/>
                <a:gd name="T20" fmla="*/ 0 w 173"/>
                <a:gd name="T21" fmla="*/ 128 h 128"/>
                <a:gd name="T22" fmla="*/ 23 w 173"/>
                <a:gd name="T23" fmla="*/ 119 h 128"/>
                <a:gd name="T24" fmla="*/ 46 w 173"/>
                <a:gd name="T25" fmla="*/ 106 h 128"/>
                <a:gd name="T26" fmla="*/ 69 w 173"/>
                <a:gd name="T27" fmla="*/ 91 h 128"/>
                <a:gd name="T28" fmla="*/ 93 w 173"/>
                <a:gd name="T29" fmla="*/ 75 h 128"/>
                <a:gd name="T30" fmla="*/ 114 w 173"/>
                <a:gd name="T31" fmla="*/ 57 h 128"/>
                <a:gd name="T32" fmla="*/ 135 w 173"/>
                <a:gd name="T33" fmla="*/ 41 h 128"/>
                <a:gd name="T34" fmla="*/ 152 w 173"/>
                <a:gd name="T35" fmla="*/ 25 h 128"/>
                <a:gd name="T36" fmla="*/ 164 w 173"/>
                <a:gd name="T37" fmla="*/ 11 h 128"/>
                <a:gd name="T38" fmla="*/ 173 w 173"/>
                <a:gd name="T3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" h="128">
                  <a:moveTo>
                    <a:pt x="173" y="0"/>
                  </a:moveTo>
                  <a:lnTo>
                    <a:pt x="172" y="13"/>
                  </a:lnTo>
                  <a:lnTo>
                    <a:pt x="166" y="28"/>
                  </a:lnTo>
                  <a:lnTo>
                    <a:pt x="154" y="43"/>
                  </a:lnTo>
                  <a:lnTo>
                    <a:pt x="140" y="60"/>
                  </a:lnTo>
                  <a:lnTo>
                    <a:pt x="121" y="77"/>
                  </a:lnTo>
                  <a:lnTo>
                    <a:pt x="100" y="92"/>
                  </a:lnTo>
                  <a:lnTo>
                    <a:pt x="76" y="105"/>
                  </a:lnTo>
                  <a:lnTo>
                    <a:pt x="51" y="115"/>
                  </a:lnTo>
                  <a:lnTo>
                    <a:pt x="26" y="124"/>
                  </a:lnTo>
                  <a:lnTo>
                    <a:pt x="0" y="128"/>
                  </a:lnTo>
                  <a:lnTo>
                    <a:pt x="23" y="119"/>
                  </a:lnTo>
                  <a:lnTo>
                    <a:pt x="46" y="106"/>
                  </a:lnTo>
                  <a:lnTo>
                    <a:pt x="69" y="91"/>
                  </a:lnTo>
                  <a:lnTo>
                    <a:pt x="93" y="75"/>
                  </a:lnTo>
                  <a:lnTo>
                    <a:pt x="114" y="57"/>
                  </a:lnTo>
                  <a:lnTo>
                    <a:pt x="135" y="41"/>
                  </a:lnTo>
                  <a:lnTo>
                    <a:pt x="152" y="25"/>
                  </a:lnTo>
                  <a:lnTo>
                    <a:pt x="164" y="11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2" name="Freeform 2213"/>
            <p:cNvSpPr>
              <a:spLocks/>
            </p:cNvSpPr>
            <p:nvPr/>
          </p:nvSpPr>
          <p:spPr bwMode="auto">
            <a:xfrm>
              <a:off x="7327901" y="3525838"/>
              <a:ext cx="301625" cy="219075"/>
            </a:xfrm>
            <a:custGeom>
              <a:avLst/>
              <a:gdLst>
                <a:gd name="T0" fmla="*/ 190 w 190"/>
                <a:gd name="T1" fmla="*/ 0 h 138"/>
                <a:gd name="T2" fmla="*/ 190 w 190"/>
                <a:gd name="T3" fmla="*/ 13 h 138"/>
                <a:gd name="T4" fmla="*/ 182 w 190"/>
                <a:gd name="T5" fmla="*/ 29 h 138"/>
                <a:gd name="T6" fmla="*/ 172 w 190"/>
                <a:gd name="T7" fmla="*/ 49 h 138"/>
                <a:gd name="T8" fmla="*/ 155 w 190"/>
                <a:gd name="T9" fmla="*/ 67 h 138"/>
                <a:gd name="T10" fmla="*/ 136 w 190"/>
                <a:gd name="T11" fmla="*/ 86 h 138"/>
                <a:gd name="T12" fmla="*/ 113 w 190"/>
                <a:gd name="T13" fmla="*/ 102 h 138"/>
                <a:gd name="T14" fmla="*/ 87 w 190"/>
                <a:gd name="T15" fmla="*/ 118 h 138"/>
                <a:gd name="T16" fmla="*/ 60 w 190"/>
                <a:gd name="T17" fmla="*/ 129 h 138"/>
                <a:gd name="T18" fmla="*/ 31 w 190"/>
                <a:gd name="T19" fmla="*/ 137 h 138"/>
                <a:gd name="T20" fmla="*/ 0 w 190"/>
                <a:gd name="T21" fmla="*/ 138 h 138"/>
                <a:gd name="T22" fmla="*/ 25 w 190"/>
                <a:gd name="T23" fmla="*/ 128 h 138"/>
                <a:gd name="T24" fmla="*/ 51 w 190"/>
                <a:gd name="T25" fmla="*/ 114 h 138"/>
                <a:gd name="T26" fmla="*/ 77 w 190"/>
                <a:gd name="T27" fmla="*/ 99 h 138"/>
                <a:gd name="T28" fmla="*/ 102 w 190"/>
                <a:gd name="T29" fmla="*/ 81 h 138"/>
                <a:gd name="T30" fmla="*/ 127 w 190"/>
                <a:gd name="T31" fmla="*/ 61 h 138"/>
                <a:gd name="T32" fmla="*/ 149 w 190"/>
                <a:gd name="T33" fmla="*/ 43 h 138"/>
                <a:gd name="T34" fmla="*/ 167 w 190"/>
                <a:gd name="T35" fmla="*/ 26 h 138"/>
                <a:gd name="T36" fmla="*/ 181 w 190"/>
                <a:gd name="T37" fmla="*/ 11 h 138"/>
                <a:gd name="T38" fmla="*/ 190 w 190"/>
                <a:gd name="T3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0" h="138">
                  <a:moveTo>
                    <a:pt x="190" y="0"/>
                  </a:moveTo>
                  <a:lnTo>
                    <a:pt x="190" y="13"/>
                  </a:lnTo>
                  <a:lnTo>
                    <a:pt x="182" y="29"/>
                  </a:lnTo>
                  <a:lnTo>
                    <a:pt x="172" y="49"/>
                  </a:lnTo>
                  <a:lnTo>
                    <a:pt x="155" y="67"/>
                  </a:lnTo>
                  <a:lnTo>
                    <a:pt x="136" y="86"/>
                  </a:lnTo>
                  <a:lnTo>
                    <a:pt x="113" y="102"/>
                  </a:lnTo>
                  <a:lnTo>
                    <a:pt x="87" y="118"/>
                  </a:lnTo>
                  <a:lnTo>
                    <a:pt x="60" y="129"/>
                  </a:lnTo>
                  <a:lnTo>
                    <a:pt x="31" y="137"/>
                  </a:lnTo>
                  <a:lnTo>
                    <a:pt x="0" y="138"/>
                  </a:lnTo>
                  <a:lnTo>
                    <a:pt x="25" y="128"/>
                  </a:lnTo>
                  <a:lnTo>
                    <a:pt x="51" y="114"/>
                  </a:lnTo>
                  <a:lnTo>
                    <a:pt x="77" y="99"/>
                  </a:lnTo>
                  <a:lnTo>
                    <a:pt x="102" y="81"/>
                  </a:lnTo>
                  <a:lnTo>
                    <a:pt x="127" y="61"/>
                  </a:lnTo>
                  <a:lnTo>
                    <a:pt x="149" y="43"/>
                  </a:lnTo>
                  <a:lnTo>
                    <a:pt x="167" y="26"/>
                  </a:lnTo>
                  <a:lnTo>
                    <a:pt x="181" y="11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3" name="Freeform 2214"/>
            <p:cNvSpPr>
              <a:spLocks/>
            </p:cNvSpPr>
            <p:nvPr/>
          </p:nvSpPr>
          <p:spPr bwMode="auto">
            <a:xfrm>
              <a:off x="7378701" y="3527425"/>
              <a:ext cx="246063" cy="128588"/>
            </a:xfrm>
            <a:custGeom>
              <a:avLst/>
              <a:gdLst>
                <a:gd name="T0" fmla="*/ 155 w 155"/>
                <a:gd name="T1" fmla="*/ 0 h 81"/>
                <a:gd name="T2" fmla="*/ 147 w 155"/>
                <a:gd name="T3" fmla="*/ 14 h 81"/>
                <a:gd name="T4" fmla="*/ 133 w 155"/>
                <a:gd name="T5" fmla="*/ 28 h 81"/>
                <a:gd name="T6" fmla="*/ 117 w 155"/>
                <a:gd name="T7" fmla="*/ 44 h 81"/>
                <a:gd name="T8" fmla="*/ 95 w 155"/>
                <a:gd name="T9" fmla="*/ 58 h 81"/>
                <a:gd name="T10" fmla="*/ 72 w 155"/>
                <a:gd name="T11" fmla="*/ 69 h 81"/>
                <a:gd name="T12" fmla="*/ 47 w 155"/>
                <a:gd name="T13" fmla="*/ 77 h 81"/>
                <a:gd name="T14" fmla="*/ 23 w 155"/>
                <a:gd name="T15" fmla="*/ 81 h 81"/>
                <a:gd name="T16" fmla="*/ 0 w 155"/>
                <a:gd name="T17" fmla="*/ 78 h 81"/>
                <a:gd name="T18" fmla="*/ 19 w 155"/>
                <a:gd name="T19" fmla="*/ 73 h 81"/>
                <a:gd name="T20" fmla="*/ 41 w 155"/>
                <a:gd name="T21" fmla="*/ 66 h 81"/>
                <a:gd name="T22" fmla="*/ 63 w 155"/>
                <a:gd name="T23" fmla="*/ 54 h 81"/>
                <a:gd name="T24" fmla="*/ 86 w 155"/>
                <a:gd name="T25" fmla="*/ 42 h 81"/>
                <a:gd name="T26" fmla="*/ 106 w 155"/>
                <a:gd name="T27" fmla="*/ 30 h 81"/>
                <a:gd name="T28" fmla="*/ 126 w 155"/>
                <a:gd name="T29" fmla="*/ 18 h 81"/>
                <a:gd name="T30" fmla="*/ 142 w 155"/>
                <a:gd name="T31" fmla="*/ 8 h 81"/>
                <a:gd name="T32" fmla="*/ 155 w 155"/>
                <a:gd name="T3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81">
                  <a:moveTo>
                    <a:pt x="155" y="0"/>
                  </a:moveTo>
                  <a:lnTo>
                    <a:pt x="147" y="14"/>
                  </a:lnTo>
                  <a:lnTo>
                    <a:pt x="133" y="28"/>
                  </a:lnTo>
                  <a:lnTo>
                    <a:pt x="117" y="44"/>
                  </a:lnTo>
                  <a:lnTo>
                    <a:pt x="95" y="58"/>
                  </a:lnTo>
                  <a:lnTo>
                    <a:pt x="72" y="69"/>
                  </a:lnTo>
                  <a:lnTo>
                    <a:pt x="47" y="77"/>
                  </a:lnTo>
                  <a:lnTo>
                    <a:pt x="23" y="81"/>
                  </a:lnTo>
                  <a:lnTo>
                    <a:pt x="0" y="78"/>
                  </a:lnTo>
                  <a:lnTo>
                    <a:pt x="19" y="73"/>
                  </a:lnTo>
                  <a:lnTo>
                    <a:pt x="41" y="66"/>
                  </a:lnTo>
                  <a:lnTo>
                    <a:pt x="63" y="54"/>
                  </a:lnTo>
                  <a:lnTo>
                    <a:pt x="86" y="42"/>
                  </a:lnTo>
                  <a:lnTo>
                    <a:pt x="106" y="30"/>
                  </a:lnTo>
                  <a:lnTo>
                    <a:pt x="126" y="18"/>
                  </a:lnTo>
                  <a:lnTo>
                    <a:pt x="142" y="8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6D522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4" name="Freeform 2215"/>
            <p:cNvSpPr>
              <a:spLocks/>
            </p:cNvSpPr>
            <p:nvPr/>
          </p:nvSpPr>
          <p:spPr bwMode="auto">
            <a:xfrm>
              <a:off x="7410451" y="3498850"/>
              <a:ext cx="201613" cy="71438"/>
            </a:xfrm>
            <a:custGeom>
              <a:avLst/>
              <a:gdLst>
                <a:gd name="T0" fmla="*/ 72 w 127"/>
                <a:gd name="T1" fmla="*/ 0 h 45"/>
                <a:gd name="T2" fmla="*/ 89 w 127"/>
                <a:gd name="T3" fmla="*/ 1 h 45"/>
                <a:gd name="T4" fmla="*/ 104 w 127"/>
                <a:gd name="T5" fmla="*/ 5 h 45"/>
                <a:gd name="T6" fmla="*/ 117 w 127"/>
                <a:gd name="T7" fmla="*/ 9 h 45"/>
                <a:gd name="T8" fmla="*/ 127 w 127"/>
                <a:gd name="T9" fmla="*/ 16 h 45"/>
                <a:gd name="T10" fmla="*/ 98 w 127"/>
                <a:gd name="T11" fmla="*/ 13 h 45"/>
                <a:gd name="T12" fmla="*/ 71 w 127"/>
                <a:gd name="T13" fmla="*/ 16 h 45"/>
                <a:gd name="T14" fmla="*/ 47 w 127"/>
                <a:gd name="T15" fmla="*/ 21 h 45"/>
                <a:gd name="T16" fmla="*/ 23 w 127"/>
                <a:gd name="T17" fmla="*/ 31 h 45"/>
                <a:gd name="T18" fmla="*/ 0 w 127"/>
                <a:gd name="T19" fmla="*/ 45 h 45"/>
                <a:gd name="T20" fmla="*/ 11 w 127"/>
                <a:gd name="T21" fmla="*/ 27 h 45"/>
                <a:gd name="T22" fmla="*/ 23 w 127"/>
                <a:gd name="T23" fmla="*/ 14 h 45"/>
                <a:gd name="T24" fmla="*/ 39 w 127"/>
                <a:gd name="T25" fmla="*/ 5 h 45"/>
                <a:gd name="T26" fmla="*/ 56 w 127"/>
                <a:gd name="T27" fmla="*/ 1 h 45"/>
                <a:gd name="T28" fmla="*/ 72 w 127"/>
                <a:gd name="T2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45">
                  <a:moveTo>
                    <a:pt x="72" y="0"/>
                  </a:moveTo>
                  <a:lnTo>
                    <a:pt x="89" y="1"/>
                  </a:lnTo>
                  <a:lnTo>
                    <a:pt x="104" y="5"/>
                  </a:lnTo>
                  <a:lnTo>
                    <a:pt x="117" y="9"/>
                  </a:lnTo>
                  <a:lnTo>
                    <a:pt x="127" y="16"/>
                  </a:lnTo>
                  <a:lnTo>
                    <a:pt x="98" y="13"/>
                  </a:lnTo>
                  <a:lnTo>
                    <a:pt x="71" y="16"/>
                  </a:lnTo>
                  <a:lnTo>
                    <a:pt x="47" y="21"/>
                  </a:lnTo>
                  <a:lnTo>
                    <a:pt x="23" y="31"/>
                  </a:lnTo>
                  <a:lnTo>
                    <a:pt x="0" y="45"/>
                  </a:lnTo>
                  <a:lnTo>
                    <a:pt x="11" y="27"/>
                  </a:lnTo>
                  <a:lnTo>
                    <a:pt x="23" y="14"/>
                  </a:lnTo>
                  <a:lnTo>
                    <a:pt x="39" y="5"/>
                  </a:lnTo>
                  <a:lnTo>
                    <a:pt x="56" y="1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6D522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5" name="Freeform 2216"/>
            <p:cNvSpPr>
              <a:spLocks/>
            </p:cNvSpPr>
            <p:nvPr/>
          </p:nvSpPr>
          <p:spPr bwMode="auto">
            <a:xfrm>
              <a:off x="7378701" y="3529013"/>
              <a:ext cx="228600" cy="84138"/>
            </a:xfrm>
            <a:custGeom>
              <a:avLst/>
              <a:gdLst>
                <a:gd name="T0" fmla="*/ 126 w 144"/>
                <a:gd name="T1" fmla="*/ 0 h 53"/>
                <a:gd name="T2" fmla="*/ 144 w 144"/>
                <a:gd name="T3" fmla="*/ 2 h 53"/>
                <a:gd name="T4" fmla="*/ 105 w 144"/>
                <a:gd name="T5" fmla="*/ 17 h 53"/>
                <a:gd name="T6" fmla="*/ 68 w 144"/>
                <a:gd name="T7" fmla="*/ 30 h 53"/>
                <a:gd name="T8" fmla="*/ 33 w 144"/>
                <a:gd name="T9" fmla="*/ 41 h 53"/>
                <a:gd name="T10" fmla="*/ 0 w 144"/>
                <a:gd name="T11" fmla="*/ 53 h 53"/>
                <a:gd name="T12" fmla="*/ 15 w 144"/>
                <a:gd name="T13" fmla="*/ 38 h 53"/>
                <a:gd name="T14" fmla="*/ 34 w 144"/>
                <a:gd name="T15" fmla="*/ 25 h 53"/>
                <a:gd name="T16" fmla="*/ 58 w 144"/>
                <a:gd name="T17" fmla="*/ 15 h 53"/>
                <a:gd name="T18" fmla="*/ 81 w 144"/>
                <a:gd name="T19" fmla="*/ 7 h 53"/>
                <a:gd name="T20" fmla="*/ 104 w 144"/>
                <a:gd name="T21" fmla="*/ 2 h 53"/>
                <a:gd name="T22" fmla="*/ 126 w 144"/>
                <a:gd name="T2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4" h="53">
                  <a:moveTo>
                    <a:pt x="126" y="0"/>
                  </a:moveTo>
                  <a:lnTo>
                    <a:pt x="144" y="2"/>
                  </a:lnTo>
                  <a:lnTo>
                    <a:pt x="105" y="17"/>
                  </a:lnTo>
                  <a:lnTo>
                    <a:pt x="68" y="30"/>
                  </a:lnTo>
                  <a:lnTo>
                    <a:pt x="33" y="41"/>
                  </a:lnTo>
                  <a:lnTo>
                    <a:pt x="0" y="53"/>
                  </a:lnTo>
                  <a:lnTo>
                    <a:pt x="15" y="38"/>
                  </a:lnTo>
                  <a:lnTo>
                    <a:pt x="34" y="25"/>
                  </a:lnTo>
                  <a:lnTo>
                    <a:pt x="58" y="15"/>
                  </a:lnTo>
                  <a:lnTo>
                    <a:pt x="81" y="7"/>
                  </a:lnTo>
                  <a:lnTo>
                    <a:pt x="104" y="2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6" name="Freeform 2217"/>
            <p:cNvSpPr>
              <a:spLocks/>
            </p:cNvSpPr>
            <p:nvPr/>
          </p:nvSpPr>
          <p:spPr bwMode="auto">
            <a:xfrm>
              <a:off x="7621588" y="3556000"/>
              <a:ext cx="107950" cy="576263"/>
            </a:xfrm>
            <a:custGeom>
              <a:avLst/>
              <a:gdLst>
                <a:gd name="T0" fmla="*/ 0 w 68"/>
                <a:gd name="T1" fmla="*/ 0 h 363"/>
                <a:gd name="T2" fmla="*/ 21 w 68"/>
                <a:gd name="T3" fmla="*/ 17 h 363"/>
                <a:gd name="T4" fmla="*/ 38 w 68"/>
                <a:gd name="T5" fmla="*/ 37 h 363"/>
                <a:gd name="T6" fmla="*/ 51 w 68"/>
                <a:gd name="T7" fmla="*/ 60 h 363"/>
                <a:gd name="T8" fmla="*/ 59 w 68"/>
                <a:gd name="T9" fmla="*/ 86 h 363"/>
                <a:gd name="T10" fmla="*/ 65 w 68"/>
                <a:gd name="T11" fmla="*/ 114 h 363"/>
                <a:gd name="T12" fmla="*/ 68 w 68"/>
                <a:gd name="T13" fmla="*/ 143 h 363"/>
                <a:gd name="T14" fmla="*/ 68 w 68"/>
                <a:gd name="T15" fmla="*/ 172 h 363"/>
                <a:gd name="T16" fmla="*/ 65 w 68"/>
                <a:gd name="T17" fmla="*/ 203 h 363"/>
                <a:gd name="T18" fmla="*/ 61 w 68"/>
                <a:gd name="T19" fmla="*/ 231 h 363"/>
                <a:gd name="T20" fmla="*/ 56 w 68"/>
                <a:gd name="T21" fmla="*/ 259 h 363"/>
                <a:gd name="T22" fmla="*/ 50 w 68"/>
                <a:gd name="T23" fmla="*/ 285 h 363"/>
                <a:gd name="T24" fmla="*/ 43 w 68"/>
                <a:gd name="T25" fmla="*/ 308 h 363"/>
                <a:gd name="T26" fmla="*/ 37 w 68"/>
                <a:gd name="T27" fmla="*/ 329 h 363"/>
                <a:gd name="T28" fmla="*/ 29 w 68"/>
                <a:gd name="T29" fmla="*/ 345 h 363"/>
                <a:gd name="T30" fmla="*/ 24 w 68"/>
                <a:gd name="T31" fmla="*/ 357 h 363"/>
                <a:gd name="T32" fmla="*/ 19 w 68"/>
                <a:gd name="T33" fmla="*/ 363 h 363"/>
                <a:gd name="T34" fmla="*/ 30 w 68"/>
                <a:gd name="T35" fmla="*/ 312 h 363"/>
                <a:gd name="T36" fmla="*/ 38 w 68"/>
                <a:gd name="T37" fmla="*/ 261 h 363"/>
                <a:gd name="T38" fmla="*/ 42 w 68"/>
                <a:gd name="T39" fmla="*/ 211 h 363"/>
                <a:gd name="T40" fmla="*/ 41 w 68"/>
                <a:gd name="T41" fmla="*/ 162 h 363"/>
                <a:gd name="T42" fmla="*/ 37 w 68"/>
                <a:gd name="T43" fmla="*/ 116 h 363"/>
                <a:gd name="T44" fmla="*/ 28 w 68"/>
                <a:gd name="T45" fmla="*/ 72 h 363"/>
                <a:gd name="T46" fmla="*/ 15 w 68"/>
                <a:gd name="T47" fmla="*/ 33 h 363"/>
                <a:gd name="T48" fmla="*/ 0 w 68"/>
                <a:gd name="T49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" h="363">
                  <a:moveTo>
                    <a:pt x="0" y="0"/>
                  </a:moveTo>
                  <a:lnTo>
                    <a:pt x="21" y="17"/>
                  </a:lnTo>
                  <a:lnTo>
                    <a:pt x="38" y="37"/>
                  </a:lnTo>
                  <a:lnTo>
                    <a:pt x="51" y="60"/>
                  </a:lnTo>
                  <a:lnTo>
                    <a:pt x="59" y="86"/>
                  </a:lnTo>
                  <a:lnTo>
                    <a:pt x="65" y="114"/>
                  </a:lnTo>
                  <a:lnTo>
                    <a:pt x="68" y="143"/>
                  </a:lnTo>
                  <a:lnTo>
                    <a:pt x="68" y="172"/>
                  </a:lnTo>
                  <a:lnTo>
                    <a:pt x="65" y="203"/>
                  </a:lnTo>
                  <a:lnTo>
                    <a:pt x="61" y="231"/>
                  </a:lnTo>
                  <a:lnTo>
                    <a:pt x="56" y="259"/>
                  </a:lnTo>
                  <a:lnTo>
                    <a:pt x="50" y="285"/>
                  </a:lnTo>
                  <a:lnTo>
                    <a:pt x="43" y="308"/>
                  </a:lnTo>
                  <a:lnTo>
                    <a:pt x="37" y="329"/>
                  </a:lnTo>
                  <a:lnTo>
                    <a:pt x="29" y="345"/>
                  </a:lnTo>
                  <a:lnTo>
                    <a:pt x="24" y="357"/>
                  </a:lnTo>
                  <a:lnTo>
                    <a:pt x="19" y="363"/>
                  </a:lnTo>
                  <a:lnTo>
                    <a:pt x="30" y="312"/>
                  </a:lnTo>
                  <a:lnTo>
                    <a:pt x="38" y="261"/>
                  </a:lnTo>
                  <a:lnTo>
                    <a:pt x="42" y="211"/>
                  </a:lnTo>
                  <a:lnTo>
                    <a:pt x="41" y="162"/>
                  </a:lnTo>
                  <a:lnTo>
                    <a:pt x="37" y="116"/>
                  </a:lnTo>
                  <a:lnTo>
                    <a:pt x="28" y="72"/>
                  </a:lnTo>
                  <a:lnTo>
                    <a:pt x="15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522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7" name="Freeform 2218"/>
            <p:cNvSpPr>
              <a:spLocks/>
            </p:cNvSpPr>
            <p:nvPr/>
          </p:nvSpPr>
          <p:spPr bwMode="auto">
            <a:xfrm>
              <a:off x="7615238" y="3532188"/>
              <a:ext cx="125413" cy="231775"/>
            </a:xfrm>
            <a:custGeom>
              <a:avLst/>
              <a:gdLst>
                <a:gd name="T0" fmla="*/ 4 w 79"/>
                <a:gd name="T1" fmla="*/ 0 h 146"/>
                <a:gd name="T2" fmla="*/ 9 w 79"/>
                <a:gd name="T3" fmla="*/ 11 h 146"/>
                <a:gd name="T4" fmla="*/ 16 w 79"/>
                <a:gd name="T5" fmla="*/ 28 h 146"/>
                <a:gd name="T6" fmla="*/ 24 w 79"/>
                <a:gd name="T7" fmla="*/ 47 h 146"/>
                <a:gd name="T8" fmla="*/ 34 w 79"/>
                <a:gd name="T9" fmla="*/ 69 h 146"/>
                <a:gd name="T10" fmla="*/ 45 w 79"/>
                <a:gd name="T11" fmla="*/ 91 h 146"/>
                <a:gd name="T12" fmla="*/ 56 w 79"/>
                <a:gd name="T13" fmla="*/ 111 h 146"/>
                <a:gd name="T14" fmla="*/ 68 w 79"/>
                <a:gd name="T15" fmla="*/ 131 h 146"/>
                <a:gd name="T16" fmla="*/ 79 w 79"/>
                <a:gd name="T17" fmla="*/ 146 h 146"/>
                <a:gd name="T18" fmla="*/ 61 w 79"/>
                <a:gd name="T19" fmla="*/ 133 h 146"/>
                <a:gd name="T20" fmla="*/ 46 w 79"/>
                <a:gd name="T21" fmla="*/ 118 h 146"/>
                <a:gd name="T22" fmla="*/ 32 w 79"/>
                <a:gd name="T23" fmla="*/ 100 h 146"/>
                <a:gd name="T24" fmla="*/ 19 w 79"/>
                <a:gd name="T25" fmla="*/ 81 h 146"/>
                <a:gd name="T26" fmla="*/ 10 w 79"/>
                <a:gd name="T27" fmla="*/ 61 h 146"/>
                <a:gd name="T28" fmla="*/ 4 w 79"/>
                <a:gd name="T29" fmla="*/ 42 h 146"/>
                <a:gd name="T30" fmla="*/ 0 w 79"/>
                <a:gd name="T31" fmla="*/ 25 h 146"/>
                <a:gd name="T32" fmla="*/ 1 w 79"/>
                <a:gd name="T33" fmla="*/ 11 h 146"/>
                <a:gd name="T34" fmla="*/ 4 w 79"/>
                <a:gd name="T3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146">
                  <a:moveTo>
                    <a:pt x="4" y="0"/>
                  </a:moveTo>
                  <a:lnTo>
                    <a:pt x="9" y="11"/>
                  </a:lnTo>
                  <a:lnTo>
                    <a:pt x="16" y="28"/>
                  </a:lnTo>
                  <a:lnTo>
                    <a:pt x="24" y="47"/>
                  </a:lnTo>
                  <a:lnTo>
                    <a:pt x="34" y="69"/>
                  </a:lnTo>
                  <a:lnTo>
                    <a:pt x="45" y="91"/>
                  </a:lnTo>
                  <a:lnTo>
                    <a:pt x="56" y="111"/>
                  </a:lnTo>
                  <a:lnTo>
                    <a:pt x="68" y="131"/>
                  </a:lnTo>
                  <a:lnTo>
                    <a:pt x="79" y="146"/>
                  </a:lnTo>
                  <a:lnTo>
                    <a:pt x="61" y="133"/>
                  </a:lnTo>
                  <a:lnTo>
                    <a:pt x="46" y="118"/>
                  </a:lnTo>
                  <a:lnTo>
                    <a:pt x="32" y="100"/>
                  </a:lnTo>
                  <a:lnTo>
                    <a:pt x="19" y="81"/>
                  </a:lnTo>
                  <a:lnTo>
                    <a:pt x="10" y="61"/>
                  </a:lnTo>
                  <a:lnTo>
                    <a:pt x="4" y="42"/>
                  </a:lnTo>
                  <a:lnTo>
                    <a:pt x="0" y="25"/>
                  </a:lnTo>
                  <a:lnTo>
                    <a:pt x="1" y="1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8" name="Freeform 2219"/>
            <p:cNvSpPr>
              <a:spLocks/>
            </p:cNvSpPr>
            <p:nvPr/>
          </p:nvSpPr>
          <p:spPr bwMode="auto">
            <a:xfrm>
              <a:off x="7461251" y="4810125"/>
              <a:ext cx="68263" cy="1035050"/>
            </a:xfrm>
            <a:custGeom>
              <a:avLst/>
              <a:gdLst>
                <a:gd name="T0" fmla="*/ 34 w 43"/>
                <a:gd name="T1" fmla="*/ 0 h 652"/>
                <a:gd name="T2" fmla="*/ 43 w 43"/>
                <a:gd name="T3" fmla="*/ 2 h 652"/>
                <a:gd name="T4" fmla="*/ 40 w 43"/>
                <a:gd name="T5" fmla="*/ 13 h 652"/>
                <a:gd name="T6" fmla="*/ 39 w 43"/>
                <a:gd name="T7" fmla="*/ 27 h 652"/>
                <a:gd name="T8" fmla="*/ 38 w 43"/>
                <a:gd name="T9" fmla="*/ 44 h 652"/>
                <a:gd name="T10" fmla="*/ 35 w 43"/>
                <a:gd name="T11" fmla="*/ 62 h 652"/>
                <a:gd name="T12" fmla="*/ 30 w 43"/>
                <a:gd name="T13" fmla="*/ 101 h 652"/>
                <a:gd name="T14" fmla="*/ 25 w 43"/>
                <a:gd name="T15" fmla="*/ 142 h 652"/>
                <a:gd name="T16" fmla="*/ 20 w 43"/>
                <a:gd name="T17" fmla="*/ 180 h 652"/>
                <a:gd name="T18" fmla="*/ 18 w 43"/>
                <a:gd name="T19" fmla="*/ 199 h 652"/>
                <a:gd name="T20" fmla="*/ 16 w 43"/>
                <a:gd name="T21" fmla="*/ 216 h 652"/>
                <a:gd name="T22" fmla="*/ 15 w 43"/>
                <a:gd name="T23" fmla="*/ 230 h 652"/>
                <a:gd name="T24" fmla="*/ 13 w 43"/>
                <a:gd name="T25" fmla="*/ 243 h 652"/>
                <a:gd name="T26" fmla="*/ 12 w 43"/>
                <a:gd name="T27" fmla="*/ 253 h 652"/>
                <a:gd name="T28" fmla="*/ 12 w 43"/>
                <a:gd name="T29" fmla="*/ 279 h 652"/>
                <a:gd name="T30" fmla="*/ 13 w 43"/>
                <a:gd name="T31" fmla="*/ 292 h 652"/>
                <a:gd name="T32" fmla="*/ 15 w 43"/>
                <a:gd name="T33" fmla="*/ 308 h 652"/>
                <a:gd name="T34" fmla="*/ 16 w 43"/>
                <a:gd name="T35" fmla="*/ 326 h 652"/>
                <a:gd name="T36" fmla="*/ 18 w 43"/>
                <a:gd name="T37" fmla="*/ 347 h 652"/>
                <a:gd name="T38" fmla="*/ 20 w 43"/>
                <a:gd name="T39" fmla="*/ 370 h 652"/>
                <a:gd name="T40" fmla="*/ 21 w 43"/>
                <a:gd name="T41" fmla="*/ 396 h 652"/>
                <a:gd name="T42" fmla="*/ 22 w 43"/>
                <a:gd name="T43" fmla="*/ 423 h 652"/>
                <a:gd name="T44" fmla="*/ 22 w 43"/>
                <a:gd name="T45" fmla="*/ 514 h 652"/>
                <a:gd name="T46" fmla="*/ 17 w 43"/>
                <a:gd name="T47" fmla="*/ 580 h 652"/>
                <a:gd name="T48" fmla="*/ 13 w 43"/>
                <a:gd name="T49" fmla="*/ 615 h 652"/>
                <a:gd name="T50" fmla="*/ 9 w 43"/>
                <a:gd name="T51" fmla="*/ 652 h 652"/>
                <a:gd name="T52" fmla="*/ 0 w 43"/>
                <a:gd name="T53" fmla="*/ 651 h 652"/>
                <a:gd name="T54" fmla="*/ 4 w 43"/>
                <a:gd name="T55" fmla="*/ 615 h 652"/>
                <a:gd name="T56" fmla="*/ 8 w 43"/>
                <a:gd name="T57" fmla="*/ 580 h 652"/>
                <a:gd name="T58" fmla="*/ 13 w 43"/>
                <a:gd name="T59" fmla="*/ 514 h 652"/>
                <a:gd name="T60" fmla="*/ 13 w 43"/>
                <a:gd name="T61" fmla="*/ 423 h 652"/>
                <a:gd name="T62" fmla="*/ 12 w 43"/>
                <a:gd name="T63" fmla="*/ 396 h 652"/>
                <a:gd name="T64" fmla="*/ 11 w 43"/>
                <a:gd name="T65" fmla="*/ 370 h 652"/>
                <a:gd name="T66" fmla="*/ 9 w 43"/>
                <a:gd name="T67" fmla="*/ 347 h 652"/>
                <a:gd name="T68" fmla="*/ 7 w 43"/>
                <a:gd name="T69" fmla="*/ 326 h 652"/>
                <a:gd name="T70" fmla="*/ 6 w 43"/>
                <a:gd name="T71" fmla="*/ 308 h 652"/>
                <a:gd name="T72" fmla="*/ 4 w 43"/>
                <a:gd name="T73" fmla="*/ 292 h 652"/>
                <a:gd name="T74" fmla="*/ 3 w 43"/>
                <a:gd name="T75" fmla="*/ 279 h 652"/>
                <a:gd name="T76" fmla="*/ 3 w 43"/>
                <a:gd name="T77" fmla="*/ 253 h 652"/>
                <a:gd name="T78" fmla="*/ 4 w 43"/>
                <a:gd name="T79" fmla="*/ 243 h 652"/>
                <a:gd name="T80" fmla="*/ 6 w 43"/>
                <a:gd name="T81" fmla="*/ 230 h 652"/>
                <a:gd name="T82" fmla="*/ 7 w 43"/>
                <a:gd name="T83" fmla="*/ 216 h 652"/>
                <a:gd name="T84" fmla="*/ 9 w 43"/>
                <a:gd name="T85" fmla="*/ 199 h 652"/>
                <a:gd name="T86" fmla="*/ 11 w 43"/>
                <a:gd name="T87" fmla="*/ 180 h 652"/>
                <a:gd name="T88" fmla="*/ 16 w 43"/>
                <a:gd name="T89" fmla="*/ 142 h 652"/>
                <a:gd name="T90" fmla="*/ 21 w 43"/>
                <a:gd name="T91" fmla="*/ 101 h 652"/>
                <a:gd name="T92" fmla="*/ 26 w 43"/>
                <a:gd name="T93" fmla="*/ 62 h 652"/>
                <a:gd name="T94" fmla="*/ 29 w 43"/>
                <a:gd name="T95" fmla="*/ 44 h 652"/>
                <a:gd name="T96" fmla="*/ 30 w 43"/>
                <a:gd name="T97" fmla="*/ 27 h 652"/>
                <a:gd name="T98" fmla="*/ 31 w 43"/>
                <a:gd name="T99" fmla="*/ 13 h 652"/>
                <a:gd name="T100" fmla="*/ 34 w 43"/>
                <a:gd name="T101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3" h="652">
                  <a:moveTo>
                    <a:pt x="34" y="0"/>
                  </a:moveTo>
                  <a:lnTo>
                    <a:pt x="43" y="2"/>
                  </a:lnTo>
                  <a:lnTo>
                    <a:pt x="40" y="13"/>
                  </a:lnTo>
                  <a:lnTo>
                    <a:pt x="39" y="27"/>
                  </a:lnTo>
                  <a:lnTo>
                    <a:pt x="38" y="44"/>
                  </a:lnTo>
                  <a:lnTo>
                    <a:pt x="35" y="62"/>
                  </a:lnTo>
                  <a:lnTo>
                    <a:pt x="30" y="101"/>
                  </a:lnTo>
                  <a:lnTo>
                    <a:pt x="25" y="142"/>
                  </a:lnTo>
                  <a:lnTo>
                    <a:pt x="20" y="180"/>
                  </a:lnTo>
                  <a:lnTo>
                    <a:pt x="18" y="199"/>
                  </a:lnTo>
                  <a:lnTo>
                    <a:pt x="16" y="216"/>
                  </a:lnTo>
                  <a:lnTo>
                    <a:pt x="15" y="230"/>
                  </a:lnTo>
                  <a:lnTo>
                    <a:pt x="13" y="243"/>
                  </a:lnTo>
                  <a:lnTo>
                    <a:pt x="12" y="253"/>
                  </a:lnTo>
                  <a:lnTo>
                    <a:pt x="12" y="279"/>
                  </a:lnTo>
                  <a:lnTo>
                    <a:pt x="13" y="292"/>
                  </a:lnTo>
                  <a:lnTo>
                    <a:pt x="15" y="308"/>
                  </a:lnTo>
                  <a:lnTo>
                    <a:pt x="16" y="326"/>
                  </a:lnTo>
                  <a:lnTo>
                    <a:pt x="18" y="347"/>
                  </a:lnTo>
                  <a:lnTo>
                    <a:pt x="20" y="370"/>
                  </a:lnTo>
                  <a:lnTo>
                    <a:pt x="21" y="396"/>
                  </a:lnTo>
                  <a:lnTo>
                    <a:pt x="22" y="423"/>
                  </a:lnTo>
                  <a:lnTo>
                    <a:pt x="22" y="514"/>
                  </a:lnTo>
                  <a:lnTo>
                    <a:pt x="17" y="580"/>
                  </a:lnTo>
                  <a:lnTo>
                    <a:pt x="13" y="615"/>
                  </a:lnTo>
                  <a:lnTo>
                    <a:pt x="9" y="652"/>
                  </a:lnTo>
                  <a:lnTo>
                    <a:pt x="0" y="651"/>
                  </a:lnTo>
                  <a:lnTo>
                    <a:pt x="4" y="615"/>
                  </a:lnTo>
                  <a:lnTo>
                    <a:pt x="8" y="580"/>
                  </a:lnTo>
                  <a:lnTo>
                    <a:pt x="13" y="514"/>
                  </a:lnTo>
                  <a:lnTo>
                    <a:pt x="13" y="423"/>
                  </a:lnTo>
                  <a:lnTo>
                    <a:pt x="12" y="396"/>
                  </a:lnTo>
                  <a:lnTo>
                    <a:pt x="11" y="370"/>
                  </a:lnTo>
                  <a:lnTo>
                    <a:pt x="9" y="347"/>
                  </a:lnTo>
                  <a:lnTo>
                    <a:pt x="7" y="326"/>
                  </a:lnTo>
                  <a:lnTo>
                    <a:pt x="6" y="308"/>
                  </a:lnTo>
                  <a:lnTo>
                    <a:pt x="4" y="292"/>
                  </a:lnTo>
                  <a:lnTo>
                    <a:pt x="3" y="279"/>
                  </a:lnTo>
                  <a:lnTo>
                    <a:pt x="3" y="253"/>
                  </a:lnTo>
                  <a:lnTo>
                    <a:pt x="4" y="243"/>
                  </a:lnTo>
                  <a:lnTo>
                    <a:pt x="6" y="230"/>
                  </a:lnTo>
                  <a:lnTo>
                    <a:pt x="7" y="216"/>
                  </a:lnTo>
                  <a:lnTo>
                    <a:pt x="9" y="199"/>
                  </a:lnTo>
                  <a:lnTo>
                    <a:pt x="11" y="180"/>
                  </a:lnTo>
                  <a:lnTo>
                    <a:pt x="16" y="142"/>
                  </a:lnTo>
                  <a:lnTo>
                    <a:pt x="21" y="101"/>
                  </a:lnTo>
                  <a:lnTo>
                    <a:pt x="26" y="62"/>
                  </a:lnTo>
                  <a:lnTo>
                    <a:pt x="29" y="44"/>
                  </a:lnTo>
                  <a:lnTo>
                    <a:pt x="30" y="27"/>
                  </a:lnTo>
                  <a:lnTo>
                    <a:pt x="31" y="1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1A41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9" name="Freeform 2220"/>
            <p:cNvSpPr>
              <a:spLocks/>
            </p:cNvSpPr>
            <p:nvPr/>
          </p:nvSpPr>
          <p:spPr bwMode="auto">
            <a:xfrm>
              <a:off x="7539038" y="4810125"/>
              <a:ext cx="69850" cy="1035050"/>
            </a:xfrm>
            <a:custGeom>
              <a:avLst/>
              <a:gdLst>
                <a:gd name="T0" fmla="*/ 9 w 44"/>
                <a:gd name="T1" fmla="*/ 0 h 652"/>
                <a:gd name="T2" fmla="*/ 10 w 44"/>
                <a:gd name="T3" fmla="*/ 13 h 652"/>
                <a:gd name="T4" fmla="*/ 12 w 44"/>
                <a:gd name="T5" fmla="*/ 27 h 652"/>
                <a:gd name="T6" fmla="*/ 14 w 44"/>
                <a:gd name="T7" fmla="*/ 44 h 652"/>
                <a:gd name="T8" fmla="*/ 17 w 44"/>
                <a:gd name="T9" fmla="*/ 62 h 652"/>
                <a:gd name="T10" fmla="*/ 21 w 44"/>
                <a:gd name="T11" fmla="*/ 101 h 652"/>
                <a:gd name="T12" fmla="*/ 26 w 44"/>
                <a:gd name="T13" fmla="*/ 142 h 652"/>
                <a:gd name="T14" fmla="*/ 34 w 44"/>
                <a:gd name="T15" fmla="*/ 199 h 652"/>
                <a:gd name="T16" fmla="*/ 35 w 44"/>
                <a:gd name="T17" fmla="*/ 216 h 652"/>
                <a:gd name="T18" fmla="*/ 36 w 44"/>
                <a:gd name="T19" fmla="*/ 230 h 652"/>
                <a:gd name="T20" fmla="*/ 37 w 44"/>
                <a:gd name="T21" fmla="*/ 243 h 652"/>
                <a:gd name="T22" fmla="*/ 39 w 44"/>
                <a:gd name="T23" fmla="*/ 253 h 652"/>
                <a:gd name="T24" fmla="*/ 40 w 44"/>
                <a:gd name="T25" fmla="*/ 261 h 652"/>
                <a:gd name="T26" fmla="*/ 39 w 44"/>
                <a:gd name="T27" fmla="*/ 269 h 652"/>
                <a:gd name="T28" fmla="*/ 39 w 44"/>
                <a:gd name="T29" fmla="*/ 279 h 652"/>
                <a:gd name="T30" fmla="*/ 37 w 44"/>
                <a:gd name="T31" fmla="*/ 292 h 652"/>
                <a:gd name="T32" fmla="*/ 36 w 44"/>
                <a:gd name="T33" fmla="*/ 308 h 652"/>
                <a:gd name="T34" fmla="*/ 35 w 44"/>
                <a:gd name="T35" fmla="*/ 326 h 652"/>
                <a:gd name="T36" fmla="*/ 32 w 44"/>
                <a:gd name="T37" fmla="*/ 347 h 652"/>
                <a:gd name="T38" fmla="*/ 31 w 44"/>
                <a:gd name="T39" fmla="*/ 370 h 652"/>
                <a:gd name="T40" fmla="*/ 30 w 44"/>
                <a:gd name="T41" fmla="*/ 396 h 652"/>
                <a:gd name="T42" fmla="*/ 28 w 44"/>
                <a:gd name="T43" fmla="*/ 423 h 652"/>
                <a:gd name="T44" fmla="*/ 28 w 44"/>
                <a:gd name="T45" fmla="*/ 482 h 652"/>
                <a:gd name="T46" fmla="*/ 30 w 44"/>
                <a:gd name="T47" fmla="*/ 514 h 652"/>
                <a:gd name="T48" fmla="*/ 34 w 44"/>
                <a:gd name="T49" fmla="*/ 580 h 652"/>
                <a:gd name="T50" fmla="*/ 37 w 44"/>
                <a:gd name="T51" fmla="*/ 615 h 652"/>
                <a:gd name="T52" fmla="*/ 44 w 44"/>
                <a:gd name="T53" fmla="*/ 651 h 652"/>
                <a:gd name="T54" fmla="*/ 35 w 44"/>
                <a:gd name="T55" fmla="*/ 652 h 652"/>
                <a:gd name="T56" fmla="*/ 28 w 44"/>
                <a:gd name="T57" fmla="*/ 615 h 652"/>
                <a:gd name="T58" fmla="*/ 25 w 44"/>
                <a:gd name="T59" fmla="*/ 580 h 652"/>
                <a:gd name="T60" fmla="*/ 21 w 44"/>
                <a:gd name="T61" fmla="*/ 514 h 652"/>
                <a:gd name="T62" fmla="*/ 19 w 44"/>
                <a:gd name="T63" fmla="*/ 482 h 652"/>
                <a:gd name="T64" fmla="*/ 19 w 44"/>
                <a:gd name="T65" fmla="*/ 423 h 652"/>
                <a:gd name="T66" fmla="*/ 21 w 44"/>
                <a:gd name="T67" fmla="*/ 396 h 652"/>
                <a:gd name="T68" fmla="*/ 22 w 44"/>
                <a:gd name="T69" fmla="*/ 370 h 652"/>
                <a:gd name="T70" fmla="*/ 23 w 44"/>
                <a:gd name="T71" fmla="*/ 347 h 652"/>
                <a:gd name="T72" fmla="*/ 26 w 44"/>
                <a:gd name="T73" fmla="*/ 326 h 652"/>
                <a:gd name="T74" fmla="*/ 27 w 44"/>
                <a:gd name="T75" fmla="*/ 308 h 652"/>
                <a:gd name="T76" fmla="*/ 28 w 44"/>
                <a:gd name="T77" fmla="*/ 292 h 652"/>
                <a:gd name="T78" fmla="*/ 30 w 44"/>
                <a:gd name="T79" fmla="*/ 279 h 652"/>
                <a:gd name="T80" fmla="*/ 30 w 44"/>
                <a:gd name="T81" fmla="*/ 269 h 652"/>
                <a:gd name="T82" fmla="*/ 31 w 44"/>
                <a:gd name="T83" fmla="*/ 261 h 652"/>
                <a:gd name="T84" fmla="*/ 30 w 44"/>
                <a:gd name="T85" fmla="*/ 253 h 652"/>
                <a:gd name="T86" fmla="*/ 28 w 44"/>
                <a:gd name="T87" fmla="*/ 243 h 652"/>
                <a:gd name="T88" fmla="*/ 27 w 44"/>
                <a:gd name="T89" fmla="*/ 230 h 652"/>
                <a:gd name="T90" fmla="*/ 26 w 44"/>
                <a:gd name="T91" fmla="*/ 216 h 652"/>
                <a:gd name="T92" fmla="*/ 25 w 44"/>
                <a:gd name="T93" fmla="*/ 199 h 652"/>
                <a:gd name="T94" fmla="*/ 17 w 44"/>
                <a:gd name="T95" fmla="*/ 142 h 652"/>
                <a:gd name="T96" fmla="*/ 12 w 44"/>
                <a:gd name="T97" fmla="*/ 101 h 652"/>
                <a:gd name="T98" fmla="*/ 8 w 44"/>
                <a:gd name="T99" fmla="*/ 62 h 652"/>
                <a:gd name="T100" fmla="*/ 5 w 44"/>
                <a:gd name="T101" fmla="*/ 44 h 652"/>
                <a:gd name="T102" fmla="*/ 3 w 44"/>
                <a:gd name="T103" fmla="*/ 27 h 652"/>
                <a:gd name="T104" fmla="*/ 1 w 44"/>
                <a:gd name="T105" fmla="*/ 13 h 652"/>
                <a:gd name="T106" fmla="*/ 0 w 44"/>
                <a:gd name="T107" fmla="*/ 2 h 652"/>
                <a:gd name="T108" fmla="*/ 9 w 44"/>
                <a:gd name="T10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" h="652">
                  <a:moveTo>
                    <a:pt x="9" y="0"/>
                  </a:moveTo>
                  <a:lnTo>
                    <a:pt x="10" y="13"/>
                  </a:lnTo>
                  <a:lnTo>
                    <a:pt x="12" y="27"/>
                  </a:lnTo>
                  <a:lnTo>
                    <a:pt x="14" y="44"/>
                  </a:lnTo>
                  <a:lnTo>
                    <a:pt x="17" y="62"/>
                  </a:lnTo>
                  <a:lnTo>
                    <a:pt x="21" y="101"/>
                  </a:lnTo>
                  <a:lnTo>
                    <a:pt x="26" y="142"/>
                  </a:lnTo>
                  <a:lnTo>
                    <a:pt x="34" y="199"/>
                  </a:lnTo>
                  <a:lnTo>
                    <a:pt x="35" y="216"/>
                  </a:lnTo>
                  <a:lnTo>
                    <a:pt x="36" y="230"/>
                  </a:lnTo>
                  <a:lnTo>
                    <a:pt x="37" y="243"/>
                  </a:lnTo>
                  <a:lnTo>
                    <a:pt x="39" y="253"/>
                  </a:lnTo>
                  <a:lnTo>
                    <a:pt x="40" y="261"/>
                  </a:lnTo>
                  <a:lnTo>
                    <a:pt x="39" y="269"/>
                  </a:lnTo>
                  <a:lnTo>
                    <a:pt x="39" y="279"/>
                  </a:lnTo>
                  <a:lnTo>
                    <a:pt x="37" y="292"/>
                  </a:lnTo>
                  <a:lnTo>
                    <a:pt x="36" y="308"/>
                  </a:lnTo>
                  <a:lnTo>
                    <a:pt x="35" y="326"/>
                  </a:lnTo>
                  <a:lnTo>
                    <a:pt x="32" y="347"/>
                  </a:lnTo>
                  <a:lnTo>
                    <a:pt x="31" y="370"/>
                  </a:lnTo>
                  <a:lnTo>
                    <a:pt x="30" y="396"/>
                  </a:lnTo>
                  <a:lnTo>
                    <a:pt x="28" y="423"/>
                  </a:lnTo>
                  <a:lnTo>
                    <a:pt x="28" y="482"/>
                  </a:lnTo>
                  <a:lnTo>
                    <a:pt x="30" y="514"/>
                  </a:lnTo>
                  <a:lnTo>
                    <a:pt x="34" y="580"/>
                  </a:lnTo>
                  <a:lnTo>
                    <a:pt x="37" y="615"/>
                  </a:lnTo>
                  <a:lnTo>
                    <a:pt x="44" y="651"/>
                  </a:lnTo>
                  <a:lnTo>
                    <a:pt x="35" y="652"/>
                  </a:lnTo>
                  <a:lnTo>
                    <a:pt x="28" y="615"/>
                  </a:lnTo>
                  <a:lnTo>
                    <a:pt x="25" y="580"/>
                  </a:lnTo>
                  <a:lnTo>
                    <a:pt x="21" y="514"/>
                  </a:lnTo>
                  <a:lnTo>
                    <a:pt x="19" y="482"/>
                  </a:lnTo>
                  <a:lnTo>
                    <a:pt x="19" y="423"/>
                  </a:lnTo>
                  <a:lnTo>
                    <a:pt x="21" y="396"/>
                  </a:lnTo>
                  <a:lnTo>
                    <a:pt x="22" y="370"/>
                  </a:lnTo>
                  <a:lnTo>
                    <a:pt x="23" y="347"/>
                  </a:lnTo>
                  <a:lnTo>
                    <a:pt x="26" y="326"/>
                  </a:lnTo>
                  <a:lnTo>
                    <a:pt x="27" y="308"/>
                  </a:lnTo>
                  <a:lnTo>
                    <a:pt x="28" y="292"/>
                  </a:lnTo>
                  <a:lnTo>
                    <a:pt x="30" y="279"/>
                  </a:lnTo>
                  <a:lnTo>
                    <a:pt x="30" y="269"/>
                  </a:lnTo>
                  <a:lnTo>
                    <a:pt x="31" y="261"/>
                  </a:lnTo>
                  <a:lnTo>
                    <a:pt x="30" y="253"/>
                  </a:lnTo>
                  <a:lnTo>
                    <a:pt x="28" y="243"/>
                  </a:lnTo>
                  <a:lnTo>
                    <a:pt x="27" y="230"/>
                  </a:lnTo>
                  <a:lnTo>
                    <a:pt x="26" y="216"/>
                  </a:lnTo>
                  <a:lnTo>
                    <a:pt x="25" y="199"/>
                  </a:lnTo>
                  <a:lnTo>
                    <a:pt x="17" y="142"/>
                  </a:lnTo>
                  <a:lnTo>
                    <a:pt x="12" y="101"/>
                  </a:lnTo>
                  <a:lnTo>
                    <a:pt x="8" y="62"/>
                  </a:lnTo>
                  <a:lnTo>
                    <a:pt x="5" y="44"/>
                  </a:lnTo>
                  <a:lnTo>
                    <a:pt x="3" y="27"/>
                  </a:lnTo>
                  <a:lnTo>
                    <a:pt x="1" y="13"/>
                  </a:lnTo>
                  <a:lnTo>
                    <a:pt x="0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1A41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0" name="Freeform 2221"/>
            <p:cNvSpPr>
              <a:spLocks/>
            </p:cNvSpPr>
            <p:nvPr/>
          </p:nvSpPr>
          <p:spPr bwMode="auto">
            <a:xfrm>
              <a:off x="7385051" y="5822950"/>
              <a:ext cx="103188" cy="50800"/>
            </a:xfrm>
            <a:custGeom>
              <a:avLst/>
              <a:gdLst>
                <a:gd name="T0" fmla="*/ 4 w 65"/>
                <a:gd name="T1" fmla="*/ 0 h 32"/>
                <a:gd name="T2" fmla="*/ 23 w 65"/>
                <a:gd name="T3" fmla="*/ 4 h 32"/>
                <a:gd name="T4" fmla="*/ 43 w 65"/>
                <a:gd name="T5" fmla="*/ 5 h 32"/>
                <a:gd name="T6" fmla="*/ 64 w 65"/>
                <a:gd name="T7" fmla="*/ 4 h 32"/>
                <a:gd name="T8" fmla="*/ 64 w 65"/>
                <a:gd name="T9" fmla="*/ 5 h 32"/>
                <a:gd name="T10" fmla="*/ 65 w 65"/>
                <a:gd name="T11" fmla="*/ 5 h 32"/>
                <a:gd name="T12" fmla="*/ 65 w 65"/>
                <a:gd name="T13" fmla="*/ 7 h 32"/>
                <a:gd name="T14" fmla="*/ 64 w 65"/>
                <a:gd name="T15" fmla="*/ 30 h 32"/>
                <a:gd name="T16" fmla="*/ 63 w 65"/>
                <a:gd name="T17" fmla="*/ 31 h 32"/>
                <a:gd name="T18" fmla="*/ 61 w 65"/>
                <a:gd name="T19" fmla="*/ 31 h 32"/>
                <a:gd name="T20" fmla="*/ 42 w 65"/>
                <a:gd name="T21" fmla="*/ 32 h 32"/>
                <a:gd name="T22" fmla="*/ 22 w 65"/>
                <a:gd name="T23" fmla="*/ 31 h 32"/>
                <a:gd name="T24" fmla="*/ 1 w 65"/>
                <a:gd name="T25" fmla="*/ 27 h 32"/>
                <a:gd name="T26" fmla="*/ 0 w 65"/>
                <a:gd name="T27" fmla="*/ 26 h 32"/>
                <a:gd name="T28" fmla="*/ 0 w 65"/>
                <a:gd name="T29" fmla="*/ 24 h 32"/>
                <a:gd name="T30" fmla="*/ 1 w 65"/>
                <a:gd name="T31" fmla="*/ 3 h 32"/>
                <a:gd name="T32" fmla="*/ 1 w 65"/>
                <a:gd name="T33" fmla="*/ 0 h 32"/>
                <a:gd name="T34" fmla="*/ 4 w 65"/>
                <a:gd name="T3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32">
                  <a:moveTo>
                    <a:pt x="4" y="0"/>
                  </a:moveTo>
                  <a:lnTo>
                    <a:pt x="23" y="4"/>
                  </a:lnTo>
                  <a:lnTo>
                    <a:pt x="43" y="5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7"/>
                  </a:lnTo>
                  <a:lnTo>
                    <a:pt x="64" y="30"/>
                  </a:lnTo>
                  <a:lnTo>
                    <a:pt x="63" y="31"/>
                  </a:lnTo>
                  <a:lnTo>
                    <a:pt x="61" y="31"/>
                  </a:lnTo>
                  <a:lnTo>
                    <a:pt x="42" y="32"/>
                  </a:lnTo>
                  <a:lnTo>
                    <a:pt x="22" y="31"/>
                  </a:lnTo>
                  <a:lnTo>
                    <a:pt x="1" y="27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1" y="3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5FA5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1" name="Freeform 2222"/>
            <p:cNvSpPr>
              <a:spLocks/>
            </p:cNvSpPr>
            <p:nvPr/>
          </p:nvSpPr>
          <p:spPr bwMode="auto">
            <a:xfrm>
              <a:off x="7567613" y="5822950"/>
              <a:ext cx="104775" cy="50800"/>
            </a:xfrm>
            <a:custGeom>
              <a:avLst/>
              <a:gdLst>
                <a:gd name="T0" fmla="*/ 62 w 66"/>
                <a:gd name="T1" fmla="*/ 0 h 32"/>
                <a:gd name="T2" fmla="*/ 64 w 66"/>
                <a:gd name="T3" fmla="*/ 0 h 32"/>
                <a:gd name="T4" fmla="*/ 64 w 66"/>
                <a:gd name="T5" fmla="*/ 3 h 32"/>
                <a:gd name="T6" fmla="*/ 66 w 66"/>
                <a:gd name="T7" fmla="*/ 24 h 32"/>
                <a:gd name="T8" fmla="*/ 66 w 66"/>
                <a:gd name="T9" fmla="*/ 26 h 32"/>
                <a:gd name="T10" fmla="*/ 64 w 66"/>
                <a:gd name="T11" fmla="*/ 27 h 32"/>
                <a:gd name="T12" fmla="*/ 44 w 66"/>
                <a:gd name="T13" fmla="*/ 31 h 32"/>
                <a:gd name="T14" fmla="*/ 23 w 66"/>
                <a:gd name="T15" fmla="*/ 32 h 32"/>
                <a:gd name="T16" fmla="*/ 4 w 66"/>
                <a:gd name="T17" fmla="*/ 31 h 32"/>
                <a:gd name="T18" fmla="*/ 3 w 66"/>
                <a:gd name="T19" fmla="*/ 31 h 32"/>
                <a:gd name="T20" fmla="*/ 1 w 66"/>
                <a:gd name="T21" fmla="*/ 30 h 32"/>
                <a:gd name="T22" fmla="*/ 0 w 66"/>
                <a:gd name="T23" fmla="*/ 7 h 32"/>
                <a:gd name="T24" fmla="*/ 0 w 66"/>
                <a:gd name="T25" fmla="*/ 5 h 32"/>
                <a:gd name="T26" fmla="*/ 1 w 66"/>
                <a:gd name="T27" fmla="*/ 5 h 32"/>
                <a:gd name="T28" fmla="*/ 3 w 66"/>
                <a:gd name="T29" fmla="*/ 4 h 32"/>
                <a:gd name="T30" fmla="*/ 22 w 66"/>
                <a:gd name="T31" fmla="*/ 5 h 32"/>
                <a:gd name="T32" fmla="*/ 43 w 66"/>
                <a:gd name="T33" fmla="*/ 4 h 32"/>
                <a:gd name="T34" fmla="*/ 62 w 66"/>
                <a:gd name="T3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2">
                  <a:moveTo>
                    <a:pt x="62" y="0"/>
                  </a:moveTo>
                  <a:lnTo>
                    <a:pt x="64" y="0"/>
                  </a:lnTo>
                  <a:lnTo>
                    <a:pt x="64" y="3"/>
                  </a:lnTo>
                  <a:lnTo>
                    <a:pt x="66" y="24"/>
                  </a:lnTo>
                  <a:lnTo>
                    <a:pt x="66" y="26"/>
                  </a:lnTo>
                  <a:lnTo>
                    <a:pt x="64" y="27"/>
                  </a:lnTo>
                  <a:lnTo>
                    <a:pt x="44" y="31"/>
                  </a:lnTo>
                  <a:lnTo>
                    <a:pt x="23" y="32"/>
                  </a:lnTo>
                  <a:lnTo>
                    <a:pt x="4" y="31"/>
                  </a:lnTo>
                  <a:lnTo>
                    <a:pt x="3" y="31"/>
                  </a:lnTo>
                  <a:lnTo>
                    <a:pt x="1" y="30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5"/>
                  </a:lnTo>
                  <a:lnTo>
                    <a:pt x="3" y="4"/>
                  </a:lnTo>
                  <a:lnTo>
                    <a:pt x="22" y="5"/>
                  </a:lnTo>
                  <a:lnTo>
                    <a:pt x="43" y="4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5FA5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60" name="Oval 1059"/>
          <p:cNvSpPr/>
          <p:nvPr/>
        </p:nvSpPr>
        <p:spPr>
          <a:xfrm>
            <a:off x="6513138" y="3395399"/>
            <a:ext cx="477069" cy="621982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232" name="Group 2231"/>
          <p:cNvGrpSpPr/>
          <p:nvPr/>
        </p:nvGrpSpPr>
        <p:grpSpPr>
          <a:xfrm>
            <a:off x="7002942" y="1714062"/>
            <a:ext cx="118687" cy="420646"/>
            <a:chOff x="9828213" y="341313"/>
            <a:chExt cx="747713" cy="2676525"/>
          </a:xfrm>
        </p:grpSpPr>
        <p:sp>
          <p:nvSpPr>
            <p:cNvPr id="2115" name="Freeform 1521"/>
            <p:cNvSpPr>
              <a:spLocks/>
            </p:cNvSpPr>
            <p:nvPr/>
          </p:nvSpPr>
          <p:spPr bwMode="auto">
            <a:xfrm>
              <a:off x="9972676" y="460375"/>
              <a:ext cx="171450" cy="107950"/>
            </a:xfrm>
            <a:custGeom>
              <a:avLst/>
              <a:gdLst>
                <a:gd name="T0" fmla="*/ 106 w 108"/>
                <a:gd name="T1" fmla="*/ 0 h 68"/>
                <a:gd name="T2" fmla="*/ 108 w 108"/>
                <a:gd name="T3" fmla="*/ 14 h 68"/>
                <a:gd name="T4" fmla="*/ 104 w 108"/>
                <a:gd name="T5" fmla="*/ 29 h 68"/>
                <a:gd name="T6" fmla="*/ 97 w 108"/>
                <a:gd name="T7" fmla="*/ 44 h 68"/>
                <a:gd name="T8" fmla="*/ 84 w 108"/>
                <a:gd name="T9" fmla="*/ 55 h 68"/>
                <a:gd name="T10" fmla="*/ 67 w 108"/>
                <a:gd name="T11" fmla="*/ 64 h 68"/>
                <a:gd name="T12" fmla="*/ 48 w 108"/>
                <a:gd name="T13" fmla="*/ 68 h 68"/>
                <a:gd name="T14" fmla="*/ 25 w 108"/>
                <a:gd name="T15" fmla="*/ 67 h 68"/>
                <a:gd name="T16" fmla="*/ 0 w 108"/>
                <a:gd name="T17" fmla="*/ 59 h 68"/>
                <a:gd name="T18" fmla="*/ 22 w 108"/>
                <a:gd name="T19" fmla="*/ 56 h 68"/>
                <a:gd name="T20" fmla="*/ 43 w 108"/>
                <a:gd name="T21" fmla="*/ 51 h 68"/>
                <a:gd name="T22" fmla="*/ 63 w 108"/>
                <a:gd name="T23" fmla="*/ 42 h 68"/>
                <a:gd name="T24" fmla="*/ 80 w 108"/>
                <a:gd name="T25" fmla="*/ 32 h 68"/>
                <a:gd name="T26" fmla="*/ 94 w 108"/>
                <a:gd name="T27" fmla="*/ 22 h 68"/>
                <a:gd name="T28" fmla="*/ 103 w 108"/>
                <a:gd name="T29" fmla="*/ 10 h 68"/>
                <a:gd name="T30" fmla="*/ 106 w 108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68">
                  <a:moveTo>
                    <a:pt x="106" y="0"/>
                  </a:moveTo>
                  <a:lnTo>
                    <a:pt x="108" y="14"/>
                  </a:lnTo>
                  <a:lnTo>
                    <a:pt x="104" y="29"/>
                  </a:lnTo>
                  <a:lnTo>
                    <a:pt x="97" y="44"/>
                  </a:lnTo>
                  <a:lnTo>
                    <a:pt x="84" y="55"/>
                  </a:lnTo>
                  <a:lnTo>
                    <a:pt x="67" y="64"/>
                  </a:lnTo>
                  <a:lnTo>
                    <a:pt x="48" y="68"/>
                  </a:lnTo>
                  <a:lnTo>
                    <a:pt x="25" y="67"/>
                  </a:lnTo>
                  <a:lnTo>
                    <a:pt x="0" y="59"/>
                  </a:lnTo>
                  <a:lnTo>
                    <a:pt x="22" y="56"/>
                  </a:lnTo>
                  <a:lnTo>
                    <a:pt x="43" y="51"/>
                  </a:lnTo>
                  <a:lnTo>
                    <a:pt x="63" y="42"/>
                  </a:lnTo>
                  <a:lnTo>
                    <a:pt x="80" y="32"/>
                  </a:lnTo>
                  <a:lnTo>
                    <a:pt x="94" y="22"/>
                  </a:lnTo>
                  <a:lnTo>
                    <a:pt x="103" y="1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6" name="Freeform 1522"/>
            <p:cNvSpPr>
              <a:spLocks/>
            </p:cNvSpPr>
            <p:nvPr/>
          </p:nvSpPr>
          <p:spPr bwMode="auto">
            <a:xfrm>
              <a:off x="9967913" y="422275"/>
              <a:ext cx="169863" cy="109538"/>
            </a:xfrm>
            <a:custGeom>
              <a:avLst/>
              <a:gdLst>
                <a:gd name="T0" fmla="*/ 105 w 107"/>
                <a:gd name="T1" fmla="*/ 0 h 69"/>
                <a:gd name="T2" fmla="*/ 107 w 107"/>
                <a:gd name="T3" fmla="*/ 15 h 69"/>
                <a:gd name="T4" fmla="*/ 103 w 107"/>
                <a:gd name="T5" fmla="*/ 29 h 69"/>
                <a:gd name="T6" fmla="*/ 96 w 107"/>
                <a:gd name="T7" fmla="*/ 43 h 69"/>
                <a:gd name="T8" fmla="*/ 83 w 107"/>
                <a:gd name="T9" fmla="*/ 56 h 69"/>
                <a:gd name="T10" fmla="*/ 66 w 107"/>
                <a:gd name="T11" fmla="*/ 65 h 69"/>
                <a:gd name="T12" fmla="*/ 47 w 107"/>
                <a:gd name="T13" fmla="*/ 69 h 69"/>
                <a:gd name="T14" fmla="*/ 24 w 107"/>
                <a:gd name="T15" fmla="*/ 68 h 69"/>
                <a:gd name="T16" fmla="*/ 0 w 107"/>
                <a:gd name="T17" fmla="*/ 59 h 69"/>
                <a:gd name="T18" fmla="*/ 21 w 107"/>
                <a:gd name="T19" fmla="*/ 57 h 69"/>
                <a:gd name="T20" fmla="*/ 43 w 107"/>
                <a:gd name="T21" fmla="*/ 51 h 69"/>
                <a:gd name="T22" fmla="*/ 62 w 107"/>
                <a:gd name="T23" fmla="*/ 43 h 69"/>
                <a:gd name="T24" fmla="*/ 80 w 107"/>
                <a:gd name="T25" fmla="*/ 33 h 69"/>
                <a:gd name="T26" fmla="*/ 93 w 107"/>
                <a:gd name="T27" fmla="*/ 21 h 69"/>
                <a:gd name="T28" fmla="*/ 102 w 107"/>
                <a:gd name="T29" fmla="*/ 10 h 69"/>
                <a:gd name="T30" fmla="*/ 105 w 107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9">
                  <a:moveTo>
                    <a:pt x="105" y="0"/>
                  </a:moveTo>
                  <a:lnTo>
                    <a:pt x="107" y="15"/>
                  </a:lnTo>
                  <a:lnTo>
                    <a:pt x="103" y="29"/>
                  </a:lnTo>
                  <a:lnTo>
                    <a:pt x="96" y="43"/>
                  </a:lnTo>
                  <a:lnTo>
                    <a:pt x="83" y="56"/>
                  </a:lnTo>
                  <a:lnTo>
                    <a:pt x="66" y="65"/>
                  </a:lnTo>
                  <a:lnTo>
                    <a:pt x="47" y="69"/>
                  </a:lnTo>
                  <a:lnTo>
                    <a:pt x="24" y="68"/>
                  </a:lnTo>
                  <a:lnTo>
                    <a:pt x="0" y="59"/>
                  </a:lnTo>
                  <a:lnTo>
                    <a:pt x="21" y="57"/>
                  </a:lnTo>
                  <a:lnTo>
                    <a:pt x="43" y="51"/>
                  </a:lnTo>
                  <a:lnTo>
                    <a:pt x="62" y="43"/>
                  </a:lnTo>
                  <a:lnTo>
                    <a:pt x="80" y="33"/>
                  </a:lnTo>
                  <a:lnTo>
                    <a:pt x="93" y="21"/>
                  </a:lnTo>
                  <a:lnTo>
                    <a:pt x="102" y="10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8" name="Freeform 1524"/>
            <p:cNvSpPr>
              <a:spLocks/>
            </p:cNvSpPr>
            <p:nvPr/>
          </p:nvSpPr>
          <p:spPr bwMode="auto">
            <a:xfrm>
              <a:off x="10036176" y="2038350"/>
              <a:ext cx="133350" cy="798513"/>
            </a:xfrm>
            <a:custGeom>
              <a:avLst/>
              <a:gdLst>
                <a:gd name="T0" fmla="*/ 22 w 84"/>
                <a:gd name="T1" fmla="*/ 0 h 503"/>
                <a:gd name="T2" fmla="*/ 28 w 84"/>
                <a:gd name="T3" fmla="*/ 3 h 503"/>
                <a:gd name="T4" fmla="*/ 36 w 84"/>
                <a:gd name="T5" fmla="*/ 11 h 503"/>
                <a:gd name="T6" fmla="*/ 44 w 84"/>
                <a:gd name="T7" fmla="*/ 22 h 503"/>
                <a:gd name="T8" fmla="*/ 52 w 84"/>
                <a:gd name="T9" fmla="*/ 36 h 503"/>
                <a:gd name="T10" fmla="*/ 59 w 84"/>
                <a:gd name="T11" fmla="*/ 54 h 503"/>
                <a:gd name="T12" fmla="*/ 66 w 84"/>
                <a:gd name="T13" fmla="*/ 73 h 503"/>
                <a:gd name="T14" fmla="*/ 72 w 84"/>
                <a:gd name="T15" fmla="*/ 96 h 503"/>
                <a:gd name="T16" fmla="*/ 77 w 84"/>
                <a:gd name="T17" fmla="*/ 120 h 503"/>
                <a:gd name="T18" fmla="*/ 81 w 84"/>
                <a:gd name="T19" fmla="*/ 145 h 503"/>
                <a:gd name="T20" fmla="*/ 82 w 84"/>
                <a:gd name="T21" fmla="*/ 171 h 503"/>
                <a:gd name="T22" fmla="*/ 84 w 84"/>
                <a:gd name="T23" fmla="*/ 197 h 503"/>
                <a:gd name="T24" fmla="*/ 81 w 84"/>
                <a:gd name="T25" fmla="*/ 222 h 503"/>
                <a:gd name="T26" fmla="*/ 80 w 84"/>
                <a:gd name="T27" fmla="*/ 239 h 503"/>
                <a:gd name="T28" fmla="*/ 78 w 84"/>
                <a:gd name="T29" fmla="*/ 262 h 503"/>
                <a:gd name="T30" fmla="*/ 77 w 84"/>
                <a:gd name="T31" fmla="*/ 289 h 503"/>
                <a:gd name="T32" fmla="*/ 76 w 84"/>
                <a:gd name="T33" fmla="*/ 318 h 503"/>
                <a:gd name="T34" fmla="*/ 73 w 84"/>
                <a:gd name="T35" fmla="*/ 349 h 503"/>
                <a:gd name="T36" fmla="*/ 71 w 84"/>
                <a:gd name="T37" fmla="*/ 381 h 503"/>
                <a:gd name="T38" fmla="*/ 67 w 84"/>
                <a:gd name="T39" fmla="*/ 412 h 503"/>
                <a:gd name="T40" fmla="*/ 63 w 84"/>
                <a:gd name="T41" fmla="*/ 440 h 503"/>
                <a:gd name="T42" fmla="*/ 58 w 84"/>
                <a:gd name="T43" fmla="*/ 465 h 503"/>
                <a:gd name="T44" fmla="*/ 52 w 84"/>
                <a:gd name="T45" fmla="*/ 484 h 503"/>
                <a:gd name="T46" fmla="*/ 43 w 84"/>
                <a:gd name="T47" fmla="*/ 498 h 503"/>
                <a:gd name="T48" fmla="*/ 35 w 84"/>
                <a:gd name="T49" fmla="*/ 503 h 503"/>
                <a:gd name="T50" fmla="*/ 30 w 84"/>
                <a:gd name="T51" fmla="*/ 501 h 503"/>
                <a:gd name="T52" fmla="*/ 23 w 84"/>
                <a:gd name="T53" fmla="*/ 490 h 503"/>
                <a:gd name="T54" fmla="*/ 19 w 84"/>
                <a:gd name="T55" fmla="*/ 475 h 503"/>
                <a:gd name="T56" fmla="*/ 16 w 84"/>
                <a:gd name="T57" fmla="*/ 454 h 503"/>
                <a:gd name="T58" fmla="*/ 13 w 84"/>
                <a:gd name="T59" fmla="*/ 430 h 503"/>
                <a:gd name="T60" fmla="*/ 10 w 84"/>
                <a:gd name="T61" fmla="*/ 402 h 503"/>
                <a:gd name="T62" fmla="*/ 9 w 84"/>
                <a:gd name="T63" fmla="*/ 372 h 503"/>
                <a:gd name="T64" fmla="*/ 8 w 84"/>
                <a:gd name="T65" fmla="*/ 340 h 503"/>
                <a:gd name="T66" fmla="*/ 8 w 84"/>
                <a:gd name="T67" fmla="*/ 307 h 503"/>
                <a:gd name="T68" fmla="*/ 7 w 84"/>
                <a:gd name="T69" fmla="*/ 274 h 503"/>
                <a:gd name="T70" fmla="*/ 7 w 84"/>
                <a:gd name="T71" fmla="*/ 241 h 503"/>
                <a:gd name="T72" fmla="*/ 5 w 84"/>
                <a:gd name="T73" fmla="*/ 211 h 503"/>
                <a:gd name="T74" fmla="*/ 5 w 84"/>
                <a:gd name="T75" fmla="*/ 182 h 503"/>
                <a:gd name="T76" fmla="*/ 4 w 84"/>
                <a:gd name="T77" fmla="*/ 158 h 503"/>
                <a:gd name="T78" fmla="*/ 3 w 84"/>
                <a:gd name="T79" fmla="*/ 138 h 503"/>
                <a:gd name="T80" fmla="*/ 0 w 84"/>
                <a:gd name="T81" fmla="*/ 98 h 503"/>
                <a:gd name="T82" fmla="*/ 0 w 84"/>
                <a:gd name="T83" fmla="*/ 66 h 503"/>
                <a:gd name="T84" fmla="*/ 1 w 84"/>
                <a:gd name="T85" fmla="*/ 40 h 503"/>
                <a:gd name="T86" fmla="*/ 5 w 84"/>
                <a:gd name="T87" fmla="*/ 22 h 503"/>
                <a:gd name="T88" fmla="*/ 9 w 84"/>
                <a:gd name="T89" fmla="*/ 9 h 503"/>
                <a:gd name="T90" fmla="*/ 16 w 84"/>
                <a:gd name="T91" fmla="*/ 2 h 503"/>
                <a:gd name="T92" fmla="*/ 22 w 84"/>
                <a:gd name="T9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4" h="503">
                  <a:moveTo>
                    <a:pt x="22" y="0"/>
                  </a:moveTo>
                  <a:lnTo>
                    <a:pt x="28" y="3"/>
                  </a:lnTo>
                  <a:lnTo>
                    <a:pt x="36" y="11"/>
                  </a:lnTo>
                  <a:lnTo>
                    <a:pt x="44" y="22"/>
                  </a:lnTo>
                  <a:lnTo>
                    <a:pt x="52" y="36"/>
                  </a:lnTo>
                  <a:lnTo>
                    <a:pt x="59" y="54"/>
                  </a:lnTo>
                  <a:lnTo>
                    <a:pt x="66" y="73"/>
                  </a:lnTo>
                  <a:lnTo>
                    <a:pt x="72" y="96"/>
                  </a:lnTo>
                  <a:lnTo>
                    <a:pt x="77" y="120"/>
                  </a:lnTo>
                  <a:lnTo>
                    <a:pt x="81" y="145"/>
                  </a:lnTo>
                  <a:lnTo>
                    <a:pt x="82" y="171"/>
                  </a:lnTo>
                  <a:lnTo>
                    <a:pt x="84" y="197"/>
                  </a:lnTo>
                  <a:lnTo>
                    <a:pt x="81" y="222"/>
                  </a:lnTo>
                  <a:lnTo>
                    <a:pt x="80" y="239"/>
                  </a:lnTo>
                  <a:lnTo>
                    <a:pt x="78" y="262"/>
                  </a:lnTo>
                  <a:lnTo>
                    <a:pt x="77" y="289"/>
                  </a:lnTo>
                  <a:lnTo>
                    <a:pt x="76" y="318"/>
                  </a:lnTo>
                  <a:lnTo>
                    <a:pt x="73" y="349"/>
                  </a:lnTo>
                  <a:lnTo>
                    <a:pt x="71" y="381"/>
                  </a:lnTo>
                  <a:lnTo>
                    <a:pt x="67" y="412"/>
                  </a:lnTo>
                  <a:lnTo>
                    <a:pt x="63" y="440"/>
                  </a:lnTo>
                  <a:lnTo>
                    <a:pt x="58" y="465"/>
                  </a:lnTo>
                  <a:lnTo>
                    <a:pt x="52" y="484"/>
                  </a:lnTo>
                  <a:lnTo>
                    <a:pt x="43" y="498"/>
                  </a:lnTo>
                  <a:lnTo>
                    <a:pt x="35" y="503"/>
                  </a:lnTo>
                  <a:lnTo>
                    <a:pt x="30" y="501"/>
                  </a:lnTo>
                  <a:lnTo>
                    <a:pt x="23" y="490"/>
                  </a:lnTo>
                  <a:lnTo>
                    <a:pt x="19" y="475"/>
                  </a:lnTo>
                  <a:lnTo>
                    <a:pt x="16" y="454"/>
                  </a:lnTo>
                  <a:lnTo>
                    <a:pt x="13" y="430"/>
                  </a:lnTo>
                  <a:lnTo>
                    <a:pt x="10" y="402"/>
                  </a:lnTo>
                  <a:lnTo>
                    <a:pt x="9" y="372"/>
                  </a:lnTo>
                  <a:lnTo>
                    <a:pt x="8" y="340"/>
                  </a:lnTo>
                  <a:lnTo>
                    <a:pt x="8" y="307"/>
                  </a:lnTo>
                  <a:lnTo>
                    <a:pt x="7" y="274"/>
                  </a:lnTo>
                  <a:lnTo>
                    <a:pt x="7" y="241"/>
                  </a:lnTo>
                  <a:lnTo>
                    <a:pt x="5" y="211"/>
                  </a:lnTo>
                  <a:lnTo>
                    <a:pt x="5" y="182"/>
                  </a:lnTo>
                  <a:lnTo>
                    <a:pt x="4" y="158"/>
                  </a:lnTo>
                  <a:lnTo>
                    <a:pt x="3" y="138"/>
                  </a:lnTo>
                  <a:lnTo>
                    <a:pt x="0" y="98"/>
                  </a:lnTo>
                  <a:lnTo>
                    <a:pt x="0" y="66"/>
                  </a:lnTo>
                  <a:lnTo>
                    <a:pt x="1" y="40"/>
                  </a:lnTo>
                  <a:lnTo>
                    <a:pt x="5" y="22"/>
                  </a:lnTo>
                  <a:lnTo>
                    <a:pt x="9" y="9"/>
                  </a:lnTo>
                  <a:lnTo>
                    <a:pt x="16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9" name="Freeform 1525"/>
            <p:cNvSpPr>
              <a:spLocks/>
            </p:cNvSpPr>
            <p:nvPr/>
          </p:nvSpPr>
          <p:spPr bwMode="auto">
            <a:xfrm>
              <a:off x="10207626" y="2036763"/>
              <a:ext cx="138113" cy="800100"/>
            </a:xfrm>
            <a:custGeom>
              <a:avLst/>
              <a:gdLst>
                <a:gd name="T0" fmla="*/ 67 w 87"/>
                <a:gd name="T1" fmla="*/ 0 h 504"/>
                <a:gd name="T2" fmla="*/ 73 w 87"/>
                <a:gd name="T3" fmla="*/ 4 h 504"/>
                <a:gd name="T4" fmla="*/ 78 w 87"/>
                <a:gd name="T5" fmla="*/ 13 h 504"/>
                <a:gd name="T6" fmla="*/ 83 w 87"/>
                <a:gd name="T7" fmla="*/ 26 h 504"/>
                <a:gd name="T8" fmla="*/ 86 w 87"/>
                <a:gd name="T9" fmla="*/ 45 h 504"/>
                <a:gd name="T10" fmla="*/ 87 w 87"/>
                <a:gd name="T11" fmla="*/ 69 h 504"/>
                <a:gd name="T12" fmla="*/ 87 w 87"/>
                <a:gd name="T13" fmla="*/ 101 h 504"/>
                <a:gd name="T14" fmla="*/ 85 w 87"/>
                <a:gd name="T15" fmla="*/ 139 h 504"/>
                <a:gd name="T16" fmla="*/ 83 w 87"/>
                <a:gd name="T17" fmla="*/ 159 h 504"/>
                <a:gd name="T18" fmla="*/ 83 w 87"/>
                <a:gd name="T19" fmla="*/ 183 h 504"/>
                <a:gd name="T20" fmla="*/ 82 w 87"/>
                <a:gd name="T21" fmla="*/ 212 h 504"/>
                <a:gd name="T22" fmla="*/ 81 w 87"/>
                <a:gd name="T23" fmla="*/ 242 h 504"/>
                <a:gd name="T24" fmla="*/ 81 w 87"/>
                <a:gd name="T25" fmla="*/ 275 h 504"/>
                <a:gd name="T26" fmla="*/ 80 w 87"/>
                <a:gd name="T27" fmla="*/ 308 h 504"/>
                <a:gd name="T28" fmla="*/ 80 w 87"/>
                <a:gd name="T29" fmla="*/ 341 h 504"/>
                <a:gd name="T30" fmla="*/ 78 w 87"/>
                <a:gd name="T31" fmla="*/ 373 h 504"/>
                <a:gd name="T32" fmla="*/ 77 w 87"/>
                <a:gd name="T33" fmla="*/ 403 h 504"/>
                <a:gd name="T34" fmla="*/ 74 w 87"/>
                <a:gd name="T35" fmla="*/ 431 h 504"/>
                <a:gd name="T36" fmla="*/ 72 w 87"/>
                <a:gd name="T37" fmla="*/ 455 h 504"/>
                <a:gd name="T38" fmla="*/ 68 w 87"/>
                <a:gd name="T39" fmla="*/ 476 h 504"/>
                <a:gd name="T40" fmla="*/ 64 w 87"/>
                <a:gd name="T41" fmla="*/ 491 h 504"/>
                <a:gd name="T42" fmla="*/ 58 w 87"/>
                <a:gd name="T43" fmla="*/ 502 h 504"/>
                <a:gd name="T44" fmla="*/ 53 w 87"/>
                <a:gd name="T45" fmla="*/ 504 h 504"/>
                <a:gd name="T46" fmla="*/ 45 w 87"/>
                <a:gd name="T47" fmla="*/ 499 h 504"/>
                <a:gd name="T48" fmla="*/ 36 w 87"/>
                <a:gd name="T49" fmla="*/ 485 h 504"/>
                <a:gd name="T50" fmla="*/ 29 w 87"/>
                <a:gd name="T51" fmla="*/ 466 h 504"/>
                <a:gd name="T52" fmla="*/ 24 w 87"/>
                <a:gd name="T53" fmla="*/ 441 h 504"/>
                <a:gd name="T54" fmla="*/ 19 w 87"/>
                <a:gd name="T55" fmla="*/ 412 h 504"/>
                <a:gd name="T56" fmla="*/ 15 w 87"/>
                <a:gd name="T57" fmla="*/ 381 h 504"/>
                <a:gd name="T58" fmla="*/ 12 w 87"/>
                <a:gd name="T59" fmla="*/ 349 h 504"/>
                <a:gd name="T60" fmla="*/ 9 w 87"/>
                <a:gd name="T61" fmla="*/ 318 h 504"/>
                <a:gd name="T62" fmla="*/ 8 w 87"/>
                <a:gd name="T63" fmla="*/ 287 h 504"/>
                <a:gd name="T64" fmla="*/ 5 w 87"/>
                <a:gd name="T65" fmla="*/ 260 h 504"/>
                <a:gd name="T66" fmla="*/ 4 w 87"/>
                <a:gd name="T67" fmla="*/ 239 h 504"/>
                <a:gd name="T68" fmla="*/ 3 w 87"/>
                <a:gd name="T69" fmla="*/ 221 h 504"/>
                <a:gd name="T70" fmla="*/ 0 w 87"/>
                <a:gd name="T71" fmla="*/ 196 h 504"/>
                <a:gd name="T72" fmla="*/ 1 w 87"/>
                <a:gd name="T73" fmla="*/ 172 h 504"/>
                <a:gd name="T74" fmla="*/ 3 w 87"/>
                <a:gd name="T75" fmla="*/ 148 h 504"/>
                <a:gd name="T76" fmla="*/ 6 w 87"/>
                <a:gd name="T77" fmla="*/ 123 h 504"/>
                <a:gd name="T78" fmla="*/ 10 w 87"/>
                <a:gd name="T79" fmla="*/ 101 h 504"/>
                <a:gd name="T80" fmla="*/ 17 w 87"/>
                <a:gd name="T81" fmla="*/ 80 h 504"/>
                <a:gd name="T82" fmla="*/ 23 w 87"/>
                <a:gd name="T83" fmla="*/ 60 h 504"/>
                <a:gd name="T84" fmla="*/ 29 w 87"/>
                <a:gd name="T85" fmla="*/ 42 h 504"/>
                <a:gd name="T86" fmla="*/ 37 w 87"/>
                <a:gd name="T87" fmla="*/ 27 h 504"/>
                <a:gd name="T88" fmla="*/ 45 w 87"/>
                <a:gd name="T89" fmla="*/ 15 h 504"/>
                <a:gd name="T90" fmla="*/ 53 w 87"/>
                <a:gd name="T91" fmla="*/ 6 h 504"/>
                <a:gd name="T92" fmla="*/ 60 w 87"/>
                <a:gd name="T93" fmla="*/ 1 h 504"/>
                <a:gd name="T94" fmla="*/ 67 w 87"/>
                <a:gd name="T95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504">
                  <a:moveTo>
                    <a:pt x="67" y="0"/>
                  </a:moveTo>
                  <a:lnTo>
                    <a:pt x="73" y="4"/>
                  </a:lnTo>
                  <a:lnTo>
                    <a:pt x="78" y="13"/>
                  </a:lnTo>
                  <a:lnTo>
                    <a:pt x="83" y="26"/>
                  </a:lnTo>
                  <a:lnTo>
                    <a:pt x="86" y="45"/>
                  </a:lnTo>
                  <a:lnTo>
                    <a:pt x="87" y="69"/>
                  </a:lnTo>
                  <a:lnTo>
                    <a:pt x="87" y="101"/>
                  </a:lnTo>
                  <a:lnTo>
                    <a:pt x="85" y="139"/>
                  </a:lnTo>
                  <a:lnTo>
                    <a:pt x="83" y="159"/>
                  </a:lnTo>
                  <a:lnTo>
                    <a:pt x="83" y="183"/>
                  </a:lnTo>
                  <a:lnTo>
                    <a:pt x="82" y="212"/>
                  </a:lnTo>
                  <a:lnTo>
                    <a:pt x="81" y="242"/>
                  </a:lnTo>
                  <a:lnTo>
                    <a:pt x="81" y="275"/>
                  </a:lnTo>
                  <a:lnTo>
                    <a:pt x="80" y="308"/>
                  </a:lnTo>
                  <a:lnTo>
                    <a:pt x="80" y="341"/>
                  </a:lnTo>
                  <a:lnTo>
                    <a:pt x="78" y="373"/>
                  </a:lnTo>
                  <a:lnTo>
                    <a:pt x="77" y="403"/>
                  </a:lnTo>
                  <a:lnTo>
                    <a:pt x="74" y="431"/>
                  </a:lnTo>
                  <a:lnTo>
                    <a:pt x="72" y="455"/>
                  </a:lnTo>
                  <a:lnTo>
                    <a:pt x="68" y="476"/>
                  </a:lnTo>
                  <a:lnTo>
                    <a:pt x="64" y="491"/>
                  </a:lnTo>
                  <a:lnTo>
                    <a:pt x="58" y="502"/>
                  </a:lnTo>
                  <a:lnTo>
                    <a:pt x="53" y="504"/>
                  </a:lnTo>
                  <a:lnTo>
                    <a:pt x="45" y="499"/>
                  </a:lnTo>
                  <a:lnTo>
                    <a:pt x="36" y="485"/>
                  </a:lnTo>
                  <a:lnTo>
                    <a:pt x="29" y="466"/>
                  </a:lnTo>
                  <a:lnTo>
                    <a:pt x="24" y="441"/>
                  </a:lnTo>
                  <a:lnTo>
                    <a:pt x="19" y="412"/>
                  </a:lnTo>
                  <a:lnTo>
                    <a:pt x="15" y="381"/>
                  </a:lnTo>
                  <a:lnTo>
                    <a:pt x="12" y="349"/>
                  </a:lnTo>
                  <a:lnTo>
                    <a:pt x="9" y="318"/>
                  </a:lnTo>
                  <a:lnTo>
                    <a:pt x="8" y="287"/>
                  </a:lnTo>
                  <a:lnTo>
                    <a:pt x="5" y="260"/>
                  </a:lnTo>
                  <a:lnTo>
                    <a:pt x="4" y="239"/>
                  </a:lnTo>
                  <a:lnTo>
                    <a:pt x="3" y="221"/>
                  </a:lnTo>
                  <a:lnTo>
                    <a:pt x="0" y="196"/>
                  </a:lnTo>
                  <a:lnTo>
                    <a:pt x="1" y="172"/>
                  </a:lnTo>
                  <a:lnTo>
                    <a:pt x="3" y="148"/>
                  </a:lnTo>
                  <a:lnTo>
                    <a:pt x="6" y="123"/>
                  </a:lnTo>
                  <a:lnTo>
                    <a:pt x="10" y="101"/>
                  </a:lnTo>
                  <a:lnTo>
                    <a:pt x="17" y="80"/>
                  </a:lnTo>
                  <a:lnTo>
                    <a:pt x="23" y="60"/>
                  </a:lnTo>
                  <a:lnTo>
                    <a:pt x="29" y="42"/>
                  </a:lnTo>
                  <a:lnTo>
                    <a:pt x="37" y="27"/>
                  </a:lnTo>
                  <a:lnTo>
                    <a:pt x="45" y="15"/>
                  </a:lnTo>
                  <a:lnTo>
                    <a:pt x="53" y="6"/>
                  </a:lnTo>
                  <a:lnTo>
                    <a:pt x="60" y="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0" name="Freeform 1526"/>
            <p:cNvSpPr>
              <a:spLocks/>
            </p:cNvSpPr>
            <p:nvPr/>
          </p:nvSpPr>
          <p:spPr bwMode="auto">
            <a:xfrm>
              <a:off x="9979026" y="1419225"/>
              <a:ext cx="198438" cy="817563"/>
            </a:xfrm>
            <a:custGeom>
              <a:avLst/>
              <a:gdLst>
                <a:gd name="T0" fmla="*/ 49 w 125"/>
                <a:gd name="T1" fmla="*/ 0 h 515"/>
                <a:gd name="T2" fmla="*/ 61 w 125"/>
                <a:gd name="T3" fmla="*/ 3 h 515"/>
                <a:gd name="T4" fmla="*/ 72 w 125"/>
                <a:gd name="T5" fmla="*/ 12 h 515"/>
                <a:gd name="T6" fmla="*/ 84 w 125"/>
                <a:gd name="T7" fmla="*/ 26 h 515"/>
                <a:gd name="T8" fmla="*/ 94 w 125"/>
                <a:gd name="T9" fmla="*/ 48 h 515"/>
                <a:gd name="T10" fmla="*/ 103 w 125"/>
                <a:gd name="T11" fmla="*/ 75 h 515"/>
                <a:gd name="T12" fmla="*/ 112 w 125"/>
                <a:gd name="T13" fmla="*/ 109 h 515"/>
                <a:gd name="T14" fmla="*/ 118 w 125"/>
                <a:gd name="T15" fmla="*/ 152 h 515"/>
                <a:gd name="T16" fmla="*/ 122 w 125"/>
                <a:gd name="T17" fmla="*/ 199 h 515"/>
                <a:gd name="T18" fmla="*/ 123 w 125"/>
                <a:gd name="T19" fmla="*/ 221 h 515"/>
                <a:gd name="T20" fmla="*/ 125 w 125"/>
                <a:gd name="T21" fmla="*/ 248 h 515"/>
                <a:gd name="T22" fmla="*/ 125 w 125"/>
                <a:gd name="T23" fmla="*/ 277 h 515"/>
                <a:gd name="T24" fmla="*/ 123 w 125"/>
                <a:gd name="T25" fmla="*/ 308 h 515"/>
                <a:gd name="T26" fmla="*/ 122 w 125"/>
                <a:gd name="T27" fmla="*/ 340 h 515"/>
                <a:gd name="T28" fmla="*/ 121 w 125"/>
                <a:gd name="T29" fmla="*/ 372 h 515"/>
                <a:gd name="T30" fmla="*/ 118 w 125"/>
                <a:gd name="T31" fmla="*/ 404 h 515"/>
                <a:gd name="T32" fmla="*/ 114 w 125"/>
                <a:gd name="T33" fmla="*/ 434 h 515"/>
                <a:gd name="T34" fmla="*/ 109 w 125"/>
                <a:gd name="T35" fmla="*/ 460 h 515"/>
                <a:gd name="T36" fmla="*/ 104 w 125"/>
                <a:gd name="T37" fmla="*/ 483 h 515"/>
                <a:gd name="T38" fmla="*/ 98 w 125"/>
                <a:gd name="T39" fmla="*/ 499 h 515"/>
                <a:gd name="T40" fmla="*/ 90 w 125"/>
                <a:gd name="T41" fmla="*/ 511 h 515"/>
                <a:gd name="T42" fmla="*/ 81 w 125"/>
                <a:gd name="T43" fmla="*/ 515 h 515"/>
                <a:gd name="T44" fmla="*/ 68 w 125"/>
                <a:gd name="T45" fmla="*/ 511 h 515"/>
                <a:gd name="T46" fmla="*/ 57 w 125"/>
                <a:gd name="T47" fmla="*/ 501 h 515"/>
                <a:gd name="T48" fmla="*/ 45 w 125"/>
                <a:gd name="T49" fmla="*/ 483 h 515"/>
                <a:gd name="T50" fmla="*/ 35 w 125"/>
                <a:gd name="T51" fmla="*/ 457 h 515"/>
                <a:gd name="T52" fmla="*/ 25 w 125"/>
                <a:gd name="T53" fmla="*/ 425 h 515"/>
                <a:gd name="T54" fmla="*/ 16 w 125"/>
                <a:gd name="T55" fmla="*/ 385 h 515"/>
                <a:gd name="T56" fmla="*/ 9 w 125"/>
                <a:gd name="T57" fmla="*/ 339 h 515"/>
                <a:gd name="T58" fmla="*/ 4 w 125"/>
                <a:gd name="T59" fmla="*/ 284 h 515"/>
                <a:gd name="T60" fmla="*/ 2 w 125"/>
                <a:gd name="T61" fmla="*/ 222 h 515"/>
                <a:gd name="T62" fmla="*/ 0 w 125"/>
                <a:gd name="T63" fmla="*/ 152 h 515"/>
                <a:gd name="T64" fmla="*/ 2 w 125"/>
                <a:gd name="T65" fmla="*/ 113 h 515"/>
                <a:gd name="T66" fmla="*/ 5 w 125"/>
                <a:gd name="T67" fmla="*/ 80 h 515"/>
                <a:gd name="T68" fmla="*/ 12 w 125"/>
                <a:gd name="T69" fmla="*/ 53 h 515"/>
                <a:gd name="T70" fmla="*/ 20 w 125"/>
                <a:gd name="T71" fmla="*/ 31 h 515"/>
                <a:gd name="T72" fmla="*/ 28 w 125"/>
                <a:gd name="T73" fmla="*/ 14 h 515"/>
                <a:gd name="T74" fmla="*/ 39 w 125"/>
                <a:gd name="T75" fmla="*/ 5 h 515"/>
                <a:gd name="T76" fmla="*/ 49 w 125"/>
                <a:gd name="T77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515">
                  <a:moveTo>
                    <a:pt x="49" y="0"/>
                  </a:moveTo>
                  <a:lnTo>
                    <a:pt x="61" y="3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94" y="48"/>
                  </a:lnTo>
                  <a:lnTo>
                    <a:pt x="103" y="75"/>
                  </a:lnTo>
                  <a:lnTo>
                    <a:pt x="112" y="109"/>
                  </a:lnTo>
                  <a:lnTo>
                    <a:pt x="118" y="152"/>
                  </a:lnTo>
                  <a:lnTo>
                    <a:pt x="122" y="199"/>
                  </a:lnTo>
                  <a:lnTo>
                    <a:pt x="123" y="221"/>
                  </a:lnTo>
                  <a:lnTo>
                    <a:pt x="125" y="248"/>
                  </a:lnTo>
                  <a:lnTo>
                    <a:pt x="125" y="277"/>
                  </a:lnTo>
                  <a:lnTo>
                    <a:pt x="123" y="308"/>
                  </a:lnTo>
                  <a:lnTo>
                    <a:pt x="122" y="340"/>
                  </a:lnTo>
                  <a:lnTo>
                    <a:pt x="121" y="372"/>
                  </a:lnTo>
                  <a:lnTo>
                    <a:pt x="118" y="404"/>
                  </a:lnTo>
                  <a:lnTo>
                    <a:pt x="114" y="434"/>
                  </a:lnTo>
                  <a:lnTo>
                    <a:pt x="109" y="460"/>
                  </a:lnTo>
                  <a:lnTo>
                    <a:pt x="104" y="483"/>
                  </a:lnTo>
                  <a:lnTo>
                    <a:pt x="98" y="499"/>
                  </a:lnTo>
                  <a:lnTo>
                    <a:pt x="90" y="511"/>
                  </a:lnTo>
                  <a:lnTo>
                    <a:pt x="81" y="515"/>
                  </a:lnTo>
                  <a:lnTo>
                    <a:pt x="68" y="511"/>
                  </a:lnTo>
                  <a:lnTo>
                    <a:pt x="57" y="501"/>
                  </a:lnTo>
                  <a:lnTo>
                    <a:pt x="45" y="483"/>
                  </a:lnTo>
                  <a:lnTo>
                    <a:pt x="35" y="457"/>
                  </a:lnTo>
                  <a:lnTo>
                    <a:pt x="25" y="425"/>
                  </a:lnTo>
                  <a:lnTo>
                    <a:pt x="16" y="385"/>
                  </a:lnTo>
                  <a:lnTo>
                    <a:pt x="9" y="339"/>
                  </a:lnTo>
                  <a:lnTo>
                    <a:pt x="4" y="284"/>
                  </a:lnTo>
                  <a:lnTo>
                    <a:pt x="2" y="222"/>
                  </a:lnTo>
                  <a:lnTo>
                    <a:pt x="0" y="152"/>
                  </a:lnTo>
                  <a:lnTo>
                    <a:pt x="2" y="113"/>
                  </a:lnTo>
                  <a:lnTo>
                    <a:pt x="5" y="80"/>
                  </a:lnTo>
                  <a:lnTo>
                    <a:pt x="12" y="53"/>
                  </a:lnTo>
                  <a:lnTo>
                    <a:pt x="20" y="31"/>
                  </a:lnTo>
                  <a:lnTo>
                    <a:pt x="28" y="14"/>
                  </a:lnTo>
                  <a:lnTo>
                    <a:pt x="39" y="5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1" name="Freeform 1527"/>
            <p:cNvSpPr>
              <a:spLocks/>
            </p:cNvSpPr>
            <p:nvPr/>
          </p:nvSpPr>
          <p:spPr bwMode="auto">
            <a:xfrm>
              <a:off x="10206038" y="1425575"/>
              <a:ext cx="195263" cy="811213"/>
            </a:xfrm>
            <a:custGeom>
              <a:avLst/>
              <a:gdLst>
                <a:gd name="T0" fmla="*/ 74 w 123"/>
                <a:gd name="T1" fmla="*/ 0 h 511"/>
                <a:gd name="T2" fmla="*/ 86 w 123"/>
                <a:gd name="T3" fmla="*/ 5 h 511"/>
                <a:gd name="T4" fmla="*/ 96 w 123"/>
                <a:gd name="T5" fmla="*/ 15 h 511"/>
                <a:gd name="T6" fmla="*/ 105 w 123"/>
                <a:gd name="T7" fmla="*/ 32 h 511"/>
                <a:gd name="T8" fmla="*/ 113 w 123"/>
                <a:gd name="T9" fmla="*/ 54 h 511"/>
                <a:gd name="T10" fmla="*/ 118 w 123"/>
                <a:gd name="T11" fmla="*/ 82 h 511"/>
                <a:gd name="T12" fmla="*/ 122 w 123"/>
                <a:gd name="T13" fmla="*/ 116 h 511"/>
                <a:gd name="T14" fmla="*/ 123 w 123"/>
                <a:gd name="T15" fmla="*/ 154 h 511"/>
                <a:gd name="T16" fmla="*/ 123 w 123"/>
                <a:gd name="T17" fmla="*/ 222 h 511"/>
                <a:gd name="T18" fmla="*/ 119 w 123"/>
                <a:gd name="T19" fmla="*/ 282 h 511"/>
                <a:gd name="T20" fmla="*/ 114 w 123"/>
                <a:gd name="T21" fmla="*/ 336 h 511"/>
                <a:gd name="T22" fmla="*/ 107 w 123"/>
                <a:gd name="T23" fmla="*/ 382 h 511"/>
                <a:gd name="T24" fmla="*/ 98 w 123"/>
                <a:gd name="T25" fmla="*/ 422 h 511"/>
                <a:gd name="T26" fmla="*/ 89 w 123"/>
                <a:gd name="T27" fmla="*/ 454 h 511"/>
                <a:gd name="T28" fmla="*/ 79 w 123"/>
                <a:gd name="T29" fmla="*/ 479 h 511"/>
                <a:gd name="T30" fmla="*/ 68 w 123"/>
                <a:gd name="T31" fmla="*/ 497 h 511"/>
                <a:gd name="T32" fmla="*/ 56 w 123"/>
                <a:gd name="T33" fmla="*/ 507 h 511"/>
                <a:gd name="T34" fmla="*/ 43 w 123"/>
                <a:gd name="T35" fmla="*/ 511 h 511"/>
                <a:gd name="T36" fmla="*/ 34 w 123"/>
                <a:gd name="T37" fmla="*/ 507 h 511"/>
                <a:gd name="T38" fmla="*/ 27 w 123"/>
                <a:gd name="T39" fmla="*/ 495 h 511"/>
                <a:gd name="T40" fmla="*/ 20 w 123"/>
                <a:gd name="T41" fmla="*/ 479 h 511"/>
                <a:gd name="T42" fmla="*/ 15 w 123"/>
                <a:gd name="T43" fmla="*/ 456 h 511"/>
                <a:gd name="T44" fmla="*/ 10 w 123"/>
                <a:gd name="T45" fmla="*/ 430 h 511"/>
                <a:gd name="T46" fmla="*/ 6 w 123"/>
                <a:gd name="T47" fmla="*/ 400 h 511"/>
                <a:gd name="T48" fmla="*/ 4 w 123"/>
                <a:gd name="T49" fmla="*/ 368 h 511"/>
                <a:gd name="T50" fmla="*/ 2 w 123"/>
                <a:gd name="T51" fmla="*/ 336 h 511"/>
                <a:gd name="T52" fmla="*/ 1 w 123"/>
                <a:gd name="T53" fmla="*/ 304 h 511"/>
                <a:gd name="T54" fmla="*/ 0 w 123"/>
                <a:gd name="T55" fmla="*/ 273 h 511"/>
                <a:gd name="T56" fmla="*/ 0 w 123"/>
                <a:gd name="T57" fmla="*/ 244 h 511"/>
                <a:gd name="T58" fmla="*/ 1 w 123"/>
                <a:gd name="T59" fmla="*/ 217 h 511"/>
                <a:gd name="T60" fmla="*/ 2 w 123"/>
                <a:gd name="T61" fmla="*/ 195 h 511"/>
                <a:gd name="T62" fmla="*/ 6 w 123"/>
                <a:gd name="T63" fmla="*/ 148 h 511"/>
                <a:gd name="T64" fmla="*/ 13 w 123"/>
                <a:gd name="T65" fmla="*/ 105 h 511"/>
                <a:gd name="T66" fmla="*/ 21 w 123"/>
                <a:gd name="T67" fmla="*/ 72 h 511"/>
                <a:gd name="T68" fmla="*/ 30 w 123"/>
                <a:gd name="T69" fmla="*/ 44 h 511"/>
                <a:gd name="T70" fmla="*/ 41 w 123"/>
                <a:gd name="T71" fmla="*/ 23 h 511"/>
                <a:gd name="T72" fmla="*/ 52 w 123"/>
                <a:gd name="T73" fmla="*/ 9 h 511"/>
                <a:gd name="T74" fmla="*/ 64 w 123"/>
                <a:gd name="T75" fmla="*/ 1 h 511"/>
                <a:gd name="T76" fmla="*/ 74 w 123"/>
                <a:gd name="T77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511">
                  <a:moveTo>
                    <a:pt x="74" y="0"/>
                  </a:moveTo>
                  <a:lnTo>
                    <a:pt x="86" y="5"/>
                  </a:lnTo>
                  <a:lnTo>
                    <a:pt x="96" y="15"/>
                  </a:lnTo>
                  <a:lnTo>
                    <a:pt x="105" y="32"/>
                  </a:lnTo>
                  <a:lnTo>
                    <a:pt x="113" y="54"/>
                  </a:lnTo>
                  <a:lnTo>
                    <a:pt x="118" y="82"/>
                  </a:lnTo>
                  <a:lnTo>
                    <a:pt x="122" y="116"/>
                  </a:lnTo>
                  <a:lnTo>
                    <a:pt x="123" y="154"/>
                  </a:lnTo>
                  <a:lnTo>
                    <a:pt x="123" y="222"/>
                  </a:lnTo>
                  <a:lnTo>
                    <a:pt x="119" y="282"/>
                  </a:lnTo>
                  <a:lnTo>
                    <a:pt x="114" y="336"/>
                  </a:lnTo>
                  <a:lnTo>
                    <a:pt x="107" y="382"/>
                  </a:lnTo>
                  <a:lnTo>
                    <a:pt x="98" y="422"/>
                  </a:lnTo>
                  <a:lnTo>
                    <a:pt x="89" y="454"/>
                  </a:lnTo>
                  <a:lnTo>
                    <a:pt x="79" y="479"/>
                  </a:lnTo>
                  <a:lnTo>
                    <a:pt x="68" y="497"/>
                  </a:lnTo>
                  <a:lnTo>
                    <a:pt x="56" y="507"/>
                  </a:lnTo>
                  <a:lnTo>
                    <a:pt x="43" y="511"/>
                  </a:lnTo>
                  <a:lnTo>
                    <a:pt x="34" y="507"/>
                  </a:lnTo>
                  <a:lnTo>
                    <a:pt x="27" y="495"/>
                  </a:lnTo>
                  <a:lnTo>
                    <a:pt x="20" y="479"/>
                  </a:lnTo>
                  <a:lnTo>
                    <a:pt x="15" y="456"/>
                  </a:lnTo>
                  <a:lnTo>
                    <a:pt x="10" y="430"/>
                  </a:lnTo>
                  <a:lnTo>
                    <a:pt x="6" y="400"/>
                  </a:lnTo>
                  <a:lnTo>
                    <a:pt x="4" y="368"/>
                  </a:lnTo>
                  <a:lnTo>
                    <a:pt x="2" y="336"/>
                  </a:lnTo>
                  <a:lnTo>
                    <a:pt x="1" y="304"/>
                  </a:lnTo>
                  <a:lnTo>
                    <a:pt x="0" y="273"/>
                  </a:lnTo>
                  <a:lnTo>
                    <a:pt x="0" y="244"/>
                  </a:lnTo>
                  <a:lnTo>
                    <a:pt x="1" y="217"/>
                  </a:lnTo>
                  <a:lnTo>
                    <a:pt x="2" y="195"/>
                  </a:lnTo>
                  <a:lnTo>
                    <a:pt x="6" y="148"/>
                  </a:lnTo>
                  <a:lnTo>
                    <a:pt x="13" y="105"/>
                  </a:lnTo>
                  <a:lnTo>
                    <a:pt x="21" y="72"/>
                  </a:lnTo>
                  <a:lnTo>
                    <a:pt x="30" y="44"/>
                  </a:lnTo>
                  <a:lnTo>
                    <a:pt x="41" y="23"/>
                  </a:lnTo>
                  <a:lnTo>
                    <a:pt x="52" y="9"/>
                  </a:lnTo>
                  <a:lnTo>
                    <a:pt x="64" y="1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2" name="Freeform 1528"/>
            <p:cNvSpPr>
              <a:spLocks/>
            </p:cNvSpPr>
            <p:nvPr/>
          </p:nvSpPr>
          <p:spPr bwMode="auto">
            <a:xfrm>
              <a:off x="10191751" y="830263"/>
              <a:ext cx="107950" cy="104775"/>
            </a:xfrm>
            <a:custGeom>
              <a:avLst/>
              <a:gdLst>
                <a:gd name="T0" fmla="*/ 33 w 68"/>
                <a:gd name="T1" fmla="*/ 0 h 66"/>
                <a:gd name="T2" fmla="*/ 68 w 68"/>
                <a:gd name="T3" fmla="*/ 39 h 66"/>
                <a:gd name="T4" fmla="*/ 18 w 68"/>
                <a:gd name="T5" fmla="*/ 66 h 66"/>
                <a:gd name="T6" fmla="*/ 0 w 68"/>
                <a:gd name="T7" fmla="*/ 20 h 66"/>
                <a:gd name="T8" fmla="*/ 33 w 68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6">
                  <a:moveTo>
                    <a:pt x="33" y="0"/>
                  </a:moveTo>
                  <a:lnTo>
                    <a:pt x="68" y="39"/>
                  </a:lnTo>
                  <a:lnTo>
                    <a:pt x="18" y="66"/>
                  </a:lnTo>
                  <a:lnTo>
                    <a:pt x="0" y="2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3" name="Freeform 1529"/>
            <p:cNvSpPr>
              <a:spLocks/>
            </p:cNvSpPr>
            <p:nvPr/>
          </p:nvSpPr>
          <p:spPr bwMode="auto">
            <a:xfrm>
              <a:off x="10077451" y="830263"/>
              <a:ext cx="107950" cy="104775"/>
            </a:xfrm>
            <a:custGeom>
              <a:avLst/>
              <a:gdLst>
                <a:gd name="T0" fmla="*/ 36 w 68"/>
                <a:gd name="T1" fmla="*/ 0 h 66"/>
                <a:gd name="T2" fmla="*/ 68 w 68"/>
                <a:gd name="T3" fmla="*/ 20 h 66"/>
                <a:gd name="T4" fmla="*/ 50 w 68"/>
                <a:gd name="T5" fmla="*/ 66 h 66"/>
                <a:gd name="T6" fmla="*/ 0 w 68"/>
                <a:gd name="T7" fmla="*/ 39 h 66"/>
                <a:gd name="T8" fmla="*/ 36 w 68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6">
                  <a:moveTo>
                    <a:pt x="36" y="0"/>
                  </a:moveTo>
                  <a:lnTo>
                    <a:pt x="68" y="20"/>
                  </a:lnTo>
                  <a:lnTo>
                    <a:pt x="50" y="66"/>
                  </a:lnTo>
                  <a:lnTo>
                    <a:pt x="0" y="3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4" name="Freeform 1530"/>
            <p:cNvSpPr>
              <a:spLocks/>
            </p:cNvSpPr>
            <p:nvPr/>
          </p:nvSpPr>
          <p:spPr bwMode="auto">
            <a:xfrm>
              <a:off x="9920288" y="881063"/>
              <a:ext cx="539750" cy="892175"/>
            </a:xfrm>
            <a:custGeom>
              <a:avLst/>
              <a:gdLst>
                <a:gd name="T0" fmla="*/ 154 w 340"/>
                <a:gd name="T1" fmla="*/ 0 h 562"/>
                <a:gd name="T2" fmla="*/ 184 w 340"/>
                <a:gd name="T3" fmla="*/ 0 h 562"/>
                <a:gd name="T4" fmla="*/ 213 w 340"/>
                <a:gd name="T5" fmla="*/ 2 h 562"/>
                <a:gd name="T6" fmla="*/ 241 w 340"/>
                <a:gd name="T7" fmla="*/ 7 h 562"/>
                <a:gd name="T8" fmla="*/ 267 w 340"/>
                <a:gd name="T9" fmla="*/ 12 h 562"/>
                <a:gd name="T10" fmla="*/ 290 w 340"/>
                <a:gd name="T11" fmla="*/ 20 h 562"/>
                <a:gd name="T12" fmla="*/ 311 w 340"/>
                <a:gd name="T13" fmla="*/ 30 h 562"/>
                <a:gd name="T14" fmla="*/ 326 w 340"/>
                <a:gd name="T15" fmla="*/ 42 h 562"/>
                <a:gd name="T16" fmla="*/ 336 w 340"/>
                <a:gd name="T17" fmla="*/ 56 h 562"/>
                <a:gd name="T18" fmla="*/ 340 w 340"/>
                <a:gd name="T19" fmla="*/ 71 h 562"/>
                <a:gd name="T20" fmla="*/ 339 w 340"/>
                <a:gd name="T21" fmla="*/ 88 h 562"/>
                <a:gd name="T22" fmla="*/ 330 w 340"/>
                <a:gd name="T23" fmla="*/ 113 h 562"/>
                <a:gd name="T24" fmla="*/ 320 w 340"/>
                <a:gd name="T25" fmla="*/ 142 h 562"/>
                <a:gd name="T26" fmla="*/ 311 w 340"/>
                <a:gd name="T27" fmla="*/ 171 h 562"/>
                <a:gd name="T28" fmla="*/ 300 w 340"/>
                <a:gd name="T29" fmla="*/ 201 h 562"/>
                <a:gd name="T30" fmla="*/ 291 w 340"/>
                <a:gd name="T31" fmla="*/ 230 h 562"/>
                <a:gd name="T32" fmla="*/ 285 w 340"/>
                <a:gd name="T33" fmla="*/ 258 h 562"/>
                <a:gd name="T34" fmla="*/ 280 w 340"/>
                <a:gd name="T35" fmla="*/ 287 h 562"/>
                <a:gd name="T36" fmla="*/ 277 w 340"/>
                <a:gd name="T37" fmla="*/ 312 h 562"/>
                <a:gd name="T38" fmla="*/ 277 w 340"/>
                <a:gd name="T39" fmla="*/ 335 h 562"/>
                <a:gd name="T40" fmla="*/ 282 w 340"/>
                <a:gd name="T41" fmla="*/ 355 h 562"/>
                <a:gd name="T42" fmla="*/ 290 w 340"/>
                <a:gd name="T43" fmla="*/ 379 h 562"/>
                <a:gd name="T44" fmla="*/ 296 w 340"/>
                <a:gd name="T45" fmla="*/ 403 h 562"/>
                <a:gd name="T46" fmla="*/ 299 w 340"/>
                <a:gd name="T47" fmla="*/ 428 h 562"/>
                <a:gd name="T48" fmla="*/ 299 w 340"/>
                <a:gd name="T49" fmla="*/ 452 h 562"/>
                <a:gd name="T50" fmla="*/ 295 w 340"/>
                <a:gd name="T51" fmla="*/ 474 h 562"/>
                <a:gd name="T52" fmla="*/ 289 w 340"/>
                <a:gd name="T53" fmla="*/ 494 h 562"/>
                <a:gd name="T54" fmla="*/ 278 w 340"/>
                <a:gd name="T55" fmla="*/ 514 h 562"/>
                <a:gd name="T56" fmla="*/ 264 w 340"/>
                <a:gd name="T57" fmla="*/ 530 h 562"/>
                <a:gd name="T58" fmla="*/ 248 w 340"/>
                <a:gd name="T59" fmla="*/ 543 h 562"/>
                <a:gd name="T60" fmla="*/ 226 w 340"/>
                <a:gd name="T61" fmla="*/ 553 h 562"/>
                <a:gd name="T62" fmla="*/ 199 w 340"/>
                <a:gd name="T63" fmla="*/ 560 h 562"/>
                <a:gd name="T64" fmla="*/ 169 w 340"/>
                <a:gd name="T65" fmla="*/ 562 h 562"/>
                <a:gd name="T66" fmla="*/ 140 w 340"/>
                <a:gd name="T67" fmla="*/ 560 h 562"/>
                <a:gd name="T68" fmla="*/ 114 w 340"/>
                <a:gd name="T69" fmla="*/ 551 h 562"/>
                <a:gd name="T70" fmla="*/ 92 w 340"/>
                <a:gd name="T71" fmla="*/ 539 h 562"/>
                <a:gd name="T72" fmla="*/ 74 w 340"/>
                <a:gd name="T73" fmla="*/ 523 h 562"/>
                <a:gd name="T74" fmla="*/ 62 w 340"/>
                <a:gd name="T75" fmla="*/ 503 h 562"/>
                <a:gd name="T76" fmla="*/ 53 w 340"/>
                <a:gd name="T77" fmla="*/ 480 h 562"/>
                <a:gd name="T78" fmla="*/ 46 w 340"/>
                <a:gd name="T79" fmla="*/ 457 h 562"/>
                <a:gd name="T80" fmla="*/ 44 w 340"/>
                <a:gd name="T81" fmla="*/ 432 h 562"/>
                <a:gd name="T82" fmla="*/ 45 w 340"/>
                <a:gd name="T83" fmla="*/ 406 h 562"/>
                <a:gd name="T84" fmla="*/ 50 w 340"/>
                <a:gd name="T85" fmla="*/ 379 h 562"/>
                <a:gd name="T86" fmla="*/ 58 w 340"/>
                <a:gd name="T87" fmla="*/ 355 h 562"/>
                <a:gd name="T88" fmla="*/ 63 w 340"/>
                <a:gd name="T89" fmla="*/ 333 h 562"/>
                <a:gd name="T90" fmla="*/ 63 w 340"/>
                <a:gd name="T91" fmla="*/ 307 h 562"/>
                <a:gd name="T92" fmla="*/ 60 w 340"/>
                <a:gd name="T93" fmla="*/ 279 h 562"/>
                <a:gd name="T94" fmla="*/ 54 w 340"/>
                <a:gd name="T95" fmla="*/ 248 h 562"/>
                <a:gd name="T96" fmla="*/ 45 w 340"/>
                <a:gd name="T97" fmla="*/ 216 h 562"/>
                <a:gd name="T98" fmla="*/ 35 w 340"/>
                <a:gd name="T99" fmla="*/ 184 h 562"/>
                <a:gd name="T100" fmla="*/ 23 w 340"/>
                <a:gd name="T101" fmla="*/ 152 h 562"/>
                <a:gd name="T102" fmla="*/ 13 w 340"/>
                <a:gd name="T103" fmla="*/ 121 h 562"/>
                <a:gd name="T104" fmla="*/ 3 w 340"/>
                <a:gd name="T105" fmla="*/ 92 h 562"/>
                <a:gd name="T106" fmla="*/ 0 w 340"/>
                <a:gd name="T107" fmla="*/ 74 h 562"/>
                <a:gd name="T108" fmla="*/ 4 w 340"/>
                <a:gd name="T109" fmla="*/ 57 h 562"/>
                <a:gd name="T110" fmla="*/ 14 w 340"/>
                <a:gd name="T111" fmla="*/ 42 h 562"/>
                <a:gd name="T112" fmla="*/ 30 w 340"/>
                <a:gd name="T113" fmla="*/ 30 h 562"/>
                <a:gd name="T114" fmla="*/ 49 w 340"/>
                <a:gd name="T115" fmla="*/ 20 h 562"/>
                <a:gd name="T116" fmla="*/ 72 w 340"/>
                <a:gd name="T117" fmla="*/ 12 h 562"/>
                <a:gd name="T118" fmla="*/ 98 w 340"/>
                <a:gd name="T119" fmla="*/ 6 h 562"/>
                <a:gd name="T120" fmla="*/ 126 w 340"/>
                <a:gd name="T121" fmla="*/ 2 h 562"/>
                <a:gd name="T122" fmla="*/ 154 w 340"/>
                <a:gd name="T12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" h="562">
                  <a:moveTo>
                    <a:pt x="154" y="0"/>
                  </a:moveTo>
                  <a:lnTo>
                    <a:pt x="184" y="0"/>
                  </a:lnTo>
                  <a:lnTo>
                    <a:pt x="213" y="2"/>
                  </a:lnTo>
                  <a:lnTo>
                    <a:pt x="241" y="7"/>
                  </a:lnTo>
                  <a:lnTo>
                    <a:pt x="267" y="12"/>
                  </a:lnTo>
                  <a:lnTo>
                    <a:pt x="290" y="20"/>
                  </a:lnTo>
                  <a:lnTo>
                    <a:pt x="311" y="30"/>
                  </a:lnTo>
                  <a:lnTo>
                    <a:pt x="326" y="42"/>
                  </a:lnTo>
                  <a:lnTo>
                    <a:pt x="336" y="56"/>
                  </a:lnTo>
                  <a:lnTo>
                    <a:pt x="340" y="71"/>
                  </a:lnTo>
                  <a:lnTo>
                    <a:pt x="339" y="88"/>
                  </a:lnTo>
                  <a:lnTo>
                    <a:pt x="330" y="113"/>
                  </a:lnTo>
                  <a:lnTo>
                    <a:pt x="320" y="142"/>
                  </a:lnTo>
                  <a:lnTo>
                    <a:pt x="311" y="171"/>
                  </a:lnTo>
                  <a:lnTo>
                    <a:pt x="300" y="201"/>
                  </a:lnTo>
                  <a:lnTo>
                    <a:pt x="291" y="230"/>
                  </a:lnTo>
                  <a:lnTo>
                    <a:pt x="285" y="258"/>
                  </a:lnTo>
                  <a:lnTo>
                    <a:pt x="280" y="287"/>
                  </a:lnTo>
                  <a:lnTo>
                    <a:pt x="277" y="312"/>
                  </a:lnTo>
                  <a:lnTo>
                    <a:pt x="277" y="335"/>
                  </a:lnTo>
                  <a:lnTo>
                    <a:pt x="282" y="355"/>
                  </a:lnTo>
                  <a:lnTo>
                    <a:pt x="290" y="379"/>
                  </a:lnTo>
                  <a:lnTo>
                    <a:pt x="296" y="403"/>
                  </a:lnTo>
                  <a:lnTo>
                    <a:pt x="299" y="428"/>
                  </a:lnTo>
                  <a:lnTo>
                    <a:pt x="299" y="452"/>
                  </a:lnTo>
                  <a:lnTo>
                    <a:pt x="295" y="474"/>
                  </a:lnTo>
                  <a:lnTo>
                    <a:pt x="289" y="494"/>
                  </a:lnTo>
                  <a:lnTo>
                    <a:pt x="278" y="514"/>
                  </a:lnTo>
                  <a:lnTo>
                    <a:pt x="264" y="530"/>
                  </a:lnTo>
                  <a:lnTo>
                    <a:pt x="248" y="543"/>
                  </a:lnTo>
                  <a:lnTo>
                    <a:pt x="226" y="553"/>
                  </a:lnTo>
                  <a:lnTo>
                    <a:pt x="199" y="560"/>
                  </a:lnTo>
                  <a:lnTo>
                    <a:pt x="169" y="562"/>
                  </a:lnTo>
                  <a:lnTo>
                    <a:pt x="140" y="560"/>
                  </a:lnTo>
                  <a:lnTo>
                    <a:pt x="114" y="551"/>
                  </a:lnTo>
                  <a:lnTo>
                    <a:pt x="92" y="539"/>
                  </a:lnTo>
                  <a:lnTo>
                    <a:pt x="74" y="523"/>
                  </a:lnTo>
                  <a:lnTo>
                    <a:pt x="62" y="503"/>
                  </a:lnTo>
                  <a:lnTo>
                    <a:pt x="53" y="480"/>
                  </a:lnTo>
                  <a:lnTo>
                    <a:pt x="46" y="457"/>
                  </a:lnTo>
                  <a:lnTo>
                    <a:pt x="44" y="432"/>
                  </a:lnTo>
                  <a:lnTo>
                    <a:pt x="45" y="406"/>
                  </a:lnTo>
                  <a:lnTo>
                    <a:pt x="50" y="379"/>
                  </a:lnTo>
                  <a:lnTo>
                    <a:pt x="58" y="355"/>
                  </a:lnTo>
                  <a:lnTo>
                    <a:pt x="63" y="333"/>
                  </a:lnTo>
                  <a:lnTo>
                    <a:pt x="63" y="307"/>
                  </a:lnTo>
                  <a:lnTo>
                    <a:pt x="60" y="279"/>
                  </a:lnTo>
                  <a:lnTo>
                    <a:pt x="54" y="248"/>
                  </a:lnTo>
                  <a:lnTo>
                    <a:pt x="45" y="216"/>
                  </a:lnTo>
                  <a:lnTo>
                    <a:pt x="35" y="184"/>
                  </a:lnTo>
                  <a:lnTo>
                    <a:pt x="23" y="152"/>
                  </a:lnTo>
                  <a:lnTo>
                    <a:pt x="13" y="121"/>
                  </a:lnTo>
                  <a:lnTo>
                    <a:pt x="3" y="92"/>
                  </a:lnTo>
                  <a:lnTo>
                    <a:pt x="0" y="74"/>
                  </a:lnTo>
                  <a:lnTo>
                    <a:pt x="4" y="57"/>
                  </a:lnTo>
                  <a:lnTo>
                    <a:pt x="14" y="42"/>
                  </a:lnTo>
                  <a:lnTo>
                    <a:pt x="30" y="30"/>
                  </a:lnTo>
                  <a:lnTo>
                    <a:pt x="49" y="20"/>
                  </a:lnTo>
                  <a:lnTo>
                    <a:pt x="72" y="12"/>
                  </a:lnTo>
                  <a:lnTo>
                    <a:pt x="98" y="6"/>
                  </a:lnTo>
                  <a:lnTo>
                    <a:pt x="126" y="2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5" name="Freeform 1531"/>
            <p:cNvSpPr>
              <a:spLocks/>
            </p:cNvSpPr>
            <p:nvPr/>
          </p:nvSpPr>
          <p:spPr bwMode="auto">
            <a:xfrm>
              <a:off x="9850438" y="2851150"/>
              <a:ext cx="315913" cy="166688"/>
            </a:xfrm>
            <a:custGeom>
              <a:avLst/>
              <a:gdLst>
                <a:gd name="T0" fmla="*/ 104 w 199"/>
                <a:gd name="T1" fmla="*/ 0 h 105"/>
                <a:gd name="T2" fmla="*/ 111 w 199"/>
                <a:gd name="T3" fmla="*/ 1 h 105"/>
                <a:gd name="T4" fmla="*/ 118 w 199"/>
                <a:gd name="T5" fmla="*/ 4 h 105"/>
                <a:gd name="T6" fmla="*/ 125 w 199"/>
                <a:gd name="T7" fmla="*/ 8 h 105"/>
                <a:gd name="T8" fmla="*/ 129 w 199"/>
                <a:gd name="T9" fmla="*/ 13 h 105"/>
                <a:gd name="T10" fmla="*/ 133 w 199"/>
                <a:gd name="T11" fmla="*/ 17 h 105"/>
                <a:gd name="T12" fmla="*/ 140 w 199"/>
                <a:gd name="T13" fmla="*/ 19 h 105"/>
                <a:gd name="T14" fmla="*/ 151 w 199"/>
                <a:gd name="T15" fmla="*/ 21 h 105"/>
                <a:gd name="T16" fmla="*/ 162 w 199"/>
                <a:gd name="T17" fmla="*/ 19 h 105"/>
                <a:gd name="T18" fmla="*/ 174 w 199"/>
                <a:gd name="T19" fmla="*/ 18 h 105"/>
                <a:gd name="T20" fmla="*/ 185 w 199"/>
                <a:gd name="T21" fmla="*/ 12 h 105"/>
                <a:gd name="T22" fmla="*/ 192 w 199"/>
                <a:gd name="T23" fmla="*/ 4 h 105"/>
                <a:gd name="T24" fmla="*/ 199 w 199"/>
                <a:gd name="T25" fmla="*/ 0 h 105"/>
                <a:gd name="T26" fmla="*/ 199 w 199"/>
                <a:gd name="T27" fmla="*/ 16 h 105"/>
                <a:gd name="T28" fmla="*/ 199 w 199"/>
                <a:gd name="T29" fmla="*/ 28 h 105"/>
                <a:gd name="T30" fmla="*/ 198 w 199"/>
                <a:gd name="T31" fmla="*/ 39 h 105"/>
                <a:gd name="T32" fmla="*/ 192 w 199"/>
                <a:gd name="T33" fmla="*/ 46 h 105"/>
                <a:gd name="T34" fmla="*/ 181 w 199"/>
                <a:gd name="T35" fmla="*/ 53 h 105"/>
                <a:gd name="T36" fmla="*/ 167 w 199"/>
                <a:gd name="T37" fmla="*/ 59 h 105"/>
                <a:gd name="T38" fmla="*/ 152 w 199"/>
                <a:gd name="T39" fmla="*/ 64 h 105"/>
                <a:gd name="T40" fmla="*/ 136 w 199"/>
                <a:gd name="T41" fmla="*/ 72 h 105"/>
                <a:gd name="T42" fmla="*/ 122 w 199"/>
                <a:gd name="T43" fmla="*/ 80 h 105"/>
                <a:gd name="T44" fmla="*/ 111 w 199"/>
                <a:gd name="T45" fmla="*/ 90 h 105"/>
                <a:gd name="T46" fmla="*/ 99 w 199"/>
                <a:gd name="T47" fmla="*/ 98 h 105"/>
                <a:gd name="T48" fmla="*/ 85 w 199"/>
                <a:gd name="T49" fmla="*/ 103 h 105"/>
                <a:gd name="T50" fmla="*/ 67 w 199"/>
                <a:gd name="T51" fmla="*/ 105 h 105"/>
                <a:gd name="T52" fmla="*/ 49 w 199"/>
                <a:gd name="T53" fmla="*/ 105 h 105"/>
                <a:gd name="T54" fmla="*/ 33 w 199"/>
                <a:gd name="T55" fmla="*/ 104 h 105"/>
                <a:gd name="T56" fmla="*/ 17 w 199"/>
                <a:gd name="T57" fmla="*/ 99 h 105"/>
                <a:gd name="T58" fmla="*/ 6 w 199"/>
                <a:gd name="T59" fmla="*/ 91 h 105"/>
                <a:gd name="T60" fmla="*/ 0 w 199"/>
                <a:gd name="T61" fmla="*/ 82 h 105"/>
                <a:gd name="T62" fmla="*/ 0 w 199"/>
                <a:gd name="T63" fmla="*/ 80 h 105"/>
                <a:gd name="T64" fmla="*/ 0 w 199"/>
                <a:gd name="T65" fmla="*/ 76 h 105"/>
                <a:gd name="T66" fmla="*/ 0 w 199"/>
                <a:gd name="T67" fmla="*/ 71 h 105"/>
                <a:gd name="T68" fmla="*/ 0 w 199"/>
                <a:gd name="T69" fmla="*/ 67 h 105"/>
                <a:gd name="T70" fmla="*/ 2 w 199"/>
                <a:gd name="T71" fmla="*/ 64 h 105"/>
                <a:gd name="T72" fmla="*/ 8 w 199"/>
                <a:gd name="T73" fmla="*/ 59 h 105"/>
                <a:gd name="T74" fmla="*/ 20 w 199"/>
                <a:gd name="T75" fmla="*/ 54 h 105"/>
                <a:gd name="T76" fmla="*/ 33 w 199"/>
                <a:gd name="T77" fmla="*/ 49 h 105"/>
                <a:gd name="T78" fmla="*/ 48 w 199"/>
                <a:gd name="T79" fmla="*/ 44 h 105"/>
                <a:gd name="T80" fmla="*/ 54 w 199"/>
                <a:gd name="T81" fmla="*/ 40 h 105"/>
                <a:gd name="T82" fmla="*/ 63 w 199"/>
                <a:gd name="T83" fmla="*/ 32 h 105"/>
                <a:gd name="T84" fmla="*/ 75 w 199"/>
                <a:gd name="T85" fmla="*/ 23 h 105"/>
                <a:gd name="T86" fmla="*/ 89 w 199"/>
                <a:gd name="T87" fmla="*/ 13 h 105"/>
                <a:gd name="T88" fmla="*/ 103 w 199"/>
                <a:gd name="T89" fmla="*/ 1 h 105"/>
                <a:gd name="T90" fmla="*/ 104 w 199"/>
                <a:gd name="T9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9" h="105">
                  <a:moveTo>
                    <a:pt x="104" y="0"/>
                  </a:moveTo>
                  <a:lnTo>
                    <a:pt x="111" y="1"/>
                  </a:lnTo>
                  <a:lnTo>
                    <a:pt x="118" y="4"/>
                  </a:lnTo>
                  <a:lnTo>
                    <a:pt x="125" y="8"/>
                  </a:lnTo>
                  <a:lnTo>
                    <a:pt x="129" y="13"/>
                  </a:lnTo>
                  <a:lnTo>
                    <a:pt x="133" y="17"/>
                  </a:lnTo>
                  <a:lnTo>
                    <a:pt x="140" y="19"/>
                  </a:lnTo>
                  <a:lnTo>
                    <a:pt x="151" y="21"/>
                  </a:lnTo>
                  <a:lnTo>
                    <a:pt x="162" y="19"/>
                  </a:lnTo>
                  <a:lnTo>
                    <a:pt x="174" y="18"/>
                  </a:lnTo>
                  <a:lnTo>
                    <a:pt x="185" y="12"/>
                  </a:lnTo>
                  <a:lnTo>
                    <a:pt x="192" y="4"/>
                  </a:lnTo>
                  <a:lnTo>
                    <a:pt x="199" y="0"/>
                  </a:lnTo>
                  <a:lnTo>
                    <a:pt x="199" y="16"/>
                  </a:lnTo>
                  <a:lnTo>
                    <a:pt x="199" y="28"/>
                  </a:lnTo>
                  <a:lnTo>
                    <a:pt x="198" y="39"/>
                  </a:lnTo>
                  <a:lnTo>
                    <a:pt x="192" y="46"/>
                  </a:lnTo>
                  <a:lnTo>
                    <a:pt x="181" y="53"/>
                  </a:lnTo>
                  <a:lnTo>
                    <a:pt x="167" y="59"/>
                  </a:lnTo>
                  <a:lnTo>
                    <a:pt x="152" y="64"/>
                  </a:lnTo>
                  <a:lnTo>
                    <a:pt x="136" y="72"/>
                  </a:lnTo>
                  <a:lnTo>
                    <a:pt x="122" y="80"/>
                  </a:lnTo>
                  <a:lnTo>
                    <a:pt x="111" y="90"/>
                  </a:lnTo>
                  <a:lnTo>
                    <a:pt x="99" y="98"/>
                  </a:lnTo>
                  <a:lnTo>
                    <a:pt x="85" y="103"/>
                  </a:lnTo>
                  <a:lnTo>
                    <a:pt x="67" y="105"/>
                  </a:lnTo>
                  <a:lnTo>
                    <a:pt x="49" y="105"/>
                  </a:lnTo>
                  <a:lnTo>
                    <a:pt x="33" y="104"/>
                  </a:lnTo>
                  <a:lnTo>
                    <a:pt x="17" y="99"/>
                  </a:lnTo>
                  <a:lnTo>
                    <a:pt x="6" y="91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2" y="64"/>
                  </a:lnTo>
                  <a:lnTo>
                    <a:pt x="8" y="59"/>
                  </a:lnTo>
                  <a:lnTo>
                    <a:pt x="20" y="54"/>
                  </a:lnTo>
                  <a:lnTo>
                    <a:pt x="33" y="49"/>
                  </a:lnTo>
                  <a:lnTo>
                    <a:pt x="48" y="44"/>
                  </a:lnTo>
                  <a:lnTo>
                    <a:pt x="54" y="40"/>
                  </a:lnTo>
                  <a:lnTo>
                    <a:pt x="63" y="32"/>
                  </a:lnTo>
                  <a:lnTo>
                    <a:pt x="75" y="23"/>
                  </a:lnTo>
                  <a:lnTo>
                    <a:pt x="89" y="13"/>
                  </a:lnTo>
                  <a:lnTo>
                    <a:pt x="103" y="1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6" name="Freeform 1532"/>
            <p:cNvSpPr>
              <a:spLocks/>
            </p:cNvSpPr>
            <p:nvPr/>
          </p:nvSpPr>
          <p:spPr bwMode="auto">
            <a:xfrm>
              <a:off x="9850438" y="2678113"/>
              <a:ext cx="315913" cy="320675"/>
            </a:xfrm>
            <a:custGeom>
              <a:avLst/>
              <a:gdLst>
                <a:gd name="T0" fmla="*/ 176 w 199"/>
                <a:gd name="T1" fmla="*/ 0 h 202"/>
                <a:gd name="T2" fmla="*/ 185 w 199"/>
                <a:gd name="T3" fmla="*/ 1 h 202"/>
                <a:gd name="T4" fmla="*/ 193 w 199"/>
                <a:gd name="T5" fmla="*/ 5 h 202"/>
                <a:gd name="T6" fmla="*/ 198 w 199"/>
                <a:gd name="T7" fmla="*/ 13 h 202"/>
                <a:gd name="T8" fmla="*/ 197 w 199"/>
                <a:gd name="T9" fmla="*/ 23 h 202"/>
                <a:gd name="T10" fmla="*/ 194 w 199"/>
                <a:gd name="T11" fmla="*/ 37 h 202"/>
                <a:gd name="T12" fmla="*/ 194 w 199"/>
                <a:gd name="T13" fmla="*/ 54 h 202"/>
                <a:gd name="T14" fmla="*/ 195 w 199"/>
                <a:gd name="T15" fmla="*/ 73 h 202"/>
                <a:gd name="T16" fmla="*/ 198 w 199"/>
                <a:gd name="T17" fmla="*/ 91 h 202"/>
                <a:gd name="T18" fmla="*/ 199 w 199"/>
                <a:gd name="T19" fmla="*/ 108 h 202"/>
                <a:gd name="T20" fmla="*/ 199 w 199"/>
                <a:gd name="T21" fmla="*/ 123 h 202"/>
                <a:gd name="T22" fmla="*/ 198 w 199"/>
                <a:gd name="T23" fmla="*/ 134 h 202"/>
                <a:gd name="T24" fmla="*/ 192 w 199"/>
                <a:gd name="T25" fmla="*/ 141 h 202"/>
                <a:gd name="T26" fmla="*/ 181 w 199"/>
                <a:gd name="T27" fmla="*/ 148 h 202"/>
                <a:gd name="T28" fmla="*/ 167 w 199"/>
                <a:gd name="T29" fmla="*/ 154 h 202"/>
                <a:gd name="T30" fmla="*/ 152 w 199"/>
                <a:gd name="T31" fmla="*/ 160 h 202"/>
                <a:gd name="T32" fmla="*/ 136 w 199"/>
                <a:gd name="T33" fmla="*/ 167 h 202"/>
                <a:gd name="T34" fmla="*/ 122 w 199"/>
                <a:gd name="T35" fmla="*/ 175 h 202"/>
                <a:gd name="T36" fmla="*/ 111 w 199"/>
                <a:gd name="T37" fmla="*/ 185 h 202"/>
                <a:gd name="T38" fmla="*/ 99 w 199"/>
                <a:gd name="T39" fmla="*/ 193 h 202"/>
                <a:gd name="T40" fmla="*/ 85 w 199"/>
                <a:gd name="T41" fmla="*/ 198 h 202"/>
                <a:gd name="T42" fmla="*/ 67 w 199"/>
                <a:gd name="T43" fmla="*/ 200 h 202"/>
                <a:gd name="T44" fmla="*/ 49 w 199"/>
                <a:gd name="T45" fmla="*/ 202 h 202"/>
                <a:gd name="T46" fmla="*/ 33 w 199"/>
                <a:gd name="T47" fmla="*/ 199 h 202"/>
                <a:gd name="T48" fmla="*/ 17 w 199"/>
                <a:gd name="T49" fmla="*/ 194 h 202"/>
                <a:gd name="T50" fmla="*/ 6 w 199"/>
                <a:gd name="T51" fmla="*/ 187 h 202"/>
                <a:gd name="T52" fmla="*/ 0 w 199"/>
                <a:gd name="T53" fmla="*/ 177 h 202"/>
                <a:gd name="T54" fmla="*/ 3 w 199"/>
                <a:gd name="T55" fmla="*/ 168 h 202"/>
                <a:gd name="T56" fmla="*/ 13 w 199"/>
                <a:gd name="T57" fmla="*/ 158 h 202"/>
                <a:gd name="T58" fmla="*/ 29 w 199"/>
                <a:gd name="T59" fmla="*/ 148 h 202"/>
                <a:gd name="T60" fmla="*/ 48 w 199"/>
                <a:gd name="T61" fmla="*/ 139 h 202"/>
                <a:gd name="T62" fmla="*/ 56 w 199"/>
                <a:gd name="T63" fmla="*/ 135 h 202"/>
                <a:gd name="T64" fmla="*/ 66 w 199"/>
                <a:gd name="T65" fmla="*/ 128 h 202"/>
                <a:gd name="T66" fmla="*/ 77 w 199"/>
                <a:gd name="T67" fmla="*/ 121 h 202"/>
                <a:gd name="T68" fmla="*/ 92 w 199"/>
                <a:gd name="T69" fmla="*/ 110 h 202"/>
                <a:gd name="T70" fmla="*/ 107 w 199"/>
                <a:gd name="T71" fmla="*/ 100 h 202"/>
                <a:gd name="T72" fmla="*/ 120 w 199"/>
                <a:gd name="T73" fmla="*/ 87 h 202"/>
                <a:gd name="T74" fmla="*/ 133 w 199"/>
                <a:gd name="T75" fmla="*/ 73 h 202"/>
                <a:gd name="T76" fmla="*/ 142 w 199"/>
                <a:gd name="T77" fmla="*/ 58 h 202"/>
                <a:gd name="T78" fmla="*/ 147 w 199"/>
                <a:gd name="T79" fmla="*/ 44 h 202"/>
                <a:gd name="T80" fmla="*/ 149 w 199"/>
                <a:gd name="T81" fmla="*/ 33 h 202"/>
                <a:gd name="T82" fmla="*/ 151 w 199"/>
                <a:gd name="T83" fmla="*/ 19 h 202"/>
                <a:gd name="T84" fmla="*/ 157 w 199"/>
                <a:gd name="T85" fmla="*/ 9 h 202"/>
                <a:gd name="T86" fmla="*/ 166 w 199"/>
                <a:gd name="T87" fmla="*/ 3 h 202"/>
                <a:gd name="T88" fmla="*/ 176 w 199"/>
                <a:gd name="T8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202">
                  <a:moveTo>
                    <a:pt x="176" y="0"/>
                  </a:moveTo>
                  <a:lnTo>
                    <a:pt x="185" y="1"/>
                  </a:lnTo>
                  <a:lnTo>
                    <a:pt x="193" y="5"/>
                  </a:lnTo>
                  <a:lnTo>
                    <a:pt x="198" y="13"/>
                  </a:lnTo>
                  <a:lnTo>
                    <a:pt x="197" y="23"/>
                  </a:lnTo>
                  <a:lnTo>
                    <a:pt x="194" y="37"/>
                  </a:lnTo>
                  <a:lnTo>
                    <a:pt x="194" y="54"/>
                  </a:lnTo>
                  <a:lnTo>
                    <a:pt x="195" y="73"/>
                  </a:lnTo>
                  <a:lnTo>
                    <a:pt x="198" y="91"/>
                  </a:lnTo>
                  <a:lnTo>
                    <a:pt x="199" y="108"/>
                  </a:lnTo>
                  <a:lnTo>
                    <a:pt x="199" y="123"/>
                  </a:lnTo>
                  <a:lnTo>
                    <a:pt x="198" y="134"/>
                  </a:lnTo>
                  <a:lnTo>
                    <a:pt x="192" y="141"/>
                  </a:lnTo>
                  <a:lnTo>
                    <a:pt x="181" y="148"/>
                  </a:lnTo>
                  <a:lnTo>
                    <a:pt x="167" y="154"/>
                  </a:lnTo>
                  <a:lnTo>
                    <a:pt x="152" y="160"/>
                  </a:lnTo>
                  <a:lnTo>
                    <a:pt x="136" y="167"/>
                  </a:lnTo>
                  <a:lnTo>
                    <a:pt x="122" y="175"/>
                  </a:lnTo>
                  <a:lnTo>
                    <a:pt x="111" y="185"/>
                  </a:lnTo>
                  <a:lnTo>
                    <a:pt x="99" y="193"/>
                  </a:lnTo>
                  <a:lnTo>
                    <a:pt x="85" y="198"/>
                  </a:lnTo>
                  <a:lnTo>
                    <a:pt x="67" y="200"/>
                  </a:lnTo>
                  <a:lnTo>
                    <a:pt x="49" y="202"/>
                  </a:lnTo>
                  <a:lnTo>
                    <a:pt x="33" y="199"/>
                  </a:lnTo>
                  <a:lnTo>
                    <a:pt x="17" y="194"/>
                  </a:lnTo>
                  <a:lnTo>
                    <a:pt x="6" y="187"/>
                  </a:lnTo>
                  <a:lnTo>
                    <a:pt x="0" y="177"/>
                  </a:lnTo>
                  <a:lnTo>
                    <a:pt x="3" y="168"/>
                  </a:lnTo>
                  <a:lnTo>
                    <a:pt x="13" y="158"/>
                  </a:lnTo>
                  <a:lnTo>
                    <a:pt x="29" y="148"/>
                  </a:lnTo>
                  <a:lnTo>
                    <a:pt x="48" y="139"/>
                  </a:lnTo>
                  <a:lnTo>
                    <a:pt x="56" y="135"/>
                  </a:lnTo>
                  <a:lnTo>
                    <a:pt x="66" y="128"/>
                  </a:lnTo>
                  <a:lnTo>
                    <a:pt x="77" y="121"/>
                  </a:lnTo>
                  <a:lnTo>
                    <a:pt x="92" y="110"/>
                  </a:lnTo>
                  <a:lnTo>
                    <a:pt x="107" y="100"/>
                  </a:lnTo>
                  <a:lnTo>
                    <a:pt x="120" y="87"/>
                  </a:lnTo>
                  <a:lnTo>
                    <a:pt x="133" y="73"/>
                  </a:lnTo>
                  <a:lnTo>
                    <a:pt x="142" y="58"/>
                  </a:lnTo>
                  <a:lnTo>
                    <a:pt x="147" y="44"/>
                  </a:lnTo>
                  <a:lnTo>
                    <a:pt x="149" y="33"/>
                  </a:lnTo>
                  <a:lnTo>
                    <a:pt x="151" y="19"/>
                  </a:lnTo>
                  <a:lnTo>
                    <a:pt x="157" y="9"/>
                  </a:lnTo>
                  <a:lnTo>
                    <a:pt x="166" y="3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7" name="Freeform 1533"/>
            <p:cNvSpPr>
              <a:spLocks/>
            </p:cNvSpPr>
            <p:nvPr/>
          </p:nvSpPr>
          <p:spPr bwMode="auto">
            <a:xfrm>
              <a:off x="9855201" y="2754313"/>
              <a:ext cx="314325" cy="244475"/>
            </a:xfrm>
            <a:custGeom>
              <a:avLst/>
              <a:gdLst>
                <a:gd name="T0" fmla="*/ 142 w 198"/>
                <a:gd name="T1" fmla="*/ 0 h 154"/>
                <a:gd name="T2" fmla="*/ 151 w 198"/>
                <a:gd name="T3" fmla="*/ 0 h 154"/>
                <a:gd name="T4" fmla="*/ 158 w 198"/>
                <a:gd name="T5" fmla="*/ 2 h 154"/>
                <a:gd name="T6" fmla="*/ 160 w 198"/>
                <a:gd name="T7" fmla="*/ 6 h 154"/>
                <a:gd name="T8" fmla="*/ 162 w 198"/>
                <a:gd name="T9" fmla="*/ 10 h 154"/>
                <a:gd name="T10" fmla="*/ 163 w 198"/>
                <a:gd name="T11" fmla="*/ 14 h 154"/>
                <a:gd name="T12" fmla="*/ 163 w 198"/>
                <a:gd name="T13" fmla="*/ 18 h 154"/>
                <a:gd name="T14" fmla="*/ 163 w 198"/>
                <a:gd name="T15" fmla="*/ 21 h 154"/>
                <a:gd name="T16" fmla="*/ 176 w 198"/>
                <a:gd name="T17" fmla="*/ 23 h 154"/>
                <a:gd name="T18" fmla="*/ 185 w 198"/>
                <a:gd name="T19" fmla="*/ 21 h 154"/>
                <a:gd name="T20" fmla="*/ 189 w 198"/>
                <a:gd name="T21" fmla="*/ 19 h 154"/>
                <a:gd name="T22" fmla="*/ 191 w 198"/>
                <a:gd name="T23" fmla="*/ 15 h 154"/>
                <a:gd name="T24" fmla="*/ 191 w 198"/>
                <a:gd name="T25" fmla="*/ 11 h 154"/>
                <a:gd name="T26" fmla="*/ 192 w 198"/>
                <a:gd name="T27" fmla="*/ 7 h 154"/>
                <a:gd name="T28" fmla="*/ 195 w 198"/>
                <a:gd name="T29" fmla="*/ 24 h 154"/>
                <a:gd name="T30" fmla="*/ 198 w 198"/>
                <a:gd name="T31" fmla="*/ 43 h 154"/>
                <a:gd name="T32" fmla="*/ 198 w 198"/>
                <a:gd name="T33" fmla="*/ 61 h 154"/>
                <a:gd name="T34" fmla="*/ 196 w 198"/>
                <a:gd name="T35" fmla="*/ 77 h 154"/>
                <a:gd name="T36" fmla="*/ 195 w 198"/>
                <a:gd name="T37" fmla="*/ 86 h 154"/>
                <a:gd name="T38" fmla="*/ 189 w 198"/>
                <a:gd name="T39" fmla="*/ 93 h 154"/>
                <a:gd name="T40" fmla="*/ 178 w 198"/>
                <a:gd name="T41" fmla="*/ 100 h 154"/>
                <a:gd name="T42" fmla="*/ 164 w 198"/>
                <a:gd name="T43" fmla="*/ 106 h 154"/>
                <a:gd name="T44" fmla="*/ 149 w 198"/>
                <a:gd name="T45" fmla="*/ 112 h 154"/>
                <a:gd name="T46" fmla="*/ 133 w 198"/>
                <a:gd name="T47" fmla="*/ 119 h 154"/>
                <a:gd name="T48" fmla="*/ 119 w 198"/>
                <a:gd name="T49" fmla="*/ 127 h 154"/>
                <a:gd name="T50" fmla="*/ 108 w 198"/>
                <a:gd name="T51" fmla="*/ 137 h 154"/>
                <a:gd name="T52" fmla="*/ 96 w 198"/>
                <a:gd name="T53" fmla="*/ 145 h 154"/>
                <a:gd name="T54" fmla="*/ 82 w 198"/>
                <a:gd name="T55" fmla="*/ 150 h 154"/>
                <a:gd name="T56" fmla="*/ 65 w 198"/>
                <a:gd name="T57" fmla="*/ 152 h 154"/>
                <a:gd name="T58" fmla="*/ 47 w 198"/>
                <a:gd name="T59" fmla="*/ 154 h 154"/>
                <a:gd name="T60" fmla="*/ 31 w 198"/>
                <a:gd name="T61" fmla="*/ 151 h 154"/>
                <a:gd name="T62" fmla="*/ 15 w 198"/>
                <a:gd name="T63" fmla="*/ 147 h 154"/>
                <a:gd name="T64" fmla="*/ 5 w 198"/>
                <a:gd name="T65" fmla="*/ 139 h 154"/>
                <a:gd name="T66" fmla="*/ 0 w 198"/>
                <a:gd name="T67" fmla="*/ 129 h 154"/>
                <a:gd name="T68" fmla="*/ 1 w 198"/>
                <a:gd name="T69" fmla="*/ 120 h 154"/>
                <a:gd name="T70" fmla="*/ 10 w 198"/>
                <a:gd name="T71" fmla="*/ 110 h 154"/>
                <a:gd name="T72" fmla="*/ 24 w 198"/>
                <a:gd name="T73" fmla="*/ 100 h 154"/>
                <a:gd name="T74" fmla="*/ 44 w 198"/>
                <a:gd name="T75" fmla="*/ 91 h 154"/>
                <a:gd name="T76" fmla="*/ 49 w 198"/>
                <a:gd name="T77" fmla="*/ 88 h 154"/>
                <a:gd name="T78" fmla="*/ 58 w 198"/>
                <a:gd name="T79" fmla="*/ 83 h 154"/>
                <a:gd name="T80" fmla="*/ 69 w 198"/>
                <a:gd name="T81" fmla="*/ 77 h 154"/>
                <a:gd name="T82" fmla="*/ 82 w 198"/>
                <a:gd name="T83" fmla="*/ 66 h 154"/>
                <a:gd name="T84" fmla="*/ 96 w 198"/>
                <a:gd name="T85" fmla="*/ 56 h 154"/>
                <a:gd name="T86" fmla="*/ 110 w 198"/>
                <a:gd name="T87" fmla="*/ 46 h 154"/>
                <a:gd name="T88" fmla="*/ 122 w 198"/>
                <a:gd name="T89" fmla="*/ 33 h 154"/>
                <a:gd name="T90" fmla="*/ 123 w 198"/>
                <a:gd name="T91" fmla="*/ 25 h 154"/>
                <a:gd name="T92" fmla="*/ 122 w 198"/>
                <a:gd name="T93" fmla="*/ 18 h 154"/>
                <a:gd name="T94" fmla="*/ 119 w 198"/>
                <a:gd name="T95" fmla="*/ 10 h 154"/>
                <a:gd name="T96" fmla="*/ 119 w 198"/>
                <a:gd name="T97" fmla="*/ 6 h 154"/>
                <a:gd name="T98" fmla="*/ 126 w 198"/>
                <a:gd name="T99" fmla="*/ 3 h 154"/>
                <a:gd name="T100" fmla="*/ 133 w 198"/>
                <a:gd name="T101" fmla="*/ 1 h 154"/>
                <a:gd name="T102" fmla="*/ 142 w 198"/>
                <a:gd name="T10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8" h="154">
                  <a:moveTo>
                    <a:pt x="142" y="0"/>
                  </a:moveTo>
                  <a:lnTo>
                    <a:pt x="151" y="0"/>
                  </a:lnTo>
                  <a:lnTo>
                    <a:pt x="158" y="2"/>
                  </a:lnTo>
                  <a:lnTo>
                    <a:pt x="160" y="6"/>
                  </a:lnTo>
                  <a:lnTo>
                    <a:pt x="162" y="10"/>
                  </a:lnTo>
                  <a:lnTo>
                    <a:pt x="163" y="14"/>
                  </a:lnTo>
                  <a:lnTo>
                    <a:pt x="163" y="18"/>
                  </a:lnTo>
                  <a:lnTo>
                    <a:pt x="163" y="21"/>
                  </a:lnTo>
                  <a:lnTo>
                    <a:pt x="176" y="23"/>
                  </a:lnTo>
                  <a:lnTo>
                    <a:pt x="185" y="21"/>
                  </a:lnTo>
                  <a:lnTo>
                    <a:pt x="189" y="19"/>
                  </a:lnTo>
                  <a:lnTo>
                    <a:pt x="191" y="15"/>
                  </a:lnTo>
                  <a:lnTo>
                    <a:pt x="191" y="11"/>
                  </a:lnTo>
                  <a:lnTo>
                    <a:pt x="192" y="7"/>
                  </a:lnTo>
                  <a:lnTo>
                    <a:pt x="195" y="24"/>
                  </a:lnTo>
                  <a:lnTo>
                    <a:pt x="198" y="43"/>
                  </a:lnTo>
                  <a:lnTo>
                    <a:pt x="198" y="61"/>
                  </a:lnTo>
                  <a:lnTo>
                    <a:pt x="196" y="77"/>
                  </a:lnTo>
                  <a:lnTo>
                    <a:pt x="195" y="86"/>
                  </a:lnTo>
                  <a:lnTo>
                    <a:pt x="189" y="93"/>
                  </a:lnTo>
                  <a:lnTo>
                    <a:pt x="178" y="100"/>
                  </a:lnTo>
                  <a:lnTo>
                    <a:pt x="164" y="106"/>
                  </a:lnTo>
                  <a:lnTo>
                    <a:pt x="149" y="112"/>
                  </a:lnTo>
                  <a:lnTo>
                    <a:pt x="133" y="119"/>
                  </a:lnTo>
                  <a:lnTo>
                    <a:pt x="119" y="127"/>
                  </a:lnTo>
                  <a:lnTo>
                    <a:pt x="108" y="137"/>
                  </a:lnTo>
                  <a:lnTo>
                    <a:pt x="96" y="145"/>
                  </a:lnTo>
                  <a:lnTo>
                    <a:pt x="82" y="150"/>
                  </a:lnTo>
                  <a:lnTo>
                    <a:pt x="65" y="152"/>
                  </a:lnTo>
                  <a:lnTo>
                    <a:pt x="47" y="154"/>
                  </a:lnTo>
                  <a:lnTo>
                    <a:pt x="31" y="151"/>
                  </a:lnTo>
                  <a:lnTo>
                    <a:pt x="15" y="147"/>
                  </a:lnTo>
                  <a:lnTo>
                    <a:pt x="5" y="139"/>
                  </a:lnTo>
                  <a:lnTo>
                    <a:pt x="0" y="129"/>
                  </a:lnTo>
                  <a:lnTo>
                    <a:pt x="1" y="120"/>
                  </a:lnTo>
                  <a:lnTo>
                    <a:pt x="10" y="110"/>
                  </a:lnTo>
                  <a:lnTo>
                    <a:pt x="24" y="100"/>
                  </a:lnTo>
                  <a:lnTo>
                    <a:pt x="44" y="91"/>
                  </a:lnTo>
                  <a:lnTo>
                    <a:pt x="49" y="88"/>
                  </a:lnTo>
                  <a:lnTo>
                    <a:pt x="58" y="83"/>
                  </a:lnTo>
                  <a:lnTo>
                    <a:pt x="69" y="77"/>
                  </a:lnTo>
                  <a:lnTo>
                    <a:pt x="82" y="66"/>
                  </a:lnTo>
                  <a:lnTo>
                    <a:pt x="96" y="56"/>
                  </a:lnTo>
                  <a:lnTo>
                    <a:pt x="110" y="46"/>
                  </a:lnTo>
                  <a:lnTo>
                    <a:pt x="122" y="33"/>
                  </a:lnTo>
                  <a:lnTo>
                    <a:pt x="123" y="25"/>
                  </a:lnTo>
                  <a:lnTo>
                    <a:pt x="122" y="18"/>
                  </a:lnTo>
                  <a:lnTo>
                    <a:pt x="119" y="10"/>
                  </a:lnTo>
                  <a:lnTo>
                    <a:pt x="119" y="6"/>
                  </a:lnTo>
                  <a:lnTo>
                    <a:pt x="126" y="3"/>
                  </a:lnTo>
                  <a:lnTo>
                    <a:pt x="133" y="1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8" name="Freeform 1534"/>
            <p:cNvSpPr>
              <a:spLocks/>
            </p:cNvSpPr>
            <p:nvPr/>
          </p:nvSpPr>
          <p:spPr bwMode="auto">
            <a:xfrm>
              <a:off x="9913938" y="2787650"/>
              <a:ext cx="207963" cy="147638"/>
            </a:xfrm>
            <a:custGeom>
              <a:avLst/>
              <a:gdLst>
                <a:gd name="T0" fmla="*/ 127 w 131"/>
                <a:gd name="T1" fmla="*/ 0 h 93"/>
                <a:gd name="T2" fmla="*/ 131 w 131"/>
                <a:gd name="T3" fmla="*/ 2 h 93"/>
                <a:gd name="T4" fmla="*/ 127 w 131"/>
                <a:gd name="T5" fmla="*/ 9 h 93"/>
                <a:gd name="T6" fmla="*/ 121 w 131"/>
                <a:gd name="T7" fmla="*/ 18 h 93"/>
                <a:gd name="T8" fmla="*/ 113 w 131"/>
                <a:gd name="T9" fmla="*/ 29 h 93"/>
                <a:gd name="T10" fmla="*/ 104 w 131"/>
                <a:gd name="T11" fmla="*/ 40 h 93"/>
                <a:gd name="T12" fmla="*/ 94 w 131"/>
                <a:gd name="T13" fmla="*/ 52 h 93"/>
                <a:gd name="T14" fmla="*/ 85 w 131"/>
                <a:gd name="T15" fmla="*/ 62 h 93"/>
                <a:gd name="T16" fmla="*/ 84 w 131"/>
                <a:gd name="T17" fmla="*/ 63 h 93"/>
                <a:gd name="T18" fmla="*/ 73 w 131"/>
                <a:gd name="T19" fmla="*/ 71 h 93"/>
                <a:gd name="T20" fmla="*/ 66 w 131"/>
                <a:gd name="T21" fmla="*/ 79 h 93"/>
                <a:gd name="T22" fmla="*/ 67 w 131"/>
                <a:gd name="T23" fmla="*/ 79 h 93"/>
                <a:gd name="T24" fmla="*/ 59 w 131"/>
                <a:gd name="T25" fmla="*/ 84 h 93"/>
                <a:gd name="T26" fmla="*/ 52 w 131"/>
                <a:gd name="T27" fmla="*/ 88 h 93"/>
                <a:gd name="T28" fmla="*/ 37 w 131"/>
                <a:gd name="T29" fmla="*/ 91 h 93"/>
                <a:gd name="T30" fmla="*/ 26 w 131"/>
                <a:gd name="T31" fmla="*/ 93 h 93"/>
                <a:gd name="T32" fmla="*/ 25 w 131"/>
                <a:gd name="T33" fmla="*/ 93 h 93"/>
                <a:gd name="T34" fmla="*/ 14 w 131"/>
                <a:gd name="T35" fmla="*/ 90 h 93"/>
                <a:gd name="T36" fmla="*/ 8 w 131"/>
                <a:gd name="T37" fmla="*/ 86 h 93"/>
                <a:gd name="T38" fmla="*/ 7 w 131"/>
                <a:gd name="T39" fmla="*/ 85 h 93"/>
                <a:gd name="T40" fmla="*/ 1 w 131"/>
                <a:gd name="T41" fmla="*/ 81 h 93"/>
                <a:gd name="T42" fmla="*/ 0 w 131"/>
                <a:gd name="T43" fmla="*/ 76 h 93"/>
                <a:gd name="T44" fmla="*/ 0 w 131"/>
                <a:gd name="T45" fmla="*/ 75 h 93"/>
                <a:gd name="T46" fmla="*/ 1 w 131"/>
                <a:gd name="T47" fmla="*/ 74 h 93"/>
                <a:gd name="T48" fmla="*/ 5 w 131"/>
                <a:gd name="T49" fmla="*/ 71 h 93"/>
                <a:gd name="T50" fmla="*/ 7 w 131"/>
                <a:gd name="T51" fmla="*/ 75 h 93"/>
                <a:gd name="T52" fmla="*/ 4 w 131"/>
                <a:gd name="T53" fmla="*/ 76 h 93"/>
                <a:gd name="T54" fmla="*/ 5 w 131"/>
                <a:gd name="T55" fmla="*/ 80 h 93"/>
                <a:gd name="T56" fmla="*/ 9 w 131"/>
                <a:gd name="T57" fmla="*/ 83 h 93"/>
                <a:gd name="T58" fmla="*/ 9 w 131"/>
                <a:gd name="T59" fmla="*/ 83 h 93"/>
                <a:gd name="T60" fmla="*/ 16 w 131"/>
                <a:gd name="T61" fmla="*/ 86 h 93"/>
                <a:gd name="T62" fmla="*/ 26 w 131"/>
                <a:gd name="T63" fmla="*/ 89 h 93"/>
                <a:gd name="T64" fmla="*/ 36 w 131"/>
                <a:gd name="T65" fmla="*/ 88 h 93"/>
                <a:gd name="T66" fmla="*/ 50 w 131"/>
                <a:gd name="T67" fmla="*/ 84 h 93"/>
                <a:gd name="T68" fmla="*/ 58 w 131"/>
                <a:gd name="T69" fmla="*/ 80 h 93"/>
                <a:gd name="T70" fmla="*/ 64 w 131"/>
                <a:gd name="T71" fmla="*/ 75 h 93"/>
                <a:gd name="T72" fmla="*/ 64 w 131"/>
                <a:gd name="T73" fmla="*/ 75 h 93"/>
                <a:gd name="T74" fmla="*/ 72 w 131"/>
                <a:gd name="T75" fmla="*/ 67 h 93"/>
                <a:gd name="T76" fmla="*/ 82 w 131"/>
                <a:gd name="T77" fmla="*/ 59 h 93"/>
                <a:gd name="T78" fmla="*/ 90 w 131"/>
                <a:gd name="T79" fmla="*/ 50 h 93"/>
                <a:gd name="T80" fmla="*/ 100 w 131"/>
                <a:gd name="T81" fmla="*/ 39 h 93"/>
                <a:gd name="T82" fmla="*/ 109 w 131"/>
                <a:gd name="T83" fmla="*/ 27 h 93"/>
                <a:gd name="T84" fmla="*/ 117 w 131"/>
                <a:gd name="T85" fmla="*/ 17 h 93"/>
                <a:gd name="T86" fmla="*/ 123 w 131"/>
                <a:gd name="T87" fmla="*/ 8 h 93"/>
                <a:gd name="T88" fmla="*/ 127 w 131"/>
                <a:gd name="T8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" h="93">
                  <a:moveTo>
                    <a:pt x="127" y="0"/>
                  </a:moveTo>
                  <a:lnTo>
                    <a:pt x="131" y="2"/>
                  </a:lnTo>
                  <a:lnTo>
                    <a:pt x="127" y="9"/>
                  </a:lnTo>
                  <a:lnTo>
                    <a:pt x="121" y="18"/>
                  </a:lnTo>
                  <a:lnTo>
                    <a:pt x="113" y="29"/>
                  </a:lnTo>
                  <a:lnTo>
                    <a:pt x="104" y="40"/>
                  </a:lnTo>
                  <a:lnTo>
                    <a:pt x="94" y="52"/>
                  </a:lnTo>
                  <a:lnTo>
                    <a:pt x="85" y="62"/>
                  </a:lnTo>
                  <a:lnTo>
                    <a:pt x="84" y="63"/>
                  </a:lnTo>
                  <a:lnTo>
                    <a:pt x="73" y="71"/>
                  </a:lnTo>
                  <a:lnTo>
                    <a:pt x="66" y="79"/>
                  </a:lnTo>
                  <a:lnTo>
                    <a:pt x="67" y="79"/>
                  </a:lnTo>
                  <a:lnTo>
                    <a:pt x="59" y="84"/>
                  </a:lnTo>
                  <a:lnTo>
                    <a:pt x="52" y="88"/>
                  </a:lnTo>
                  <a:lnTo>
                    <a:pt x="37" y="91"/>
                  </a:lnTo>
                  <a:lnTo>
                    <a:pt x="26" y="93"/>
                  </a:lnTo>
                  <a:lnTo>
                    <a:pt x="25" y="93"/>
                  </a:lnTo>
                  <a:lnTo>
                    <a:pt x="14" y="90"/>
                  </a:lnTo>
                  <a:lnTo>
                    <a:pt x="8" y="86"/>
                  </a:lnTo>
                  <a:lnTo>
                    <a:pt x="7" y="85"/>
                  </a:lnTo>
                  <a:lnTo>
                    <a:pt x="1" y="81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1" y="74"/>
                  </a:lnTo>
                  <a:lnTo>
                    <a:pt x="5" y="71"/>
                  </a:lnTo>
                  <a:lnTo>
                    <a:pt x="7" y="75"/>
                  </a:lnTo>
                  <a:lnTo>
                    <a:pt x="4" y="76"/>
                  </a:lnTo>
                  <a:lnTo>
                    <a:pt x="5" y="80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6" y="86"/>
                  </a:lnTo>
                  <a:lnTo>
                    <a:pt x="26" y="89"/>
                  </a:lnTo>
                  <a:lnTo>
                    <a:pt x="36" y="88"/>
                  </a:lnTo>
                  <a:lnTo>
                    <a:pt x="50" y="84"/>
                  </a:lnTo>
                  <a:lnTo>
                    <a:pt x="58" y="80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72" y="67"/>
                  </a:lnTo>
                  <a:lnTo>
                    <a:pt x="82" y="59"/>
                  </a:lnTo>
                  <a:lnTo>
                    <a:pt x="90" y="50"/>
                  </a:lnTo>
                  <a:lnTo>
                    <a:pt x="100" y="39"/>
                  </a:lnTo>
                  <a:lnTo>
                    <a:pt x="109" y="27"/>
                  </a:lnTo>
                  <a:lnTo>
                    <a:pt x="117" y="17"/>
                  </a:lnTo>
                  <a:lnTo>
                    <a:pt x="123" y="8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9" name="Line 1535"/>
            <p:cNvSpPr>
              <a:spLocks noChangeShapeType="1"/>
            </p:cNvSpPr>
            <p:nvPr/>
          </p:nvSpPr>
          <p:spPr bwMode="auto">
            <a:xfrm flipH="1" flipV="1">
              <a:off x="10006013" y="2844800"/>
              <a:ext cx="17463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0" name="Line 1536"/>
            <p:cNvSpPr>
              <a:spLocks noChangeShapeType="1"/>
            </p:cNvSpPr>
            <p:nvPr/>
          </p:nvSpPr>
          <p:spPr bwMode="auto">
            <a:xfrm flipH="1" flipV="1">
              <a:off x="10023476" y="2824163"/>
              <a:ext cx="19050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1" name="Line 1537"/>
            <p:cNvSpPr>
              <a:spLocks noChangeShapeType="1"/>
            </p:cNvSpPr>
            <p:nvPr/>
          </p:nvSpPr>
          <p:spPr bwMode="auto">
            <a:xfrm flipH="1" flipV="1">
              <a:off x="10042526" y="2813050"/>
              <a:ext cx="19050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2" name="Line 1538"/>
            <p:cNvSpPr>
              <a:spLocks noChangeShapeType="1"/>
            </p:cNvSpPr>
            <p:nvPr/>
          </p:nvSpPr>
          <p:spPr bwMode="auto">
            <a:xfrm>
              <a:off x="9982201" y="2863850"/>
              <a:ext cx="53975" cy="317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3" name="Line 1539"/>
            <p:cNvSpPr>
              <a:spLocks noChangeShapeType="1"/>
            </p:cNvSpPr>
            <p:nvPr/>
          </p:nvSpPr>
          <p:spPr bwMode="auto">
            <a:xfrm>
              <a:off x="10001251" y="2844800"/>
              <a:ext cx="57150" cy="47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4" name="Line 1540"/>
            <p:cNvSpPr>
              <a:spLocks noChangeShapeType="1"/>
            </p:cNvSpPr>
            <p:nvPr/>
          </p:nvSpPr>
          <p:spPr bwMode="auto">
            <a:xfrm>
              <a:off x="10020301" y="2827338"/>
              <a:ext cx="58738" cy="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5" name="Line 1541"/>
            <p:cNvSpPr>
              <a:spLocks noChangeShapeType="1"/>
            </p:cNvSpPr>
            <p:nvPr/>
          </p:nvSpPr>
          <p:spPr bwMode="auto">
            <a:xfrm flipH="1" flipV="1">
              <a:off x="9979026" y="2862263"/>
              <a:ext cx="19050" cy="3810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6" name="Line 1542"/>
            <p:cNvSpPr>
              <a:spLocks noChangeShapeType="1"/>
            </p:cNvSpPr>
            <p:nvPr/>
          </p:nvSpPr>
          <p:spPr bwMode="auto">
            <a:xfrm>
              <a:off x="9956801" y="2879725"/>
              <a:ext cx="63500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7" name="Line 1543"/>
            <p:cNvSpPr>
              <a:spLocks noChangeShapeType="1"/>
            </p:cNvSpPr>
            <p:nvPr/>
          </p:nvSpPr>
          <p:spPr bwMode="auto">
            <a:xfrm>
              <a:off x="9928226" y="2895600"/>
              <a:ext cx="71438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8" name="Line 1544"/>
            <p:cNvSpPr>
              <a:spLocks noChangeShapeType="1"/>
            </p:cNvSpPr>
            <p:nvPr/>
          </p:nvSpPr>
          <p:spPr bwMode="auto">
            <a:xfrm flipH="1" flipV="1">
              <a:off x="9956801" y="2879725"/>
              <a:ext cx="14288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9" name="Freeform 1545"/>
            <p:cNvSpPr>
              <a:spLocks/>
            </p:cNvSpPr>
            <p:nvPr/>
          </p:nvSpPr>
          <p:spPr bwMode="auto">
            <a:xfrm>
              <a:off x="9850438" y="2928938"/>
              <a:ext cx="85725" cy="71438"/>
            </a:xfrm>
            <a:custGeom>
              <a:avLst/>
              <a:gdLst>
                <a:gd name="T0" fmla="*/ 15 w 54"/>
                <a:gd name="T1" fmla="*/ 0 h 45"/>
                <a:gd name="T2" fmla="*/ 30 w 54"/>
                <a:gd name="T3" fmla="*/ 4 h 45"/>
                <a:gd name="T4" fmla="*/ 43 w 54"/>
                <a:gd name="T5" fmla="*/ 13 h 45"/>
                <a:gd name="T6" fmla="*/ 50 w 54"/>
                <a:gd name="T7" fmla="*/ 27 h 45"/>
                <a:gd name="T8" fmla="*/ 54 w 54"/>
                <a:gd name="T9" fmla="*/ 44 h 45"/>
                <a:gd name="T10" fmla="*/ 40 w 54"/>
                <a:gd name="T11" fmla="*/ 45 h 45"/>
                <a:gd name="T12" fmla="*/ 27 w 54"/>
                <a:gd name="T13" fmla="*/ 44 h 45"/>
                <a:gd name="T14" fmla="*/ 16 w 54"/>
                <a:gd name="T15" fmla="*/ 41 h 45"/>
                <a:gd name="T16" fmla="*/ 7 w 54"/>
                <a:gd name="T17" fmla="*/ 36 h 45"/>
                <a:gd name="T18" fmla="*/ 2 w 54"/>
                <a:gd name="T19" fmla="*/ 29 h 45"/>
                <a:gd name="T20" fmla="*/ 0 w 54"/>
                <a:gd name="T21" fmla="*/ 19 h 45"/>
                <a:gd name="T22" fmla="*/ 2 w 54"/>
                <a:gd name="T23" fmla="*/ 14 h 45"/>
                <a:gd name="T24" fmla="*/ 4 w 54"/>
                <a:gd name="T25" fmla="*/ 9 h 45"/>
                <a:gd name="T26" fmla="*/ 8 w 54"/>
                <a:gd name="T27" fmla="*/ 5 h 45"/>
                <a:gd name="T28" fmla="*/ 13 w 54"/>
                <a:gd name="T29" fmla="*/ 0 h 45"/>
                <a:gd name="T30" fmla="*/ 15 w 54"/>
                <a:gd name="T3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45">
                  <a:moveTo>
                    <a:pt x="15" y="0"/>
                  </a:moveTo>
                  <a:lnTo>
                    <a:pt x="30" y="4"/>
                  </a:lnTo>
                  <a:lnTo>
                    <a:pt x="43" y="13"/>
                  </a:lnTo>
                  <a:lnTo>
                    <a:pt x="50" y="27"/>
                  </a:lnTo>
                  <a:lnTo>
                    <a:pt x="54" y="44"/>
                  </a:lnTo>
                  <a:lnTo>
                    <a:pt x="40" y="45"/>
                  </a:lnTo>
                  <a:lnTo>
                    <a:pt x="27" y="44"/>
                  </a:lnTo>
                  <a:lnTo>
                    <a:pt x="16" y="41"/>
                  </a:lnTo>
                  <a:lnTo>
                    <a:pt x="7" y="36"/>
                  </a:lnTo>
                  <a:lnTo>
                    <a:pt x="2" y="29"/>
                  </a:lnTo>
                  <a:lnTo>
                    <a:pt x="0" y="19"/>
                  </a:lnTo>
                  <a:lnTo>
                    <a:pt x="2" y="14"/>
                  </a:lnTo>
                  <a:lnTo>
                    <a:pt x="4" y="9"/>
                  </a:lnTo>
                  <a:lnTo>
                    <a:pt x="8" y="5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0" name="Freeform 1546"/>
            <p:cNvSpPr>
              <a:spLocks/>
            </p:cNvSpPr>
            <p:nvPr/>
          </p:nvSpPr>
          <p:spPr bwMode="auto">
            <a:xfrm>
              <a:off x="10136188" y="2814638"/>
              <a:ext cx="34925" cy="100013"/>
            </a:xfrm>
            <a:custGeom>
              <a:avLst/>
              <a:gdLst>
                <a:gd name="T0" fmla="*/ 21 w 22"/>
                <a:gd name="T1" fmla="*/ 0 h 63"/>
                <a:gd name="T2" fmla="*/ 22 w 22"/>
                <a:gd name="T3" fmla="*/ 17 h 63"/>
                <a:gd name="T4" fmla="*/ 22 w 22"/>
                <a:gd name="T5" fmla="*/ 32 h 63"/>
                <a:gd name="T6" fmla="*/ 21 w 22"/>
                <a:gd name="T7" fmla="*/ 46 h 63"/>
                <a:gd name="T8" fmla="*/ 19 w 22"/>
                <a:gd name="T9" fmla="*/ 54 h 63"/>
                <a:gd name="T10" fmla="*/ 17 w 22"/>
                <a:gd name="T11" fmla="*/ 57 h 63"/>
                <a:gd name="T12" fmla="*/ 14 w 22"/>
                <a:gd name="T13" fmla="*/ 60 h 63"/>
                <a:gd name="T14" fmla="*/ 10 w 22"/>
                <a:gd name="T15" fmla="*/ 62 h 63"/>
                <a:gd name="T16" fmla="*/ 5 w 22"/>
                <a:gd name="T17" fmla="*/ 63 h 63"/>
                <a:gd name="T18" fmla="*/ 0 w 22"/>
                <a:gd name="T19" fmla="*/ 63 h 63"/>
                <a:gd name="T20" fmla="*/ 8 w 22"/>
                <a:gd name="T21" fmla="*/ 53 h 63"/>
                <a:gd name="T22" fmla="*/ 13 w 22"/>
                <a:gd name="T23" fmla="*/ 39 h 63"/>
                <a:gd name="T24" fmla="*/ 17 w 22"/>
                <a:gd name="T25" fmla="*/ 24 h 63"/>
                <a:gd name="T26" fmla="*/ 19 w 22"/>
                <a:gd name="T27" fmla="*/ 10 h 63"/>
                <a:gd name="T28" fmla="*/ 21 w 22"/>
                <a:gd name="T2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" h="63">
                  <a:moveTo>
                    <a:pt x="21" y="0"/>
                  </a:moveTo>
                  <a:lnTo>
                    <a:pt x="22" y="17"/>
                  </a:lnTo>
                  <a:lnTo>
                    <a:pt x="22" y="32"/>
                  </a:lnTo>
                  <a:lnTo>
                    <a:pt x="21" y="46"/>
                  </a:lnTo>
                  <a:lnTo>
                    <a:pt x="19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0" y="62"/>
                  </a:lnTo>
                  <a:lnTo>
                    <a:pt x="5" y="63"/>
                  </a:lnTo>
                  <a:lnTo>
                    <a:pt x="0" y="63"/>
                  </a:lnTo>
                  <a:lnTo>
                    <a:pt x="8" y="53"/>
                  </a:lnTo>
                  <a:lnTo>
                    <a:pt x="13" y="39"/>
                  </a:lnTo>
                  <a:lnTo>
                    <a:pt x="17" y="24"/>
                  </a:lnTo>
                  <a:lnTo>
                    <a:pt x="19" y="1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1" name="Freeform 1547"/>
            <p:cNvSpPr>
              <a:spLocks/>
            </p:cNvSpPr>
            <p:nvPr/>
          </p:nvSpPr>
          <p:spPr bwMode="auto">
            <a:xfrm>
              <a:off x="10258426" y="2851150"/>
              <a:ext cx="317500" cy="166688"/>
            </a:xfrm>
            <a:custGeom>
              <a:avLst/>
              <a:gdLst>
                <a:gd name="T0" fmla="*/ 96 w 200"/>
                <a:gd name="T1" fmla="*/ 0 h 105"/>
                <a:gd name="T2" fmla="*/ 98 w 200"/>
                <a:gd name="T3" fmla="*/ 1 h 105"/>
                <a:gd name="T4" fmla="*/ 112 w 200"/>
                <a:gd name="T5" fmla="*/ 13 h 105"/>
                <a:gd name="T6" fmla="*/ 125 w 200"/>
                <a:gd name="T7" fmla="*/ 23 h 105"/>
                <a:gd name="T8" fmla="*/ 136 w 200"/>
                <a:gd name="T9" fmla="*/ 32 h 105"/>
                <a:gd name="T10" fmla="*/ 145 w 200"/>
                <a:gd name="T11" fmla="*/ 40 h 105"/>
                <a:gd name="T12" fmla="*/ 151 w 200"/>
                <a:gd name="T13" fmla="*/ 44 h 105"/>
                <a:gd name="T14" fmla="*/ 167 w 200"/>
                <a:gd name="T15" fmla="*/ 49 h 105"/>
                <a:gd name="T16" fmla="*/ 181 w 200"/>
                <a:gd name="T17" fmla="*/ 54 h 105"/>
                <a:gd name="T18" fmla="*/ 191 w 200"/>
                <a:gd name="T19" fmla="*/ 59 h 105"/>
                <a:gd name="T20" fmla="*/ 199 w 200"/>
                <a:gd name="T21" fmla="*/ 64 h 105"/>
                <a:gd name="T22" fmla="*/ 199 w 200"/>
                <a:gd name="T23" fmla="*/ 67 h 105"/>
                <a:gd name="T24" fmla="*/ 200 w 200"/>
                <a:gd name="T25" fmla="*/ 71 h 105"/>
                <a:gd name="T26" fmla="*/ 200 w 200"/>
                <a:gd name="T27" fmla="*/ 76 h 105"/>
                <a:gd name="T28" fmla="*/ 199 w 200"/>
                <a:gd name="T29" fmla="*/ 80 h 105"/>
                <a:gd name="T30" fmla="*/ 199 w 200"/>
                <a:gd name="T31" fmla="*/ 82 h 105"/>
                <a:gd name="T32" fmla="*/ 194 w 200"/>
                <a:gd name="T33" fmla="*/ 91 h 105"/>
                <a:gd name="T34" fmla="*/ 182 w 200"/>
                <a:gd name="T35" fmla="*/ 99 h 105"/>
                <a:gd name="T36" fmla="*/ 168 w 200"/>
                <a:gd name="T37" fmla="*/ 104 h 105"/>
                <a:gd name="T38" fmla="*/ 150 w 200"/>
                <a:gd name="T39" fmla="*/ 105 h 105"/>
                <a:gd name="T40" fmla="*/ 132 w 200"/>
                <a:gd name="T41" fmla="*/ 105 h 105"/>
                <a:gd name="T42" fmla="*/ 116 w 200"/>
                <a:gd name="T43" fmla="*/ 103 h 105"/>
                <a:gd name="T44" fmla="*/ 100 w 200"/>
                <a:gd name="T45" fmla="*/ 98 h 105"/>
                <a:gd name="T46" fmla="*/ 90 w 200"/>
                <a:gd name="T47" fmla="*/ 90 h 105"/>
                <a:gd name="T48" fmla="*/ 77 w 200"/>
                <a:gd name="T49" fmla="*/ 80 h 105"/>
                <a:gd name="T50" fmla="*/ 63 w 200"/>
                <a:gd name="T51" fmla="*/ 72 h 105"/>
                <a:gd name="T52" fmla="*/ 48 w 200"/>
                <a:gd name="T53" fmla="*/ 64 h 105"/>
                <a:gd name="T54" fmla="*/ 32 w 200"/>
                <a:gd name="T55" fmla="*/ 59 h 105"/>
                <a:gd name="T56" fmla="*/ 19 w 200"/>
                <a:gd name="T57" fmla="*/ 53 h 105"/>
                <a:gd name="T58" fmla="*/ 8 w 200"/>
                <a:gd name="T59" fmla="*/ 46 h 105"/>
                <a:gd name="T60" fmla="*/ 3 w 200"/>
                <a:gd name="T61" fmla="*/ 39 h 105"/>
                <a:gd name="T62" fmla="*/ 0 w 200"/>
                <a:gd name="T63" fmla="*/ 28 h 105"/>
                <a:gd name="T64" fmla="*/ 0 w 200"/>
                <a:gd name="T65" fmla="*/ 16 h 105"/>
                <a:gd name="T66" fmla="*/ 1 w 200"/>
                <a:gd name="T67" fmla="*/ 0 h 105"/>
                <a:gd name="T68" fmla="*/ 8 w 200"/>
                <a:gd name="T69" fmla="*/ 4 h 105"/>
                <a:gd name="T70" fmla="*/ 15 w 200"/>
                <a:gd name="T71" fmla="*/ 12 h 105"/>
                <a:gd name="T72" fmla="*/ 26 w 200"/>
                <a:gd name="T73" fmla="*/ 18 h 105"/>
                <a:gd name="T74" fmla="*/ 37 w 200"/>
                <a:gd name="T75" fmla="*/ 19 h 105"/>
                <a:gd name="T76" fmla="*/ 50 w 200"/>
                <a:gd name="T77" fmla="*/ 21 h 105"/>
                <a:gd name="T78" fmla="*/ 59 w 200"/>
                <a:gd name="T79" fmla="*/ 19 h 105"/>
                <a:gd name="T80" fmla="*/ 67 w 200"/>
                <a:gd name="T81" fmla="*/ 17 h 105"/>
                <a:gd name="T82" fmla="*/ 71 w 200"/>
                <a:gd name="T83" fmla="*/ 13 h 105"/>
                <a:gd name="T84" fmla="*/ 76 w 200"/>
                <a:gd name="T85" fmla="*/ 8 h 105"/>
                <a:gd name="T86" fmla="*/ 82 w 200"/>
                <a:gd name="T87" fmla="*/ 4 h 105"/>
                <a:gd name="T88" fmla="*/ 89 w 200"/>
                <a:gd name="T89" fmla="*/ 1 h 105"/>
                <a:gd name="T90" fmla="*/ 96 w 200"/>
                <a:gd name="T9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0" h="105">
                  <a:moveTo>
                    <a:pt x="96" y="0"/>
                  </a:moveTo>
                  <a:lnTo>
                    <a:pt x="98" y="1"/>
                  </a:lnTo>
                  <a:lnTo>
                    <a:pt x="112" y="13"/>
                  </a:lnTo>
                  <a:lnTo>
                    <a:pt x="125" y="23"/>
                  </a:lnTo>
                  <a:lnTo>
                    <a:pt x="136" y="32"/>
                  </a:lnTo>
                  <a:lnTo>
                    <a:pt x="145" y="40"/>
                  </a:lnTo>
                  <a:lnTo>
                    <a:pt x="151" y="44"/>
                  </a:lnTo>
                  <a:lnTo>
                    <a:pt x="167" y="49"/>
                  </a:lnTo>
                  <a:lnTo>
                    <a:pt x="181" y="54"/>
                  </a:lnTo>
                  <a:lnTo>
                    <a:pt x="191" y="59"/>
                  </a:lnTo>
                  <a:lnTo>
                    <a:pt x="199" y="64"/>
                  </a:lnTo>
                  <a:lnTo>
                    <a:pt x="199" y="67"/>
                  </a:lnTo>
                  <a:lnTo>
                    <a:pt x="200" y="71"/>
                  </a:lnTo>
                  <a:lnTo>
                    <a:pt x="200" y="76"/>
                  </a:lnTo>
                  <a:lnTo>
                    <a:pt x="199" y="80"/>
                  </a:lnTo>
                  <a:lnTo>
                    <a:pt x="199" y="82"/>
                  </a:lnTo>
                  <a:lnTo>
                    <a:pt x="194" y="91"/>
                  </a:lnTo>
                  <a:lnTo>
                    <a:pt x="182" y="99"/>
                  </a:lnTo>
                  <a:lnTo>
                    <a:pt x="168" y="104"/>
                  </a:lnTo>
                  <a:lnTo>
                    <a:pt x="150" y="105"/>
                  </a:lnTo>
                  <a:lnTo>
                    <a:pt x="132" y="105"/>
                  </a:lnTo>
                  <a:lnTo>
                    <a:pt x="116" y="103"/>
                  </a:lnTo>
                  <a:lnTo>
                    <a:pt x="100" y="98"/>
                  </a:lnTo>
                  <a:lnTo>
                    <a:pt x="90" y="90"/>
                  </a:lnTo>
                  <a:lnTo>
                    <a:pt x="77" y="80"/>
                  </a:lnTo>
                  <a:lnTo>
                    <a:pt x="63" y="72"/>
                  </a:lnTo>
                  <a:lnTo>
                    <a:pt x="48" y="64"/>
                  </a:lnTo>
                  <a:lnTo>
                    <a:pt x="32" y="59"/>
                  </a:lnTo>
                  <a:lnTo>
                    <a:pt x="19" y="53"/>
                  </a:lnTo>
                  <a:lnTo>
                    <a:pt x="8" y="46"/>
                  </a:lnTo>
                  <a:lnTo>
                    <a:pt x="3" y="39"/>
                  </a:lnTo>
                  <a:lnTo>
                    <a:pt x="0" y="28"/>
                  </a:lnTo>
                  <a:lnTo>
                    <a:pt x="0" y="16"/>
                  </a:lnTo>
                  <a:lnTo>
                    <a:pt x="1" y="0"/>
                  </a:lnTo>
                  <a:lnTo>
                    <a:pt x="8" y="4"/>
                  </a:lnTo>
                  <a:lnTo>
                    <a:pt x="15" y="12"/>
                  </a:lnTo>
                  <a:lnTo>
                    <a:pt x="26" y="18"/>
                  </a:lnTo>
                  <a:lnTo>
                    <a:pt x="37" y="19"/>
                  </a:lnTo>
                  <a:lnTo>
                    <a:pt x="50" y="21"/>
                  </a:lnTo>
                  <a:lnTo>
                    <a:pt x="59" y="19"/>
                  </a:lnTo>
                  <a:lnTo>
                    <a:pt x="67" y="17"/>
                  </a:lnTo>
                  <a:lnTo>
                    <a:pt x="71" y="13"/>
                  </a:lnTo>
                  <a:lnTo>
                    <a:pt x="76" y="8"/>
                  </a:lnTo>
                  <a:lnTo>
                    <a:pt x="82" y="4"/>
                  </a:lnTo>
                  <a:lnTo>
                    <a:pt x="89" y="1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2" name="Freeform 1548"/>
            <p:cNvSpPr>
              <a:spLocks/>
            </p:cNvSpPr>
            <p:nvPr/>
          </p:nvSpPr>
          <p:spPr bwMode="auto">
            <a:xfrm>
              <a:off x="10258426" y="2678113"/>
              <a:ext cx="315913" cy="320675"/>
            </a:xfrm>
            <a:custGeom>
              <a:avLst/>
              <a:gdLst>
                <a:gd name="T0" fmla="*/ 24 w 199"/>
                <a:gd name="T1" fmla="*/ 0 h 202"/>
                <a:gd name="T2" fmla="*/ 33 w 199"/>
                <a:gd name="T3" fmla="*/ 3 h 202"/>
                <a:gd name="T4" fmla="*/ 42 w 199"/>
                <a:gd name="T5" fmla="*/ 9 h 202"/>
                <a:gd name="T6" fmla="*/ 49 w 199"/>
                <a:gd name="T7" fmla="*/ 19 h 202"/>
                <a:gd name="T8" fmla="*/ 50 w 199"/>
                <a:gd name="T9" fmla="*/ 33 h 202"/>
                <a:gd name="T10" fmla="*/ 53 w 199"/>
                <a:gd name="T11" fmla="*/ 44 h 202"/>
                <a:gd name="T12" fmla="*/ 59 w 199"/>
                <a:gd name="T13" fmla="*/ 58 h 202"/>
                <a:gd name="T14" fmla="*/ 68 w 199"/>
                <a:gd name="T15" fmla="*/ 73 h 202"/>
                <a:gd name="T16" fmla="*/ 80 w 199"/>
                <a:gd name="T17" fmla="*/ 87 h 202"/>
                <a:gd name="T18" fmla="*/ 94 w 199"/>
                <a:gd name="T19" fmla="*/ 100 h 202"/>
                <a:gd name="T20" fmla="*/ 108 w 199"/>
                <a:gd name="T21" fmla="*/ 110 h 202"/>
                <a:gd name="T22" fmla="*/ 122 w 199"/>
                <a:gd name="T23" fmla="*/ 121 h 202"/>
                <a:gd name="T24" fmla="*/ 135 w 199"/>
                <a:gd name="T25" fmla="*/ 128 h 202"/>
                <a:gd name="T26" fmla="*/ 145 w 199"/>
                <a:gd name="T27" fmla="*/ 135 h 202"/>
                <a:gd name="T28" fmla="*/ 151 w 199"/>
                <a:gd name="T29" fmla="*/ 139 h 202"/>
                <a:gd name="T30" fmla="*/ 171 w 199"/>
                <a:gd name="T31" fmla="*/ 148 h 202"/>
                <a:gd name="T32" fmla="*/ 187 w 199"/>
                <a:gd name="T33" fmla="*/ 158 h 202"/>
                <a:gd name="T34" fmla="*/ 196 w 199"/>
                <a:gd name="T35" fmla="*/ 168 h 202"/>
                <a:gd name="T36" fmla="*/ 199 w 199"/>
                <a:gd name="T37" fmla="*/ 177 h 202"/>
                <a:gd name="T38" fmla="*/ 194 w 199"/>
                <a:gd name="T39" fmla="*/ 187 h 202"/>
                <a:gd name="T40" fmla="*/ 182 w 199"/>
                <a:gd name="T41" fmla="*/ 194 h 202"/>
                <a:gd name="T42" fmla="*/ 168 w 199"/>
                <a:gd name="T43" fmla="*/ 199 h 202"/>
                <a:gd name="T44" fmla="*/ 150 w 199"/>
                <a:gd name="T45" fmla="*/ 202 h 202"/>
                <a:gd name="T46" fmla="*/ 132 w 199"/>
                <a:gd name="T47" fmla="*/ 200 h 202"/>
                <a:gd name="T48" fmla="*/ 116 w 199"/>
                <a:gd name="T49" fmla="*/ 198 h 202"/>
                <a:gd name="T50" fmla="*/ 100 w 199"/>
                <a:gd name="T51" fmla="*/ 193 h 202"/>
                <a:gd name="T52" fmla="*/ 90 w 199"/>
                <a:gd name="T53" fmla="*/ 185 h 202"/>
                <a:gd name="T54" fmla="*/ 77 w 199"/>
                <a:gd name="T55" fmla="*/ 175 h 202"/>
                <a:gd name="T56" fmla="*/ 63 w 199"/>
                <a:gd name="T57" fmla="*/ 167 h 202"/>
                <a:gd name="T58" fmla="*/ 48 w 199"/>
                <a:gd name="T59" fmla="*/ 160 h 202"/>
                <a:gd name="T60" fmla="*/ 32 w 199"/>
                <a:gd name="T61" fmla="*/ 154 h 202"/>
                <a:gd name="T62" fmla="*/ 19 w 199"/>
                <a:gd name="T63" fmla="*/ 148 h 202"/>
                <a:gd name="T64" fmla="*/ 8 w 199"/>
                <a:gd name="T65" fmla="*/ 141 h 202"/>
                <a:gd name="T66" fmla="*/ 3 w 199"/>
                <a:gd name="T67" fmla="*/ 134 h 202"/>
                <a:gd name="T68" fmla="*/ 0 w 199"/>
                <a:gd name="T69" fmla="*/ 123 h 202"/>
                <a:gd name="T70" fmla="*/ 0 w 199"/>
                <a:gd name="T71" fmla="*/ 108 h 202"/>
                <a:gd name="T72" fmla="*/ 1 w 199"/>
                <a:gd name="T73" fmla="*/ 91 h 202"/>
                <a:gd name="T74" fmla="*/ 4 w 199"/>
                <a:gd name="T75" fmla="*/ 73 h 202"/>
                <a:gd name="T76" fmla="*/ 5 w 199"/>
                <a:gd name="T77" fmla="*/ 54 h 202"/>
                <a:gd name="T78" fmla="*/ 5 w 199"/>
                <a:gd name="T79" fmla="*/ 37 h 202"/>
                <a:gd name="T80" fmla="*/ 3 w 199"/>
                <a:gd name="T81" fmla="*/ 23 h 202"/>
                <a:gd name="T82" fmla="*/ 3 w 199"/>
                <a:gd name="T83" fmla="*/ 13 h 202"/>
                <a:gd name="T84" fmla="*/ 6 w 199"/>
                <a:gd name="T85" fmla="*/ 5 h 202"/>
                <a:gd name="T86" fmla="*/ 14 w 199"/>
                <a:gd name="T87" fmla="*/ 1 h 202"/>
                <a:gd name="T88" fmla="*/ 24 w 199"/>
                <a:gd name="T8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202">
                  <a:moveTo>
                    <a:pt x="24" y="0"/>
                  </a:moveTo>
                  <a:lnTo>
                    <a:pt x="33" y="3"/>
                  </a:lnTo>
                  <a:lnTo>
                    <a:pt x="42" y="9"/>
                  </a:lnTo>
                  <a:lnTo>
                    <a:pt x="49" y="19"/>
                  </a:lnTo>
                  <a:lnTo>
                    <a:pt x="50" y="33"/>
                  </a:lnTo>
                  <a:lnTo>
                    <a:pt x="53" y="44"/>
                  </a:lnTo>
                  <a:lnTo>
                    <a:pt x="59" y="58"/>
                  </a:lnTo>
                  <a:lnTo>
                    <a:pt x="68" y="73"/>
                  </a:lnTo>
                  <a:lnTo>
                    <a:pt x="80" y="87"/>
                  </a:lnTo>
                  <a:lnTo>
                    <a:pt x="94" y="100"/>
                  </a:lnTo>
                  <a:lnTo>
                    <a:pt x="108" y="110"/>
                  </a:lnTo>
                  <a:lnTo>
                    <a:pt x="122" y="121"/>
                  </a:lnTo>
                  <a:lnTo>
                    <a:pt x="135" y="128"/>
                  </a:lnTo>
                  <a:lnTo>
                    <a:pt x="145" y="135"/>
                  </a:lnTo>
                  <a:lnTo>
                    <a:pt x="151" y="139"/>
                  </a:lnTo>
                  <a:lnTo>
                    <a:pt x="171" y="148"/>
                  </a:lnTo>
                  <a:lnTo>
                    <a:pt x="187" y="158"/>
                  </a:lnTo>
                  <a:lnTo>
                    <a:pt x="196" y="168"/>
                  </a:lnTo>
                  <a:lnTo>
                    <a:pt x="199" y="177"/>
                  </a:lnTo>
                  <a:lnTo>
                    <a:pt x="194" y="187"/>
                  </a:lnTo>
                  <a:lnTo>
                    <a:pt x="182" y="194"/>
                  </a:lnTo>
                  <a:lnTo>
                    <a:pt x="168" y="199"/>
                  </a:lnTo>
                  <a:lnTo>
                    <a:pt x="150" y="202"/>
                  </a:lnTo>
                  <a:lnTo>
                    <a:pt x="132" y="200"/>
                  </a:lnTo>
                  <a:lnTo>
                    <a:pt x="116" y="198"/>
                  </a:lnTo>
                  <a:lnTo>
                    <a:pt x="100" y="193"/>
                  </a:lnTo>
                  <a:lnTo>
                    <a:pt x="90" y="185"/>
                  </a:lnTo>
                  <a:lnTo>
                    <a:pt x="77" y="175"/>
                  </a:lnTo>
                  <a:lnTo>
                    <a:pt x="63" y="167"/>
                  </a:lnTo>
                  <a:lnTo>
                    <a:pt x="48" y="160"/>
                  </a:lnTo>
                  <a:lnTo>
                    <a:pt x="32" y="154"/>
                  </a:lnTo>
                  <a:lnTo>
                    <a:pt x="19" y="148"/>
                  </a:lnTo>
                  <a:lnTo>
                    <a:pt x="8" y="141"/>
                  </a:lnTo>
                  <a:lnTo>
                    <a:pt x="3" y="134"/>
                  </a:lnTo>
                  <a:lnTo>
                    <a:pt x="0" y="123"/>
                  </a:lnTo>
                  <a:lnTo>
                    <a:pt x="0" y="108"/>
                  </a:lnTo>
                  <a:lnTo>
                    <a:pt x="1" y="91"/>
                  </a:lnTo>
                  <a:lnTo>
                    <a:pt x="4" y="73"/>
                  </a:lnTo>
                  <a:lnTo>
                    <a:pt x="5" y="54"/>
                  </a:lnTo>
                  <a:lnTo>
                    <a:pt x="5" y="37"/>
                  </a:lnTo>
                  <a:lnTo>
                    <a:pt x="3" y="23"/>
                  </a:lnTo>
                  <a:lnTo>
                    <a:pt x="3" y="13"/>
                  </a:lnTo>
                  <a:lnTo>
                    <a:pt x="6" y="5"/>
                  </a:lnTo>
                  <a:lnTo>
                    <a:pt x="14" y="1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3" name="Freeform 1549"/>
            <p:cNvSpPr>
              <a:spLocks/>
            </p:cNvSpPr>
            <p:nvPr/>
          </p:nvSpPr>
          <p:spPr bwMode="auto">
            <a:xfrm>
              <a:off x="10258426" y="2754313"/>
              <a:ext cx="314325" cy="244475"/>
            </a:xfrm>
            <a:custGeom>
              <a:avLst/>
              <a:gdLst>
                <a:gd name="T0" fmla="*/ 54 w 198"/>
                <a:gd name="T1" fmla="*/ 0 h 154"/>
                <a:gd name="T2" fmla="*/ 64 w 198"/>
                <a:gd name="T3" fmla="*/ 1 h 154"/>
                <a:gd name="T4" fmla="*/ 72 w 198"/>
                <a:gd name="T5" fmla="*/ 3 h 154"/>
                <a:gd name="T6" fmla="*/ 77 w 198"/>
                <a:gd name="T7" fmla="*/ 6 h 154"/>
                <a:gd name="T8" fmla="*/ 78 w 198"/>
                <a:gd name="T9" fmla="*/ 10 h 154"/>
                <a:gd name="T10" fmla="*/ 74 w 198"/>
                <a:gd name="T11" fmla="*/ 18 h 154"/>
                <a:gd name="T12" fmla="*/ 73 w 198"/>
                <a:gd name="T13" fmla="*/ 25 h 154"/>
                <a:gd name="T14" fmla="*/ 76 w 198"/>
                <a:gd name="T15" fmla="*/ 33 h 154"/>
                <a:gd name="T16" fmla="*/ 87 w 198"/>
                <a:gd name="T17" fmla="*/ 46 h 154"/>
                <a:gd name="T18" fmla="*/ 100 w 198"/>
                <a:gd name="T19" fmla="*/ 56 h 154"/>
                <a:gd name="T20" fmla="*/ 114 w 198"/>
                <a:gd name="T21" fmla="*/ 66 h 154"/>
                <a:gd name="T22" fmla="*/ 128 w 198"/>
                <a:gd name="T23" fmla="*/ 77 h 154"/>
                <a:gd name="T24" fmla="*/ 140 w 198"/>
                <a:gd name="T25" fmla="*/ 83 h 154"/>
                <a:gd name="T26" fmla="*/ 149 w 198"/>
                <a:gd name="T27" fmla="*/ 88 h 154"/>
                <a:gd name="T28" fmla="*/ 153 w 198"/>
                <a:gd name="T29" fmla="*/ 91 h 154"/>
                <a:gd name="T30" fmla="*/ 172 w 198"/>
                <a:gd name="T31" fmla="*/ 100 h 154"/>
                <a:gd name="T32" fmla="*/ 186 w 198"/>
                <a:gd name="T33" fmla="*/ 110 h 154"/>
                <a:gd name="T34" fmla="*/ 195 w 198"/>
                <a:gd name="T35" fmla="*/ 120 h 154"/>
                <a:gd name="T36" fmla="*/ 198 w 198"/>
                <a:gd name="T37" fmla="*/ 129 h 154"/>
                <a:gd name="T38" fmla="*/ 191 w 198"/>
                <a:gd name="T39" fmla="*/ 139 h 154"/>
                <a:gd name="T40" fmla="*/ 181 w 198"/>
                <a:gd name="T41" fmla="*/ 147 h 154"/>
                <a:gd name="T42" fmla="*/ 167 w 198"/>
                <a:gd name="T43" fmla="*/ 151 h 154"/>
                <a:gd name="T44" fmla="*/ 149 w 198"/>
                <a:gd name="T45" fmla="*/ 154 h 154"/>
                <a:gd name="T46" fmla="*/ 132 w 198"/>
                <a:gd name="T47" fmla="*/ 152 h 154"/>
                <a:gd name="T48" fmla="*/ 116 w 198"/>
                <a:gd name="T49" fmla="*/ 150 h 154"/>
                <a:gd name="T50" fmla="*/ 100 w 198"/>
                <a:gd name="T51" fmla="*/ 145 h 154"/>
                <a:gd name="T52" fmla="*/ 90 w 198"/>
                <a:gd name="T53" fmla="*/ 137 h 154"/>
                <a:gd name="T54" fmla="*/ 77 w 198"/>
                <a:gd name="T55" fmla="*/ 127 h 154"/>
                <a:gd name="T56" fmla="*/ 63 w 198"/>
                <a:gd name="T57" fmla="*/ 119 h 154"/>
                <a:gd name="T58" fmla="*/ 48 w 198"/>
                <a:gd name="T59" fmla="*/ 112 h 154"/>
                <a:gd name="T60" fmla="*/ 32 w 198"/>
                <a:gd name="T61" fmla="*/ 106 h 154"/>
                <a:gd name="T62" fmla="*/ 19 w 198"/>
                <a:gd name="T63" fmla="*/ 100 h 154"/>
                <a:gd name="T64" fmla="*/ 8 w 198"/>
                <a:gd name="T65" fmla="*/ 93 h 154"/>
                <a:gd name="T66" fmla="*/ 3 w 198"/>
                <a:gd name="T67" fmla="*/ 86 h 154"/>
                <a:gd name="T68" fmla="*/ 0 w 198"/>
                <a:gd name="T69" fmla="*/ 77 h 154"/>
                <a:gd name="T70" fmla="*/ 0 w 198"/>
                <a:gd name="T71" fmla="*/ 61 h 154"/>
                <a:gd name="T72" fmla="*/ 0 w 198"/>
                <a:gd name="T73" fmla="*/ 43 h 154"/>
                <a:gd name="T74" fmla="*/ 1 w 198"/>
                <a:gd name="T75" fmla="*/ 24 h 154"/>
                <a:gd name="T76" fmla="*/ 4 w 198"/>
                <a:gd name="T77" fmla="*/ 7 h 154"/>
                <a:gd name="T78" fmla="*/ 5 w 198"/>
                <a:gd name="T79" fmla="*/ 11 h 154"/>
                <a:gd name="T80" fmla="*/ 6 w 198"/>
                <a:gd name="T81" fmla="*/ 15 h 154"/>
                <a:gd name="T82" fmla="*/ 8 w 198"/>
                <a:gd name="T83" fmla="*/ 19 h 154"/>
                <a:gd name="T84" fmla="*/ 13 w 198"/>
                <a:gd name="T85" fmla="*/ 21 h 154"/>
                <a:gd name="T86" fmla="*/ 21 w 198"/>
                <a:gd name="T87" fmla="*/ 23 h 154"/>
                <a:gd name="T88" fmla="*/ 33 w 198"/>
                <a:gd name="T89" fmla="*/ 21 h 154"/>
                <a:gd name="T90" fmla="*/ 33 w 198"/>
                <a:gd name="T91" fmla="*/ 18 h 154"/>
                <a:gd name="T92" fmla="*/ 35 w 198"/>
                <a:gd name="T93" fmla="*/ 14 h 154"/>
                <a:gd name="T94" fmla="*/ 35 w 198"/>
                <a:gd name="T95" fmla="*/ 10 h 154"/>
                <a:gd name="T96" fmla="*/ 36 w 198"/>
                <a:gd name="T97" fmla="*/ 6 h 154"/>
                <a:gd name="T98" fmla="*/ 39 w 198"/>
                <a:gd name="T99" fmla="*/ 2 h 154"/>
                <a:gd name="T100" fmla="*/ 45 w 198"/>
                <a:gd name="T101" fmla="*/ 0 h 154"/>
                <a:gd name="T102" fmla="*/ 54 w 198"/>
                <a:gd name="T10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8" h="154">
                  <a:moveTo>
                    <a:pt x="54" y="0"/>
                  </a:moveTo>
                  <a:lnTo>
                    <a:pt x="64" y="1"/>
                  </a:lnTo>
                  <a:lnTo>
                    <a:pt x="72" y="3"/>
                  </a:lnTo>
                  <a:lnTo>
                    <a:pt x="77" y="6"/>
                  </a:lnTo>
                  <a:lnTo>
                    <a:pt x="78" y="10"/>
                  </a:lnTo>
                  <a:lnTo>
                    <a:pt x="74" y="18"/>
                  </a:lnTo>
                  <a:lnTo>
                    <a:pt x="73" y="25"/>
                  </a:lnTo>
                  <a:lnTo>
                    <a:pt x="76" y="33"/>
                  </a:lnTo>
                  <a:lnTo>
                    <a:pt x="87" y="46"/>
                  </a:lnTo>
                  <a:lnTo>
                    <a:pt x="100" y="56"/>
                  </a:lnTo>
                  <a:lnTo>
                    <a:pt x="114" y="66"/>
                  </a:lnTo>
                  <a:lnTo>
                    <a:pt x="128" y="77"/>
                  </a:lnTo>
                  <a:lnTo>
                    <a:pt x="140" y="83"/>
                  </a:lnTo>
                  <a:lnTo>
                    <a:pt x="149" y="88"/>
                  </a:lnTo>
                  <a:lnTo>
                    <a:pt x="153" y="91"/>
                  </a:lnTo>
                  <a:lnTo>
                    <a:pt x="172" y="100"/>
                  </a:lnTo>
                  <a:lnTo>
                    <a:pt x="186" y="110"/>
                  </a:lnTo>
                  <a:lnTo>
                    <a:pt x="195" y="120"/>
                  </a:lnTo>
                  <a:lnTo>
                    <a:pt x="198" y="129"/>
                  </a:lnTo>
                  <a:lnTo>
                    <a:pt x="191" y="139"/>
                  </a:lnTo>
                  <a:lnTo>
                    <a:pt x="181" y="147"/>
                  </a:lnTo>
                  <a:lnTo>
                    <a:pt x="167" y="151"/>
                  </a:lnTo>
                  <a:lnTo>
                    <a:pt x="149" y="154"/>
                  </a:lnTo>
                  <a:lnTo>
                    <a:pt x="132" y="152"/>
                  </a:lnTo>
                  <a:lnTo>
                    <a:pt x="116" y="150"/>
                  </a:lnTo>
                  <a:lnTo>
                    <a:pt x="100" y="145"/>
                  </a:lnTo>
                  <a:lnTo>
                    <a:pt x="90" y="137"/>
                  </a:lnTo>
                  <a:lnTo>
                    <a:pt x="77" y="127"/>
                  </a:lnTo>
                  <a:lnTo>
                    <a:pt x="63" y="119"/>
                  </a:lnTo>
                  <a:lnTo>
                    <a:pt x="48" y="112"/>
                  </a:lnTo>
                  <a:lnTo>
                    <a:pt x="32" y="106"/>
                  </a:lnTo>
                  <a:lnTo>
                    <a:pt x="19" y="100"/>
                  </a:lnTo>
                  <a:lnTo>
                    <a:pt x="8" y="93"/>
                  </a:lnTo>
                  <a:lnTo>
                    <a:pt x="3" y="86"/>
                  </a:lnTo>
                  <a:lnTo>
                    <a:pt x="0" y="77"/>
                  </a:lnTo>
                  <a:lnTo>
                    <a:pt x="0" y="61"/>
                  </a:lnTo>
                  <a:lnTo>
                    <a:pt x="0" y="43"/>
                  </a:lnTo>
                  <a:lnTo>
                    <a:pt x="1" y="24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13" y="21"/>
                  </a:lnTo>
                  <a:lnTo>
                    <a:pt x="21" y="23"/>
                  </a:lnTo>
                  <a:lnTo>
                    <a:pt x="33" y="21"/>
                  </a:lnTo>
                  <a:lnTo>
                    <a:pt x="33" y="18"/>
                  </a:lnTo>
                  <a:lnTo>
                    <a:pt x="35" y="14"/>
                  </a:lnTo>
                  <a:lnTo>
                    <a:pt x="35" y="10"/>
                  </a:lnTo>
                  <a:lnTo>
                    <a:pt x="36" y="6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4" name="Freeform 1550"/>
            <p:cNvSpPr>
              <a:spLocks/>
            </p:cNvSpPr>
            <p:nvPr/>
          </p:nvSpPr>
          <p:spPr bwMode="auto">
            <a:xfrm>
              <a:off x="10306051" y="2787650"/>
              <a:ext cx="204788" cy="147638"/>
            </a:xfrm>
            <a:custGeom>
              <a:avLst/>
              <a:gdLst>
                <a:gd name="T0" fmla="*/ 3 w 129"/>
                <a:gd name="T1" fmla="*/ 0 h 93"/>
                <a:gd name="T2" fmla="*/ 7 w 129"/>
                <a:gd name="T3" fmla="*/ 8 h 93"/>
                <a:gd name="T4" fmla="*/ 12 w 129"/>
                <a:gd name="T5" fmla="*/ 17 h 93"/>
                <a:gd name="T6" fmla="*/ 21 w 129"/>
                <a:gd name="T7" fmla="*/ 27 h 93"/>
                <a:gd name="T8" fmla="*/ 30 w 129"/>
                <a:gd name="T9" fmla="*/ 39 h 93"/>
                <a:gd name="T10" fmla="*/ 41 w 129"/>
                <a:gd name="T11" fmla="*/ 50 h 93"/>
                <a:gd name="T12" fmla="*/ 50 w 129"/>
                <a:gd name="T13" fmla="*/ 59 h 93"/>
                <a:gd name="T14" fmla="*/ 50 w 129"/>
                <a:gd name="T15" fmla="*/ 59 h 93"/>
                <a:gd name="T16" fmla="*/ 59 w 129"/>
                <a:gd name="T17" fmla="*/ 67 h 93"/>
                <a:gd name="T18" fmla="*/ 66 w 129"/>
                <a:gd name="T19" fmla="*/ 75 h 93"/>
                <a:gd name="T20" fmla="*/ 73 w 129"/>
                <a:gd name="T21" fmla="*/ 80 h 93"/>
                <a:gd name="T22" fmla="*/ 80 w 129"/>
                <a:gd name="T23" fmla="*/ 84 h 93"/>
                <a:gd name="T24" fmla="*/ 95 w 129"/>
                <a:gd name="T25" fmla="*/ 88 h 93"/>
                <a:gd name="T26" fmla="*/ 105 w 129"/>
                <a:gd name="T27" fmla="*/ 89 h 93"/>
                <a:gd name="T28" fmla="*/ 114 w 129"/>
                <a:gd name="T29" fmla="*/ 86 h 93"/>
                <a:gd name="T30" fmla="*/ 121 w 129"/>
                <a:gd name="T31" fmla="*/ 83 h 93"/>
                <a:gd name="T32" fmla="*/ 121 w 129"/>
                <a:gd name="T33" fmla="*/ 83 h 93"/>
                <a:gd name="T34" fmla="*/ 124 w 129"/>
                <a:gd name="T35" fmla="*/ 80 h 93"/>
                <a:gd name="T36" fmla="*/ 125 w 129"/>
                <a:gd name="T37" fmla="*/ 76 h 93"/>
                <a:gd name="T38" fmla="*/ 124 w 129"/>
                <a:gd name="T39" fmla="*/ 75 h 93"/>
                <a:gd name="T40" fmla="*/ 125 w 129"/>
                <a:gd name="T41" fmla="*/ 71 h 93"/>
                <a:gd name="T42" fmla="*/ 129 w 129"/>
                <a:gd name="T43" fmla="*/ 75 h 93"/>
                <a:gd name="T44" fmla="*/ 129 w 129"/>
                <a:gd name="T45" fmla="*/ 76 h 93"/>
                <a:gd name="T46" fmla="*/ 128 w 129"/>
                <a:gd name="T47" fmla="*/ 81 h 93"/>
                <a:gd name="T48" fmla="*/ 123 w 129"/>
                <a:gd name="T49" fmla="*/ 86 h 93"/>
                <a:gd name="T50" fmla="*/ 115 w 129"/>
                <a:gd name="T51" fmla="*/ 90 h 93"/>
                <a:gd name="T52" fmla="*/ 106 w 129"/>
                <a:gd name="T53" fmla="*/ 93 h 93"/>
                <a:gd name="T54" fmla="*/ 105 w 129"/>
                <a:gd name="T55" fmla="*/ 93 h 93"/>
                <a:gd name="T56" fmla="*/ 93 w 129"/>
                <a:gd name="T57" fmla="*/ 91 h 93"/>
                <a:gd name="T58" fmla="*/ 79 w 129"/>
                <a:gd name="T59" fmla="*/ 88 h 93"/>
                <a:gd name="T60" fmla="*/ 71 w 129"/>
                <a:gd name="T61" fmla="*/ 84 h 93"/>
                <a:gd name="T62" fmla="*/ 65 w 129"/>
                <a:gd name="T63" fmla="*/ 79 h 93"/>
                <a:gd name="T64" fmla="*/ 57 w 129"/>
                <a:gd name="T65" fmla="*/ 71 h 93"/>
                <a:gd name="T66" fmla="*/ 48 w 129"/>
                <a:gd name="T67" fmla="*/ 63 h 93"/>
                <a:gd name="T68" fmla="*/ 37 w 129"/>
                <a:gd name="T69" fmla="*/ 52 h 93"/>
                <a:gd name="T70" fmla="*/ 26 w 129"/>
                <a:gd name="T71" fmla="*/ 40 h 93"/>
                <a:gd name="T72" fmla="*/ 18 w 129"/>
                <a:gd name="T73" fmla="*/ 29 h 93"/>
                <a:gd name="T74" fmla="*/ 9 w 129"/>
                <a:gd name="T75" fmla="*/ 18 h 93"/>
                <a:gd name="T76" fmla="*/ 3 w 129"/>
                <a:gd name="T77" fmla="*/ 9 h 93"/>
                <a:gd name="T78" fmla="*/ 0 w 129"/>
                <a:gd name="T79" fmla="*/ 2 h 93"/>
                <a:gd name="T80" fmla="*/ 3 w 129"/>
                <a:gd name="T8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9" h="93">
                  <a:moveTo>
                    <a:pt x="3" y="0"/>
                  </a:moveTo>
                  <a:lnTo>
                    <a:pt x="7" y="8"/>
                  </a:lnTo>
                  <a:lnTo>
                    <a:pt x="12" y="17"/>
                  </a:lnTo>
                  <a:lnTo>
                    <a:pt x="21" y="27"/>
                  </a:lnTo>
                  <a:lnTo>
                    <a:pt x="30" y="39"/>
                  </a:lnTo>
                  <a:lnTo>
                    <a:pt x="41" y="5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67"/>
                  </a:lnTo>
                  <a:lnTo>
                    <a:pt x="66" y="75"/>
                  </a:lnTo>
                  <a:lnTo>
                    <a:pt x="73" y="80"/>
                  </a:lnTo>
                  <a:lnTo>
                    <a:pt x="80" y="84"/>
                  </a:lnTo>
                  <a:lnTo>
                    <a:pt x="95" y="88"/>
                  </a:lnTo>
                  <a:lnTo>
                    <a:pt x="105" y="89"/>
                  </a:lnTo>
                  <a:lnTo>
                    <a:pt x="114" y="86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4" y="80"/>
                  </a:lnTo>
                  <a:lnTo>
                    <a:pt x="125" y="76"/>
                  </a:lnTo>
                  <a:lnTo>
                    <a:pt x="124" y="75"/>
                  </a:lnTo>
                  <a:lnTo>
                    <a:pt x="125" y="71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8" y="81"/>
                  </a:lnTo>
                  <a:lnTo>
                    <a:pt x="123" y="86"/>
                  </a:lnTo>
                  <a:lnTo>
                    <a:pt x="115" y="90"/>
                  </a:lnTo>
                  <a:lnTo>
                    <a:pt x="106" y="93"/>
                  </a:lnTo>
                  <a:lnTo>
                    <a:pt x="105" y="93"/>
                  </a:lnTo>
                  <a:lnTo>
                    <a:pt x="93" y="91"/>
                  </a:lnTo>
                  <a:lnTo>
                    <a:pt x="79" y="88"/>
                  </a:lnTo>
                  <a:lnTo>
                    <a:pt x="71" y="84"/>
                  </a:lnTo>
                  <a:lnTo>
                    <a:pt x="65" y="79"/>
                  </a:lnTo>
                  <a:lnTo>
                    <a:pt x="57" y="71"/>
                  </a:lnTo>
                  <a:lnTo>
                    <a:pt x="48" y="63"/>
                  </a:lnTo>
                  <a:lnTo>
                    <a:pt x="37" y="52"/>
                  </a:lnTo>
                  <a:lnTo>
                    <a:pt x="26" y="40"/>
                  </a:lnTo>
                  <a:lnTo>
                    <a:pt x="18" y="29"/>
                  </a:lnTo>
                  <a:lnTo>
                    <a:pt x="9" y="18"/>
                  </a:lnTo>
                  <a:lnTo>
                    <a:pt x="3" y="9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A17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5" name="Line 1551"/>
            <p:cNvSpPr>
              <a:spLocks noChangeShapeType="1"/>
            </p:cNvSpPr>
            <p:nvPr/>
          </p:nvSpPr>
          <p:spPr bwMode="auto">
            <a:xfrm flipV="1">
              <a:off x="10401301" y="2844800"/>
              <a:ext cx="20638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6" name="Line 1552"/>
            <p:cNvSpPr>
              <a:spLocks noChangeShapeType="1"/>
            </p:cNvSpPr>
            <p:nvPr/>
          </p:nvSpPr>
          <p:spPr bwMode="auto">
            <a:xfrm flipV="1">
              <a:off x="10382251" y="2824163"/>
              <a:ext cx="20638" cy="428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7" name="Line 1553"/>
            <p:cNvSpPr>
              <a:spLocks noChangeShapeType="1"/>
            </p:cNvSpPr>
            <p:nvPr/>
          </p:nvSpPr>
          <p:spPr bwMode="auto">
            <a:xfrm flipV="1">
              <a:off x="10364788" y="2813050"/>
              <a:ext cx="20638" cy="3651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8" name="Line 1554"/>
            <p:cNvSpPr>
              <a:spLocks noChangeShapeType="1"/>
            </p:cNvSpPr>
            <p:nvPr/>
          </p:nvSpPr>
          <p:spPr bwMode="auto">
            <a:xfrm flipH="1">
              <a:off x="10388601" y="2863850"/>
              <a:ext cx="57150" cy="3175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9" name="Line 1555"/>
            <p:cNvSpPr>
              <a:spLocks noChangeShapeType="1"/>
            </p:cNvSpPr>
            <p:nvPr/>
          </p:nvSpPr>
          <p:spPr bwMode="auto">
            <a:xfrm flipH="1">
              <a:off x="10366376" y="2844800"/>
              <a:ext cx="57150" cy="4763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0" name="Line 1556"/>
            <p:cNvSpPr>
              <a:spLocks noChangeShapeType="1"/>
            </p:cNvSpPr>
            <p:nvPr/>
          </p:nvSpPr>
          <p:spPr bwMode="auto">
            <a:xfrm flipH="1">
              <a:off x="10347326" y="2827338"/>
              <a:ext cx="57150" cy="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1" name="Line 1557"/>
            <p:cNvSpPr>
              <a:spLocks noChangeShapeType="1"/>
            </p:cNvSpPr>
            <p:nvPr/>
          </p:nvSpPr>
          <p:spPr bwMode="auto">
            <a:xfrm flipV="1">
              <a:off x="10428288" y="2862263"/>
              <a:ext cx="17463" cy="3810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2" name="Line 1558"/>
            <p:cNvSpPr>
              <a:spLocks noChangeShapeType="1"/>
            </p:cNvSpPr>
            <p:nvPr/>
          </p:nvSpPr>
          <p:spPr bwMode="auto">
            <a:xfrm flipH="1">
              <a:off x="10404476" y="2879725"/>
              <a:ext cx="63500" cy="793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3" name="Line 1559"/>
            <p:cNvSpPr>
              <a:spLocks noChangeShapeType="1"/>
            </p:cNvSpPr>
            <p:nvPr/>
          </p:nvSpPr>
          <p:spPr bwMode="auto">
            <a:xfrm flipH="1">
              <a:off x="10425113" y="2895600"/>
              <a:ext cx="71438" cy="6350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4" name="Line 1560"/>
            <p:cNvSpPr>
              <a:spLocks noChangeShapeType="1"/>
            </p:cNvSpPr>
            <p:nvPr/>
          </p:nvSpPr>
          <p:spPr bwMode="auto">
            <a:xfrm flipV="1">
              <a:off x="10453688" y="2879725"/>
              <a:ext cx="14288" cy="39688"/>
            </a:xfrm>
            <a:prstGeom prst="line">
              <a:avLst/>
            </a:prstGeom>
            <a:noFill/>
            <a:ln w="95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5" name="Freeform 1561"/>
            <p:cNvSpPr>
              <a:spLocks/>
            </p:cNvSpPr>
            <p:nvPr/>
          </p:nvSpPr>
          <p:spPr bwMode="auto">
            <a:xfrm>
              <a:off x="10488613" y="2928938"/>
              <a:ext cx="85725" cy="71438"/>
            </a:xfrm>
            <a:custGeom>
              <a:avLst/>
              <a:gdLst>
                <a:gd name="T0" fmla="*/ 41 w 54"/>
                <a:gd name="T1" fmla="*/ 0 h 45"/>
                <a:gd name="T2" fmla="*/ 41 w 54"/>
                <a:gd name="T3" fmla="*/ 0 h 45"/>
                <a:gd name="T4" fmla="*/ 48 w 54"/>
                <a:gd name="T5" fmla="*/ 5 h 45"/>
                <a:gd name="T6" fmla="*/ 51 w 54"/>
                <a:gd name="T7" fmla="*/ 9 h 45"/>
                <a:gd name="T8" fmla="*/ 53 w 54"/>
                <a:gd name="T9" fmla="*/ 14 h 45"/>
                <a:gd name="T10" fmla="*/ 54 w 54"/>
                <a:gd name="T11" fmla="*/ 19 h 45"/>
                <a:gd name="T12" fmla="*/ 53 w 54"/>
                <a:gd name="T13" fmla="*/ 29 h 45"/>
                <a:gd name="T14" fmla="*/ 48 w 54"/>
                <a:gd name="T15" fmla="*/ 36 h 45"/>
                <a:gd name="T16" fmla="*/ 39 w 54"/>
                <a:gd name="T17" fmla="*/ 41 h 45"/>
                <a:gd name="T18" fmla="*/ 27 w 54"/>
                <a:gd name="T19" fmla="*/ 44 h 45"/>
                <a:gd name="T20" fmla="*/ 14 w 54"/>
                <a:gd name="T21" fmla="*/ 45 h 45"/>
                <a:gd name="T22" fmla="*/ 0 w 54"/>
                <a:gd name="T23" fmla="*/ 44 h 45"/>
                <a:gd name="T24" fmla="*/ 4 w 54"/>
                <a:gd name="T25" fmla="*/ 27 h 45"/>
                <a:gd name="T26" fmla="*/ 13 w 54"/>
                <a:gd name="T27" fmla="*/ 13 h 45"/>
                <a:gd name="T28" fmla="*/ 26 w 54"/>
                <a:gd name="T29" fmla="*/ 4 h 45"/>
                <a:gd name="T30" fmla="*/ 41 w 54"/>
                <a:gd name="T3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45">
                  <a:moveTo>
                    <a:pt x="41" y="0"/>
                  </a:moveTo>
                  <a:lnTo>
                    <a:pt x="41" y="0"/>
                  </a:lnTo>
                  <a:lnTo>
                    <a:pt x="48" y="5"/>
                  </a:lnTo>
                  <a:lnTo>
                    <a:pt x="51" y="9"/>
                  </a:lnTo>
                  <a:lnTo>
                    <a:pt x="53" y="14"/>
                  </a:lnTo>
                  <a:lnTo>
                    <a:pt x="54" y="19"/>
                  </a:lnTo>
                  <a:lnTo>
                    <a:pt x="53" y="29"/>
                  </a:lnTo>
                  <a:lnTo>
                    <a:pt x="48" y="36"/>
                  </a:lnTo>
                  <a:lnTo>
                    <a:pt x="39" y="41"/>
                  </a:lnTo>
                  <a:lnTo>
                    <a:pt x="27" y="44"/>
                  </a:lnTo>
                  <a:lnTo>
                    <a:pt x="14" y="45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3" y="13"/>
                  </a:lnTo>
                  <a:lnTo>
                    <a:pt x="26" y="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6" name="Freeform 1562"/>
            <p:cNvSpPr>
              <a:spLocks/>
            </p:cNvSpPr>
            <p:nvPr/>
          </p:nvSpPr>
          <p:spPr bwMode="auto">
            <a:xfrm>
              <a:off x="10253663" y="2814638"/>
              <a:ext cx="38100" cy="100013"/>
            </a:xfrm>
            <a:custGeom>
              <a:avLst/>
              <a:gdLst>
                <a:gd name="T0" fmla="*/ 2 w 24"/>
                <a:gd name="T1" fmla="*/ 0 h 63"/>
                <a:gd name="T2" fmla="*/ 3 w 24"/>
                <a:gd name="T3" fmla="*/ 10 h 63"/>
                <a:gd name="T4" fmla="*/ 6 w 24"/>
                <a:gd name="T5" fmla="*/ 24 h 63"/>
                <a:gd name="T6" fmla="*/ 9 w 24"/>
                <a:gd name="T7" fmla="*/ 39 h 63"/>
                <a:gd name="T8" fmla="*/ 16 w 24"/>
                <a:gd name="T9" fmla="*/ 53 h 63"/>
                <a:gd name="T10" fmla="*/ 24 w 24"/>
                <a:gd name="T11" fmla="*/ 63 h 63"/>
                <a:gd name="T12" fmla="*/ 18 w 24"/>
                <a:gd name="T13" fmla="*/ 63 h 63"/>
                <a:gd name="T14" fmla="*/ 13 w 24"/>
                <a:gd name="T15" fmla="*/ 62 h 63"/>
                <a:gd name="T16" fmla="*/ 9 w 24"/>
                <a:gd name="T17" fmla="*/ 60 h 63"/>
                <a:gd name="T18" fmla="*/ 6 w 24"/>
                <a:gd name="T19" fmla="*/ 57 h 63"/>
                <a:gd name="T20" fmla="*/ 3 w 24"/>
                <a:gd name="T21" fmla="*/ 54 h 63"/>
                <a:gd name="T22" fmla="*/ 2 w 24"/>
                <a:gd name="T23" fmla="*/ 46 h 63"/>
                <a:gd name="T24" fmla="*/ 0 w 24"/>
                <a:gd name="T25" fmla="*/ 32 h 63"/>
                <a:gd name="T26" fmla="*/ 0 w 24"/>
                <a:gd name="T27" fmla="*/ 17 h 63"/>
                <a:gd name="T28" fmla="*/ 2 w 24"/>
                <a:gd name="T2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63">
                  <a:moveTo>
                    <a:pt x="2" y="0"/>
                  </a:moveTo>
                  <a:lnTo>
                    <a:pt x="3" y="10"/>
                  </a:lnTo>
                  <a:lnTo>
                    <a:pt x="6" y="24"/>
                  </a:lnTo>
                  <a:lnTo>
                    <a:pt x="9" y="39"/>
                  </a:lnTo>
                  <a:lnTo>
                    <a:pt x="16" y="53"/>
                  </a:lnTo>
                  <a:lnTo>
                    <a:pt x="24" y="63"/>
                  </a:lnTo>
                  <a:lnTo>
                    <a:pt x="18" y="63"/>
                  </a:lnTo>
                  <a:lnTo>
                    <a:pt x="13" y="62"/>
                  </a:lnTo>
                  <a:lnTo>
                    <a:pt x="9" y="60"/>
                  </a:lnTo>
                  <a:lnTo>
                    <a:pt x="6" y="57"/>
                  </a:lnTo>
                  <a:lnTo>
                    <a:pt x="3" y="54"/>
                  </a:lnTo>
                  <a:lnTo>
                    <a:pt x="2" y="46"/>
                  </a:lnTo>
                  <a:lnTo>
                    <a:pt x="0" y="32"/>
                  </a:lnTo>
                  <a:lnTo>
                    <a:pt x="0" y="1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7" name="Freeform 1563"/>
            <p:cNvSpPr>
              <a:spLocks/>
            </p:cNvSpPr>
            <p:nvPr/>
          </p:nvSpPr>
          <p:spPr bwMode="auto">
            <a:xfrm>
              <a:off x="9975851" y="1531938"/>
              <a:ext cx="431800" cy="1303338"/>
            </a:xfrm>
            <a:custGeom>
              <a:avLst/>
              <a:gdLst>
                <a:gd name="T0" fmla="*/ 149 w 272"/>
                <a:gd name="T1" fmla="*/ 0 h 821"/>
                <a:gd name="T2" fmla="*/ 208 w 272"/>
                <a:gd name="T3" fmla="*/ 6 h 821"/>
                <a:gd name="T4" fmla="*/ 251 w 272"/>
                <a:gd name="T5" fmla="*/ 20 h 821"/>
                <a:gd name="T6" fmla="*/ 267 w 272"/>
                <a:gd name="T7" fmla="*/ 60 h 821"/>
                <a:gd name="T8" fmla="*/ 269 w 272"/>
                <a:gd name="T9" fmla="*/ 134 h 821"/>
                <a:gd name="T10" fmla="*/ 268 w 272"/>
                <a:gd name="T11" fmla="*/ 232 h 821"/>
                <a:gd name="T12" fmla="*/ 256 w 272"/>
                <a:gd name="T13" fmla="*/ 324 h 821"/>
                <a:gd name="T14" fmla="*/ 250 w 272"/>
                <a:gd name="T15" fmla="*/ 380 h 821"/>
                <a:gd name="T16" fmla="*/ 246 w 272"/>
                <a:gd name="T17" fmla="*/ 422 h 821"/>
                <a:gd name="T18" fmla="*/ 243 w 272"/>
                <a:gd name="T19" fmla="*/ 463 h 821"/>
                <a:gd name="T20" fmla="*/ 241 w 272"/>
                <a:gd name="T21" fmla="*/ 514 h 821"/>
                <a:gd name="T22" fmla="*/ 246 w 272"/>
                <a:gd name="T23" fmla="*/ 605 h 821"/>
                <a:gd name="T24" fmla="*/ 259 w 272"/>
                <a:gd name="T25" fmla="*/ 689 h 821"/>
                <a:gd name="T26" fmla="*/ 269 w 272"/>
                <a:gd name="T27" fmla="*/ 771 h 821"/>
                <a:gd name="T28" fmla="*/ 252 w 272"/>
                <a:gd name="T29" fmla="*/ 818 h 821"/>
                <a:gd name="T30" fmla="*/ 205 w 272"/>
                <a:gd name="T31" fmla="*/ 821 h 821"/>
                <a:gd name="T32" fmla="*/ 163 w 272"/>
                <a:gd name="T33" fmla="*/ 817 h 821"/>
                <a:gd name="T34" fmla="*/ 161 w 272"/>
                <a:gd name="T35" fmla="*/ 802 h 821"/>
                <a:gd name="T36" fmla="*/ 159 w 272"/>
                <a:gd name="T37" fmla="*/ 759 h 821"/>
                <a:gd name="T38" fmla="*/ 154 w 272"/>
                <a:gd name="T39" fmla="*/ 704 h 821"/>
                <a:gd name="T40" fmla="*/ 147 w 272"/>
                <a:gd name="T41" fmla="*/ 603 h 821"/>
                <a:gd name="T42" fmla="*/ 146 w 272"/>
                <a:gd name="T43" fmla="*/ 460 h 821"/>
                <a:gd name="T44" fmla="*/ 145 w 272"/>
                <a:gd name="T45" fmla="*/ 390 h 821"/>
                <a:gd name="T46" fmla="*/ 142 w 272"/>
                <a:gd name="T47" fmla="*/ 322 h 821"/>
                <a:gd name="T48" fmla="*/ 140 w 272"/>
                <a:gd name="T49" fmla="*/ 242 h 821"/>
                <a:gd name="T50" fmla="*/ 136 w 272"/>
                <a:gd name="T51" fmla="*/ 250 h 821"/>
                <a:gd name="T52" fmla="*/ 133 w 272"/>
                <a:gd name="T53" fmla="*/ 342 h 821"/>
                <a:gd name="T54" fmla="*/ 131 w 272"/>
                <a:gd name="T55" fmla="*/ 410 h 821"/>
                <a:gd name="T56" fmla="*/ 129 w 272"/>
                <a:gd name="T57" fmla="*/ 458 h 821"/>
                <a:gd name="T58" fmla="*/ 131 w 272"/>
                <a:gd name="T59" fmla="*/ 523 h 821"/>
                <a:gd name="T60" fmla="*/ 133 w 272"/>
                <a:gd name="T61" fmla="*/ 598 h 821"/>
                <a:gd name="T62" fmla="*/ 133 w 272"/>
                <a:gd name="T63" fmla="*/ 664 h 821"/>
                <a:gd name="T64" fmla="*/ 131 w 272"/>
                <a:gd name="T65" fmla="*/ 725 h 821"/>
                <a:gd name="T66" fmla="*/ 133 w 272"/>
                <a:gd name="T67" fmla="*/ 780 h 821"/>
                <a:gd name="T68" fmla="*/ 134 w 272"/>
                <a:gd name="T69" fmla="*/ 817 h 821"/>
                <a:gd name="T70" fmla="*/ 98 w 272"/>
                <a:gd name="T71" fmla="*/ 821 h 821"/>
                <a:gd name="T72" fmla="*/ 56 w 272"/>
                <a:gd name="T73" fmla="*/ 817 h 821"/>
                <a:gd name="T74" fmla="*/ 22 w 272"/>
                <a:gd name="T75" fmla="*/ 811 h 821"/>
                <a:gd name="T76" fmla="*/ 22 w 272"/>
                <a:gd name="T77" fmla="*/ 776 h 821"/>
                <a:gd name="T78" fmla="*/ 23 w 272"/>
                <a:gd name="T79" fmla="*/ 722 h 821"/>
                <a:gd name="T80" fmla="*/ 23 w 272"/>
                <a:gd name="T81" fmla="*/ 658 h 821"/>
                <a:gd name="T82" fmla="*/ 24 w 272"/>
                <a:gd name="T83" fmla="*/ 599 h 821"/>
                <a:gd name="T84" fmla="*/ 24 w 272"/>
                <a:gd name="T85" fmla="*/ 557 h 821"/>
                <a:gd name="T86" fmla="*/ 22 w 272"/>
                <a:gd name="T87" fmla="*/ 498 h 821"/>
                <a:gd name="T88" fmla="*/ 14 w 272"/>
                <a:gd name="T89" fmla="*/ 396 h 821"/>
                <a:gd name="T90" fmla="*/ 5 w 272"/>
                <a:gd name="T91" fmla="*/ 278 h 821"/>
                <a:gd name="T92" fmla="*/ 0 w 272"/>
                <a:gd name="T93" fmla="*/ 160 h 821"/>
                <a:gd name="T94" fmla="*/ 1 w 272"/>
                <a:gd name="T95" fmla="*/ 66 h 821"/>
                <a:gd name="T96" fmla="*/ 15 w 272"/>
                <a:gd name="T97" fmla="*/ 20 h 821"/>
                <a:gd name="T98" fmla="*/ 59 w 272"/>
                <a:gd name="T99" fmla="*/ 6 h 821"/>
                <a:gd name="T100" fmla="*/ 118 w 272"/>
                <a:gd name="T101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2" h="821">
                  <a:moveTo>
                    <a:pt x="118" y="0"/>
                  </a:moveTo>
                  <a:lnTo>
                    <a:pt x="149" y="0"/>
                  </a:lnTo>
                  <a:lnTo>
                    <a:pt x="179" y="2"/>
                  </a:lnTo>
                  <a:lnTo>
                    <a:pt x="208" y="6"/>
                  </a:lnTo>
                  <a:lnTo>
                    <a:pt x="232" y="13"/>
                  </a:lnTo>
                  <a:lnTo>
                    <a:pt x="251" y="20"/>
                  </a:lnTo>
                  <a:lnTo>
                    <a:pt x="265" y="31"/>
                  </a:lnTo>
                  <a:lnTo>
                    <a:pt x="267" y="60"/>
                  </a:lnTo>
                  <a:lnTo>
                    <a:pt x="268" y="95"/>
                  </a:lnTo>
                  <a:lnTo>
                    <a:pt x="269" y="134"/>
                  </a:lnTo>
                  <a:lnTo>
                    <a:pt x="270" y="181"/>
                  </a:lnTo>
                  <a:lnTo>
                    <a:pt x="268" y="232"/>
                  </a:lnTo>
                  <a:lnTo>
                    <a:pt x="261" y="288"/>
                  </a:lnTo>
                  <a:lnTo>
                    <a:pt x="256" y="324"/>
                  </a:lnTo>
                  <a:lnTo>
                    <a:pt x="252" y="354"/>
                  </a:lnTo>
                  <a:lnTo>
                    <a:pt x="250" y="380"/>
                  </a:lnTo>
                  <a:lnTo>
                    <a:pt x="247" y="401"/>
                  </a:lnTo>
                  <a:lnTo>
                    <a:pt x="246" y="422"/>
                  </a:lnTo>
                  <a:lnTo>
                    <a:pt x="243" y="441"/>
                  </a:lnTo>
                  <a:lnTo>
                    <a:pt x="243" y="463"/>
                  </a:lnTo>
                  <a:lnTo>
                    <a:pt x="242" y="486"/>
                  </a:lnTo>
                  <a:lnTo>
                    <a:pt x="241" y="514"/>
                  </a:lnTo>
                  <a:lnTo>
                    <a:pt x="242" y="562"/>
                  </a:lnTo>
                  <a:lnTo>
                    <a:pt x="246" y="605"/>
                  </a:lnTo>
                  <a:lnTo>
                    <a:pt x="251" y="648"/>
                  </a:lnTo>
                  <a:lnTo>
                    <a:pt x="259" y="689"/>
                  </a:lnTo>
                  <a:lnTo>
                    <a:pt x="265" y="730"/>
                  </a:lnTo>
                  <a:lnTo>
                    <a:pt x="269" y="771"/>
                  </a:lnTo>
                  <a:lnTo>
                    <a:pt x="272" y="813"/>
                  </a:lnTo>
                  <a:lnTo>
                    <a:pt x="252" y="818"/>
                  </a:lnTo>
                  <a:lnTo>
                    <a:pt x="229" y="821"/>
                  </a:lnTo>
                  <a:lnTo>
                    <a:pt x="205" y="821"/>
                  </a:lnTo>
                  <a:lnTo>
                    <a:pt x="182" y="820"/>
                  </a:lnTo>
                  <a:lnTo>
                    <a:pt x="163" y="817"/>
                  </a:lnTo>
                  <a:lnTo>
                    <a:pt x="161" y="813"/>
                  </a:lnTo>
                  <a:lnTo>
                    <a:pt x="161" y="802"/>
                  </a:lnTo>
                  <a:lnTo>
                    <a:pt x="160" y="784"/>
                  </a:lnTo>
                  <a:lnTo>
                    <a:pt x="159" y="759"/>
                  </a:lnTo>
                  <a:lnTo>
                    <a:pt x="156" y="734"/>
                  </a:lnTo>
                  <a:lnTo>
                    <a:pt x="154" y="704"/>
                  </a:lnTo>
                  <a:lnTo>
                    <a:pt x="151" y="673"/>
                  </a:lnTo>
                  <a:lnTo>
                    <a:pt x="147" y="603"/>
                  </a:lnTo>
                  <a:lnTo>
                    <a:pt x="146" y="531"/>
                  </a:lnTo>
                  <a:lnTo>
                    <a:pt x="146" y="460"/>
                  </a:lnTo>
                  <a:lnTo>
                    <a:pt x="145" y="423"/>
                  </a:lnTo>
                  <a:lnTo>
                    <a:pt x="145" y="390"/>
                  </a:lnTo>
                  <a:lnTo>
                    <a:pt x="143" y="356"/>
                  </a:lnTo>
                  <a:lnTo>
                    <a:pt x="142" y="322"/>
                  </a:lnTo>
                  <a:lnTo>
                    <a:pt x="141" y="285"/>
                  </a:lnTo>
                  <a:lnTo>
                    <a:pt x="140" y="242"/>
                  </a:lnTo>
                  <a:lnTo>
                    <a:pt x="138" y="194"/>
                  </a:lnTo>
                  <a:lnTo>
                    <a:pt x="136" y="250"/>
                  </a:lnTo>
                  <a:lnTo>
                    <a:pt x="134" y="300"/>
                  </a:lnTo>
                  <a:lnTo>
                    <a:pt x="133" y="342"/>
                  </a:lnTo>
                  <a:lnTo>
                    <a:pt x="131" y="380"/>
                  </a:lnTo>
                  <a:lnTo>
                    <a:pt x="131" y="410"/>
                  </a:lnTo>
                  <a:lnTo>
                    <a:pt x="129" y="436"/>
                  </a:lnTo>
                  <a:lnTo>
                    <a:pt x="129" y="458"/>
                  </a:lnTo>
                  <a:lnTo>
                    <a:pt x="131" y="489"/>
                  </a:lnTo>
                  <a:lnTo>
                    <a:pt x="131" y="523"/>
                  </a:lnTo>
                  <a:lnTo>
                    <a:pt x="132" y="560"/>
                  </a:lnTo>
                  <a:lnTo>
                    <a:pt x="133" y="598"/>
                  </a:lnTo>
                  <a:lnTo>
                    <a:pt x="133" y="632"/>
                  </a:lnTo>
                  <a:lnTo>
                    <a:pt x="133" y="664"/>
                  </a:lnTo>
                  <a:lnTo>
                    <a:pt x="132" y="691"/>
                  </a:lnTo>
                  <a:lnTo>
                    <a:pt x="131" y="725"/>
                  </a:lnTo>
                  <a:lnTo>
                    <a:pt x="131" y="754"/>
                  </a:lnTo>
                  <a:lnTo>
                    <a:pt x="133" y="780"/>
                  </a:lnTo>
                  <a:lnTo>
                    <a:pt x="134" y="802"/>
                  </a:lnTo>
                  <a:lnTo>
                    <a:pt x="134" y="817"/>
                  </a:lnTo>
                  <a:lnTo>
                    <a:pt x="118" y="820"/>
                  </a:lnTo>
                  <a:lnTo>
                    <a:pt x="98" y="821"/>
                  </a:lnTo>
                  <a:lnTo>
                    <a:pt x="78" y="820"/>
                  </a:lnTo>
                  <a:lnTo>
                    <a:pt x="56" y="817"/>
                  </a:lnTo>
                  <a:lnTo>
                    <a:pt x="37" y="813"/>
                  </a:lnTo>
                  <a:lnTo>
                    <a:pt x="22" y="811"/>
                  </a:lnTo>
                  <a:lnTo>
                    <a:pt x="22" y="797"/>
                  </a:lnTo>
                  <a:lnTo>
                    <a:pt x="22" y="776"/>
                  </a:lnTo>
                  <a:lnTo>
                    <a:pt x="22" y="750"/>
                  </a:lnTo>
                  <a:lnTo>
                    <a:pt x="23" y="722"/>
                  </a:lnTo>
                  <a:lnTo>
                    <a:pt x="23" y="690"/>
                  </a:lnTo>
                  <a:lnTo>
                    <a:pt x="23" y="658"/>
                  </a:lnTo>
                  <a:lnTo>
                    <a:pt x="24" y="627"/>
                  </a:lnTo>
                  <a:lnTo>
                    <a:pt x="24" y="599"/>
                  </a:lnTo>
                  <a:lnTo>
                    <a:pt x="24" y="575"/>
                  </a:lnTo>
                  <a:lnTo>
                    <a:pt x="24" y="557"/>
                  </a:lnTo>
                  <a:lnTo>
                    <a:pt x="24" y="546"/>
                  </a:lnTo>
                  <a:lnTo>
                    <a:pt x="22" y="498"/>
                  </a:lnTo>
                  <a:lnTo>
                    <a:pt x="19" y="448"/>
                  </a:lnTo>
                  <a:lnTo>
                    <a:pt x="14" y="396"/>
                  </a:lnTo>
                  <a:lnTo>
                    <a:pt x="10" y="340"/>
                  </a:lnTo>
                  <a:lnTo>
                    <a:pt x="5" y="278"/>
                  </a:lnTo>
                  <a:lnTo>
                    <a:pt x="1" y="217"/>
                  </a:lnTo>
                  <a:lnTo>
                    <a:pt x="0" y="160"/>
                  </a:lnTo>
                  <a:lnTo>
                    <a:pt x="0" y="110"/>
                  </a:lnTo>
                  <a:lnTo>
                    <a:pt x="1" y="66"/>
                  </a:lnTo>
                  <a:lnTo>
                    <a:pt x="1" y="31"/>
                  </a:lnTo>
                  <a:lnTo>
                    <a:pt x="15" y="20"/>
                  </a:lnTo>
                  <a:lnTo>
                    <a:pt x="34" y="13"/>
                  </a:lnTo>
                  <a:lnTo>
                    <a:pt x="59" y="6"/>
                  </a:lnTo>
                  <a:lnTo>
                    <a:pt x="87" y="2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8" name="Freeform 1564"/>
            <p:cNvSpPr>
              <a:spLocks/>
            </p:cNvSpPr>
            <p:nvPr/>
          </p:nvSpPr>
          <p:spPr bwMode="auto">
            <a:xfrm>
              <a:off x="10188576" y="1843088"/>
              <a:ext cx="84138" cy="993775"/>
            </a:xfrm>
            <a:custGeom>
              <a:avLst/>
              <a:gdLst>
                <a:gd name="T0" fmla="*/ 8 w 53"/>
                <a:gd name="T1" fmla="*/ 0 h 626"/>
                <a:gd name="T2" fmla="*/ 12 w 53"/>
                <a:gd name="T3" fmla="*/ 13 h 626"/>
                <a:gd name="T4" fmla="*/ 15 w 53"/>
                <a:gd name="T5" fmla="*/ 27 h 626"/>
                <a:gd name="T6" fmla="*/ 20 w 53"/>
                <a:gd name="T7" fmla="*/ 59 h 626"/>
                <a:gd name="T8" fmla="*/ 24 w 53"/>
                <a:gd name="T9" fmla="*/ 94 h 626"/>
                <a:gd name="T10" fmla="*/ 27 w 53"/>
                <a:gd name="T11" fmla="*/ 130 h 626"/>
                <a:gd name="T12" fmla="*/ 30 w 53"/>
                <a:gd name="T13" fmla="*/ 166 h 626"/>
                <a:gd name="T14" fmla="*/ 31 w 53"/>
                <a:gd name="T15" fmla="*/ 200 h 626"/>
                <a:gd name="T16" fmla="*/ 34 w 53"/>
                <a:gd name="T17" fmla="*/ 234 h 626"/>
                <a:gd name="T18" fmla="*/ 35 w 53"/>
                <a:gd name="T19" fmla="*/ 262 h 626"/>
                <a:gd name="T20" fmla="*/ 35 w 53"/>
                <a:gd name="T21" fmla="*/ 296 h 626"/>
                <a:gd name="T22" fmla="*/ 36 w 53"/>
                <a:gd name="T23" fmla="*/ 318 h 626"/>
                <a:gd name="T24" fmla="*/ 38 w 53"/>
                <a:gd name="T25" fmla="*/ 343 h 626"/>
                <a:gd name="T26" fmla="*/ 39 w 53"/>
                <a:gd name="T27" fmla="*/ 370 h 626"/>
                <a:gd name="T28" fmla="*/ 40 w 53"/>
                <a:gd name="T29" fmla="*/ 398 h 626"/>
                <a:gd name="T30" fmla="*/ 44 w 53"/>
                <a:gd name="T31" fmla="*/ 456 h 626"/>
                <a:gd name="T32" fmla="*/ 47 w 53"/>
                <a:gd name="T33" fmla="*/ 512 h 626"/>
                <a:gd name="T34" fmla="*/ 48 w 53"/>
                <a:gd name="T35" fmla="*/ 538 h 626"/>
                <a:gd name="T36" fmla="*/ 49 w 53"/>
                <a:gd name="T37" fmla="*/ 562 h 626"/>
                <a:gd name="T38" fmla="*/ 50 w 53"/>
                <a:gd name="T39" fmla="*/ 584 h 626"/>
                <a:gd name="T40" fmla="*/ 52 w 53"/>
                <a:gd name="T41" fmla="*/ 602 h 626"/>
                <a:gd name="T42" fmla="*/ 52 w 53"/>
                <a:gd name="T43" fmla="*/ 616 h 626"/>
                <a:gd name="T44" fmla="*/ 53 w 53"/>
                <a:gd name="T45" fmla="*/ 626 h 626"/>
                <a:gd name="T46" fmla="*/ 44 w 53"/>
                <a:gd name="T47" fmla="*/ 626 h 626"/>
                <a:gd name="T48" fmla="*/ 43 w 53"/>
                <a:gd name="T49" fmla="*/ 616 h 626"/>
                <a:gd name="T50" fmla="*/ 43 w 53"/>
                <a:gd name="T51" fmla="*/ 602 h 626"/>
                <a:gd name="T52" fmla="*/ 41 w 53"/>
                <a:gd name="T53" fmla="*/ 584 h 626"/>
                <a:gd name="T54" fmla="*/ 40 w 53"/>
                <a:gd name="T55" fmla="*/ 562 h 626"/>
                <a:gd name="T56" fmla="*/ 39 w 53"/>
                <a:gd name="T57" fmla="*/ 538 h 626"/>
                <a:gd name="T58" fmla="*/ 38 w 53"/>
                <a:gd name="T59" fmla="*/ 512 h 626"/>
                <a:gd name="T60" fmla="*/ 35 w 53"/>
                <a:gd name="T61" fmla="*/ 456 h 626"/>
                <a:gd name="T62" fmla="*/ 31 w 53"/>
                <a:gd name="T63" fmla="*/ 398 h 626"/>
                <a:gd name="T64" fmla="*/ 30 w 53"/>
                <a:gd name="T65" fmla="*/ 370 h 626"/>
                <a:gd name="T66" fmla="*/ 29 w 53"/>
                <a:gd name="T67" fmla="*/ 343 h 626"/>
                <a:gd name="T68" fmla="*/ 27 w 53"/>
                <a:gd name="T69" fmla="*/ 318 h 626"/>
                <a:gd name="T70" fmla="*/ 26 w 53"/>
                <a:gd name="T71" fmla="*/ 296 h 626"/>
                <a:gd name="T72" fmla="*/ 26 w 53"/>
                <a:gd name="T73" fmla="*/ 262 h 626"/>
                <a:gd name="T74" fmla="*/ 25 w 53"/>
                <a:gd name="T75" fmla="*/ 234 h 626"/>
                <a:gd name="T76" fmla="*/ 22 w 53"/>
                <a:gd name="T77" fmla="*/ 200 h 626"/>
                <a:gd name="T78" fmla="*/ 21 w 53"/>
                <a:gd name="T79" fmla="*/ 166 h 626"/>
                <a:gd name="T80" fmla="*/ 18 w 53"/>
                <a:gd name="T81" fmla="*/ 130 h 626"/>
                <a:gd name="T82" fmla="*/ 15 w 53"/>
                <a:gd name="T83" fmla="*/ 94 h 626"/>
                <a:gd name="T84" fmla="*/ 11 w 53"/>
                <a:gd name="T85" fmla="*/ 59 h 626"/>
                <a:gd name="T86" fmla="*/ 6 w 53"/>
                <a:gd name="T87" fmla="*/ 27 h 626"/>
                <a:gd name="T88" fmla="*/ 3 w 53"/>
                <a:gd name="T89" fmla="*/ 13 h 626"/>
                <a:gd name="T90" fmla="*/ 0 w 53"/>
                <a:gd name="T91" fmla="*/ 1 h 626"/>
                <a:gd name="T92" fmla="*/ 8 w 53"/>
                <a:gd name="T93" fmla="*/ 0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" h="626">
                  <a:moveTo>
                    <a:pt x="8" y="0"/>
                  </a:moveTo>
                  <a:lnTo>
                    <a:pt x="12" y="13"/>
                  </a:lnTo>
                  <a:lnTo>
                    <a:pt x="15" y="27"/>
                  </a:lnTo>
                  <a:lnTo>
                    <a:pt x="20" y="59"/>
                  </a:lnTo>
                  <a:lnTo>
                    <a:pt x="24" y="94"/>
                  </a:lnTo>
                  <a:lnTo>
                    <a:pt x="27" y="130"/>
                  </a:lnTo>
                  <a:lnTo>
                    <a:pt x="30" y="166"/>
                  </a:lnTo>
                  <a:lnTo>
                    <a:pt x="31" y="200"/>
                  </a:lnTo>
                  <a:lnTo>
                    <a:pt x="34" y="234"/>
                  </a:lnTo>
                  <a:lnTo>
                    <a:pt x="35" y="262"/>
                  </a:lnTo>
                  <a:lnTo>
                    <a:pt x="35" y="296"/>
                  </a:lnTo>
                  <a:lnTo>
                    <a:pt x="36" y="318"/>
                  </a:lnTo>
                  <a:lnTo>
                    <a:pt x="38" y="343"/>
                  </a:lnTo>
                  <a:lnTo>
                    <a:pt x="39" y="370"/>
                  </a:lnTo>
                  <a:lnTo>
                    <a:pt x="40" y="398"/>
                  </a:lnTo>
                  <a:lnTo>
                    <a:pt x="44" y="456"/>
                  </a:lnTo>
                  <a:lnTo>
                    <a:pt x="47" y="512"/>
                  </a:lnTo>
                  <a:lnTo>
                    <a:pt x="48" y="538"/>
                  </a:lnTo>
                  <a:lnTo>
                    <a:pt x="49" y="562"/>
                  </a:lnTo>
                  <a:lnTo>
                    <a:pt x="50" y="584"/>
                  </a:lnTo>
                  <a:lnTo>
                    <a:pt x="52" y="602"/>
                  </a:lnTo>
                  <a:lnTo>
                    <a:pt x="52" y="616"/>
                  </a:lnTo>
                  <a:lnTo>
                    <a:pt x="53" y="626"/>
                  </a:lnTo>
                  <a:lnTo>
                    <a:pt x="44" y="626"/>
                  </a:lnTo>
                  <a:lnTo>
                    <a:pt x="43" y="616"/>
                  </a:lnTo>
                  <a:lnTo>
                    <a:pt x="43" y="602"/>
                  </a:lnTo>
                  <a:lnTo>
                    <a:pt x="41" y="584"/>
                  </a:lnTo>
                  <a:lnTo>
                    <a:pt x="40" y="562"/>
                  </a:lnTo>
                  <a:lnTo>
                    <a:pt x="39" y="538"/>
                  </a:lnTo>
                  <a:lnTo>
                    <a:pt x="38" y="512"/>
                  </a:lnTo>
                  <a:lnTo>
                    <a:pt x="35" y="456"/>
                  </a:lnTo>
                  <a:lnTo>
                    <a:pt x="31" y="398"/>
                  </a:lnTo>
                  <a:lnTo>
                    <a:pt x="30" y="370"/>
                  </a:lnTo>
                  <a:lnTo>
                    <a:pt x="29" y="343"/>
                  </a:lnTo>
                  <a:lnTo>
                    <a:pt x="27" y="318"/>
                  </a:lnTo>
                  <a:lnTo>
                    <a:pt x="26" y="296"/>
                  </a:lnTo>
                  <a:lnTo>
                    <a:pt x="26" y="262"/>
                  </a:lnTo>
                  <a:lnTo>
                    <a:pt x="25" y="234"/>
                  </a:lnTo>
                  <a:lnTo>
                    <a:pt x="22" y="200"/>
                  </a:lnTo>
                  <a:lnTo>
                    <a:pt x="21" y="166"/>
                  </a:lnTo>
                  <a:lnTo>
                    <a:pt x="18" y="130"/>
                  </a:lnTo>
                  <a:lnTo>
                    <a:pt x="15" y="94"/>
                  </a:lnTo>
                  <a:lnTo>
                    <a:pt x="11" y="59"/>
                  </a:lnTo>
                  <a:lnTo>
                    <a:pt x="6" y="27"/>
                  </a:lnTo>
                  <a:lnTo>
                    <a:pt x="3" y="1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9" name="Freeform 1565"/>
            <p:cNvSpPr>
              <a:spLocks/>
            </p:cNvSpPr>
            <p:nvPr/>
          </p:nvSpPr>
          <p:spPr bwMode="auto">
            <a:xfrm>
              <a:off x="9871076" y="919163"/>
              <a:ext cx="166688" cy="490538"/>
            </a:xfrm>
            <a:custGeom>
              <a:avLst/>
              <a:gdLst>
                <a:gd name="T0" fmla="*/ 82 w 105"/>
                <a:gd name="T1" fmla="*/ 0 h 309"/>
                <a:gd name="T2" fmla="*/ 91 w 105"/>
                <a:gd name="T3" fmla="*/ 2 h 309"/>
                <a:gd name="T4" fmla="*/ 98 w 105"/>
                <a:gd name="T5" fmla="*/ 10 h 309"/>
                <a:gd name="T6" fmla="*/ 103 w 105"/>
                <a:gd name="T7" fmla="*/ 21 h 309"/>
                <a:gd name="T8" fmla="*/ 105 w 105"/>
                <a:gd name="T9" fmla="*/ 39 h 309"/>
                <a:gd name="T10" fmla="*/ 105 w 105"/>
                <a:gd name="T11" fmla="*/ 61 h 309"/>
                <a:gd name="T12" fmla="*/ 103 w 105"/>
                <a:gd name="T13" fmla="*/ 88 h 309"/>
                <a:gd name="T14" fmla="*/ 96 w 105"/>
                <a:gd name="T15" fmla="*/ 120 h 309"/>
                <a:gd name="T16" fmla="*/ 88 w 105"/>
                <a:gd name="T17" fmla="*/ 157 h 309"/>
                <a:gd name="T18" fmla="*/ 80 w 105"/>
                <a:gd name="T19" fmla="*/ 184 h 309"/>
                <a:gd name="T20" fmla="*/ 72 w 105"/>
                <a:gd name="T21" fmla="*/ 211 h 309"/>
                <a:gd name="T22" fmla="*/ 63 w 105"/>
                <a:gd name="T23" fmla="*/ 238 h 309"/>
                <a:gd name="T24" fmla="*/ 55 w 105"/>
                <a:gd name="T25" fmla="*/ 263 h 309"/>
                <a:gd name="T26" fmla="*/ 46 w 105"/>
                <a:gd name="T27" fmla="*/ 282 h 309"/>
                <a:gd name="T28" fmla="*/ 37 w 105"/>
                <a:gd name="T29" fmla="*/ 297 h 309"/>
                <a:gd name="T30" fmla="*/ 28 w 105"/>
                <a:gd name="T31" fmla="*/ 308 h 309"/>
                <a:gd name="T32" fmla="*/ 18 w 105"/>
                <a:gd name="T33" fmla="*/ 309 h 309"/>
                <a:gd name="T34" fmla="*/ 9 w 105"/>
                <a:gd name="T35" fmla="*/ 304 h 309"/>
                <a:gd name="T36" fmla="*/ 4 w 105"/>
                <a:gd name="T37" fmla="*/ 292 h 309"/>
                <a:gd name="T38" fmla="*/ 2 w 105"/>
                <a:gd name="T39" fmla="*/ 275 h 309"/>
                <a:gd name="T40" fmla="*/ 0 w 105"/>
                <a:gd name="T41" fmla="*/ 254 h 309"/>
                <a:gd name="T42" fmla="*/ 2 w 105"/>
                <a:gd name="T43" fmla="*/ 228 h 309"/>
                <a:gd name="T44" fmla="*/ 4 w 105"/>
                <a:gd name="T45" fmla="*/ 200 h 309"/>
                <a:gd name="T46" fmla="*/ 8 w 105"/>
                <a:gd name="T47" fmla="*/ 168 h 309"/>
                <a:gd name="T48" fmla="*/ 13 w 105"/>
                <a:gd name="T49" fmla="*/ 134 h 309"/>
                <a:gd name="T50" fmla="*/ 18 w 105"/>
                <a:gd name="T51" fmla="*/ 102 h 309"/>
                <a:gd name="T52" fmla="*/ 26 w 105"/>
                <a:gd name="T53" fmla="*/ 75 h 309"/>
                <a:gd name="T54" fmla="*/ 35 w 105"/>
                <a:gd name="T55" fmla="*/ 52 h 309"/>
                <a:gd name="T56" fmla="*/ 44 w 105"/>
                <a:gd name="T57" fmla="*/ 33 h 309"/>
                <a:gd name="T58" fmla="*/ 54 w 105"/>
                <a:gd name="T59" fmla="*/ 18 h 309"/>
                <a:gd name="T60" fmla="*/ 64 w 105"/>
                <a:gd name="T61" fmla="*/ 7 h 309"/>
                <a:gd name="T62" fmla="*/ 73 w 105"/>
                <a:gd name="T63" fmla="*/ 1 h 309"/>
                <a:gd name="T64" fmla="*/ 82 w 105"/>
                <a:gd name="T65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309">
                  <a:moveTo>
                    <a:pt x="82" y="0"/>
                  </a:moveTo>
                  <a:lnTo>
                    <a:pt x="91" y="2"/>
                  </a:lnTo>
                  <a:lnTo>
                    <a:pt x="98" y="10"/>
                  </a:lnTo>
                  <a:lnTo>
                    <a:pt x="103" y="21"/>
                  </a:lnTo>
                  <a:lnTo>
                    <a:pt x="105" y="39"/>
                  </a:lnTo>
                  <a:lnTo>
                    <a:pt x="105" y="61"/>
                  </a:lnTo>
                  <a:lnTo>
                    <a:pt x="103" y="88"/>
                  </a:lnTo>
                  <a:lnTo>
                    <a:pt x="96" y="120"/>
                  </a:lnTo>
                  <a:lnTo>
                    <a:pt x="88" y="157"/>
                  </a:lnTo>
                  <a:lnTo>
                    <a:pt x="80" y="184"/>
                  </a:lnTo>
                  <a:lnTo>
                    <a:pt x="72" y="211"/>
                  </a:lnTo>
                  <a:lnTo>
                    <a:pt x="63" y="238"/>
                  </a:lnTo>
                  <a:lnTo>
                    <a:pt x="55" y="263"/>
                  </a:lnTo>
                  <a:lnTo>
                    <a:pt x="46" y="282"/>
                  </a:lnTo>
                  <a:lnTo>
                    <a:pt x="37" y="297"/>
                  </a:lnTo>
                  <a:lnTo>
                    <a:pt x="28" y="308"/>
                  </a:lnTo>
                  <a:lnTo>
                    <a:pt x="18" y="309"/>
                  </a:lnTo>
                  <a:lnTo>
                    <a:pt x="9" y="304"/>
                  </a:lnTo>
                  <a:lnTo>
                    <a:pt x="4" y="292"/>
                  </a:lnTo>
                  <a:lnTo>
                    <a:pt x="2" y="275"/>
                  </a:lnTo>
                  <a:lnTo>
                    <a:pt x="0" y="254"/>
                  </a:lnTo>
                  <a:lnTo>
                    <a:pt x="2" y="228"/>
                  </a:lnTo>
                  <a:lnTo>
                    <a:pt x="4" y="200"/>
                  </a:lnTo>
                  <a:lnTo>
                    <a:pt x="8" y="168"/>
                  </a:lnTo>
                  <a:lnTo>
                    <a:pt x="13" y="134"/>
                  </a:lnTo>
                  <a:lnTo>
                    <a:pt x="18" y="102"/>
                  </a:lnTo>
                  <a:lnTo>
                    <a:pt x="26" y="75"/>
                  </a:lnTo>
                  <a:lnTo>
                    <a:pt x="35" y="52"/>
                  </a:lnTo>
                  <a:lnTo>
                    <a:pt x="44" y="33"/>
                  </a:lnTo>
                  <a:lnTo>
                    <a:pt x="54" y="18"/>
                  </a:lnTo>
                  <a:lnTo>
                    <a:pt x="64" y="7"/>
                  </a:lnTo>
                  <a:lnTo>
                    <a:pt x="73" y="1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0" name="Freeform 1566"/>
            <p:cNvSpPr>
              <a:spLocks/>
            </p:cNvSpPr>
            <p:nvPr/>
          </p:nvSpPr>
          <p:spPr bwMode="auto">
            <a:xfrm>
              <a:off x="9848851" y="1301750"/>
              <a:ext cx="100013" cy="466725"/>
            </a:xfrm>
            <a:custGeom>
              <a:avLst/>
              <a:gdLst>
                <a:gd name="T0" fmla="*/ 45 w 63"/>
                <a:gd name="T1" fmla="*/ 0 h 294"/>
                <a:gd name="T2" fmla="*/ 51 w 63"/>
                <a:gd name="T3" fmla="*/ 2 h 294"/>
                <a:gd name="T4" fmla="*/ 57 w 63"/>
                <a:gd name="T5" fmla="*/ 10 h 294"/>
                <a:gd name="T6" fmla="*/ 60 w 63"/>
                <a:gd name="T7" fmla="*/ 23 h 294"/>
                <a:gd name="T8" fmla="*/ 63 w 63"/>
                <a:gd name="T9" fmla="*/ 42 h 294"/>
                <a:gd name="T10" fmla="*/ 63 w 63"/>
                <a:gd name="T11" fmla="*/ 68 h 294"/>
                <a:gd name="T12" fmla="*/ 60 w 63"/>
                <a:gd name="T13" fmla="*/ 99 h 294"/>
                <a:gd name="T14" fmla="*/ 55 w 63"/>
                <a:gd name="T15" fmla="*/ 136 h 294"/>
                <a:gd name="T16" fmla="*/ 53 w 63"/>
                <a:gd name="T17" fmla="*/ 156 h 294"/>
                <a:gd name="T18" fmla="*/ 49 w 63"/>
                <a:gd name="T19" fmla="*/ 181 h 294"/>
                <a:gd name="T20" fmla="*/ 45 w 63"/>
                <a:gd name="T21" fmla="*/ 206 h 294"/>
                <a:gd name="T22" fmla="*/ 41 w 63"/>
                <a:gd name="T23" fmla="*/ 232 h 294"/>
                <a:gd name="T24" fmla="*/ 36 w 63"/>
                <a:gd name="T25" fmla="*/ 255 h 294"/>
                <a:gd name="T26" fmla="*/ 31 w 63"/>
                <a:gd name="T27" fmla="*/ 274 h 294"/>
                <a:gd name="T28" fmla="*/ 26 w 63"/>
                <a:gd name="T29" fmla="*/ 288 h 294"/>
                <a:gd name="T30" fmla="*/ 19 w 63"/>
                <a:gd name="T31" fmla="*/ 294 h 294"/>
                <a:gd name="T32" fmla="*/ 13 w 63"/>
                <a:gd name="T33" fmla="*/ 291 h 294"/>
                <a:gd name="T34" fmla="*/ 9 w 63"/>
                <a:gd name="T35" fmla="*/ 282 h 294"/>
                <a:gd name="T36" fmla="*/ 5 w 63"/>
                <a:gd name="T37" fmla="*/ 267 h 294"/>
                <a:gd name="T38" fmla="*/ 3 w 63"/>
                <a:gd name="T39" fmla="*/ 249 h 294"/>
                <a:gd name="T40" fmla="*/ 1 w 63"/>
                <a:gd name="T41" fmla="*/ 227 h 294"/>
                <a:gd name="T42" fmla="*/ 1 w 63"/>
                <a:gd name="T43" fmla="*/ 203 h 294"/>
                <a:gd name="T44" fmla="*/ 0 w 63"/>
                <a:gd name="T45" fmla="*/ 179 h 294"/>
                <a:gd name="T46" fmla="*/ 1 w 63"/>
                <a:gd name="T47" fmla="*/ 155 h 294"/>
                <a:gd name="T48" fmla="*/ 1 w 63"/>
                <a:gd name="T49" fmla="*/ 133 h 294"/>
                <a:gd name="T50" fmla="*/ 3 w 63"/>
                <a:gd name="T51" fmla="*/ 104 h 294"/>
                <a:gd name="T52" fmla="*/ 7 w 63"/>
                <a:gd name="T53" fmla="*/ 77 h 294"/>
                <a:gd name="T54" fmla="*/ 12 w 63"/>
                <a:gd name="T55" fmla="*/ 55 h 294"/>
                <a:gd name="T56" fmla="*/ 17 w 63"/>
                <a:gd name="T57" fmla="*/ 36 h 294"/>
                <a:gd name="T58" fmla="*/ 25 w 63"/>
                <a:gd name="T59" fmla="*/ 20 h 294"/>
                <a:gd name="T60" fmla="*/ 31 w 63"/>
                <a:gd name="T61" fmla="*/ 9 h 294"/>
                <a:gd name="T62" fmla="*/ 39 w 63"/>
                <a:gd name="T63" fmla="*/ 2 h 294"/>
                <a:gd name="T64" fmla="*/ 45 w 63"/>
                <a:gd name="T65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94">
                  <a:moveTo>
                    <a:pt x="45" y="0"/>
                  </a:moveTo>
                  <a:lnTo>
                    <a:pt x="51" y="2"/>
                  </a:lnTo>
                  <a:lnTo>
                    <a:pt x="57" y="10"/>
                  </a:lnTo>
                  <a:lnTo>
                    <a:pt x="60" y="23"/>
                  </a:lnTo>
                  <a:lnTo>
                    <a:pt x="63" y="42"/>
                  </a:lnTo>
                  <a:lnTo>
                    <a:pt x="63" y="68"/>
                  </a:lnTo>
                  <a:lnTo>
                    <a:pt x="60" y="99"/>
                  </a:lnTo>
                  <a:lnTo>
                    <a:pt x="55" y="136"/>
                  </a:lnTo>
                  <a:lnTo>
                    <a:pt x="53" y="156"/>
                  </a:lnTo>
                  <a:lnTo>
                    <a:pt x="49" y="181"/>
                  </a:lnTo>
                  <a:lnTo>
                    <a:pt x="45" y="206"/>
                  </a:lnTo>
                  <a:lnTo>
                    <a:pt x="41" y="232"/>
                  </a:lnTo>
                  <a:lnTo>
                    <a:pt x="36" y="255"/>
                  </a:lnTo>
                  <a:lnTo>
                    <a:pt x="31" y="274"/>
                  </a:lnTo>
                  <a:lnTo>
                    <a:pt x="26" y="288"/>
                  </a:lnTo>
                  <a:lnTo>
                    <a:pt x="19" y="294"/>
                  </a:lnTo>
                  <a:lnTo>
                    <a:pt x="13" y="291"/>
                  </a:lnTo>
                  <a:lnTo>
                    <a:pt x="9" y="282"/>
                  </a:lnTo>
                  <a:lnTo>
                    <a:pt x="5" y="267"/>
                  </a:lnTo>
                  <a:lnTo>
                    <a:pt x="3" y="249"/>
                  </a:lnTo>
                  <a:lnTo>
                    <a:pt x="1" y="227"/>
                  </a:lnTo>
                  <a:lnTo>
                    <a:pt x="1" y="203"/>
                  </a:lnTo>
                  <a:lnTo>
                    <a:pt x="0" y="179"/>
                  </a:lnTo>
                  <a:lnTo>
                    <a:pt x="1" y="155"/>
                  </a:lnTo>
                  <a:lnTo>
                    <a:pt x="1" y="133"/>
                  </a:lnTo>
                  <a:lnTo>
                    <a:pt x="3" y="104"/>
                  </a:lnTo>
                  <a:lnTo>
                    <a:pt x="7" y="77"/>
                  </a:lnTo>
                  <a:lnTo>
                    <a:pt x="12" y="55"/>
                  </a:lnTo>
                  <a:lnTo>
                    <a:pt x="17" y="36"/>
                  </a:lnTo>
                  <a:lnTo>
                    <a:pt x="25" y="20"/>
                  </a:lnTo>
                  <a:lnTo>
                    <a:pt x="31" y="9"/>
                  </a:lnTo>
                  <a:lnTo>
                    <a:pt x="39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1" name="Freeform 1567"/>
            <p:cNvSpPr>
              <a:spLocks/>
            </p:cNvSpPr>
            <p:nvPr/>
          </p:nvSpPr>
          <p:spPr bwMode="auto">
            <a:xfrm>
              <a:off x="10131426" y="698500"/>
              <a:ext cx="112713" cy="273050"/>
            </a:xfrm>
            <a:custGeom>
              <a:avLst/>
              <a:gdLst>
                <a:gd name="T0" fmla="*/ 0 w 71"/>
                <a:gd name="T1" fmla="*/ 0 h 172"/>
                <a:gd name="T2" fmla="*/ 71 w 71"/>
                <a:gd name="T3" fmla="*/ 0 h 172"/>
                <a:gd name="T4" fmla="*/ 71 w 71"/>
                <a:gd name="T5" fmla="*/ 137 h 172"/>
                <a:gd name="T6" fmla="*/ 68 w 71"/>
                <a:gd name="T7" fmla="*/ 150 h 172"/>
                <a:gd name="T8" fmla="*/ 61 w 71"/>
                <a:gd name="T9" fmla="*/ 162 h 172"/>
                <a:gd name="T10" fmla="*/ 49 w 71"/>
                <a:gd name="T11" fmla="*/ 169 h 172"/>
                <a:gd name="T12" fmla="*/ 36 w 71"/>
                <a:gd name="T13" fmla="*/ 172 h 172"/>
                <a:gd name="T14" fmla="*/ 36 w 71"/>
                <a:gd name="T15" fmla="*/ 172 h 172"/>
                <a:gd name="T16" fmla="*/ 22 w 71"/>
                <a:gd name="T17" fmla="*/ 169 h 172"/>
                <a:gd name="T18" fmla="*/ 11 w 71"/>
                <a:gd name="T19" fmla="*/ 162 h 172"/>
                <a:gd name="T20" fmla="*/ 3 w 71"/>
                <a:gd name="T21" fmla="*/ 150 h 172"/>
                <a:gd name="T22" fmla="*/ 0 w 71"/>
                <a:gd name="T23" fmla="*/ 137 h 172"/>
                <a:gd name="T24" fmla="*/ 0 w 71"/>
                <a:gd name="T2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172">
                  <a:moveTo>
                    <a:pt x="0" y="0"/>
                  </a:moveTo>
                  <a:lnTo>
                    <a:pt x="71" y="0"/>
                  </a:lnTo>
                  <a:lnTo>
                    <a:pt x="71" y="137"/>
                  </a:lnTo>
                  <a:lnTo>
                    <a:pt x="68" y="150"/>
                  </a:lnTo>
                  <a:lnTo>
                    <a:pt x="61" y="162"/>
                  </a:lnTo>
                  <a:lnTo>
                    <a:pt x="49" y="169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22" y="169"/>
                  </a:lnTo>
                  <a:lnTo>
                    <a:pt x="11" y="162"/>
                  </a:lnTo>
                  <a:lnTo>
                    <a:pt x="3" y="150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2" name="Freeform 1568"/>
            <p:cNvSpPr>
              <a:spLocks/>
            </p:cNvSpPr>
            <p:nvPr/>
          </p:nvSpPr>
          <p:spPr bwMode="auto">
            <a:xfrm>
              <a:off x="10229851" y="458788"/>
              <a:ext cx="169863" cy="109538"/>
            </a:xfrm>
            <a:custGeom>
              <a:avLst/>
              <a:gdLst>
                <a:gd name="T0" fmla="*/ 1 w 107"/>
                <a:gd name="T1" fmla="*/ 0 h 69"/>
                <a:gd name="T2" fmla="*/ 5 w 107"/>
                <a:gd name="T3" fmla="*/ 10 h 69"/>
                <a:gd name="T4" fmla="*/ 13 w 107"/>
                <a:gd name="T5" fmla="*/ 21 h 69"/>
                <a:gd name="T6" fmla="*/ 27 w 107"/>
                <a:gd name="T7" fmla="*/ 32 h 69"/>
                <a:gd name="T8" fmla="*/ 44 w 107"/>
                <a:gd name="T9" fmla="*/ 42 h 69"/>
                <a:gd name="T10" fmla="*/ 64 w 107"/>
                <a:gd name="T11" fmla="*/ 51 h 69"/>
                <a:gd name="T12" fmla="*/ 86 w 107"/>
                <a:gd name="T13" fmla="*/ 56 h 69"/>
                <a:gd name="T14" fmla="*/ 107 w 107"/>
                <a:gd name="T15" fmla="*/ 59 h 69"/>
                <a:gd name="T16" fmla="*/ 82 w 107"/>
                <a:gd name="T17" fmla="*/ 68 h 69"/>
                <a:gd name="T18" fmla="*/ 60 w 107"/>
                <a:gd name="T19" fmla="*/ 69 h 69"/>
                <a:gd name="T20" fmla="*/ 40 w 107"/>
                <a:gd name="T21" fmla="*/ 64 h 69"/>
                <a:gd name="T22" fmla="*/ 23 w 107"/>
                <a:gd name="T23" fmla="*/ 55 h 69"/>
                <a:gd name="T24" fmla="*/ 12 w 107"/>
                <a:gd name="T25" fmla="*/ 43 h 69"/>
                <a:gd name="T26" fmla="*/ 3 w 107"/>
                <a:gd name="T27" fmla="*/ 29 h 69"/>
                <a:gd name="T28" fmla="*/ 0 w 107"/>
                <a:gd name="T29" fmla="*/ 14 h 69"/>
                <a:gd name="T30" fmla="*/ 1 w 107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9">
                  <a:moveTo>
                    <a:pt x="1" y="0"/>
                  </a:moveTo>
                  <a:lnTo>
                    <a:pt x="5" y="10"/>
                  </a:lnTo>
                  <a:lnTo>
                    <a:pt x="13" y="21"/>
                  </a:lnTo>
                  <a:lnTo>
                    <a:pt x="27" y="32"/>
                  </a:lnTo>
                  <a:lnTo>
                    <a:pt x="44" y="42"/>
                  </a:lnTo>
                  <a:lnTo>
                    <a:pt x="64" y="51"/>
                  </a:lnTo>
                  <a:lnTo>
                    <a:pt x="86" y="56"/>
                  </a:lnTo>
                  <a:lnTo>
                    <a:pt x="107" y="59"/>
                  </a:lnTo>
                  <a:lnTo>
                    <a:pt x="82" y="68"/>
                  </a:lnTo>
                  <a:lnTo>
                    <a:pt x="60" y="69"/>
                  </a:lnTo>
                  <a:lnTo>
                    <a:pt x="40" y="64"/>
                  </a:lnTo>
                  <a:lnTo>
                    <a:pt x="23" y="55"/>
                  </a:lnTo>
                  <a:lnTo>
                    <a:pt x="12" y="43"/>
                  </a:lnTo>
                  <a:lnTo>
                    <a:pt x="3" y="29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3" name="Freeform 1569"/>
            <p:cNvSpPr>
              <a:spLocks/>
            </p:cNvSpPr>
            <p:nvPr/>
          </p:nvSpPr>
          <p:spPr bwMode="auto">
            <a:xfrm>
              <a:off x="10234613" y="422275"/>
              <a:ext cx="169863" cy="107950"/>
            </a:xfrm>
            <a:custGeom>
              <a:avLst/>
              <a:gdLst>
                <a:gd name="T0" fmla="*/ 2 w 107"/>
                <a:gd name="T1" fmla="*/ 0 h 68"/>
                <a:gd name="T2" fmla="*/ 5 w 107"/>
                <a:gd name="T3" fmla="*/ 10 h 68"/>
                <a:gd name="T4" fmla="*/ 14 w 107"/>
                <a:gd name="T5" fmla="*/ 20 h 68"/>
                <a:gd name="T6" fmla="*/ 28 w 107"/>
                <a:gd name="T7" fmla="*/ 32 h 68"/>
                <a:gd name="T8" fmla="*/ 45 w 107"/>
                <a:gd name="T9" fmla="*/ 42 h 68"/>
                <a:gd name="T10" fmla="*/ 65 w 107"/>
                <a:gd name="T11" fmla="*/ 51 h 68"/>
                <a:gd name="T12" fmla="*/ 86 w 107"/>
                <a:gd name="T13" fmla="*/ 56 h 68"/>
                <a:gd name="T14" fmla="*/ 107 w 107"/>
                <a:gd name="T15" fmla="*/ 59 h 68"/>
                <a:gd name="T16" fmla="*/ 83 w 107"/>
                <a:gd name="T17" fmla="*/ 66 h 68"/>
                <a:gd name="T18" fmla="*/ 60 w 107"/>
                <a:gd name="T19" fmla="*/ 68 h 68"/>
                <a:gd name="T20" fmla="*/ 41 w 107"/>
                <a:gd name="T21" fmla="*/ 64 h 68"/>
                <a:gd name="T22" fmla="*/ 24 w 107"/>
                <a:gd name="T23" fmla="*/ 55 h 68"/>
                <a:gd name="T24" fmla="*/ 11 w 107"/>
                <a:gd name="T25" fmla="*/ 43 h 68"/>
                <a:gd name="T26" fmla="*/ 3 w 107"/>
                <a:gd name="T27" fmla="*/ 29 h 68"/>
                <a:gd name="T28" fmla="*/ 0 w 107"/>
                <a:gd name="T29" fmla="*/ 14 h 68"/>
                <a:gd name="T30" fmla="*/ 2 w 107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68">
                  <a:moveTo>
                    <a:pt x="2" y="0"/>
                  </a:moveTo>
                  <a:lnTo>
                    <a:pt x="5" y="10"/>
                  </a:lnTo>
                  <a:lnTo>
                    <a:pt x="14" y="20"/>
                  </a:lnTo>
                  <a:lnTo>
                    <a:pt x="28" y="32"/>
                  </a:lnTo>
                  <a:lnTo>
                    <a:pt x="45" y="42"/>
                  </a:lnTo>
                  <a:lnTo>
                    <a:pt x="65" y="51"/>
                  </a:lnTo>
                  <a:lnTo>
                    <a:pt x="86" y="56"/>
                  </a:lnTo>
                  <a:lnTo>
                    <a:pt x="107" y="59"/>
                  </a:lnTo>
                  <a:lnTo>
                    <a:pt x="83" y="66"/>
                  </a:lnTo>
                  <a:lnTo>
                    <a:pt x="60" y="68"/>
                  </a:lnTo>
                  <a:lnTo>
                    <a:pt x="41" y="64"/>
                  </a:lnTo>
                  <a:lnTo>
                    <a:pt x="24" y="55"/>
                  </a:lnTo>
                  <a:lnTo>
                    <a:pt x="11" y="43"/>
                  </a:lnTo>
                  <a:lnTo>
                    <a:pt x="3" y="29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4" name="Freeform 1570"/>
            <p:cNvSpPr>
              <a:spLocks/>
            </p:cNvSpPr>
            <p:nvPr/>
          </p:nvSpPr>
          <p:spPr bwMode="auto">
            <a:xfrm>
              <a:off x="10015538" y="346075"/>
              <a:ext cx="344488" cy="466725"/>
            </a:xfrm>
            <a:custGeom>
              <a:avLst/>
              <a:gdLst>
                <a:gd name="T0" fmla="*/ 109 w 217"/>
                <a:gd name="T1" fmla="*/ 0 h 294"/>
                <a:gd name="T2" fmla="*/ 135 w 217"/>
                <a:gd name="T3" fmla="*/ 3 h 294"/>
                <a:gd name="T4" fmla="*/ 157 w 217"/>
                <a:gd name="T5" fmla="*/ 10 h 294"/>
                <a:gd name="T6" fmla="*/ 175 w 217"/>
                <a:gd name="T7" fmla="*/ 22 h 294"/>
                <a:gd name="T8" fmla="*/ 189 w 217"/>
                <a:gd name="T9" fmla="*/ 36 h 294"/>
                <a:gd name="T10" fmla="*/ 201 w 217"/>
                <a:gd name="T11" fmla="*/ 55 h 294"/>
                <a:gd name="T12" fmla="*/ 208 w 217"/>
                <a:gd name="T13" fmla="*/ 76 h 294"/>
                <a:gd name="T14" fmla="*/ 215 w 217"/>
                <a:gd name="T15" fmla="*/ 98 h 294"/>
                <a:gd name="T16" fmla="*/ 217 w 217"/>
                <a:gd name="T17" fmla="*/ 122 h 294"/>
                <a:gd name="T18" fmla="*/ 217 w 217"/>
                <a:gd name="T19" fmla="*/ 145 h 294"/>
                <a:gd name="T20" fmla="*/ 216 w 217"/>
                <a:gd name="T21" fmla="*/ 169 h 294"/>
                <a:gd name="T22" fmla="*/ 212 w 217"/>
                <a:gd name="T23" fmla="*/ 192 h 294"/>
                <a:gd name="T24" fmla="*/ 208 w 217"/>
                <a:gd name="T25" fmla="*/ 216 h 294"/>
                <a:gd name="T26" fmla="*/ 199 w 217"/>
                <a:gd name="T27" fmla="*/ 236 h 294"/>
                <a:gd name="T28" fmla="*/ 185 w 217"/>
                <a:gd name="T29" fmla="*/ 255 h 294"/>
                <a:gd name="T30" fmla="*/ 167 w 217"/>
                <a:gd name="T31" fmla="*/ 271 h 294"/>
                <a:gd name="T32" fmla="*/ 147 w 217"/>
                <a:gd name="T33" fmla="*/ 282 h 294"/>
                <a:gd name="T34" fmla="*/ 127 w 217"/>
                <a:gd name="T35" fmla="*/ 291 h 294"/>
                <a:gd name="T36" fmla="*/ 109 w 217"/>
                <a:gd name="T37" fmla="*/ 294 h 294"/>
                <a:gd name="T38" fmla="*/ 91 w 217"/>
                <a:gd name="T39" fmla="*/ 291 h 294"/>
                <a:gd name="T40" fmla="*/ 72 w 217"/>
                <a:gd name="T41" fmla="*/ 284 h 294"/>
                <a:gd name="T42" fmla="*/ 53 w 217"/>
                <a:gd name="T43" fmla="*/ 271 h 294"/>
                <a:gd name="T44" fmla="*/ 35 w 217"/>
                <a:gd name="T45" fmla="*/ 255 h 294"/>
                <a:gd name="T46" fmla="*/ 21 w 217"/>
                <a:gd name="T47" fmla="*/ 236 h 294"/>
                <a:gd name="T48" fmla="*/ 11 w 217"/>
                <a:gd name="T49" fmla="*/ 214 h 294"/>
                <a:gd name="T50" fmla="*/ 5 w 217"/>
                <a:gd name="T51" fmla="*/ 192 h 294"/>
                <a:gd name="T52" fmla="*/ 2 w 217"/>
                <a:gd name="T53" fmla="*/ 169 h 294"/>
                <a:gd name="T54" fmla="*/ 0 w 217"/>
                <a:gd name="T55" fmla="*/ 145 h 294"/>
                <a:gd name="T56" fmla="*/ 2 w 217"/>
                <a:gd name="T57" fmla="*/ 122 h 294"/>
                <a:gd name="T58" fmla="*/ 5 w 217"/>
                <a:gd name="T59" fmla="*/ 98 h 294"/>
                <a:gd name="T60" fmla="*/ 11 w 217"/>
                <a:gd name="T61" fmla="*/ 76 h 294"/>
                <a:gd name="T62" fmla="*/ 20 w 217"/>
                <a:gd name="T63" fmla="*/ 55 h 294"/>
                <a:gd name="T64" fmla="*/ 31 w 217"/>
                <a:gd name="T65" fmla="*/ 37 h 294"/>
                <a:gd name="T66" fmla="*/ 47 w 217"/>
                <a:gd name="T67" fmla="*/ 22 h 294"/>
                <a:gd name="T68" fmla="*/ 65 w 217"/>
                <a:gd name="T69" fmla="*/ 10 h 294"/>
                <a:gd name="T70" fmla="*/ 85 w 217"/>
                <a:gd name="T71" fmla="*/ 3 h 294"/>
                <a:gd name="T72" fmla="*/ 109 w 217"/>
                <a:gd name="T7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94">
                  <a:moveTo>
                    <a:pt x="109" y="0"/>
                  </a:moveTo>
                  <a:lnTo>
                    <a:pt x="135" y="3"/>
                  </a:lnTo>
                  <a:lnTo>
                    <a:pt x="157" y="10"/>
                  </a:lnTo>
                  <a:lnTo>
                    <a:pt x="175" y="22"/>
                  </a:lnTo>
                  <a:lnTo>
                    <a:pt x="189" y="36"/>
                  </a:lnTo>
                  <a:lnTo>
                    <a:pt x="201" y="55"/>
                  </a:lnTo>
                  <a:lnTo>
                    <a:pt x="208" y="76"/>
                  </a:lnTo>
                  <a:lnTo>
                    <a:pt x="215" y="98"/>
                  </a:lnTo>
                  <a:lnTo>
                    <a:pt x="217" y="122"/>
                  </a:lnTo>
                  <a:lnTo>
                    <a:pt x="217" y="145"/>
                  </a:lnTo>
                  <a:lnTo>
                    <a:pt x="216" y="169"/>
                  </a:lnTo>
                  <a:lnTo>
                    <a:pt x="212" y="192"/>
                  </a:lnTo>
                  <a:lnTo>
                    <a:pt x="208" y="216"/>
                  </a:lnTo>
                  <a:lnTo>
                    <a:pt x="199" y="236"/>
                  </a:lnTo>
                  <a:lnTo>
                    <a:pt x="185" y="255"/>
                  </a:lnTo>
                  <a:lnTo>
                    <a:pt x="167" y="271"/>
                  </a:lnTo>
                  <a:lnTo>
                    <a:pt x="147" y="282"/>
                  </a:lnTo>
                  <a:lnTo>
                    <a:pt x="127" y="291"/>
                  </a:lnTo>
                  <a:lnTo>
                    <a:pt x="109" y="294"/>
                  </a:lnTo>
                  <a:lnTo>
                    <a:pt x="91" y="291"/>
                  </a:lnTo>
                  <a:lnTo>
                    <a:pt x="72" y="284"/>
                  </a:lnTo>
                  <a:lnTo>
                    <a:pt x="53" y="271"/>
                  </a:lnTo>
                  <a:lnTo>
                    <a:pt x="35" y="255"/>
                  </a:lnTo>
                  <a:lnTo>
                    <a:pt x="21" y="236"/>
                  </a:lnTo>
                  <a:lnTo>
                    <a:pt x="11" y="214"/>
                  </a:lnTo>
                  <a:lnTo>
                    <a:pt x="5" y="192"/>
                  </a:lnTo>
                  <a:lnTo>
                    <a:pt x="2" y="169"/>
                  </a:lnTo>
                  <a:lnTo>
                    <a:pt x="0" y="145"/>
                  </a:lnTo>
                  <a:lnTo>
                    <a:pt x="2" y="122"/>
                  </a:lnTo>
                  <a:lnTo>
                    <a:pt x="5" y="98"/>
                  </a:lnTo>
                  <a:lnTo>
                    <a:pt x="11" y="76"/>
                  </a:lnTo>
                  <a:lnTo>
                    <a:pt x="20" y="55"/>
                  </a:lnTo>
                  <a:lnTo>
                    <a:pt x="31" y="37"/>
                  </a:lnTo>
                  <a:lnTo>
                    <a:pt x="47" y="22"/>
                  </a:lnTo>
                  <a:lnTo>
                    <a:pt x="65" y="10"/>
                  </a:lnTo>
                  <a:lnTo>
                    <a:pt x="85" y="3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5" name="Freeform 1571"/>
            <p:cNvSpPr>
              <a:spLocks/>
            </p:cNvSpPr>
            <p:nvPr/>
          </p:nvSpPr>
          <p:spPr bwMode="auto">
            <a:xfrm>
              <a:off x="10118726" y="706438"/>
              <a:ext cx="147638" cy="19050"/>
            </a:xfrm>
            <a:custGeom>
              <a:avLst/>
              <a:gdLst>
                <a:gd name="T0" fmla="*/ 93 w 93"/>
                <a:gd name="T1" fmla="*/ 0 h 12"/>
                <a:gd name="T2" fmla="*/ 76 w 93"/>
                <a:gd name="T3" fmla="*/ 8 h 12"/>
                <a:gd name="T4" fmla="*/ 56 w 93"/>
                <a:gd name="T5" fmla="*/ 12 h 12"/>
                <a:gd name="T6" fmla="*/ 35 w 93"/>
                <a:gd name="T7" fmla="*/ 12 h 12"/>
                <a:gd name="T8" fmla="*/ 15 w 93"/>
                <a:gd name="T9" fmla="*/ 8 h 12"/>
                <a:gd name="T10" fmla="*/ 0 w 93"/>
                <a:gd name="T11" fmla="*/ 1 h 12"/>
                <a:gd name="T12" fmla="*/ 23 w 93"/>
                <a:gd name="T13" fmla="*/ 4 h 12"/>
                <a:gd name="T14" fmla="*/ 47 w 93"/>
                <a:gd name="T15" fmla="*/ 5 h 12"/>
                <a:gd name="T16" fmla="*/ 71 w 93"/>
                <a:gd name="T17" fmla="*/ 4 h 12"/>
                <a:gd name="T18" fmla="*/ 93 w 9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12">
                  <a:moveTo>
                    <a:pt x="93" y="0"/>
                  </a:moveTo>
                  <a:lnTo>
                    <a:pt x="76" y="8"/>
                  </a:lnTo>
                  <a:lnTo>
                    <a:pt x="56" y="12"/>
                  </a:lnTo>
                  <a:lnTo>
                    <a:pt x="35" y="12"/>
                  </a:lnTo>
                  <a:lnTo>
                    <a:pt x="15" y="8"/>
                  </a:lnTo>
                  <a:lnTo>
                    <a:pt x="0" y="1"/>
                  </a:lnTo>
                  <a:lnTo>
                    <a:pt x="23" y="4"/>
                  </a:lnTo>
                  <a:lnTo>
                    <a:pt x="47" y="5"/>
                  </a:lnTo>
                  <a:lnTo>
                    <a:pt x="71" y="4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6" name="Freeform 1572"/>
            <p:cNvSpPr>
              <a:spLocks/>
            </p:cNvSpPr>
            <p:nvPr/>
          </p:nvSpPr>
          <p:spPr bwMode="auto">
            <a:xfrm>
              <a:off x="10155238" y="739775"/>
              <a:ext cx="74613" cy="14288"/>
            </a:xfrm>
            <a:custGeom>
              <a:avLst/>
              <a:gdLst>
                <a:gd name="T0" fmla="*/ 47 w 47"/>
                <a:gd name="T1" fmla="*/ 0 h 9"/>
                <a:gd name="T2" fmla="*/ 37 w 47"/>
                <a:gd name="T3" fmla="*/ 6 h 9"/>
                <a:gd name="T4" fmla="*/ 24 w 47"/>
                <a:gd name="T5" fmla="*/ 9 h 9"/>
                <a:gd name="T6" fmla="*/ 11 w 47"/>
                <a:gd name="T7" fmla="*/ 6 h 9"/>
                <a:gd name="T8" fmla="*/ 0 w 47"/>
                <a:gd name="T9" fmla="*/ 0 h 9"/>
                <a:gd name="T10" fmla="*/ 15 w 47"/>
                <a:gd name="T11" fmla="*/ 2 h 9"/>
                <a:gd name="T12" fmla="*/ 32 w 47"/>
                <a:gd name="T13" fmla="*/ 2 h 9"/>
                <a:gd name="T14" fmla="*/ 4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47" y="0"/>
                  </a:moveTo>
                  <a:lnTo>
                    <a:pt x="37" y="6"/>
                  </a:lnTo>
                  <a:lnTo>
                    <a:pt x="24" y="9"/>
                  </a:lnTo>
                  <a:lnTo>
                    <a:pt x="11" y="6"/>
                  </a:lnTo>
                  <a:lnTo>
                    <a:pt x="0" y="0"/>
                  </a:lnTo>
                  <a:lnTo>
                    <a:pt x="15" y="2"/>
                  </a:lnTo>
                  <a:lnTo>
                    <a:pt x="32" y="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7" name="Freeform 1573"/>
            <p:cNvSpPr>
              <a:spLocks/>
            </p:cNvSpPr>
            <p:nvPr/>
          </p:nvSpPr>
          <p:spPr bwMode="auto">
            <a:xfrm>
              <a:off x="10209213" y="577850"/>
              <a:ext cx="104775" cy="84138"/>
            </a:xfrm>
            <a:custGeom>
              <a:avLst/>
              <a:gdLst>
                <a:gd name="T0" fmla="*/ 45 w 66"/>
                <a:gd name="T1" fmla="*/ 0 h 53"/>
                <a:gd name="T2" fmla="*/ 54 w 66"/>
                <a:gd name="T3" fmla="*/ 2 h 53"/>
                <a:gd name="T4" fmla="*/ 61 w 66"/>
                <a:gd name="T5" fmla="*/ 3 h 53"/>
                <a:gd name="T6" fmla="*/ 64 w 66"/>
                <a:gd name="T7" fmla="*/ 9 h 53"/>
                <a:gd name="T8" fmla="*/ 66 w 66"/>
                <a:gd name="T9" fmla="*/ 20 h 53"/>
                <a:gd name="T10" fmla="*/ 64 w 66"/>
                <a:gd name="T11" fmla="*/ 31 h 53"/>
                <a:gd name="T12" fmla="*/ 61 w 66"/>
                <a:gd name="T13" fmla="*/ 41 h 53"/>
                <a:gd name="T14" fmla="*/ 53 w 66"/>
                <a:gd name="T15" fmla="*/ 48 h 53"/>
                <a:gd name="T16" fmla="*/ 43 w 66"/>
                <a:gd name="T17" fmla="*/ 52 h 53"/>
                <a:gd name="T18" fmla="*/ 30 w 66"/>
                <a:gd name="T19" fmla="*/ 53 h 53"/>
                <a:gd name="T20" fmla="*/ 19 w 66"/>
                <a:gd name="T21" fmla="*/ 50 h 53"/>
                <a:gd name="T22" fmla="*/ 13 w 66"/>
                <a:gd name="T23" fmla="*/ 45 h 53"/>
                <a:gd name="T24" fmla="*/ 7 w 66"/>
                <a:gd name="T25" fmla="*/ 36 h 53"/>
                <a:gd name="T26" fmla="*/ 3 w 66"/>
                <a:gd name="T27" fmla="*/ 27 h 53"/>
                <a:gd name="T28" fmla="*/ 0 w 66"/>
                <a:gd name="T29" fmla="*/ 17 h 53"/>
                <a:gd name="T30" fmla="*/ 3 w 66"/>
                <a:gd name="T31" fmla="*/ 9 h 53"/>
                <a:gd name="T32" fmla="*/ 11 w 66"/>
                <a:gd name="T33" fmla="*/ 4 h 53"/>
                <a:gd name="T34" fmla="*/ 21 w 66"/>
                <a:gd name="T35" fmla="*/ 2 h 53"/>
                <a:gd name="T36" fmla="*/ 32 w 66"/>
                <a:gd name="T37" fmla="*/ 0 h 53"/>
                <a:gd name="T38" fmla="*/ 45 w 66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53">
                  <a:moveTo>
                    <a:pt x="45" y="0"/>
                  </a:moveTo>
                  <a:lnTo>
                    <a:pt x="54" y="2"/>
                  </a:lnTo>
                  <a:lnTo>
                    <a:pt x="61" y="3"/>
                  </a:lnTo>
                  <a:lnTo>
                    <a:pt x="64" y="9"/>
                  </a:lnTo>
                  <a:lnTo>
                    <a:pt x="66" y="20"/>
                  </a:lnTo>
                  <a:lnTo>
                    <a:pt x="64" y="31"/>
                  </a:lnTo>
                  <a:lnTo>
                    <a:pt x="61" y="41"/>
                  </a:lnTo>
                  <a:lnTo>
                    <a:pt x="53" y="48"/>
                  </a:lnTo>
                  <a:lnTo>
                    <a:pt x="43" y="52"/>
                  </a:lnTo>
                  <a:lnTo>
                    <a:pt x="30" y="53"/>
                  </a:lnTo>
                  <a:lnTo>
                    <a:pt x="19" y="50"/>
                  </a:lnTo>
                  <a:lnTo>
                    <a:pt x="13" y="45"/>
                  </a:lnTo>
                  <a:lnTo>
                    <a:pt x="7" y="36"/>
                  </a:lnTo>
                  <a:lnTo>
                    <a:pt x="3" y="27"/>
                  </a:lnTo>
                  <a:lnTo>
                    <a:pt x="0" y="17"/>
                  </a:lnTo>
                  <a:lnTo>
                    <a:pt x="3" y="9"/>
                  </a:lnTo>
                  <a:lnTo>
                    <a:pt x="11" y="4"/>
                  </a:lnTo>
                  <a:lnTo>
                    <a:pt x="21" y="2"/>
                  </a:lnTo>
                  <a:lnTo>
                    <a:pt x="32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8" name="Freeform 1574"/>
            <p:cNvSpPr>
              <a:spLocks/>
            </p:cNvSpPr>
            <p:nvPr/>
          </p:nvSpPr>
          <p:spPr bwMode="auto">
            <a:xfrm>
              <a:off x="10064751" y="577850"/>
              <a:ext cx="101600" cy="84138"/>
            </a:xfrm>
            <a:custGeom>
              <a:avLst/>
              <a:gdLst>
                <a:gd name="T0" fmla="*/ 32 w 64"/>
                <a:gd name="T1" fmla="*/ 0 h 53"/>
                <a:gd name="T2" fmla="*/ 45 w 64"/>
                <a:gd name="T3" fmla="*/ 2 h 53"/>
                <a:gd name="T4" fmla="*/ 55 w 64"/>
                <a:gd name="T5" fmla="*/ 4 h 53"/>
                <a:gd name="T6" fmla="*/ 62 w 64"/>
                <a:gd name="T7" fmla="*/ 9 h 53"/>
                <a:gd name="T8" fmla="*/ 64 w 64"/>
                <a:gd name="T9" fmla="*/ 17 h 53"/>
                <a:gd name="T10" fmla="*/ 63 w 64"/>
                <a:gd name="T11" fmla="*/ 27 h 53"/>
                <a:gd name="T12" fmla="*/ 59 w 64"/>
                <a:gd name="T13" fmla="*/ 36 h 53"/>
                <a:gd name="T14" fmla="*/ 53 w 64"/>
                <a:gd name="T15" fmla="*/ 45 h 53"/>
                <a:gd name="T16" fmla="*/ 46 w 64"/>
                <a:gd name="T17" fmla="*/ 50 h 53"/>
                <a:gd name="T18" fmla="*/ 36 w 64"/>
                <a:gd name="T19" fmla="*/ 53 h 53"/>
                <a:gd name="T20" fmla="*/ 23 w 64"/>
                <a:gd name="T21" fmla="*/ 53 h 53"/>
                <a:gd name="T22" fmla="*/ 13 w 64"/>
                <a:gd name="T23" fmla="*/ 49 h 53"/>
                <a:gd name="T24" fmla="*/ 5 w 64"/>
                <a:gd name="T25" fmla="*/ 41 h 53"/>
                <a:gd name="T26" fmla="*/ 1 w 64"/>
                <a:gd name="T27" fmla="*/ 31 h 53"/>
                <a:gd name="T28" fmla="*/ 0 w 64"/>
                <a:gd name="T29" fmla="*/ 20 h 53"/>
                <a:gd name="T30" fmla="*/ 0 w 64"/>
                <a:gd name="T31" fmla="*/ 9 h 53"/>
                <a:gd name="T32" fmla="*/ 5 w 64"/>
                <a:gd name="T33" fmla="*/ 3 h 53"/>
                <a:gd name="T34" fmla="*/ 10 w 64"/>
                <a:gd name="T35" fmla="*/ 2 h 53"/>
                <a:gd name="T36" fmla="*/ 21 w 64"/>
                <a:gd name="T37" fmla="*/ 0 h 53"/>
                <a:gd name="T38" fmla="*/ 32 w 64"/>
                <a:gd name="T3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53">
                  <a:moveTo>
                    <a:pt x="32" y="0"/>
                  </a:moveTo>
                  <a:lnTo>
                    <a:pt x="45" y="2"/>
                  </a:lnTo>
                  <a:lnTo>
                    <a:pt x="55" y="4"/>
                  </a:lnTo>
                  <a:lnTo>
                    <a:pt x="62" y="9"/>
                  </a:lnTo>
                  <a:lnTo>
                    <a:pt x="64" y="17"/>
                  </a:lnTo>
                  <a:lnTo>
                    <a:pt x="63" y="27"/>
                  </a:lnTo>
                  <a:lnTo>
                    <a:pt x="59" y="36"/>
                  </a:lnTo>
                  <a:lnTo>
                    <a:pt x="53" y="45"/>
                  </a:lnTo>
                  <a:lnTo>
                    <a:pt x="46" y="50"/>
                  </a:lnTo>
                  <a:lnTo>
                    <a:pt x="36" y="53"/>
                  </a:lnTo>
                  <a:lnTo>
                    <a:pt x="23" y="53"/>
                  </a:lnTo>
                  <a:lnTo>
                    <a:pt x="13" y="49"/>
                  </a:lnTo>
                  <a:lnTo>
                    <a:pt x="5" y="41"/>
                  </a:lnTo>
                  <a:lnTo>
                    <a:pt x="1" y="31"/>
                  </a:lnTo>
                  <a:lnTo>
                    <a:pt x="0" y="20"/>
                  </a:lnTo>
                  <a:lnTo>
                    <a:pt x="0" y="9"/>
                  </a:lnTo>
                  <a:lnTo>
                    <a:pt x="5" y="3"/>
                  </a:lnTo>
                  <a:lnTo>
                    <a:pt x="10" y="2"/>
                  </a:lnTo>
                  <a:lnTo>
                    <a:pt x="21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ED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9" name="Freeform 1575"/>
            <p:cNvSpPr>
              <a:spLocks/>
            </p:cNvSpPr>
            <p:nvPr/>
          </p:nvSpPr>
          <p:spPr bwMode="auto">
            <a:xfrm>
              <a:off x="10107613" y="557213"/>
              <a:ext cx="23813" cy="63500"/>
            </a:xfrm>
            <a:custGeom>
              <a:avLst/>
              <a:gdLst>
                <a:gd name="T0" fmla="*/ 8 w 15"/>
                <a:gd name="T1" fmla="*/ 0 h 40"/>
                <a:gd name="T2" fmla="*/ 10 w 15"/>
                <a:gd name="T3" fmla="*/ 2 h 40"/>
                <a:gd name="T4" fmla="*/ 13 w 15"/>
                <a:gd name="T5" fmla="*/ 4 h 40"/>
                <a:gd name="T6" fmla="*/ 14 w 15"/>
                <a:gd name="T7" fmla="*/ 9 h 40"/>
                <a:gd name="T8" fmla="*/ 15 w 15"/>
                <a:gd name="T9" fmla="*/ 15 h 40"/>
                <a:gd name="T10" fmla="*/ 15 w 15"/>
                <a:gd name="T11" fmla="*/ 21 h 40"/>
                <a:gd name="T12" fmla="*/ 15 w 15"/>
                <a:gd name="T13" fmla="*/ 27 h 40"/>
                <a:gd name="T14" fmla="*/ 14 w 15"/>
                <a:gd name="T15" fmla="*/ 33 h 40"/>
                <a:gd name="T16" fmla="*/ 13 w 15"/>
                <a:gd name="T17" fmla="*/ 36 h 40"/>
                <a:gd name="T18" fmla="*/ 10 w 15"/>
                <a:gd name="T19" fmla="*/ 39 h 40"/>
                <a:gd name="T20" fmla="*/ 8 w 15"/>
                <a:gd name="T21" fmla="*/ 40 h 40"/>
                <a:gd name="T22" fmla="*/ 5 w 15"/>
                <a:gd name="T23" fmla="*/ 39 h 40"/>
                <a:gd name="T24" fmla="*/ 3 w 15"/>
                <a:gd name="T25" fmla="*/ 36 h 40"/>
                <a:gd name="T26" fmla="*/ 1 w 15"/>
                <a:gd name="T27" fmla="*/ 33 h 40"/>
                <a:gd name="T28" fmla="*/ 0 w 15"/>
                <a:gd name="T29" fmla="*/ 27 h 40"/>
                <a:gd name="T30" fmla="*/ 0 w 15"/>
                <a:gd name="T31" fmla="*/ 21 h 40"/>
                <a:gd name="T32" fmla="*/ 0 w 15"/>
                <a:gd name="T33" fmla="*/ 15 h 40"/>
                <a:gd name="T34" fmla="*/ 1 w 15"/>
                <a:gd name="T35" fmla="*/ 9 h 40"/>
                <a:gd name="T36" fmla="*/ 3 w 15"/>
                <a:gd name="T37" fmla="*/ 4 h 40"/>
                <a:gd name="T38" fmla="*/ 5 w 15"/>
                <a:gd name="T39" fmla="*/ 2 h 40"/>
                <a:gd name="T40" fmla="*/ 8 w 15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40">
                  <a:moveTo>
                    <a:pt x="8" y="0"/>
                  </a:moveTo>
                  <a:lnTo>
                    <a:pt x="10" y="2"/>
                  </a:lnTo>
                  <a:lnTo>
                    <a:pt x="13" y="4"/>
                  </a:lnTo>
                  <a:lnTo>
                    <a:pt x="14" y="9"/>
                  </a:lnTo>
                  <a:lnTo>
                    <a:pt x="15" y="15"/>
                  </a:lnTo>
                  <a:lnTo>
                    <a:pt x="15" y="21"/>
                  </a:lnTo>
                  <a:lnTo>
                    <a:pt x="15" y="27"/>
                  </a:lnTo>
                  <a:lnTo>
                    <a:pt x="14" y="33"/>
                  </a:lnTo>
                  <a:lnTo>
                    <a:pt x="13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3" y="36"/>
                  </a:lnTo>
                  <a:lnTo>
                    <a:pt x="1" y="33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1" y="9"/>
                  </a:lnTo>
                  <a:lnTo>
                    <a:pt x="3" y="4"/>
                  </a:lnTo>
                  <a:lnTo>
                    <a:pt x="5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0" name="Freeform 1576"/>
            <p:cNvSpPr>
              <a:spLocks/>
            </p:cNvSpPr>
            <p:nvPr/>
          </p:nvSpPr>
          <p:spPr bwMode="auto">
            <a:xfrm>
              <a:off x="10237788" y="557213"/>
              <a:ext cx="26988" cy="63500"/>
            </a:xfrm>
            <a:custGeom>
              <a:avLst/>
              <a:gdLst>
                <a:gd name="T0" fmla="*/ 9 w 17"/>
                <a:gd name="T1" fmla="*/ 0 h 40"/>
                <a:gd name="T2" fmla="*/ 12 w 17"/>
                <a:gd name="T3" fmla="*/ 2 h 40"/>
                <a:gd name="T4" fmla="*/ 13 w 17"/>
                <a:gd name="T5" fmla="*/ 4 h 40"/>
                <a:gd name="T6" fmla="*/ 16 w 17"/>
                <a:gd name="T7" fmla="*/ 9 h 40"/>
                <a:gd name="T8" fmla="*/ 16 w 17"/>
                <a:gd name="T9" fmla="*/ 15 h 40"/>
                <a:gd name="T10" fmla="*/ 17 w 17"/>
                <a:gd name="T11" fmla="*/ 21 h 40"/>
                <a:gd name="T12" fmla="*/ 16 w 17"/>
                <a:gd name="T13" fmla="*/ 27 h 40"/>
                <a:gd name="T14" fmla="*/ 16 w 17"/>
                <a:gd name="T15" fmla="*/ 33 h 40"/>
                <a:gd name="T16" fmla="*/ 13 w 17"/>
                <a:gd name="T17" fmla="*/ 36 h 40"/>
                <a:gd name="T18" fmla="*/ 12 w 17"/>
                <a:gd name="T19" fmla="*/ 39 h 40"/>
                <a:gd name="T20" fmla="*/ 9 w 17"/>
                <a:gd name="T21" fmla="*/ 40 h 40"/>
                <a:gd name="T22" fmla="*/ 7 w 17"/>
                <a:gd name="T23" fmla="*/ 39 h 40"/>
                <a:gd name="T24" fmla="*/ 4 w 17"/>
                <a:gd name="T25" fmla="*/ 36 h 40"/>
                <a:gd name="T26" fmla="*/ 3 w 17"/>
                <a:gd name="T27" fmla="*/ 33 h 40"/>
                <a:gd name="T28" fmla="*/ 1 w 17"/>
                <a:gd name="T29" fmla="*/ 27 h 40"/>
                <a:gd name="T30" fmla="*/ 0 w 17"/>
                <a:gd name="T31" fmla="*/ 21 h 40"/>
                <a:gd name="T32" fmla="*/ 1 w 17"/>
                <a:gd name="T33" fmla="*/ 15 h 40"/>
                <a:gd name="T34" fmla="*/ 3 w 17"/>
                <a:gd name="T35" fmla="*/ 9 h 40"/>
                <a:gd name="T36" fmla="*/ 4 w 17"/>
                <a:gd name="T37" fmla="*/ 4 h 40"/>
                <a:gd name="T38" fmla="*/ 7 w 17"/>
                <a:gd name="T39" fmla="*/ 2 h 40"/>
                <a:gd name="T40" fmla="*/ 9 w 17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0">
                  <a:moveTo>
                    <a:pt x="9" y="0"/>
                  </a:moveTo>
                  <a:lnTo>
                    <a:pt x="12" y="2"/>
                  </a:lnTo>
                  <a:lnTo>
                    <a:pt x="13" y="4"/>
                  </a:lnTo>
                  <a:lnTo>
                    <a:pt x="16" y="9"/>
                  </a:lnTo>
                  <a:lnTo>
                    <a:pt x="16" y="15"/>
                  </a:lnTo>
                  <a:lnTo>
                    <a:pt x="17" y="21"/>
                  </a:lnTo>
                  <a:lnTo>
                    <a:pt x="16" y="27"/>
                  </a:lnTo>
                  <a:lnTo>
                    <a:pt x="16" y="33"/>
                  </a:lnTo>
                  <a:lnTo>
                    <a:pt x="13" y="36"/>
                  </a:lnTo>
                  <a:lnTo>
                    <a:pt x="12" y="39"/>
                  </a:lnTo>
                  <a:lnTo>
                    <a:pt x="9" y="40"/>
                  </a:lnTo>
                  <a:lnTo>
                    <a:pt x="7" y="39"/>
                  </a:lnTo>
                  <a:lnTo>
                    <a:pt x="4" y="36"/>
                  </a:lnTo>
                  <a:lnTo>
                    <a:pt x="3" y="33"/>
                  </a:lnTo>
                  <a:lnTo>
                    <a:pt x="1" y="27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3" y="9"/>
                  </a:lnTo>
                  <a:lnTo>
                    <a:pt x="4" y="4"/>
                  </a:lnTo>
                  <a:lnTo>
                    <a:pt x="7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1" name="Freeform 1577"/>
            <p:cNvSpPr>
              <a:spLocks/>
            </p:cNvSpPr>
            <p:nvPr/>
          </p:nvSpPr>
          <p:spPr bwMode="auto">
            <a:xfrm>
              <a:off x="10172701" y="641350"/>
              <a:ext cx="47625" cy="34925"/>
            </a:xfrm>
            <a:custGeom>
              <a:avLst/>
              <a:gdLst>
                <a:gd name="T0" fmla="*/ 28 w 30"/>
                <a:gd name="T1" fmla="*/ 0 h 22"/>
                <a:gd name="T2" fmla="*/ 30 w 30"/>
                <a:gd name="T3" fmla="*/ 13 h 22"/>
                <a:gd name="T4" fmla="*/ 23 w 30"/>
                <a:gd name="T5" fmla="*/ 21 h 22"/>
                <a:gd name="T6" fmla="*/ 14 w 30"/>
                <a:gd name="T7" fmla="*/ 22 h 22"/>
                <a:gd name="T8" fmla="*/ 0 w 30"/>
                <a:gd name="T9" fmla="*/ 18 h 22"/>
                <a:gd name="T10" fmla="*/ 12 w 30"/>
                <a:gd name="T11" fmla="*/ 19 h 22"/>
                <a:gd name="T12" fmla="*/ 19 w 30"/>
                <a:gd name="T13" fmla="*/ 17 h 22"/>
                <a:gd name="T14" fmla="*/ 25 w 30"/>
                <a:gd name="T15" fmla="*/ 12 h 22"/>
                <a:gd name="T16" fmla="*/ 27 w 30"/>
                <a:gd name="T17" fmla="*/ 6 h 22"/>
                <a:gd name="T18" fmla="*/ 28 w 30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2">
                  <a:moveTo>
                    <a:pt x="28" y="0"/>
                  </a:moveTo>
                  <a:lnTo>
                    <a:pt x="30" y="13"/>
                  </a:lnTo>
                  <a:lnTo>
                    <a:pt x="23" y="21"/>
                  </a:lnTo>
                  <a:lnTo>
                    <a:pt x="14" y="22"/>
                  </a:lnTo>
                  <a:lnTo>
                    <a:pt x="0" y="18"/>
                  </a:lnTo>
                  <a:lnTo>
                    <a:pt x="12" y="19"/>
                  </a:lnTo>
                  <a:lnTo>
                    <a:pt x="19" y="17"/>
                  </a:lnTo>
                  <a:lnTo>
                    <a:pt x="25" y="12"/>
                  </a:lnTo>
                  <a:lnTo>
                    <a:pt x="27" y="6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2" name="Freeform 1578"/>
            <p:cNvSpPr>
              <a:spLocks/>
            </p:cNvSpPr>
            <p:nvPr/>
          </p:nvSpPr>
          <p:spPr bwMode="auto">
            <a:xfrm>
              <a:off x="10220326" y="506413"/>
              <a:ext cx="74613" cy="19050"/>
            </a:xfrm>
            <a:custGeom>
              <a:avLst/>
              <a:gdLst>
                <a:gd name="T0" fmla="*/ 25 w 47"/>
                <a:gd name="T1" fmla="*/ 0 h 12"/>
                <a:gd name="T2" fmla="*/ 41 w 47"/>
                <a:gd name="T3" fmla="*/ 4 h 12"/>
                <a:gd name="T4" fmla="*/ 45 w 47"/>
                <a:gd name="T5" fmla="*/ 6 h 12"/>
                <a:gd name="T6" fmla="*/ 46 w 47"/>
                <a:gd name="T7" fmla="*/ 7 h 12"/>
                <a:gd name="T8" fmla="*/ 47 w 47"/>
                <a:gd name="T9" fmla="*/ 8 h 12"/>
                <a:gd name="T10" fmla="*/ 46 w 47"/>
                <a:gd name="T11" fmla="*/ 9 h 12"/>
                <a:gd name="T12" fmla="*/ 43 w 47"/>
                <a:gd name="T13" fmla="*/ 9 h 12"/>
                <a:gd name="T14" fmla="*/ 39 w 47"/>
                <a:gd name="T15" fmla="*/ 8 h 12"/>
                <a:gd name="T16" fmla="*/ 28 w 47"/>
                <a:gd name="T17" fmla="*/ 6 h 12"/>
                <a:gd name="T18" fmla="*/ 16 w 47"/>
                <a:gd name="T19" fmla="*/ 8 h 12"/>
                <a:gd name="T20" fmla="*/ 5 w 47"/>
                <a:gd name="T21" fmla="*/ 12 h 12"/>
                <a:gd name="T22" fmla="*/ 4 w 47"/>
                <a:gd name="T23" fmla="*/ 12 h 12"/>
                <a:gd name="T24" fmla="*/ 1 w 47"/>
                <a:gd name="T25" fmla="*/ 12 h 12"/>
                <a:gd name="T26" fmla="*/ 1 w 47"/>
                <a:gd name="T27" fmla="*/ 11 h 12"/>
                <a:gd name="T28" fmla="*/ 0 w 47"/>
                <a:gd name="T29" fmla="*/ 8 h 12"/>
                <a:gd name="T30" fmla="*/ 1 w 47"/>
                <a:gd name="T31" fmla="*/ 7 h 12"/>
                <a:gd name="T32" fmla="*/ 4 w 47"/>
                <a:gd name="T33" fmla="*/ 6 h 12"/>
                <a:gd name="T34" fmla="*/ 12 w 47"/>
                <a:gd name="T35" fmla="*/ 2 h 12"/>
                <a:gd name="T36" fmla="*/ 25 w 47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12">
                  <a:moveTo>
                    <a:pt x="25" y="0"/>
                  </a:moveTo>
                  <a:lnTo>
                    <a:pt x="41" y="4"/>
                  </a:lnTo>
                  <a:lnTo>
                    <a:pt x="45" y="6"/>
                  </a:lnTo>
                  <a:lnTo>
                    <a:pt x="46" y="7"/>
                  </a:lnTo>
                  <a:lnTo>
                    <a:pt x="47" y="8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39" y="8"/>
                  </a:lnTo>
                  <a:lnTo>
                    <a:pt x="28" y="6"/>
                  </a:lnTo>
                  <a:lnTo>
                    <a:pt x="16" y="8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lnTo>
                    <a:pt x="1" y="7"/>
                  </a:lnTo>
                  <a:lnTo>
                    <a:pt x="4" y="6"/>
                  </a:lnTo>
                  <a:lnTo>
                    <a:pt x="12" y="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3" name="Freeform 1579"/>
            <p:cNvSpPr>
              <a:spLocks/>
            </p:cNvSpPr>
            <p:nvPr/>
          </p:nvSpPr>
          <p:spPr bwMode="auto">
            <a:xfrm>
              <a:off x="10075863" y="506413"/>
              <a:ext cx="73025" cy="19050"/>
            </a:xfrm>
            <a:custGeom>
              <a:avLst/>
              <a:gdLst>
                <a:gd name="T0" fmla="*/ 20 w 46"/>
                <a:gd name="T1" fmla="*/ 0 h 12"/>
                <a:gd name="T2" fmla="*/ 33 w 46"/>
                <a:gd name="T3" fmla="*/ 2 h 12"/>
                <a:gd name="T4" fmla="*/ 43 w 46"/>
                <a:gd name="T5" fmla="*/ 6 h 12"/>
                <a:gd name="T6" fmla="*/ 46 w 46"/>
                <a:gd name="T7" fmla="*/ 7 h 12"/>
                <a:gd name="T8" fmla="*/ 46 w 46"/>
                <a:gd name="T9" fmla="*/ 8 h 12"/>
                <a:gd name="T10" fmla="*/ 46 w 46"/>
                <a:gd name="T11" fmla="*/ 11 h 12"/>
                <a:gd name="T12" fmla="*/ 44 w 46"/>
                <a:gd name="T13" fmla="*/ 12 h 12"/>
                <a:gd name="T14" fmla="*/ 43 w 46"/>
                <a:gd name="T15" fmla="*/ 12 h 12"/>
                <a:gd name="T16" fmla="*/ 41 w 46"/>
                <a:gd name="T17" fmla="*/ 12 h 12"/>
                <a:gd name="T18" fmla="*/ 29 w 46"/>
                <a:gd name="T19" fmla="*/ 8 h 12"/>
                <a:gd name="T20" fmla="*/ 19 w 46"/>
                <a:gd name="T21" fmla="*/ 6 h 12"/>
                <a:gd name="T22" fmla="*/ 7 w 46"/>
                <a:gd name="T23" fmla="*/ 8 h 12"/>
                <a:gd name="T24" fmla="*/ 3 w 46"/>
                <a:gd name="T25" fmla="*/ 9 h 12"/>
                <a:gd name="T26" fmla="*/ 1 w 46"/>
                <a:gd name="T27" fmla="*/ 9 h 12"/>
                <a:gd name="T28" fmla="*/ 0 w 46"/>
                <a:gd name="T29" fmla="*/ 8 h 12"/>
                <a:gd name="T30" fmla="*/ 0 w 46"/>
                <a:gd name="T31" fmla="*/ 7 h 12"/>
                <a:gd name="T32" fmla="*/ 2 w 46"/>
                <a:gd name="T33" fmla="*/ 6 h 12"/>
                <a:gd name="T34" fmla="*/ 5 w 46"/>
                <a:gd name="T35" fmla="*/ 4 h 12"/>
                <a:gd name="T36" fmla="*/ 20 w 46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2">
                  <a:moveTo>
                    <a:pt x="20" y="0"/>
                  </a:moveTo>
                  <a:lnTo>
                    <a:pt x="33" y="2"/>
                  </a:lnTo>
                  <a:lnTo>
                    <a:pt x="43" y="6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29" y="8"/>
                  </a:lnTo>
                  <a:lnTo>
                    <a:pt x="19" y="6"/>
                  </a:lnTo>
                  <a:lnTo>
                    <a:pt x="7" y="8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2" y="6"/>
                  </a:lnTo>
                  <a:lnTo>
                    <a:pt x="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4" name="Freeform 1580"/>
            <p:cNvSpPr>
              <a:spLocks/>
            </p:cNvSpPr>
            <p:nvPr/>
          </p:nvSpPr>
          <p:spPr bwMode="auto">
            <a:xfrm>
              <a:off x="9993313" y="569913"/>
              <a:ext cx="42863" cy="84138"/>
            </a:xfrm>
            <a:custGeom>
              <a:avLst/>
              <a:gdLst>
                <a:gd name="T0" fmla="*/ 8 w 27"/>
                <a:gd name="T1" fmla="*/ 0 h 53"/>
                <a:gd name="T2" fmla="*/ 16 w 27"/>
                <a:gd name="T3" fmla="*/ 1 h 53"/>
                <a:gd name="T4" fmla="*/ 22 w 27"/>
                <a:gd name="T5" fmla="*/ 10 h 53"/>
                <a:gd name="T6" fmla="*/ 27 w 27"/>
                <a:gd name="T7" fmla="*/ 23 h 53"/>
                <a:gd name="T8" fmla="*/ 27 w 27"/>
                <a:gd name="T9" fmla="*/ 37 h 53"/>
                <a:gd name="T10" fmla="*/ 25 w 27"/>
                <a:gd name="T11" fmla="*/ 48 h 53"/>
                <a:gd name="T12" fmla="*/ 19 w 27"/>
                <a:gd name="T13" fmla="*/ 53 h 53"/>
                <a:gd name="T14" fmla="*/ 12 w 27"/>
                <a:gd name="T15" fmla="*/ 50 h 53"/>
                <a:gd name="T16" fmla="*/ 5 w 27"/>
                <a:gd name="T17" fmla="*/ 41 h 53"/>
                <a:gd name="T18" fmla="*/ 2 w 27"/>
                <a:gd name="T19" fmla="*/ 28 h 53"/>
                <a:gd name="T20" fmla="*/ 0 w 27"/>
                <a:gd name="T21" fmla="*/ 16 h 53"/>
                <a:gd name="T22" fmla="*/ 3 w 27"/>
                <a:gd name="T23" fmla="*/ 5 h 53"/>
                <a:gd name="T24" fmla="*/ 8 w 27"/>
                <a:gd name="T2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3">
                  <a:moveTo>
                    <a:pt x="8" y="0"/>
                  </a:moveTo>
                  <a:lnTo>
                    <a:pt x="16" y="1"/>
                  </a:lnTo>
                  <a:lnTo>
                    <a:pt x="22" y="10"/>
                  </a:lnTo>
                  <a:lnTo>
                    <a:pt x="27" y="23"/>
                  </a:lnTo>
                  <a:lnTo>
                    <a:pt x="27" y="37"/>
                  </a:lnTo>
                  <a:lnTo>
                    <a:pt x="25" y="48"/>
                  </a:lnTo>
                  <a:lnTo>
                    <a:pt x="19" y="53"/>
                  </a:lnTo>
                  <a:lnTo>
                    <a:pt x="12" y="50"/>
                  </a:lnTo>
                  <a:lnTo>
                    <a:pt x="5" y="41"/>
                  </a:lnTo>
                  <a:lnTo>
                    <a:pt x="2" y="28"/>
                  </a:lnTo>
                  <a:lnTo>
                    <a:pt x="0" y="16"/>
                  </a:lnTo>
                  <a:lnTo>
                    <a:pt x="3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5" name="Freeform 1581"/>
            <p:cNvSpPr>
              <a:spLocks/>
            </p:cNvSpPr>
            <p:nvPr/>
          </p:nvSpPr>
          <p:spPr bwMode="auto">
            <a:xfrm>
              <a:off x="10339388" y="569913"/>
              <a:ext cx="46038" cy="84138"/>
            </a:xfrm>
            <a:custGeom>
              <a:avLst/>
              <a:gdLst>
                <a:gd name="T0" fmla="*/ 20 w 29"/>
                <a:gd name="T1" fmla="*/ 0 h 53"/>
                <a:gd name="T2" fmla="*/ 26 w 29"/>
                <a:gd name="T3" fmla="*/ 5 h 53"/>
                <a:gd name="T4" fmla="*/ 29 w 29"/>
                <a:gd name="T5" fmla="*/ 16 h 53"/>
                <a:gd name="T6" fmla="*/ 27 w 29"/>
                <a:gd name="T7" fmla="*/ 28 h 53"/>
                <a:gd name="T8" fmla="*/ 23 w 29"/>
                <a:gd name="T9" fmla="*/ 41 h 53"/>
                <a:gd name="T10" fmla="*/ 16 w 29"/>
                <a:gd name="T11" fmla="*/ 50 h 53"/>
                <a:gd name="T12" fmla="*/ 9 w 29"/>
                <a:gd name="T13" fmla="*/ 53 h 53"/>
                <a:gd name="T14" fmla="*/ 3 w 29"/>
                <a:gd name="T15" fmla="*/ 48 h 53"/>
                <a:gd name="T16" fmla="*/ 0 w 29"/>
                <a:gd name="T17" fmla="*/ 37 h 53"/>
                <a:gd name="T18" fmla="*/ 2 w 29"/>
                <a:gd name="T19" fmla="*/ 23 h 53"/>
                <a:gd name="T20" fmla="*/ 5 w 29"/>
                <a:gd name="T21" fmla="*/ 10 h 53"/>
                <a:gd name="T22" fmla="*/ 12 w 29"/>
                <a:gd name="T23" fmla="*/ 1 h 53"/>
                <a:gd name="T24" fmla="*/ 20 w 29"/>
                <a:gd name="T2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53">
                  <a:moveTo>
                    <a:pt x="20" y="0"/>
                  </a:moveTo>
                  <a:lnTo>
                    <a:pt x="26" y="5"/>
                  </a:lnTo>
                  <a:lnTo>
                    <a:pt x="29" y="16"/>
                  </a:lnTo>
                  <a:lnTo>
                    <a:pt x="27" y="28"/>
                  </a:lnTo>
                  <a:lnTo>
                    <a:pt x="23" y="41"/>
                  </a:lnTo>
                  <a:lnTo>
                    <a:pt x="16" y="50"/>
                  </a:lnTo>
                  <a:lnTo>
                    <a:pt x="9" y="53"/>
                  </a:lnTo>
                  <a:lnTo>
                    <a:pt x="3" y="48"/>
                  </a:lnTo>
                  <a:lnTo>
                    <a:pt x="0" y="37"/>
                  </a:lnTo>
                  <a:lnTo>
                    <a:pt x="2" y="23"/>
                  </a:lnTo>
                  <a:lnTo>
                    <a:pt x="5" y="10"/>
                  </a:lnTo>
                  <a:lnTo>
                    <a:pt x="12" y="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6" name="Freeform 1582"/>
            <p:cNvSpPr>
              <a:spLocks noEditPoints="1"/>
            </p:cNvSpPr>
            <p:nvPr/>
          </p:nvSpPr>
          <p:spPr bwMode="auto">
            <a:xfrm>
              <a:off x="10013951" y="547688"/>
              <a:ext cx="347663" cy="273050"/>
            </a:xfrm>
            <a:custGeom>
              <a:avLst/>
              <a:gdLst>
                <a:gd name="T0" fmla="*/ 68 w 219"/>
                <a:gd name="T1" fmla="*/ 99 h 172"/>
                <a:gd name="T2" fmla="*/ 62 w 219"/>
                <a:gd name="T3" fmla="*/ 126 h 172"/>
                <a:gd name="T4" fmla="*/ 69 w 219"/>
                <a:gd name="T5" fmla="*/ 139 h 172"/>
                <a:gd name="T6" fmla="*/ 92 w 219"/>
                <a:gd name="T7" fmla="*/ 144 h 172"/>
                <a:gd name="T8" fmla="*/ 96 w 219"/>
                <a:gd name="T9" fmla="*/ 142 h 172"/>
                <a:gd name="T10" fmla="*/ 99 w 219"/>
                <a:gd name="T11" fmla="*/ 139 h 172"/>
                <a:gd name="T12" fmla="*/ 110 w 219"/>
                <a:gd name="T13" fmla="*/ 135 h 172"/>
                <a:gd name="T14" fmla="*/ 121 w 219"/>
                <a:gd name="T15" fmla="*/ 139 h 172"/>
                <a:gd name="T16" fmla="*/ 123 w 219"/>
                <a:gd name="T17" fmla="*/ 142 h 172"/>
                <a:gd name="T18" fmla="*/ 127 w 219"/>
                <a:gd name="T19" fmla="*/ 144 h 172"/>
                <a:gd name="T20" fmla="*/ 139 w 219"/>
                <a:gd name="T21" fmla="*/ 142 h 172"/>
                <a:gd name="T22" fmla="*/ 157 w 219"/>
                <a:gd name="T23" fmla="*/ 130 h 172"/>
                <a:gd name="T24" fmla="*/ 153 w 219"/>
                <a:gd name="T25" fmla="*/ 99 h 172"/>
                <a:gd name="T26" fmla="*/ 131 w 219"/>
                <a:gd name="T27" fmla="*/ 95 h 172"/>
                <a:gd name="T28" fmla="*/ 99 w 219"/>
                <a:gd name="T29" fmla="*/ 98 h 172"/>
                <a:gd name="T30" fmla="*/ 4 w 219"/>
                <a:gd name="T31" fmla="*/ 0 h 172"/>
                <a:gd name="T32" fmla="*/ 8 w 219"/>
                <a:gd name="T33" fmla="*/ 6 h 172"/>
                <a:gd name="T34" fmla="*/ 10 w 219"/>
                <a:gd name="T35" fmla="*/ 31 h 172"/>
                <a:gd name="T36" fmla="*/ 27 w 219"/>
                <a:gd name="T37" fmla="*/ 91 h 172"/>
                <a:gd name="T38" fmla="*/ 45 w 219"/>
                <a:gd name="T39" fmla="*/ 123 h 172"/>
                <a:gd name="T40" fmla="*/ 51 w 219"/>
                <a:gd name="T41" fmla="*/ 125 h 172"/>
                <a:gd name="T42" fmla="*/ 54 w 219"/>
                <a:gd name="T43" fmla="*/ 116 h 172"/>
                <a:gd name="T44" fmla="*/ 68 w 219"/>
                <a:gd name="T45" fmla="*/ 89 h 172"/>
                <a:gd name="T46" fmla="*/ 98 w 219"/>
                <a:gd name="T47" fmla="*/ 89 h 172"/>
                <a:gd name="T48" fmla="*/ 131 w 219"/>
                <a:gd name="T49" fmla="*/ 87 h 172"/>
                <a:gd name="T50" fmla="*/ 157 w 219"/>
                <a:gd name="T51" fmla="*/ 90 h 172"/>
                <a:gd name="T52" fmla="*/ 167 w 219"/>
                <a:gd name="T53" fmla="*/ 116 h 172"/>
                <a:gd name="T54" fmla="*/ 168 w 219"/>
                <a:gd name="T55" fmla="*/ 127 h 172"/>
                <a:gd name="T56" fmla="*/ 172 w 219"/>
                <a:gd name="T57" fmla="*/ 130 h 172"/>
                <a:gd name="T58" fmla="*/ 181 w 219"/>
                <a:gd name="T59" fmla="*/ 123 h 172"/>
                <a:gd name="T60" fmla="*/ 202 w 219"/>
                <a:gd name="T61" fmla="*/ 72 h 172"/>
                <a:gd name="T62" fmla="*/ 210 w 219"/>
                <a:gd name="T63" fmla="*/ 15 h 172"/>
                <a:gd name="T64" fmla="*/ 213 w 219"/>
                <a:gd name="T65" fmla="*/ 3 h 172"/>
                <a:gd name="T66" fmla="*/ 217 w 219"/>
                <a:gd name="T67" fmla="*/ 1 h 172"/>
                <a:gd name="T68" fmla="*/ 219 w 219"/>
                <a:gd name="T69" fmla="*/ 14 h 172"/>
                <a:gd name="T70" fmla="*/ 216 w 219"/>
                <a:gd name="T71" fmla="*/ 65 h 172"/>
                <a:gd name="T72" fmla="*/ 195 w 219"/>
                <a:gd name="T73" fmla="*/ 125 h 172"/>
                <a:gd name="T74" fmla="*/ 142 w 219"/>
                <a:gd name="T75" fmla="*/ 162 h 172"/>
                <a:gd name="T76" fmla="*/ 96 w 219"/>
                <a:gd name="T77" fmla="*/ 169 h 172"/>
                <a:gd name="T78" fmla="*/ 40 w 219"/>
                <a:gd name="T79" fmla="*/ 139 h 172"/>
                <a:gd name="T80" fmla="*/ 10 w 219"/>
                <a:gd name="T81" fmla="*/ 87 h 172"/>
                <a:gd name="T82" fmla="*/ 0 w 219"/>
                <a:gd name="T83" fmla="*/ 22 h 172"/>
                <a:gd name="T84" fmla="*/ 1 w 219"/>
                <a:gd name="T85" fmla="*/ 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9" h="172">
                  <a:moveTo>
                    <a:pt x="81" y="95"/>
                  </a:moveTo>
                  <a:lnTo>
                    <a:pt x="73" y="95"/>
                  </a:lnTo>
                  <a:lnTo>
                    <a:pt x="68" y="99"/>
                  </a:lnTo>
                  <a:lnTo>
                    <a:pt x="64" y="107"/>
                  </a:lnTo>
                  <a:lnTo>
                    <a:pt x="62" y="121"/>
                  </a:lnTo>
                  <a:lnTo>
                    <a:pt x="62" y="126"/>
                  </a:lnTo>
                  <a:lnTo>
                    <a:pt x="63" y="131"/>
                  </a:lnTo>
                  <a:lnTo>
                    <a:pt x="66" y="135"/>
                  </a:lnTo>
                  <a:lnTo>
                    <a:pt x="69" y="139"/>
                  </a:lnTo>
                  <a:lnTo>
                    <a:pt x="80" y="142"/>
                  </a:lnTo>
                  <a:lnTo>
                    <a:pt x="87" y="144"/>
                  </a:lnTo>
                  <a:lnTo>
                    <a:pt x="92" y="144"/>
                  </a:lnTo>
                  <a:lnTo>
                    <a:pt x="95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6" y="141"/>
                  </a:lnTo>
                  <a:lnTo>
                    <a:pt x="99" y="139"/>
                  </a:lnTo>
                  <a:lnTo>
                    <a:pt x="103" y="136"/>
                  </a:lnTo>
                  <a:lnTo>
                    <a:pt x="105" y="135"/>
                  </a:lnTo>
                  <a:lnTo>
                    <a:pt x="110" y="135"/>
                  </a:lnTo>
                  <a:lnTo>
                    <a:pt x="114" y="135"/>
                  </a:lnTo>
                  <a:lnTo>
                    <a:pt x="117" y="136"/>
                  </a:lnTo>
                  <a:lnTo>
                    <a:pt x="121" y="139"/>
                  </a:lnTo>
                  <a:lnTo>
                    <a:pt x="123" y="141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5" y="142"/>
                  </a:lnTo>
                  <a:lnTo>
                    <a:pt x="127" y="144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9" y="142"/>
                  </a:lnTo>
                  <a:lnTo>
                    <a:pt x="144" y="142"/>
                  </a:lnTo>
                  <a:lnTo>
                    <a:pt x="153" y="137"/>
                  </a:lnTo>
                  <a:lnTo>
                    <a:pt x="157" y="130"/>
                  </a:lnTo>
                  <a:lnTo>
                    <a:pt x="158" y="121"/>
                  </a:lnTo>
                  <a:lnTo>
                    <a:pt x="157" y="107"/>
                  </a:lnTo>
                  <a:lnTo>
                    <a:pt x="153" y="99"/>
                  </a:lnTo>
                  <a:lnTo>
                    <a:pt x="148" y="95"/>
                  </a:lnTo>
                  <a:lnTo>
                    <a:pt x="140" y="95"/>
                  </a:lnTo>
                  <a:lnTo>
                    <a:pt x="131" y="95"/>
                  </a:lnTo>
                  <a:lnTo>
                    <a:pt x="121" y="98"/>
                  </a:lnTo>
                  <a:lnTo>
                    <a:pt x="110" y="98"/>
                  </a:lnTo>
                  <a:lnTo>
                    <a:pt x="99" y="98"/>
                  </a:lnTo>
                  <a:lnTo>
                    <a:pt x="90" y="95"/>
                  </a:lnTo>
                  <a:lnTo>
                    <a:pt x="81" y="95"/>
                  </a:lnTo>
                  <a:close/>
                  <a:moveTo>
                    <a:pt x="4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8" y="6"/>
                  </a:lnTo>
                  <a:lnTo>
                    <a:pt x="9" y="10"/>
                  </a:lnTo>
                  <a:lnTo>
                    <a:pt x="9" y="15"/>
                  </a:lnTo>
                  <a:lnTo>
                    <a:pt x="10" y="31"/>
                  </a:lnTo>
                  <a:lnTo>
                    <a:pt x="14" y="51"/>
                  </a:lnTo>
                  <a:lnTo>
                    <a:pt x="19" y="72"/>
                  </a:lnTo>
                  <a:lnTo>
                    <a:pt x="27" y="91"/>
                  </a:lnTo>
                  <a:lnTo>
                    <a:pt x="35" y="108"/>
                  </a:lnTo>
                  <a:lnTo>
                    <a:pt x="42" y="121"/>
                  </a:lnTo>
                  <a:lnTo>
                    <a:pt x="45" y="123"/>
                  </a:lnTo>
                  <a:lnTo>
                    <a:pt x="48" y="125"/>
                  </a:lnTo>
                  <a:lnTo>
                    <a:pt x="49" y="126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3" y="121"/>
                  </a:lnTo>
                  <a:lnTo>
                    <a:pt x="54" y="116"/>
                  </a:lnTo>
                  <a:lnTo>
                    <a:pt x="57" y="101"/>
                  </a:lnTo>
                  <a:lnTo>
                    <a:pt x="60" y="92"/>
                  </a:lnTo>
                  <a:lnTo>
                    <a:pt x="68" y="89"/>
                  </a:lnTo>
                  <a:lnTo>
                    <a:pt x="77" y="87"/>
                  </a:lnTo>
                  <a:lnTo>
                    <a:pt x="87" y="87"/>
                  </a:lnTo>
                  <a:lnTo>
                    <a:pt x="98" y="89"/>
                  </a:lnTo>
                  <a:lnTo>
                    <a:pt x="109" y="90"/>
                  </a:lnTo>
                  <a:lnTo>
                    <a:pt x="119" y="89"/>
                  </a:lnTo>
                  <a:lnTo>
                    <a:pt x="131" y="87"/>
                  </a:lnTo>
                  <a:lnTo>
                    <a:pt x="140" y="87"/>
                  </a:lnTo>
                  <a:lnTo>
                    <a:pt x="149" y="87"/>
                  </a:lnTo>
                  <a:lnTo>
                    <a:pt x="157" y="90"/>
                  </a:lnTo>
                  <a:lnTo>
                    <a:pt x="163" y="95"/>
                  </a:lnTo>
                  <a:lnTo>
                    <a:pt x="166" y="103"/>
                  </a:lnTo>
                  <a:lnTo>
                    <a:pt x="167" y="116"/>
                  </a:lnTo>
                  <a:lnTo>
                    <a:pt x="167" y="121"/>
                  </a:lnTo>
                  <a:lnTo>
                    <a:pt x="167" y="125"/>
                  </a:lnTo>
                  <a:lnTo>
                    <a:pt x="168" y="127"/>
                  </a:lnTo>
                  <a:lnTo>
                    <a:pt x="169" y="130"/>
                  </a:lnTo>
                  <a:lnTo>
                    <a:pt x="171" y="130"/>
                  </a:lnTo>
                  <a:lnTo>
                    <a:pt x="172" y="130"/>
                  </a:lnTo>
                  <a:lnTo>
                    <a:pt x="175" y="130"/>
                  </a:lnTo>
                  <a:lnTo>
                    <a:pt x="178" y="126"/>
                  </a:lnTo>
                  <a:lnTo>
                    <a:pt x="181" y="123"/>
                  </a:lnTo>
                  <a:lnTo>
                    <a:pt x="189" y="110"/>
                  </a:lnTo>
                  <a:lnTo>
                    <a:pt x="196" y="92"/>
                  </a:lnTo>
                  <a:lnTo>
                    <a:pt x="202" y="72"/>
                  </a:lnTo>
                  <a:lnTo>
                    <a:pt x="207" y="51"/>
                  </a:lnTo>
                  <a:lnTo>
                    <a:pt x="209" y="32"/>
                  </a:lnTo>
                  <a:lnTo>
                    <a:pt x="210" y="15"/>
                  </a:lnTo>
                  <a:lnTo>
                    <a:pt x="210" y="10"/>
                  </a:lnTo>
                  <a:lnTo>
                    <a:pt x="212" y="6"/>
                  </a:lnTo>
                  <a:lnTo>
                    <a:pt x="213" y="3"/>
                  </a:lnTo>
                  <a:lnTo>
                    <a:pt x="214" y="1"/>
                  </a:lnTo>
                  <a:lnTo>
                    <a:pt x="216" y="0"/>
                  </a:lnTo>
                  <a:lnTo>
                    <a:pt x="217" y="1"/>
                  </a:lnTo>
                  <a:lnTo>
                    <a:pt x="218" y="4"/>
                  </a:lnTo>
                  <a:lnTo>
                    <a:pt x="219" y="8"/>
                  </a:lnTo>
                  <a:lnTo>
                    <a:pt x="219" y="14"/>
                  </a:lnTo>
                  <a:lnTo>
                    <a:pt x="219" y="22"/>
                  </a:lnTo>
                  <a:lnTo>
                    <a:pt x="219" y="42"/>
                  </a:lnTo>
                  <a:lnTo>
                    <a:pt x="216" y="65"/>
                  </a:lnTo>
                  <a:lnTo>
                    <a:pt x="210" y="87"/>
                  </a:lnTo>
                  <a:lnTo>
                    <a:pt x="204" y="109"/>
                  </a:lnTo>
                  <a:lnTo>
                    <a:pt x="195" y="125"/>
                  </a:lnTo>
                  <a:lnTo>
                    <a:pt x="181" y="139"/>
                  </a:lnTo>
                  <a:lnTo>
                    <a:pt x="163" y="151"/>
                  </a:lnTo>
                  <a:lnTo>
                    <a:pt x="142" y="162"/>
                  </a:lnTo>
                  <a:lnTo>
                    <a:pt x="123" y="169"/>
                  </a:lnTo>
                  <a:lnTo>
                    <a:pt x="110" y="172"/>
                  </a:lnTo>
                  <a:lnTo>
                    <a:pt x="96" y="169"/>
                  </a:lnTo>
                  <a:lnTo>
                    <a:pt x="77" y="162"/>
                  </a:lnTo>
                  <a:lnTo>
                    <a:pt x="58" y="151"/>
                  </a:lnTo>
                  <a:lnTo>
                    <a:pt x="40" y="139"/>
                  </a:lnTo>
                  <a:lnTo>
                    <a:pt x="26" y="125"/>
                  </a:lnTo>
                  <a:lnTo>
                    <a:pt x="17" y="108"/>
                  </a:lnTo>
                  <a:lnTo>
                    <a:pt x="10" y="87"/>
                  </a:lnTo>
                  <a:lnTo>
                    <a:pt x="4" y="65"/>
                  </a:lnTo>
                  <a:lnTo>
                    <a:pt x="1" y="42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0" y="8"/>
                  </a:lnTo>
                  <a:lnTo>
                    <a:pt x="1" y="4"/>
                  </a:lnTo>
                  <a:lnTo>
                    <a:pt x="3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A38D7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7" name="Freeform 1583"/>
            <p:cNvSpPr>
              <a:spLocks/>
            </p:cNvSpPr>
            <p:nvPr/>
          </p:nvSpPr>
          <p:spPr bwMode="auto">
            <a:xfrm>
              <a:off x="10012363" y="341313"/>
              <a:ext cx="354013" cy="319088"/>
            </a:xfrm>
            <a:custGeom>
              <a:avLst/>
              <a:gdLst>
                <a:gd name="T0" fmla="*/ 111 w 223"/>
                <a:gd name="T1" fmla="*/ 0 h 201"/>
                <a:gd name="T2" fmla="*/ 135 w 223"/>
                <a:gd name="T3" fmla="*/ 3 h 201"/>
                <a:gd name="T4" fmla="*/ 155 w 223"/>
                <a:gd name="T5" fmla="*/ 11 h 201"/>
                <a:gd name="T6" fmla="*/ 173 w 223"/>
                <a:gd name="T7" fmla="*/ 21 h 201"/>
                <a:gd name="T8" fmla="*/ 188 w 223"/>
                <a:gd name="T9" fmla="*/ 35 h 201"/>
                <a:gd name="T10" fmla="*/ 200 w 223"/>
                <a:gd name="T11" fmla="*/ 51 h 201"/>
                <a:gd name="T12" fmla="*/ 209 w 223"/>
                <a:gd name="T13" fmla="*/ 67 h 201"/>
                <a:gd name="T14" fmla="*/ 217 w 223"/>
                <a:gd name="T15" fmla="*/ 92 h 201"/>
                <a:gd name="T16" fmla="*/ 222 w 223"/>
                <a:gd name="T17" fmla="*/ 112 h 201"/>
                <a:gd name="T18" fmla="*/ 223 w 223"/>
                <a:gd name="T19" fmla="*/ 130 h 201"/>
                <a:gd name="T20" fmla="*/ 222 w 223"/>
                <a:gd name="T21" fmla="*/ 143 h 201"/>
                <a:gd name="T22" fmla="*/ 222 w 223"/>
                <a:gd name="T23" fmla="*/ 153 h 201"/>
                <a:gd name="T24" fmla="*/ 220 w 223"/>
                <a:gd name="T25" fmla="*/ 158 h 201"/>
                <a:gd name="T26" fmla="*/ 219 w 223"/>
                <a:gd name="T27" fmla="*/ 166 h 201"/>
                <a:gd name="T28" fmla="*/ 217 w 223"/>
                <a:gd name="T29" fmla="*/ 176 h 201"/>
                <a:gd name="T30" fmla="*/ 214 w 223"/>
                <a:gd name="T31" fmla="*/ 187 h 201"/>
                <a:gd name="T32" fmla="*/ 211 w 223"/>
                <a:gd name="T33" fmla="*/ 194 h 201"/>
                <a:gd name="T34" fmla="*/ 210 w 223"/>
                <a:gd name="T35" fmla="*/ 199 h 201"/>
                <a:gd name="T36" fmla="*/ 209 w 223"/>
                <a:gd name="T37" fmla="*/ 201 h 201"/>
                <a:gd name="T38" fmla="*/ 209 w 223"/>
                <a:gd name="T39" fmla="*/ 195 h 201"/>
                <a:gd name="T40" fmla="*/ 209 w 223"/>
                <a:gd name="T41" fmla="*/ 170 h 201"/>
                <a:gd name="T42" fmla="*/ 206 w 223"/>
                <a:gd name="T43" fmla="*/ 144 h 201"/>
                <a:gd name="T44" fmla="*/ 201 w 223"/>
                <a:gd name="T45" fmla="*/ 117 h 201"/>
                <a:gd name="T46" fmla="*/ 192 w 223"/>
                <a:gd name="T47" fmla="*/ 94 h 201"/>
                <a:gd name="T48" fmla="*/ 182 w 223"/>
                <a:gd name="T49" fmla="*/ 76 h 201"/>
                <a:gd name="T50" fmla="*/ 170 w 223"/>
                <a:gd name="T51" fmla="*/ 65 h 201"/>
                <a:gd name="T52" fmla="*/ 159 w 223"/>
                <a:gd name="T53" fmla="*/ 58 h 201"/>
                <a:gd name="T54" fmla="*/ 147 w 223"/>
                <a:gd name="T55" fmla="*/ 57 h 201"/>
                <a:gd name="T56" fmla="*/ 136 w 223"/>
                <a:gd name="T57" fmla="*/ 58 h 201"/>
                <a:gd name="T58" fmla="*/ 123 w 223"/>
                <a:gd name="T59" fmla="*/ 59 h 201"/>
                <a:gd name="T60" fmla="*/ 108 w 223"/>
                <a:gd name="T61" fmla="*/ 61 h 201"/>
                <a:gd name="T62" fmla="*/ 91 w 223"/>
                <a:gd name="T63" fmla="*/ 59 h 201"/>
                <a:gd name="T64" fmla="*/ 77 w 223"/>
                <a:gd name="T65" fmla="*/ 57 h 201"/>
                <a:gd name="T66" fmla="*/ 63 w 223"/>
                <a:gd name="T67" fmla="*/ 56 h 201"/>
                <a:gd name="T68" fmla="*/ 51 w 223"/>
                <a:gd name="T69" fmla="*/ 59 h 201"/>
                <a:gd name="T70" fmla="*/ 40 w 223"/>
                <a:gd name="T71" fmla="*/ 67 h 201"/>
                <a:gd name="T72" fmla="*/ 28 w 223"/>
                <a:gd name="T73" fmla="*/ 85 h 201"/>
                <a:gd name="T74" fmla="*/ 19 w 223"/>
                <a:gd name="T75" fmla="*/ 108 h 201"/>
                <a:gd name="T76" fmla="*/ 14 w 223"/>
                <a:gd name="T77" fmla="*/ 134 h 201"/>
                <a:gd name="T78" fmla="*/ 11 w 223"/>
                <a:gd name="T79" fmla="*/ 160 h 201"/>
                <a:gd name="T80" fmla="*/ 13 w 223"/>
                <a:gd name="T81" fmla="*/ 185 h 201"/>
                <a:gd name="T82" fmla="*/ 14 w 223"/>
                <a:gd name="T83" fmla="*/ 190 h 201"/>
                <a:gd name="T84" fmla="*/ 13 w 223"/>
                <a:gd name="T85" fmla="*/ 190 h 201"/>
                <a:gd name="T86" fmla="*/ 10 w 223"/>
                <a:gd name="T87" fmla="*/ 188 h 201"/>
                <a:gd name="T88" fmla="*/ 9 w 223"/>
                <a:gd name="T89" fmla="*/ 181 h 201"/>
                <a:gd name="T90" fmla="*/ 6 w 223"/>
                <a:gd name="T91" fmla="*/ 172 h 201"/>
                <a:gd name="T92" fmla="*/ 4 w 223"/>
                <a:gd name="T93" fmla="*/ 165 h 201"/>
                <a:gd name="T94" fmla="*/ 1 w 223"/>
                <a:gd name="T95" fmla="*/ 157 h 201"/>
                <a:gd name="T96" fmla="*/ 1 w 223"/>
                <a:gd name="T97" fmla="*/ 153 h 201"/>
                <a:gd name="T98" fmla="*/ 0 w 223"/>
                <a:gd name="T99" fmla="*/ 143 h 201"/>
                <a:gd name="T100" fmla="*/ 0 w 223"/>
                <a:gd name="T101" fmla="*/ 130 h 201"/>
                <a:gd name="T102" fmla="*/ 1 w 223"/>
                <a:gd name="T103" fmla="*/ 113 h 201"/>
                <a:gd name="T104" fmla="*/ 5 w 223"/>
                <a:gd name="T105" fmla="*/ 92 h 201"/>
                <a:gd name="T106" fmla="*/ 14 w 223"/>
                <a:gd name="T107" fmla="*/ 67 h 201"/>
                <a:gd name="T108" fmla="*/ 20 w 223"/>
                <a:gd name="T109" fmla="*/ 54 h 201"/>
                <a:gd name="T110" fmla="*/ 29 w 223"/>
                <a:gd name="T111" fmla="*/ 40 h 201"/>
                <a:gd name="T112" fmla="*/ 40 w 223"/>
                <a:gd name="T113" fmla="*/ 27 h 201"/>
                <a:gd name="T114" fmla="*/ 52 w 223"/>
                <a:gd name="T115" fmla="*/ 17 h 201"/>
                <a:gd name="T116" fmla="*/ 69 w 223"/>
                <a:gd name="T117" fmla="*/ 8 h 201"/>
                <a:gd name="T118" fmla="*/ 88 w 223"/>
                <a:gd name="T119" fmla="*/ 2 h 201"/>
                <a:gd name="T120" fmla="*/ 111 w 223"/>
                <a:gd name="T121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3" h="201">
                  <a:moveTo>
                    <a:pt x="111" y="0"/>
                  </a:moveTo>
                  <a:lnTo>
                    <a:pt x="135" y="3"/>
                  </a:lnTo>
                  <a:lnTo>
                    <a:pt x="155" y="11"/>
                  </a:lnTo>
                  <a:lnTo>
                    <a:pt x="173" y="21"/>
                  </a:lnTo>
                  <a:lnTo>
                    <a:pt x="188" y="35"/>
                  </a:lnTo>
                  <a:lnTo>
                    <a:pt x="200" y="51"/>
                  </a:lnTo>
                  <a:lnTo>
                    <a:pt x="209" y="67"/>
                  </a:lnTo>
                  <a:lnTo>
                    <a:pt x="217" y="92"/>
                  </a:lnTo>
                  <a:lnTo>
                    <a:pt x="222" y="112"/>
                  </a:lnTo>
                  <a:lnTo>
                    <a:pt x="223" y="130"/>
                  </a:lnTo>
                  <a:lnTo>
                    <a:pt x="222" y="143"/>
                  </a:lnTo>
                  <a:lnTo>
                    <a:pt x="222" y="153"/>
                  </a:lnTo>
                  <a:lnTo>
                    <a:pt x="220" y="158"/>
                  </a:lnTo>
                  <a:lnTo>
                    <a:pt x="219" y="166"/>
                  </a:lnTo>
                  <a:lnTo>
                    <a:pt x="217" y="176"/>
                  </a:lnTo>
                  <a:lnTo>
                    <a:pt x="214" y="187"/>
                  </a:lnTo>
                  <a:lnTo>
                    <a:pt x="211" y="194"/>
                  </a:lnTo>
                  <a:lnTo>
                    <a:pt x="210" y="199"/>
                  </a:lnTo>
                  <a:lnTo>
                    <a:pt x="209" y="201"/>
                  </a:lnTo>
                  <a:lnTo>
                    <a:pt x="209" y="195"/>
                  </a:lnTo>
                  <a:lnTo>
                    <a:pt x="209" y="170"/>
                  </a:lnTo>
                  <a:lnTo>
                    <a:pt x="206" y="144"/>
                  </a:lnTo>
                  <a:lnTo>
                    <a:pt x="201" y="117"/>
                  </a:lnTo>
                  <a:lnTo>
                    <a:pt x="192" y="94"/>
                  </a:lnTo>
                  <a:lnTo>
                    <a:pt x="182" y="76"/>
                  </a:lnTo>
                  <a:lnTo>
                    <a:pt x="170" y="65"/>
                  </a:lnTo>
                  <a:lnTo>
                    <a:pt x="159" y="58"/>
                  </a:lnTo>
                  <a:lnTo>
                    <a:pt x="147" y="57"/>
                  </a:lnTo>
                  <a:lnTo>
                    <a:pt x="136" y="58"/>
                  </a:lnTo>
                  <a:lnTo>
                    <a:pt x="123" y="59"/>
                  </a:lnTo>
                  <a:lnTo>
                    <a:pt x="108" y="61"/>
                  </a:lnTo>
                  <a:lnTo>
                    <a:pt x="91" y="59"/>
                  </a:lnTo>
                  <a:lnTo>
                    <a:pt x="77" y="57"/>
                  </a:lnTo>
                  <a:lnTo>
                    <a:pt x="63" y="56"/>
                  </a:lnTo>
                  <a:lnTo>
                    <a:pt x="51" y="59"/>
                  </a:lnTo>
                  <a:lnTo>
                    <a:pt x="40" y="67"/>
                  </a:lnTo>
                  <a:lnTo>
                    <a:pt x="28" y="85"/>
                  </a:lnTo>
                  <a:lnTo>
                    <a:pt x="19" y="108"/>
                  </a:lnTo>
                  <a:lnTo>
                    <a:pt x="14" y="134"/>
                  </a:lnTo>
                  <a:lnTo>
                    <a:pt x="11" y="160"/>
                  </a:lnTo>
                  <a:lnTo>
                    <a:pt x="13" y="185"/>
                  </a:lnTo>
                  <a:lnTo>
                    <a:pt x="14" y="190"/>
                  </a:lnTo>
                  <a:lnTo>
                    <a:pt x="13" y="190"/>
                  </a:lnTo>
                  <a:lnTo>
                    <a:pt x="10" y="188"/>
                  </a:lnTo>
                  <a:lnTo>
                    <a:pt x="9" y="181"/>
                  </a:lnTo>
                  <a:lnTo>
                    <a:pt x="6" y="172"/>
                  </a:lnTo>
                  <a:lnTo>
                    <a:pt x="4" y="165"/>
                  </a:lnTo>
                  <a:lnTo>
                    <a:pt x="1" y="157"/>
                  </a:lnTo>
                  <a:lnTo>
                    <a:pt x="1" y="153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1" y="113"/>
                  </a:lnTo>
                  <a:lnTo>
                    <a:pt x="5" y="92"/>
                  </a:lnTo>
                  <a:lnTo>
                    <a:pt x="14" y="67"/>
                  </a:lnTo>
                  <a:lnTo>
                    <a:pt x="20" y="54"/>
                  </a:lnTo>
                  <a:lnTo>
                    <a:pt x="29" y="40"/>
                  </a:lnTo>
                  <a:lnTo>
                    <a:pt x="40" y="27"/>
                  </a:lnTo>
                  <a:lnTo>
                    <a:pt x="52" y="17"/>
                  </a:lnTo>
                  <a:lnTo>
                    <a:pt x="69" y="8"/>
                  </a:lnTo>
                  <a:lnTo>
                    <a:pt x="88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8" name="Rectangle 1584"/>
            <p:cNvSpPr>
              <a:spLocks noChangeArrowheads="1"/>
            </p:cNvSpPr>
            <p:nvPr/>
          </p:nvSpPr>
          <p:spPr bwMode="auto">
            <a:xfrm>
              <a:off x="10323513" y="576263"/>
              <a:ext cx="34925" cy="15875"/>
            </a:xfrm>
            <a:prstGeom prst="rect">
              <a:avLst/>
            </a:prstGeom>
            <a:solidFill>
              <a:srgbClr val="0A234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9" name="Rectangle 1585"/>
            <p:cNvSpPr>
              <a:spLocks noChangeArrowheads="1"/>
            </p:cNvSpPr>
            <p:nvPr/>
          </p:nvSpPr>
          <p:spPr bwMode="auto">
            <a:xfrm>
              <a:off x="10021888" y="576263"/>
              <a:ext cx="34925" cy="15875"/>
            </a:xfrm>
            <a:prstGeom prst="rect">
              <a:avLst/>
            </a:prstGeom>
            <a:solidFill>
              <a:srgbClr val="0A234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0" name="Freeform 1586"/>
            <p:cNvSpPr>
              <a:spLocks/>
            </p:cNvSpPr>
            <p:nvPr/>
          </p:nvSpPr>
          <p:spPr bwMode="auto">
            <a:xfrm>
              <a:off x="9853613" y="1574800"/>
              <a:ext cx="95250" cy="333375"/>
            </a:xfrm>
            <a:custGeom>
              <a:avLst/>
              <a:gdLst>
                <a:gd name="T0" fmla="*/ 27 w 60"/>
                <a:gd name="T1" fmla="*/ 0 h 210"/>
                <a:gd name="T2" fmla="*/ 34 w 60"/>
                <a:gd name="T3" fmla="*/ 0 h 210"/>
                <a:gd name="T4" fmla="*/ 41 w 60"/>
                <a:gd name="T5" fmla="*/ 5 h 210"/>
                <a:gd name="T6" fmla="*/ 42 w 60"/>
                <a:gd name="T7" fmla="*/ 14 h 210"/>
                <a:gd name="T8" fmla="*/ 41 w 60"/>
                <a:gd name="T9" fmla="*/ 29 h 210"/>
                <a:gd name="T10" fmla="*/ 38 w 60"/>
                <a:gd name="T11" fmla="*/ 47 h 210"/>
                <a:gd name="T12" fmla="*/ 36 w 60"/>
                <a:gd name="T13" fmla="*/ 65 h 210"/>
                <a:gd name="T14" fmla="*/ 37 w 60"/>
                <a:gd name="T15" fmla="*/ 82 h 210"/>
                <a:gd name="T16" fmla="*/ 45 w 60"/>
                <a:gd name="T17" fmla="*/ 97 h 210"/>
                <a:gd name="T18" fmla="*/ 48 w 60"/>
                <a:gd name="T19" fmla="*/ 107 h 210"/>
                <a:gd name="T20" fmla="*/ 51 w 60"/>
                <a:gd name="T21" fmla="*/ 120 h 210"/>
                <a:gd name="T22" fmla="*/ 51 w 60"/>
                <a:gd name="T23" fmla="*/ 133 h 210"/>
                <a:gd name="T24" fmla="*/ 52 w 60"/>
                <a:gd name="T25" fmla="*/ 143 h 210"/>
                <a:gd name="T26" fmla="*/ 54 w 60"/>
                <a:gd name="T27" fmla="*/ 152 h 210"/>
                <a:gd name="T28" fmla="*/ 56 w 60"/>
                <a:gd name="T29" fmla="*/ 161 h 210"/>
                <a:gd name="T30" fmla="*/ 59 w 60"/>
                <a:gd name="T31" fmla="*/ 170 h 210"/>
                <a:gd name="T32" fmla="*/ 60 w 60"/>
                <a:gd name="T33" fmla="*/ 178 h 210"/>
                <a:gd name="T34" fmla="*/ 59 w 60"/>
                <a:gd name="T35" fmla="*/ 181 h 210"/>
                <a:gd name="T36" fmla="*/ 54 w 60"/>
                <a:gd name="T37" fmla="*/ 179 h 210"/>
                <a:gd name="T38" fmla="*/ 48 w 60"/>
                <a:gd name="T39" fmla="*/ 174 h 210"/>
                <a:gd name="T40" fmla="*/ 43 w 60"/>
                <a:gd name="T41" fmla="*/ 165 h 210"/>
                <a:gd name="T42" fmla="*/ 37 w 60"/>
                <a:gd name="T43" fmla="*/ 156 h 210"/>
                <a:gd name="T44" fmla="*/ 32 w 60"/>
                <a:gd name="T45" fmla="*/ 151 h 210"/>
                <a:gd name="T46" fmla="*/ 25 w 60"/>
                <a:gd name="T47" fmla="*/ 150 h 210"/>
                <a:gd name="T48" fmla="*/ 24 w 60"/>
                <a:gd name="T49" fmla="*/ 154 h 210"/>
                <a:gd name="T50" fmla="*/ 25 w 60"/>
                <a:gd name="T51" fmla="*/ 164 h 210"/>
                <a:gd name="T52" fmla="*/ 29 w 60"/>
                <a:gd name="T53" fmla="*/ 175 h 210"/>
                <a:gd name="T54" fmla="*/ 36 w 60"/>
                <a:gd name="T55" fmla="*/ 186 h 210"/>
                <a:gd name="T56" fmla="*/ 39 w 60"/>
                <a:gd name="T57" fmla="*/ 190 h 210"/>
                <a:gd name="T58" fmla="*/ 45 w 60"/>
                <a:gd name="T59" fmla="*/ 193 h 210"/>
                <a:gd name="T60" fmla="*/ 48 w 60"/>
                <a:gd name="T61" fmla="*/ 196 h 210"/>
                <a:gd name="T62" fmla="*/ 52 w 60"/>
                <a:gd name="T63" fmla="*/ 197 h 210"/>
                <a:gd name="T64" fmla="*/ 56 w 60"/>
                <a:gd name="T65" fmla="*/ 200 h 210"/>
                <a:gd name="T66" fmla="*/ 59 w 60"/>
                <a:gd name="T67" fmla="*/ 204 h 210"/>
                <a:gd name="T68" fmla="*/ 60 w 60"/>
                <a:gd name="T69" fmla="*/ 206 h 210"/>
                <a:gd name="T70" fmla="*/ 60 w 60"/>
                <a:gd name="T71" fmla="*/ 208 h 210"/>
                <a:gd name="T72" fmla="*/ 59 w 60"/>
                <a:gd name="T73" fmla="*/ 209 h 210"/>
                <a:gd name="T74" fmla="*/ 56 w 60"/>
                <a:gd name="T75" fmla="*/ 210 h 210"/>
                <a:gd name="T76" fmla="*/ 52 w 60"/>
                <a:gd name="T77" fmla="*/ 210 h 210"/>
                <a:gd name="T78" fmla="*/ 47 w 60"/>
                <a:gd name="T79" fmla="*/ 209 h 210"/>
                <a:gd name="T80" fmla="*/ 38 w 60"/>
                <a:gd name="T81" fmla="*/ 206 h 210"/>
                <a:gd name="T82" fmla="*/ 29 w 60"/>
                <a:gd name="T83" fmla="*/ 201 h 210"/>
                <a:gd name="T84" fmla="*/ 20 w 60"/>
                <a:gd name="T85" fmla="*/ 195 h 210"/>
                <a:gd name="T86" fmla="*/ 13 w 60"/>
                <a:gd name="T87" fmla="*/ 184 h 210"/>
                <a:gd name="T88" fmla="*/ 7 w 60"/>
                <a:gd name="T89" fmla="*/ 172 h 210"/>
                <a:gd name="T90" fmla="*/ 4 w 60"/>
                <a:gd name="T91" fmla="*/ 160 h 210"/>
                <a:gd name="T92" fmla="*/ 0 w 60"/>
                <a:gd name="T93" fmla="*/ 146 h 210"/>
                <a:gd name="T94" fmla="*/ 0 w 60"/>
                <a:gd name="T95" fmla="*/ 129 h 210"/>
                <a:gd name="T96" fmla="*/ 0 w 60"/>
                <a:gd name="T97" fmla="*/ 110 h 210"/>
                <a:gd name="T98" fmla="*/ 1 w 60"/>
                <a:gd name="T99" fmla="*/ 90 h 210"/>
                <a:gd name="T100" fmla="*/ 2 w 60"/>
                <a:gd name="T101" fmla="*/ 69 h 210"/>
                <a:gd name="T102" fmla="*/ 2 w 60"/>
                <a:gd name="T103" fmla="*/ 50 h 210"/>
                <a:gd name="T104" fmla="*/ 2 w 60"/>
                <a:gd name="T105" fmla="*/ 32 h 210"/>
                <a:gd name="T106" fmla="*/ 4 w 60"/>
                <a:gd name="T107" fmla="*/ 19 h 210"/>
                <a:gd name="T108" fmla="*/ 9 w 60"/>
                <a:gd name="T109" fmla="*/ 10 h 210"/>
                <a:gd name="T110" fmla="*/ 18 w 60"/>
                <a:gd name="T111" fmla="*/ 2 h 210"/>
                <a:gd name="T112" fmla="*/ 27 w 60"/>
                <a:gd name="T1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210">
                  <a:moveTo>
                    <a:pt x="27" y="0"/>
                  </a:moveTo>
                  <a:lnTo>
                    <a:pt x="34" y="0"/>
                  </a:lnTo>
                  <a:lnTo>
                    <a:pt x="41" y="5"/>
                  </a:lnTo>
                  <a:lnTo>
                    <a:pt x="42" y="14"/>
                  </a:lnTo>
                  <a:lnTo>
                    <a:pt x="41" y="29"/>
                  </a:lnTo>
                  <a:lnTo>
                    <a:pt x="38" y="47"/>
                  </a:lnTo>
                  <a:lnTo>
                    <a:pt x="36" y="65"/>
                  </a:lnTo>
                  <a:lnTo>
                    <a:pt x="37" y="82"/>
                  </a:lnTo>
                  <a:lnTo>
                    <a:pt x="45" y="97"/>
                  </a:lnTo>
                  <a:lnTo>
                    <a:pt x="48" y="107"/>
                  </a:lnTo>
                  <a:lnTo>
                    <a:pt x="51" y="120"/>
                  </a:lnTo>
                  <a:lnTo>
                    <a:pt x="51" y="133"/>
                  </a:lnTo>
                  <a:lnTo>
                    <a:pt x="52" y="143"/>
                  </a:lnTo>
                  <a:lnTo>
                    <a:pt x="54" y="152"/>
                  </a:lnTo>
                  <a:lnTo>
                    <a:pt x="56" y="161"/>
                  </a:lnTo>
                  <a:lnTo>
                    <a:pt x="59" y="170"/>
                  </a:lnTo>
                  <a:lnTo>
                    <a:pt x="60" y="178"/>
                  </a:lnTo>
                  <a:lnTo>
                    <a:pt x="59" y="181"/>
                  </a:lnTo>
                  <a:lnTo>
                    <a:pt x="54" y="179"/>
                  </a:lnTo>
                  <a:lnTo>
                    <a:pt x="48" y="174"/>
                  </a:lnTo>
                  <a:lnTo>
                    <a:pt x="43" y="165"/>
                  </a:lnTo>
                  <a:lnTo>
                    <a:pt x="37" y="156"/>
                  </a:lnTo>
                  <a:lnTo>
                    <a:pt x="32" y="151"/>
                  </a:lnTo>
                  <a:lnTo>
                    <a:pt x="25" y="150"/>
                  </a:lnTo>
                  <a:lnTo>
                    <a:pt x="24" y="154"/>
                  </a:lnTo>
                  <a:lnTo>
                    <a:pt x="25" y="164"/>
                  </a:lnTo>
                  <a:lnTo>
                    <a:pt x="29" y="175"/>
                  </a:lnTo>
                  <a:lnTo>
                    <a:pt x="36" y="186"/>
                  </a:lnTo>
                  <a:lnTo>
                    <a:pt x="39" y="190"/>
                  </a:lnTo>
                  <a:lnTo>
                    <a:pt x="45" y="193"/>
                  </a:lnTo>
                  <a:lnTo>
                    <a:pt x="48" y="196"/>
                  </a:lnTo>
                  <a:lnTo>
                    <a:pt x="52" y="197"/>
                  </a:lnTo>
                  <a:lnTo>
                    <a:pt x="56" y="200"/>
                  </a:lnTo>
                  <a:lnTo>
                    <a:pt x="59" y="204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59" y="209"/>
                  </a:lnTo>
                  <a:lnTo>
                    <a:pt x="56" y="210"/>
                  </a:lnTo>
                  <a:lnTo>
                    <a:pt x="52" y="210"/>
                  </a:lnTo>
                  <a:lnTo>
                    <a:pt x="47" y="209"/>
                  </a:lnTo>
                  <a:lnTo>
                    <a:pt x="38" y="206"/>
                  </a:lnTo>
                  <a:lnTo>
                    <a:pt x="29" y="201"/>
                  </a:lnTo>
                  <a:lnTo>
                    <a:pt x="20" y="195"/>
                  </a:lnTo>
                  <a:lnTo>
                    <a:pt x="13" y="184"/>
                  </a:lnTo>
                  <a:lnTo>
                    <a:pt x="7" y="172"/>
                  </a:lnTo>
                  <a:lnTo>
                    <a:pt x="4" y="160"/>
                  </a:lnTo>
                  <a:lnTo>
                    <a:pt x="0" y="146"/>
                  </a:lnTo>
                  <a:lnTo>
                    <a:pt x="0" y="129"/>
                  </a:lnTo>
                  <a:lnTo>
                    <a:pt x="0" y="110"/>
                  </a:lnTo>
                  <a:lnTo>
                    <a:pt x="1" y="90"/>
                  </a:lnTo>
                  <a:lnTo>
                    <a:pt x="2" y="69"/>
                  </a:lnTo>
                  <a:lnTo>
                    <a:pt x="2" y="50"/>
                  </a:lnTo>
                  <a:lnTo>
                    <a:pt x="2" y="32"/>
                  </a:lnTo>
                  <a:lnTo>
                    <a:pt x="4" y="19"/>
                  </a:lnTo>
                  <a:lnTo>
                    <a:pt x="9" y="10"/>
                  </a:lnTo>
                  <a:lnTo>
                    <a:pt x="18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1" name="Freeform 1587"/>
            <p:cNvSpPr>
              <a:spLocks/>
            </p:cNvSpPr>
            <p:nvPr/>
          </p:nvSpPr>
          <p:spPr bwMode="auto">
            <a:xfrm>
              <a:off x="9920288" y="893763"/>
              <a:ext cx="539750" cy="774700"/>
            </a:xfrm>
            <a:custGeom>
              <a:avLst/>
              <a:gdLst>
                <a:gd name="T0" fmla="*/ 86 w 340"/>
                <a:gd name="T1" fmla="*/ 0 h 488"/>
                <a:gd name="T2" fmla="*/ 108 w 340"/>
                <a:gd name="T3" fmla="*/ 18 h 488"/>
                <a:gd name="T4" fmla="*/ 132 w 340"/>
                <a:gd name="T5" fmla="*/ 30 h 488"/>
                <a:gd name="T6" fmla="*/ 158 w 340"/>
                <a:gd name="T7" fmla="*/ 35 h 488"/>
                <a:gd name="T8" fmla="*/ 184 w 340"/>
                <a:gd name="T9" fmla="*/ 34 h 488"/>
                <a:gd name="T10" fmla="*/ 208 w 340"/>
                <a:gd name="T11" fmla="*/ 27 h 488"/>
                <a:gd name="T12" fmla="*/ 232 w 340"/>
                <a:gd name="T13" fmla="*/ 17 h 488"/>
                <a:gd name="T14" fmla="*/ 255 w 340"/>
                <a:gd name="T15" fmla="*/ 1 h 488"/>
                <a:gd name="T16" fmla="*/ 278 w 340"/>
                <a:gd name="T17" fmla="*/ 8 h 488"/>
                <a:gd name="T18" fmla="*/ 299 w 340"/>
                <a:gd name="T19" fmla="*/ 16 h 488"/>
                <a:gd name="T20" fmla="*/ 316 w 340"/>
                <a:gd name="T21" fmla="*/ 26 h 488"/>
                <a:gd name="T22" fmla="*/ 329 w 340"/>
                <a:gd name="T23" fmla="*/ 37 h 488"/>
                <a:gd name="T24" fmla="*/ 338 w 340"/>
                <a:gd name="T25" fmla="*/ 50 h 488"/>
                <a:gd name="T26" fmla="*/ 340 w 340"/>
                <a:gd name="T27" fmla="*/ 64 h 488"/>
                <a:gd name="T28" fmla="*/ 339 w 340"/>
                <a:gd name="T29" fmla="*/ 80 h 488"/>
                <a:gd name="T30" fmla="*/ 329 w 340"/>
                <a:gd name="T31" fmla="*/ 111 h 488"/>
                <a:gd name="T32" fmla="*/ 320 w 340"/>
                <a:gd name="T33" fmla="*/ 146 h 488"/>
                <a:gd name="T34" fmla="*/ 312 w 340"/>
                <a:gd name="T35" fmla="*/ 187 h 488"/>
                <a:gd name="T36" fmla="*/ 304 w 340"/>
                <a:gd name="T37" fmla="*/ 232 h 488"/>
                <a:gd name="T38" fmla="*/ 299 w 340"/>
                <a:gd name="T39" fmla="*/ 280 h 488"/>
                <a:gd name="T40" fmla="*/ 296 w 340"/>
                <a:gd name="T41" fmla="*/ 329 h 488"/>
                <a:gd name="T42" fmla="*/ 296 w 340"/>
                <a:gd name="T43" fmla="*/ 377 h 488"/>
                <a:gd name="T44" fmla="*/ 302 w 340"/>
                <a:gd name="T45" fmla="*/ 426 h 488"/>
                <a:gd name="T46" fmla="*/ 311 w 340"/>
                <a:gd name="T47" fmla="*/ 472 h 488"/>
                <a:gd name="T48" fmla="*/ 266 w 340"/>
                <a:gd name="T49" fmla="*/ 480 h 488"/>
                <a:gd name="T50" fmla="*/ 219 w 340"/>
                <a:gd name="T51" fmla="*/ 485 h 488"/>
                <a:gd name="T52" fmla="*/ 171 w 340"/>
                <a:gd name="T53" fmla="*/ 488 h 488"/>
                <a:gd name="T54" fmla="*/ 121 w 340"/>
                <a:gd name="T55" fmla="*/ 485 h 488"/>
                <a:gd name="T56" fmla="*/ 72 w 340"/>
                <a:gd name="T57" fmla="*/ 480 h 488"/>
                <a:gd name="T58" fmla="*/ 26 w 340"/>
                <a:gd name="T59" fmla="*/ 471 h 488"/>
                <a:gd name="T60" fmla="*/ 33 w 340"/>
                <a:gd name="T61" fmla="*/ 427 h 488"/>
                <a:gd name="T62" fmla="*/ 39 w 340"/>
                <a:gd name="T63" fmla="*/ 381 h 488"/>
                <a:gd name="T64" fmla="*/ 40 w 340"/>
                <a:gd name="T65" fmla="*/ 334 h 488"/>
                <a:gd name="T66" fmla="*/ 39 w 340"/>
                <a:gd name="T67" fmla="*/ 285 h 488"/>
                <a:gd name="T68" fmla="*/ 33 w 340"/>
                <a:gd name="T69" fmla="*/ 238 h 488"/>
                <a:gd name="T70" fmla="*/ 28 w 340"/>
                <a:gd name="T71" fmla="*/ 193 h 488"/>
                <a:gd name="T72" fmla="*/ 21 w 340"/>
                <a:gd name="T73" fmla="*/ 150 h 488"/>
                <a:gd name="T74" fmla="*/ 12 w 340"/>
                <a:gd name="T75" fmla="*/ 114 h 488"/>
                <a:gd name="T76" fmla="*/ 3 w 340"/>
                <a:gd name="T77" fmla="*/ 84 h 488"/>
                <a:gd name="T78" fmla="*/ 0 w 340"/>
                <a:gd name="T79" fmla="*/ 66 h 488"/>
                <a:gd name="T80" fmla="*/ 4 w 340"/>
                <a:gd name="T81" fmla="*/ 50 h 488"/>
                <a:gd name="T82" fmla="*/ 12 w 340"/>
                <a:gd name="T83" fmla="*/ 36 h 488"/>
                <a:gd name="T84" fmla="*/ 24 w 340"/>
                <a:gd name="T85" fmla="*/ 25 h 488"/>
                <a:gd name="T86" fmla="*/ 42 w 340"/>
                <a:gd name="T87" fmla="*/ 14 h 488"/>
                <a:gd name="T88" fmla="*/ 63 w 340"/>
                <a:gd name="T89" fmla="*/ 7 h 488"/>
                <a:gd name="T90" fmla="*/ 86 w 340"/>
                <a:gd name="T91" fmla="*/ 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0" h="488">
                  <a:moveTo>
                    <a:pt x="86" y="0"/>
                  </a:moveTo>
                  <a:lnTo>
                    <a:pt x="108" y="18"/>
                  </a:lnTo>
                  <a:lnTo>
                    <a:pt x="132" y="30"/>
                  </a:lnTo>
                  <a:lnTo>
                    <a:pt x="158" y="35"/>
                  </a:lnTo>
                  <a:lnTo>
                    <a:pt x="184" y="34"/>
                  </a:lnTo>
                  <a:lnTo>
                    <a:pt x="208" y="27"/>
                  </a:lnTo>
                  <a:lnTo>
                    <a:pt x="232" y="17"/>
                  </a:lnTo>
                  <a:lnTo>
                    <a:pt x="255" y="1"/>
                  </a:lnTo>
                  <a:lnTo>
                    <a:pt x="278" y="8"/>
                  </a:lnTo>
                  <a:lnTo>
                    <a:pt x="299" y="16"/>
                  </a:lnTo>
                  <a:lnTo>
                    <a:pt x="316" y="26"/>
                  </a:lnTo>
                  <a:lnTo>
                    <a:pt x="329" y="37"/>
                  </a:lnTo>
                  <a:lnTo>
                    <a:pt x="338" y="50"/>
                  </a:lnTo>
                  <a:lnTo>
                    <a:pt x="340" y="64"/>
                  </a:lnTo>
                  <a:lnTo>
                    <a:pt x="339" y="80"/>
                  </a:lnTo>
                  <a:lnTo>
                    <a:pt x="329" y="111"/>
                  </a:lnTo>
                  <a:lnTo>
                    <a:pt x="320" y="146"/>
                  </a:lnTo>
                  <a:lnTo>
                    <a:pt x="312" y="187"/>
                  </a:lnTo>
                  <a:lnTo>
                    <a:pt x="304" y="232"/>
                  </a:lnTo>
                  <a:lnTo>
                    <a:pt x="299" y="280"/>
                  </a:lnTo>
                  <a:lnTo>
                    <a:pt x="296" y="329"/>
                  </a:lnTo>
                  <a:lnTo>
                    <a:pt x="296" y="377"/>
                  </a:lnTo>
                  <a:lnTo>
                    <a:pt x="302" y="426"/>
                  </a:lnTo>
                  <a:lnTo>
                    <a:pt x="311" y="472"/>
                  </a:lnTo>
                  <a:lnTo>
                    <a:pt x="266" y="480"/>
                  </a:lnTo>
                  <a:lnTo>
                    <a:pt x="219" y="485"/>
                  </a:lnTo>
                  <a:lnTo>
                    <a:pt x="171" y="488"/>
                  </a:lnTo>
                  <a:lnTo>
                    <a:pt x="121" y="485"/>
                  </a:lnTo>
                  <a:lnTo>
                    <a:pt x="72" y="480"/>
                  </a:lnTo>
                  <a:lnTo>
                    <a:pt x="26" y="471"/>
                  </a:lnTo>
                  <a:lnTo>
                    <a:pt x="33" y="427"/>
                  </a:lnTo>
                  <a:lnTo>
                    <a:pt x="39" y="381"/>
                  </a:lnTo>
                  <a:lnTo>
                    <a:pt x="40" y="334"/>
                  </a:lnTo>
                  <a:lnTo>
                    <a:pt x="39" y="285"/>
                  </a:lnTo>
                  <a:lnTo>
                    <a:pt x="33" y="238"/>
                  </a:lnTo>
                  <a:lnTo>
                    <a:pt x="28" y="193"/>
                  </a:lnTo>
                  <a:lnTo>
                    <a:pt x="21" y="150"/>
                  </a:lnTo>
                  <a:lnTo>
                    <a:pt x="12" y="114"/>
                  </a:lnTo>
                  <a:lnTo>
                    <a:pt x="3" y="84"/>
                  </a:lnTo>
                  <a:lnTo>
                    <a:pt x="0" y="66"/>
                  </a:lnTo>
                  <a:lnTo>
                    <a:pt x="4" y="50"/>
                  </a:lnTo>
                  <a:lnTo>
                    <a:pt x="12" y="36"/>
                  </a:lnTo>
                  <a:lnTo>
                    <a:pt x="24" y="25"/>
                  </a:lnTo>
                  <a:lnTo>
                    <a:pt x="42" y="14"/>
                  </a:lnTo>
                  <a:lnTo>
                    <a:pt x="63" y="7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2" name="Freeform 1588"/>
            <p:cNvSpPr>
              <a:spLocks noEditPoints="1"/>
            </p:cNvSpPr>
            <p:nvPr/>
          </p:nvSpPr>
          <p:spPr bwMode="auto">
            <a:xfrm>
              <a:off x="9920288" y="1003300"/>
              <a:ext cx="539750" cy="595313"/>
            </a:xfrm>
            <a:custGeom>
              <a:avLst/>
              <a:gdLst>
                <a:gd name="T0" fmla="*/ 303 w 340"/>
                <a:gd name="T1" fmla="*/ 367 h 375"/>
                <a:gd name="T2" fmla="*/ 181 w 340"/>
                <a:gd name="T3" fmla="*/ 375 h 375"/>
                <a:gd name="T4" fmla="*/ 77 w 340"/>
                <a:gd name="T5" fmla="*/ 373 h 375"/>
                <a:gd name="T6" fmla="*/ 35 w 340"/>
                <a:gd name="T7" fmla="*/ 351 h 375"/>
                <a:gd name="T8" fmla="*/ 126 w 340"/>
                <a:gd name="T9" fmla="*/ 357 h 375"/>
                <a:gd name="T10" fmla="*/ 239 w 340"/>
                <a:gd name="T11" fmla="*/ 356 h 375"/>
                <a:gd name="T12" fmla="*/ 296 w 340"/>
                <a:gd name="T13" fmla="*/ 294 h 375"/>
                <a:gd name="T14" fmla="*/ 236 w 340"/>
                <a:gd name="T15" fmla="*/ 315 h 375"/>
                <a:gd name="T16" fmla="*/ 126 w 340"/>
                <a:gd name="T17" fmla="*/ 316 h 375"/>
                <a:gd name="T18" fmla="*/ 39 w 340"/>
                <a:gd name="T19" fmla="*/ 311 h 375"/>
                <a:gd name="T20" fmla="*/ 81 w 340"/>
                <a:gd name="T21" fmla="*/ 298 h 375"/>
                <a:gd name="T22" fmla="*/ 178 w 340"/>
                <a:gd name="T23" fmla="*/ 301 h 375"/>
                <a:gd name="T24" fmla="*/ 296 w 340"/>
                <a:gd name="T25" fmla="*/ 294 h 375"/>
                <a:gd name="T26" fmla="*/ 296 w 340"/>
                <a:gd name="T27" fmla="*/ 253 h 375"/>
                <a:gd name="T28" fmla="*/ 178 w 340"/>
                <a:gd name="T29" fmla="*/ 260 h 375"/>
                <a:gd name="T30" fmla="*/ 81 w 340"/>
                <a:gd name="T31" fmla="*/ 257 h 375"/>
                <a:gd name="T32" fmla="*/ 40 w 340"/>
                <a:gd name="T33" fmla="*/ 237 h 375"/>
                <a:gd name="T34" fmla="*/ 126 w 340"/>
                <a:gd name="T35" fmla="*/ 242 h 375"/>
                <a:gd name="T36" fmla="*/ 236 w 340"/>
                <a:gd name="T37" fmla="*/ 240 h 375"/>
                <a:gd name="T38" fmla="*/ 302 w 340"/>
                <a:gd name="T39" fmla="*/ 178 h 375"/>
                <a:gd name="T40" fmla="*/ 237 w 340"/>
                <a:gd name="T41" fmla="*/ 199 h 375"/>
                <a:gd name="T42" fmla="*/ 126 w 340"/>
                <a:gd name="T43" fmla="*/ 201 h 375"/>
                <a:gd name="T44" fmla="*/ 37 w 340"/>
                <a:gd name="T45" fmla="*/ 195 h 375"/>
                <a:gd name="T46" fmla="*/ 78 w 340"/>
                <a:gd name="T47" fmla="*/ 181 h 375"/>
                <a:gd name="T48" fmla="*/ 181 w 340"/>
                <a:gd name="T49" fmla="*/ 185 h 375"/>
                <a:gd name="T50" fmla="*/ 302 w 340"/>
                <a:gd name="T51" fmla="*/ 178 h 375"/>
                <a:gd name="T52" fmla="*/ 308 w 340"/>
                <a:gd name="T53" fmla="*/ 136 h 375"/>
                <a:gd name="T54" fmla="*/ 182 w 340"/>
                <a:gd name="T55" fmla="*/ 144 h 375"/>
                <a:gd name="T56" fmla="*/ 76 w 340"/>
                <a:gd name="T57" fmla="*/ 140 h 375"/>
                <a:gd name="T58" fmla="*/ 27 w 340"/>
                <a:gd name="T59" fmla="*/ 120 h 375"/>
                <a:gd name="T60" fmla="*/ 126 w 340"/>
                <a:gd name="T61" fmla="*/ 126 h 375"/>
                <a:gd name="T62" fmla="*/ 245 w 340"/>
                <a:gd name="T63" fmla="*/ 125 h 375"/>
                <a:gd name="T64" fmla="*/ 325 w 340"/>
                <a:gd name="T65" fmla="*/ 59 h 375"/>
                <a:gd name="T66" fmla="*/ 250 w 340"/>
                <a:gd name="T67" fmla="*/ 84 h 375"/>
                <a:gd name="T68" fmla="*/ 126 w 340"/>
                <a:gd name="T69" fmla="*/ 85 h 375"/>
                <a:gd name="T70" fmla="*/ 19 w 340"/>
                <a:gd name="T71" fmla="*/ 77 h 375"/>
                <a:gd name="T72" fmla="*/ 68 w 340"/>
                <a:gd name="T73" fmla="*/ 66 h 375"/>
                <a:gd name="T74" fmla="*/ 187 w 340"/>
                <a:gd name="T75" fmla="*/ 68 h 375"/>
                <a:gd name="T76" fmla="*/ 325 w 340"/>
                <a:gd name="T77" fmla="*/ 59 h 375"/>
                <a:gd name="T78" fmla="*/ 340 w 340"/>
                <a:gd name="T79" fmla="*/ 6 h 375"/>
                <a:gd name="T80" fmla="*/ 336 w 340"/>
                <a:gd name="T81" fmla="*/ 17 h 375"/>
                <a:gd name="T82" fmla="*/ 225 w 340"/>
                <a:gd name="T83" fmla="*/ 27 h 375"/>
                <a:gd name="T84" fmla="*/ 126 w 340"/>
                <a:gd name="T85" fmla="*/ 27 h 375"/>
                <a:gd name="T86" fmla="*/ 4 w 340"/>
                <a:gd name="T87" fmla="*/ 18 h 375"/>
                <a:gd name="T88" fmla="*/ 1 w 340"/>
                <a:gd name="T89" fmla="*/ 8 h 375"/>
                <a:gd name="T90" fmla="*/ 60 w 340"/>
                <a:gd name="T91" fmla="*/ 7 h 375"/>
                <a:gd name="T92" fmla="*/ 175 w 340"/>
                <a:gd name="T93" fmla="*/ 12 h 375"/>
                <a:gd name="T94" fmla="*/ 282 w 340"/>
                <a:gd name="T95" fmla="*/ 6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375">
                  <a:moveTo>
                    <a:pt x="300" y="351"/>
                  </a:moveTo>
                  <a:lnTo>
                    <a:pt x="303" y="367"/>
                  </a:lnTo>
                  <a:lnTo>
                    <a:pt x="240" y="373"/>
                  </a:lnTo>
                  <a:lnTo>
                    <a:pt x="181" y="375"/>
                  </a:lnTo>
                  <a:lnTo>
                    <a:pt x="126" y="374"/>
                  </a:lnTo>
                  <a:lnTo>
                    <a:pt x="77" y="373"/>
                  </a:lnTo>
                  <a:lnTo>
                    <a:pt x="32" y="367"/>
                  </a:lnTo>
                  <a:lnTo>
                    <a:pt x="35" y="351"/>
                  </a:lnTo>
                  <a:lnTo>
                    <a:pt x="78" y="355"/>
                  </a:lnTo>
                  <a:lnTo>
                    <a:pt x="126" y="357"/>
                  </a:lnTo>
                  <a:lnTo>
                    <a:pt x="180" y="358"/>
                  </a:lnTo>
                  <a:lnTo>
                    <a:pt x="239" y="356"/>
                  </a:lnTo>
                  <a:lnTo>
                    <a:pt x="300" y="351"/>
                  </a:lnTo>
                  <a:close/>
                  <a:moveTo>
                    <a:pt x="296" y="294"/>
                  </a:moveTo>
                  <a:lnTo>
                    <a:pt x="296" y="311"/>
                  </a:lnTo>
                  <a:lnTo>
                    <a:pt x="236" y="315"/>
                  </a:lnTo>
                  <a:lnTo>
                    <a:pt x="178" y="317"/>
                  </a:lnTo>
                  <a:lnTo>
                    <a:pt x="126" y="316"/>
                  </a:lnTo>
                  <a:lnTo>
                    <a:pt x="81" y="315"/>
                  </a:lnTo>
                  <a:lnTo>
                    <a:pt x="39" y="311"/>
                  </a:lnTo>
                  <a:lnTo>
                    <a:pt x="40" y="294"/>
                  </a:lnTo>
                  <a:lnTo>
                    <a:pt x="81" y="298"/>
                  </a:lnTo>
                  <a:lnTo>
                    <a:pt x="126" y="299"/>
                  </a:lnTo>
                  <a:lnTo>
                    <a:pt x="178" y="301"/>
                  </a:lnTo>
                  <a:lnTo>
                    <a:pt x="235" y="298"/>
                  </a:lnTo>
                  <a:lnTo>
                    <a:pt x="296" y="294"/>
                  </a:lnTo>
                  <a:close/>
                  <a:moveTo>
                    <a:pt x="296" y="235"/>
                  </a:moveTo>
                  <a:lnTo>
                    <a:pt x="296" y="253"/>
                  </a:lnTo>
                  <a:lnTo>
                    <a:pt x="235" y="257"/>
                  </a:lnTo>
                  <a:lnTo>
                    <a:pt x="178" y="260"/>
                  </a:lnTo>
                  <a:lnTo>
                    <a:pt x="126" y="258"/>
                  </a:lnTo>
                  <a:lnTo>
                    <a:pt x="81" y="257"/>
                  </a:lnTo>
                  <a:lnTo>
                    <a:pt x="40" y="253"/>
                  </a:lnTo>
                  <a:lnTo>
                    <a:pt x="40" y="237"/>
                  </a:lnTo>
                  <a:lnTo>
                    <a:pt x="81" y="240"/>
                  </a:lnTo>
                  <a:lnTo>
                    <a:pt x="126" y="242"/>
                  </a:lnTo>
                  <a:lnTo>
                    <a:pt x="178" y="243"/>
                  </a:lnTo>
                  <a:lnTo>
                    <a:pt x="236" y="240"/>
                  </a:lnTo>
                  <a:lnTo>
                    <a:pt x="296" y="235"/>
                  </a:lnTo>
                  <a:close/>
                  <a:moveTo>
                    <a:pt x="302" y="178"/>
                  </a:moveTo>
                  <a:lnTo>
                    <a:pt x="300" y="194"/>
                  </a:lnTo>
                  <a:lnTo>
                    <a:pt x="237" y="199"/>
                  </a:lnTo>
                  <a:lnTo>
                    <a:pt x="180" y="202"/>
                  </a:lnTo>
                  <a:lnTo>
                    <a:pt x="126" y="201"/>
                  </a:lnTo>
                  <a:lnTo>
                    <a:pt x="80" y="199"/>
                  </a:lnTo>
                  <a:lnTo>
                    <a:pt x="37" y="195"/>
                  </a:lnTo>
                  <a:lnTo>
                    <a:pt x="35" y="178"/>
                  </a:lnTo>
                  <a:lnTo>
                    <a:pt x="78" y="181"/>
                  </a:lnTo>
                  <a:lnTo>
                    <a:pt x="126" y="184"/>
                  </a:lnTo>
                  <a:lnTo>
                    <a:pt x="181" y="185"/>
                  </a:lnTo>
                  <a:lnTo>
                    <a:pt x="239" y="183"/>
                  </a:lnTo>
                  <a:lnTo>
                    <a:pt x="302" y="178"/>
                  </a:lnTo>
                  <a:close/>
                  <a:moveTo>
                    <a:pt x="312" y="118"/>
                  </a:moveTo>
                  <a:lnTo>
                    <a:pt x="308" y="136"/>
                  </a:lnTo>
                  <a:lnTo>
                    <a:pt x="243" y="142"/>
                  </a:lnTo>
                  <a:lnTo>
                    <a:pt x="182" y="144"/>
                  </a:lnTo>
                  <a:lnTo>
                    <a:pt x="126" y="143"/>
                  </a:lnTo>
                  <a:lnTo>
                    <a:pt x="76" y="140"/>
                  </a:lnTo>
                  <a:lnTo>
                    <a:pt x="30" y="136"/>
                  </a:lnTo>
                  <a:lnTo>
                    <a:pt x="27" y="120"/>
                  </a:lnTo>
                  <a:lnTo>
                    <a:pt x="74" y="124"/>
                  </a:lnTo>
                  <a:lnTo>
                    <a:pt x="126" y="126"/>
                  </a:lnTo>
                  <a:lnTo>
                    <a:pt x="184" y="127"/>
                  </a:lnTo>
                  <a:lnTo>
                    <a:pt x="245" y="125"/>
                  </a:lnTo>
                  <a:lnTo>
                    <a:pt x="312" y="118"/>
                  </a:lnTo>
                  <a:close/>
                  <a:moveTo>
                    <a:pt x="325" y="59"/>
                  </a:moveTo>
                  <a:lnTo>
                    <a:pt x="320" y="77"/>
                  </a:lnTo>
                  <a:lnTo>
                    <a:pt x="250" y="84"/>
                  </a:lnTo>
                  <a:lnTo>
                    <a:pt x="186" y="86"/>
                  </a:lnTo>
                  <a:lnTo>
                    <a:pt x="126" y="85"/>
                  </a:lnTo>
                  <a:lnTo>
                    <a:pt x="71" y="83"/>
                  </a:lnTo>
                  <a:lnTo>
                    <a:pt x="19" y="77"/>
                  </a:lnTo>
                  <a:lnTo>
                    <a:pt x="15" y="61"/>
                  </a:lnTo>
                  <a:lnTo>
                    <a:pt x="68" y="66"/>
                  </a:lnTo>
                  <a:lnTo>
                    <a:pt x="126" y="68"/>
                  </a:lnTo>
                  <a:lnTo>
                    <a:pt x="187" y="68"/>
                  </a:lnTo>
                  <a:lnTo>
                    <a:pt x="253" y="66"/>
                  </a:lnTo>
                  <a:lnTo>
                    <a:pt x="325" y="59"/>
                  </a:lnTo>
                  <a:close/>
                  <a:moveTo>
                    <a:pt x="340" y="0"/>
                  </a:moveTo>
                  <a:lnTo>
                    <a:pt x="340" y="6"/>
                  </a:lnTo>
                  <a:lnTo>
                    <a:pt x="339" y="11"/>
                  </a:lnTo>
                  <a:lnTo>
                    <a:pt x="336" y="17"/>
                  </a:lnTo>
                  <a:lnTo>
                    <a:pt x="278" y="24"/>
                  </a:lnTo>
                  <a:lnTo>
                    <a:pt x="225" y="27"/>
                  </a:lnTo>
                  <a:lnTo>
                    <a:pt x="173" y="29"/>
                  </a:lnTo>
                  <a:lnTo>
                    <a:pt x="126" y="27"/>
                  </a:lnTo>
                  <a:lnTo>
                    <a:pt x="62" y="24"/>
                  </a:lnTo>
                  <a:lnTo>
                    <a:pt x="4" y="18"/>
                  </a:lnTo>
                  <a:lnTo>
                    <a:pt x="3" y="15"/>
                  </a:lnTo>
                  <a:lnTo>
                    <a:pt x="1" y="8"/>
                  </a:lnTo>
                  <a:lnTo>
                    <a:pt x="0" y="0"/>
                  </a:lnTo>
                  <a:lnTo>
                    <a:pt x="60" y="7"/>
                  </a:lnTo>
                  <a:lnTo>
                    <a:pt x="126" y="11"/>
                  </a:lnTo>
                  <a:lnTo>
                    <a:pt x="175" y="12"/>
                  </a:lnTo>
                  <a:lnTo>
                    <a:pt x="227" y="9"/>
                  </a:lnTo>
                  <a:lnTo>
                    <a:pt x="282" y="6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3" name="Freeform 1589"/>
            <p:cNvSpPr>
              <a:spLocks/>
            </p:cNvSpPr>
            <p:nvPr/>
          </p:nvSpPr>
          <p:spPr bwMode="auto">
            <a:xfrm>
              <a:off x="10272713" y="881063"/>
              <a:ext cx="209550" cy="911225"/>
            </a:xfrm>
            <a:custGeom>
              <a:avLst/>
              <a:gdLst>
                <a:gd name="T0" fmla="*/ 0 w 132"/>
                <a:gd name="T1" fmla="*/ 0 h 574"/>
                <a:gd name="T2" fmla="*/ 30 w 132"/>
                <a:gd name="T3" fmla="*/ 3 h 574"/>
                <a:gd name="T4" fmla="*/ 58 w 132"/>
                <a:gd name="T5" fmla="*/ 9 h 574"/>
                <a:gd name="T6" fmla="*/ 83 w 132"/>
                <a:gd name="T7" fmla="*/ 20 h 574"/>
                <a:gd name="T8" fmla="*/ 105 w 132"/>
                <a:gd name="T9" fmla="*/ 33 h 574"/>
                <a:gd name="T10" fmla="*/ 122 w 132"/>
                <a:gd name="T11" fmla="*/ 48 h 574"/>
                <a:gd name="T12" fmla="*/ 132 w 132"/>
                <a:gd name="T13" fmla="*/ 65 h 574"/>
                <a:gd name="T14" fmla="*/ 127 w 132"/>
                <a:gd name="T15" fmla="*/ 71 h 574"/>
                <a:gd name="T16" fmla="*/ 121 w 132"/>
                <a:gd name="T17" fmla="*/ 83 h 574"/>
                <a:gd name="T18" fmla="*/ 113 w 132"/>
                <a:gd name="T19" fmla="*/ 98 h 574"/>
                <a:gd name="T20" fmla="*/ 107 w 132"/>
                <a:gd name="T21" fmla="*/ 117 h 574"/>
                <a:gd name="T22" fmla="*/ 99 w 132"/>
                <a:gd name="T23" fmla="*/ 139 h 574"/>
                <a:gd name="T24" fmla="*/ 95 w 132"/>
                <a:gd name="T25" fmla="*/ 162 h 574"/>
                <a:gd name="T26" fmla="*/ 92 w 132"/>
                <a:gd name="T27" fmla="*/ 184 h 574"/>
                <a:gd name="T28" fmla="*/ 94 w 132"/>
                <a:gd name="T29" fmla="*/ 206 h 574"/>
                <a:gd name="T30" fmla="*/ 96 w 132"/>
                <a:gd name="T31" fmla="*/ 233 h 574"/>
                <a:gd name="T32" fmla="*/ 98 w 132"/>
                <a:gd name="T33" fmla="*/ 265 h 574"/>
                <a:gd name="T34" fmla="*/ 99 w 132"/>
                <a:gd name="T35" fmla="*/ 301 h 574"/>
                <a:gd name="T36" fmla="*/ 100 w 132"/>
                <a:gd name="T37" fmla="*/ 339 h 574"/>
                <a:gd name="T38" fmla="*/ 101 w 132"/>
                <a:gd name="T39" fmla="*/ 378 h 574"/>
                <a:gd name="T40" fmla="*/ 104 w 132"/>
                <a:gd name="T41" fmla="*/ 414 h 574"/>
                <a:gd name="T42" fmla="*/ 110 w 132"/>
                <a:gd name="T43" fmla="*/ 447 h 574"/>
                <a:gd name="T44" fmla="*/ 113 w 132"/>
                <a:gd name="T45" fmla="*/ 473 h 574"/>
                <a:gd name="T46" fmla="*/ 112 w 132"/>
                <a:gd name="T47" fmla="*/ 496 h 574"/>
                <a:gd name="T48" fmla="*/ 107 w 132"/>
                <a:gd name="T49" fmla="*/ 516 h 574"/>
                <a:gd name="T50" fmla="*/ 98 w 132"/>
                <a:gd name="T51" fmla="*/ 534 h 574"/>
                <a:gd name="T52" fmla="*/ 86 w 132"/>
                <a:gd name="T53" fmla="*/ 548 h 574"/>
                <a:gd name="T54" fmla="*/ 72 w 132"/>
                <a:gd name="T55" fmla="*/ 560 h 574"/>
                <a:gd name="T56" fmla="*/ 56 w 132"/>
                <a:gd name="T57" fmla="*/ 569 h 574"/>
                <a:gd name="T58" fmla="*/ 41 w 132"/>
                <a:gd name="T59" fmla="*/ 574 h 574"/>
                <a:gd name="T60" fmla="*/ 41 w 132"/>
                <a:gd name="T61" fmla="*/ 571 h 574"/>
                <a:gd name="T62" fmla="*/ 41 w 132"/>
                <a:gd name="T63" fmla="*/ 560 h 574"/>
                <a:gd name="T64" fmla="*/ 41 w 132"/>
                <a:gd name="T65" fmla="*/ 544 h 574"/>
                <a:gd name="T66" fmla="*/ 41 w 132"/>
                <a:gd name="T67" fmla="*/ 524 h 574"/>
                <a:gd name="T68" fmla="*/ 40 w 132"/>
                <a:gd name="T69" fmla="*/ 501 h 574"/>
                <a:gd name="T70" fmla="*/ 39 w 132"/>
                <a:gd name="T71" fmla="*/ 474 h 574"/>
                <a:gd name="T72" fmla="*/ 36 w 132"/>
                <a:gd name="T73" fmla="*/ 447 h 574"/>
                <a:gd name="T74" fmla="*/ 32 w 132"/>
                <a:gd name="T75" fmla="*/ 415 h 574"/>
                <a:gd name="T76" fmla="*/ 30 w 132"/>
                <a:gd name="T77" fmla="*/ 376 h 574"/>
                <a:gd name="T78" fmla="*/ 27 w 132"/>
                <a:gd name="T79" fmla="*/ 334 h 574"/>
                <a:gd name="T80" fmla="*/ 24 w 132"/>
                <a:gd name="T81" fmla="*/ 288 h 574"/>
                <a:gd name="T82" fmla="*/ 22 w 132"/>
                <a:gd name="T83" fmla="*/ 240 h 574"/>
                <a:gd name="T84" fmla="*/ 19 w 132"/>
                <a:gd name="T85" fmla="*/ 193 h 574"/>
                <a:gd name="T86" fmla="*/ 17 w 132"/>
                <a:gd name="T87" fmla="*/ 145 h 574"/>
                <a:gd name="T88" fmla="*/ 13 w 132"/>
                <a:gd name="T89" fmla="*/ 102 h 574"/>
                <a:gd name="T90" fmla="*/ 9 w 132"/>
                <a:gd name="T91" fmla="*/ 62 h 574"/>
                <a:gd name="T92" fmla="*/ 5 w 132"/>
                <a:gd name="T93" fmla="*/ 27 h 574"/>
                <a:gd name="T94" fmla="*/ 0 w 132"/>
                <a:gd name="T95" fmla="*/ 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" h="574">
                  <a:moveTo>
                    <a:pt x="0" y="0"/>
                  </a:moveTo>
                  <a:lnTo>
                    <a:pt x="30" y="3"/>
                  </a:lnTo>
                  <a:lnTo>
                    <a:pt x="58" y="9"/>
                  </a:lnTo>
                  <a:lnTo>
                    <a:pt x="83" y="20"/>
                  </a:lnTo>
                  <a:lnTo>
                    <a:pt x="105" y="33"/>
                  </a:lnTo>
                  <a:lnTo>
                    <a:pt x="122" y="48"/>
                  </a:lnTo>
                  <a:lnTo>
                    <a:pt x="132" y="65"/>
                  </a:lnTo>
                  <a:lnTo>
                    <a:pt x="127" y="71"/>
                  </a:lnTo>
                  <a:lnTo>
                    <a:pt x="121" y="83"/>
                  </a:lnTo>
                  <a:lnTo>
                    <a:pt x="113" y="98"/>
                  </a:lnTo>
                  <a:lnTo>
                    <a:pt x="107" y="117"/>
                  </a:lnTo>
                  <a:lnTo>
                    <a:pt x="99" y="139"/>
                  </a:lnTo>
                  <a:lnTo>
                    <a:pt x="95" y="162"/>
                  </a:lnTo>
                  <a:lnTo>
                    <a:pt x="92" y="184"/>
                  </a:lnTo>
                  <a:lnTo>
                    <a:pt x="94" y="206"/>
                  </a:lnTo>
                  <a:lnTo>
                    <a:pt x="96" y="233"/>
                  </a:lnTo>
                  <a:lnTo>
                    <a:pt x="98" y="265"/>
                  </a:lnTo>
                  <a:lnTo>
                    <a:pt x="99" y="301"/>
                  </a:lnTo>
                  <a:lnTo>
                    <a:pt x="100" y="339"/>
                  </a:lnTo>
                  <a:lnTo>
                    <a:pt x="101" y="378"/>
                  </a:lnTo>
                  <a:lnTo>
                    <a:pt x="104" y="414"/>
                  </a:lnTo>
                  <a:lnTo>
                    <a:pt x="110" y="447"/>
                  </a:lnTo>
                  <a:lnTo>
                    <a:pt x="113" y="473"/>
                  </a:lnTo>
                  <a:lnTo>
                    <a:pt x="112" y="496"/>
                  </a:lnTo>
                  <a:lnTo>
                    <a:pt x="107" y="516"/>
                  </a:lnTo>
                  <a:lnTo>
                    <a:pt x="98" y="534"/>
                  </a:lnTo>
                  <a:lnTo>
                    <a:pt x="86" y="548"/>
                  </a:lnTo>
                  <a:lnTo>
                    <a:pt x="72" y="560"/>
                  </a:lnTo>
                  <a:lnTo>
                    <a:pt x="56" y="569"/>
                  </a:lnTo>
                  <a:lnTo>
                    <a:pt x="41" y="574"/>
                  </a:lnTo>
                  <a:lnTo>
                    <a:pt x="41" y="571"/>
                  </a:lnTo>
                  <a:lnTo>
                    <a:pt x="41" y="560"/>
                  </a:lnTo>
                  <a:lnTo>
                    <a:pt x="41" y="544"/>
                  </a:lnTo>
                  <a:lnTo>
                    <a:pt x="41" y="524"/>
                  </a:lnTo>
                  <a:lnTo>
                    <a:pt x="40" y="501"/>
                  </a:lnTo>
                  <a:lnTo>
                    <a:pt x="39" y="474"/>
                  </a:lnTo>
                  <a:lnTo>
                    <a:pt x="36" y="447"/>
                  </a:lnTo>
                  <a:lnTo>
                    <a:pt x="32" y="415"/>
                  </a:lnTo>
                  <a:lnTo>
                    <a:pt x="30" y="376"/>
                  </a:lnTo>
                  <a:lnTo>
                    <a:pt x="27" y="334"/>
                  </a:lnTo>
                  <a:lnTo>
                    <a:pt x="24" y="288"/>
                  </a:lnTo>
                  <a:lnTo>
                    <a:pt x="22" y="240"/>
                  </a:lnTo>
                  <a:lnTo>
                    <a:pt x="19" y="193"/>
                  </a:lnTo>
                  <a:lnTo>
                    <a:pt x="17" y="145"/>
                  </a:lnTo>
                  <a:lnTo>
                    <a:pt x="13" y="102"/>
                  </a:lnTo>
                  <a:lnTo>
                    <a:pt x="9" y="62"/>
                  </a:lnTo>
                  <a:lnTo>
                    <a:pt x="5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4" name="Freeform 1590"/>
            <p:cNvSpPr>
              <a:spLocks/>
            </p:cNvSpPr>
            <p:nvPr/>
          </p:nvSpPr>
          <p:spPr bwMode="auto">
            <a:xfrm>
              <a:off x="10337801" y="1597025"/>
              <a:ext cx="90488" cy="34925"/>
            </a:xfrm>
            <a:custGeom>
              <a:avLst/>
              <a:gdLst>
                <a:gd name="T0" fmla="*/ 55 w 57"/>
                <a:gd name="T1" fmla="*/ 0 h 22"/>
                <a:gd name="T2" fmla="*/ 57 w 57"/>
                <a:gd name="T3" fmla="*/ 14 h 22"/>
                <a:gd name="T4" fmla="*/ 1 w 57"/>
                <a:gd name="T5" fmla="*/ 22 h 22"/>
                <a:gd name="T6" fmla="*/ 0 w 57"/>
                <a:gd name="T7" fmla="*/ 8 h 22"/>
                <a:gd name="T8" fmla="*/ 55 w 5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2">
                  <a:moveTo>
                    <a:pt x="55" y="0"/>
                  </a:moveTo>
                  <a:lnTo>
                    <a:pt x="57" y="14"/>
                  </a:lnTo>
                  <a:lnTo>
                    <a:pt x="1" y="22"/>
                  </a:lnTo>
                  <a:lnTo>
                    <a:pt x="0" y="8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5" name="Freeform 1591"/>
            <p:cNvSpPr>
              <a:spLocks noEditPoints="1"/>
            </p:cNvSpPr>
            <p:nvPr/>
          </p:nvSpPr>
          <p:spPr bwMode="auto">
            <a:xfrm>
              <a:off x="10044113" y="571500"/>
              <a:ext cx="290513" cy="96838"/>
            </a:xfrm>
            <a:custGeom>
              <a:avLst/>
              <a:gdLst>
                <a:gd name="T0" fmla="*/ 34 w 183"/>
                <a:gd name="T1" fmla="*/ 4 h 61"/>
                <a:gd name="T2" fmla="*/ 18 w 183"/>
                <a:gd name="T3" fmla="*/ 7 h 61"/>
                <a:gd name="T4" fmla="*/ 13 w 183"/>
                <a:gd name="T5" fmla="*/ 24 h 61"/>
                <a:gd name="T6" fmla="*/ 18 w 183"/>
                <a:gd name="T7" fmla="*/ 45 h 61"/>
                <a:gd name="T8" fmla="*/ 36 w 183"/>
                <a:gd name="T9" fmla="*/ 57 h 61"/>
                <a:gd name="T10" fmla="*/ 59 w 183"/>
                <a:gd name="T11" fmla="*/ 54 h 61"/>
                <a:gd name="T12" fmla="*/ 72 w 183"/>
                <a:gd name="T13" fmla="*/ 40 h 61"/>
                <a:gd name="T14" fmla="*/ 77 w 183"/>
                <a:gd name="T15" fmla="*/ 21 h 61"/>
                <a:gd name="T16" fmla="*/ 68 w 183"/>
                <a:gd name="T17" fmla="*/ 8 h 61"/>
                <a:gd name="T18" fmla="*/ 45 w 183"/>
                <a:gd name="T19" fmla="*/ 4 h 61"/>
                <a:gd name="T20" fmla="*/ 136 w 183"/>
                <a:gd name="T21" fmla="*/ 4 h 61"/>
                <a:gd name="T22" fmla="*/ 115 w 183"/>
                <a:gd name="T23" fmla="*/ 8 h 61"/>
                <a:gd name="T24" fmla="*/ 104 w 183"/>
                <a:gd name="T25" fmla="*/ 21 h 61"/>
                <a:gd name="T26" fmla="*/ 111 w 183"/>
                <a:gd name="T27" fmla="*/ 40 h 61"/>
                <a:gd name="T28" fmla="*/ 123 w 183"/>
                <a:gd name="T29" fmla="*/ 54 h 61"/>
                <a:gd name="T30" fmla="*/ 147 w 183"/>
                <a:gd name="T31" fmla="*/ 56 h 61"/>
                <a:gd name="T32" fmla="*/ 165 w 183"/>
                <a:gd name="T33" fmla="*/ 45 h 61"/>
                <a:gd name="T34" fmla="*/ 170 w 183"/>
                <a:gd name="T35" fmla="*/ 24 h 61"/>
                <a:gd name="T36" fmla="*/ 165 w 183"/>
                <a:gd name="T37" fmla="*/ 7 h 61"/>
                <a:gd name="T38" fmla="*/ 149 w 183"/>
                <a:gd name="T39" fmla="*/ 4 h 61"/>
                <a:gd name="T40" fmla="*/ 159 w 183"/>
                <a:gd name="T41" fmla="*/ 0 h 61"/>
                <a:gd name="T42" fmla="*/ 177 w 183"/>
                <a:gd name="T43" fmla="*/ 2 h 61"/>
                <a:gd name="T44" fmla="*/ 181 w 183"/>
                <a:gd name="T45" fmla="*/ 4 h 61"/>
                <a:gd name="T46" fmla="*/ 183 w 183"/>
                <a:gd name="T47" fmla="*/ 8 h 61"/>
                <a:gd name="T48" fmla="*/ 181 w 183"/>
                <a:gd name="T49" fmla="*/ 13 h 61"/>
                <a:gd name="T50" fmla="*/ 179 w 183"/>
                <a:gd name="T51" fmla="*/ 16 h 61"/>
                <a:gd name="T52" fmla="*/ 176 w 183"/>
                <a:gd name="T53" fmla="*/ 18 h 61"/>
                <a:gd name="T54" fmla="*/ 175 w 183"/>
                <a:gd name="T55" fmla="*/ 25 h 61"/>
                <a:gd name="T56" fmla="*/ 172 w 183"/>
                <a:gd name="T57" fmla="*/ 35 h 61"/>
                <a:gd name="T58" fmla="*/ 165 w 183"/>
                <a:gd name="T59" fmla="*/ 52 h 61"/>
                <a:gd name="T60" fmla="*/ 140 w 183"/>
                <a:gd name="T61" fmla="*/ 61 h 61"/>
                <a:gd name="T62" fmla="*/ 120 w 183"/>
                <a:gd name="T63" fmla="*/ 56 h 61"/>
                <a:gd name="T64" fmla="*/ 109 w 183"/>
                <a:gd name="T65" fmla="*/ 45 h 61"/>
                <a:gd name="T66" fmla="*/ 104 w 183"/>
                <a:gd name="T67" fmla="*/ 35 h 61"/>
                <a:gd name="T68" fmla="*/ 98 w 183"/>
                <a:gd name="T69" fmla="*/ 24 h 61"/>
                <a:gd name="T70" fmla="*/ 85 w 183"/>
                <a:gd name="T71" fmla="*/ 24 h 61"/>
                <a:gd name="T72" fmla="*/ 79 w 183"/>
                <a:gd name="T73" fmla="*/ 35 h 61"/>
                <a:gd name="T74" fmla="*/ 73 w 183"/>
                <a:gd name="T75" fmla="*/ 47 h 61"/>
                <a:gd name="T76" fmla="*/ 63 w 183"/>
                <a:gd name="T77" fmla="*/ 56 h 61"/>
                <a:gd name="T78" fmla="*/ 43 w 183"/>
                <a:gd name="T79" fmla="*/ 61 h 61"/>
                <a:gd name="T80" fmla="*/ 18 w 183"/>
                <a:gd name="T81" fmla="*/ 52 h 61"/>
                <a:gd name="T82" fmla="*/ 11 w 183"/>
                <a:gd name="T83" fmla="*/ 36 h 61"/>
                <a:gd name="T84" fmla="*/ 8 w 183"/>
                <a:gd name="T85" fmla="*/ 25 h 61"/>
                <a:gd name="T86" fmla="*/ 7 w 183"/>
                <a:gd name="T87" fmla="*/ 18 h 61"/>
                <a:gd name="T88" fmla="*/ 4 w 183"/>
                <a:gd name="T89" fmla="*/ 16 h 61"/>
                <a:gd name="T90" fmla="*/ 0 w 183"/>
                <a:gd name="T91" fmla="*/ 13 h 61"/>
                <a:gd name="T92" fmla="*/ 0 w 183"/>
                <a:gd name="T93" fmla="*/ 8 h 61"/>
                <a:gd name="T94" fmla="*/ 2 w 183"/>
                <a:gd name="T95" fmla="*/ 4 h 61"/>
                <a:gd name="T96" fmla="*/ 5 w 183"/>
                <a:gd name="T97" fmla="*/ 3 h 61"/>
                <a:gd name="T98" fmla="*/ 22 w 183"/>
                <a:gd name="T99" fmla="*/ 0 h 61"/>
                <a:gd name="T100" fmla="*/ 48 w 183"/>
                <a:gd name="T101" fmla="*/ 0 h 61"/>
                <a:gd name="T102" fmla="*/ 73 w 183"/>
                <a:gd name="T103" fmla="*/ 4 h 61"/>
                <a:gd name="T104" fmla="*/ 91 w 183"/>
                <a:gd name="T105" fmla="*/ 8 h 61"/>
                <a:gd name="T106" fmla="*/ 120 w 183"/>
                <a:gd name="T107" fmla="*/ 3 h 61"/>
                <a:gd name="T108" fmla="*/ 147 w 183"/>
                <a:gd name="T10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61">
                  <a:moveTo>
                    <a:pt x="45" y="4"/>
                  </a:moveTo>
                  <a:lnTo>
                    <a:pt x="34" y="4"/>
                  </a:lnTo>
                  <a:lnTo>
                    <a:pt x="23" y="6"/>
                  </a:lnTo>
                  <a:lnTo>
                    <a:pt x="18" y="7"/>
                  </a:lnTo>
                  <a:lnTo>
                    <a:pt x="13" y="13"/>
                  </a:lnTo>
                  <a:lnTo>
                    <a:pt x="13" y="24"/>
                  </a:lnTo>
                  <a:lnTo>
                    <a:pt x="14" y="35"/>
                  </a:lnTo>
                  <a:lnTo>
                    <a:pt x="18" y="45"/>
                  </a:lnTo>
                  <a:lnTo>
                    <a:pt x="26" y="53"/>
                  </a:lnTo>
                  <a:lnTo>
                    <a:pt x="36" y="57"/>
                  </a:lnTo>
                  <a:lnTo>
                    <a:pt x="49" y="57"/>
                  </a:lnTo>
                  <a:lnTo>
                    <a:pt x="59" y="54"/>
                  </a:lnTo>
                  <a:lnTo>
                    <a:pt x="66" y="49"/>
                  </a:lnTo>
                  <a:lnTo>
                    <a:pt x="72" y="40"/>
                  </a:lnTo>
                  <a:lnTo>
                    <a:pt x="76" y="31"/>
                  </a:lnTo>
                  <a:lnTo>
                    <a:pt x="77" y="21"/>
                  </a:lnTo>
                  <a:lnTo>
                    <a:pt x="75" y="13"/>
                  </a:lnTo>
                  <a:lnTo>
                    <a:pt x="68" y="8"/>
                  </a:lnTo>
                  <a:lnTo>
                    <a:pt x="58" y="6"/>
                  </a:lnTo>
                  <a:lnTo>
                    <a:pt x="45" y="4"/>
                  </a:lnTo>
                  <a:close/>
                  <a:moveTo>
                    <a:pt x="149" y="4"/>
                  </a:moveTo>
                  <a:lnTo>
                    <a:pt x="136" y="4"/>
                  </a:lnTo>
                  <a:lnTo>
                    <a:pt x="125" y="6"/>
                  </a:lnTo>
                  <a:lnTo>
                    <a:pt x="115" y="8"/>
                  </a:lnTo>
                  <a:lnTo>
                    <a:pt x="107" y="13"/>
                  </a:lnTo>
                  <a:lnTo>
                    <a:pt x="104" y="21"/>
                  </a:lnTo>
                  <a:lnTo>
                    <a:pt x="107" y="31"/>
                  </a:lnTo>
                  <a:lnTo>
                    <a:pt x="111" y="40"/>
                  </a:lnTo>
                  <a:lnTo>
                    <a:pt x="117" y="49"/>
                  </a:lnTo>
                  <a:lnTo>
                    <a:pt x="123" y="54"/>
                  </a:lnTo>
                  <a:lnTo>
                    <a:pt x="134" y="57"/>
                  </a:lnTo>
                  <a:lnTo>
                    <a:pt x="147" y="56"/>
                  </a:lnTo>
                  <a:lnTo>
                    <a:pt x="157" y="52"/>
                  </a:lnTo>
                  <a:lnTo>
                    <a:pt x="165" y="45"/>
                  </a:lnTo>
                  <a:lnTo>
                    <a:pt x="168" y="35"/>
                  </a:lnTo>
                  <a:lnTo>
                    <a:pt x="170" y="24"/>
                  </a:lnTo>
                  <a:lnTo>
                    <a:pt x="168" y="13"/>
                  </a:lnTo>
                  <a:lnTo>
                    <a:pt x="165" y="7"/>
                  </a:lnTo>
                  <a:lnTo>
                    <a:pt x="158" y="6"/>
                  </a:lnTo>
                  <a:lnTo>
                    <a:pt x="149" y="4"/>
                  </a:lnTo>
                  <a:close/>
                  <a:moveTo>
                    <a:pt x="147" y="0"/>
                  </a:moveTo>
                  <a:lnTo>
                    <a:pt x="159" y="0"/>
                  </a:lnTo>
                  <a:lnTo>
                    <a:pt x="171" y="2"/>
                  </a:lnTo>
                  <a:lnTo>
                    <a:pt x="177" y="2"/>
                  </a:lnTo>
                  <a:lnTo>
                    <a:pt x="180" y="3"/>
                  </a:lnTo>
                  <a:lnTo>
                    <a:pt x="181" y="4"/>
                  </a:lnTo>
                  <a:lnTo>
                    <a:pt x="181" y="6"/>
                  </a:lnTo>
                  <a:lnTo>
                    <a:pt x="183" y="8"/>
                  </a:lnTo>
                  <a:lnTo>
                    <a:pt x="183" y="11"/>
                  </a:lnTo>
                  <a:lnTo>
                    <a:pt x="181" y="13"/>
                  </a:lnTo>
                  <a:lnTo>
                    <a:pt x="180" y="15"/>
                  </a:lnTo>
                  <a:lnTo>
                    <a:pt x="179" y="16"/>
                  </a:lnTo>
                  <a:lnTo>
                    <a:pt x="177" y="16"/>
                  </a:lnTo>
                  <a:lnTo>
                    <a:pt x="176" y="18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4" y="30"/>
                  </a:lnTo>
                  <a:lnTo>
                    <a:pt x="172" y="35"/>
                  </a:lnTo>
                  <a:lnTo>
                    <a:pt x="170" y="44"/>
                  </a:lnTo>
                  <a:lnTo>
                    <a:pt x="165" y="52"/>
                  </a:lnTo>
                  <a:lnTo>
                    <a:pt x="156" y="57"/>
                  </a:lnTo>
                  <a:lnTo>
                    <a:pt x="140" y="61"/>
                  </a:lnTo>
                  <a:lnTo>
                    <a:pt x="129" y="59"/>
                  </a:lnTo>
                  <a:lnTo>
                    <a:pt x="120" y="56"/>
                  </a:lnTo>
                  <a:lnTo>
                    <a:pt x="113" y="50"/>
                  </a:lnTo>
                  <a:lnTo>
                    <a:pt x="109" y="45"/>
                  </a:lnTo>
                  <a:lnTo>
                    <a:pt x="107" y="42"/>
                  </a:lnTo>
                  <a:lnTo>
                    <a:pt x="104" y="35"/>
                  </a:lnTo>
                  <a:lnTo>
                    <a:pt x="102" y="29"/>
                  </a:lnTo>
                  <a:lnTo>
                    <a:pt x="98" y="24"/>
                  </a:lnTo>
                  <a:lnTo>
                    <a:pt x="91" y="21"/>
                  </a:lnTo>
                  <a:lnTo>
                    <a:pt x="85" y="24"/>
                  </a:lnTo>
                  <a:lnTo>
                    <a:pt x="81" y="29"/>
                  </a:lnTo>
                  <a:lnTo>
                    <a:pt x="79" y="35"/>
                  </a:lnTo>
                  <a:lnTo>
                    <a:pt x="76" y="42"/>
                  </a:lnTo>
                  <a:lnTo>
                    <a:pt x="73" y="47"/>
                  </a:lnTo>
                  <a:lnTo>
                    <a:pt x="70" y="52"/>
                  </a:lnTo>
                  <a:lnTo>
                    <a:pt x="63" y="56"/>
                  </a:lnTo>
                  <a:lnTo>
                    <a:pt x="54" y="59"/>
                  </a:lnTo>
                  <a:lnTo>
                    <a:pt x="43" y="61"/>
                  </a:lnTo>
                  <a:lnTo>
                    <a:pt x="27" y="58"/>
                  </a:lnTo>
                  <a:lnTo>
                    <a:pt x="18" y="52"/>
                  </a:lnTo>
                  <a:lnTo>
                    <a:pt x="13" y="45"/>
                  </a:lnTo>
                  <a:lnTo>
                    <a:pt x="11" y="36"/>
                  </a:lnTo>
                  <a:lnTo>
                    <a:pt x="9" y="30"/>
                  </a:lnTo>
                  <a:lnTo>
                    <a:pt x="8" y="25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5" y="17"/>
                  </a:lnTo>
                  <a:lnTo>
                    <a:pt x="4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3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48" y="0"/>
                  </a:lnTo>
                  <a:lnTo>
                    <a:pt x="61" y="2"/>
                  </a:lnTo>
                  <a:lnTo>
                    <a:pt x="73" y="4"/>
                  </a:lnTo>
                  <a:lnTo>
                    <a:pt x="84" y="7"/>
                  </a:lnTo>
                  <a:lnTo>
                    <a:pt x="91" y="8"/>
                  </a:lnTo>
                  <a:lnTo>
                    <a:pt x="104" y="6"/>
                  </a:lnTo>
                  <a:lnTo>
                    <a:pt x="120" y="3"/>
                  </a:lnTo>
                  <a:lnTo>
                    <a:pt x="134" y="0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6" name="Freeform 1592"/>
            <p:cNvSpPr>
              <a:spLocks/>
            </p:cNvSpPr>
            <p:nvPr/>
          </p:nvSpPr>
          <p:spPr bwMode="auto">
            <a:xfrm>
              <a:off x="9847263" y="935038"/>
              <a:ext cx="217488" cy="455613"/>
            </a:xfrm>
            <a:custGeom>
              <a:avLst/>
              <a:gdLst>
                <a:gd name="T0" fmla="*/ 64 w 137"/>
                <a:gd name="T1" fmla="*/ 0 h 287"/>
                <a:gd name="T2" fmla="*/ 79 w 137"/>
                <a:gd name="T3" fmla="*/ 1 h 287"/>
                <a:gd name="T4" fmla="*/ 96 w 137"/>
                <a:gd name="T5" fmla="*/ 5 h 287"/>
                <a:gd name="T6" fmla="*/ 110 w 137"/>
                <a:gd name="T7" fmla="*/ 14 h 287"/>
                <a:gd name="T8" fmla="*/ 123 w 137"/>
                <a:gd name="T9" fmla="*/ 25 h 287"/>
                <a:gd name="T10" fmla="*/ 132 w 137"/>
                <a:gd name="T11" fmla="*/ 40 h 287"/>
                <a:gd name="T12" fmla="*/ 137 w 137"/>
                <a:gd name="T13" fmla="*/ 56 h 287"/>
                <a:gd name="T14" fmla="*/ 136 w 137"/>
                <a:gd name="T15" fmla="*/ 76 h 287"/>
                <a:gd name="T16" fmla="*/ 129 w 137"/>
                <a:gd name="T17" fmla="*/ 96 h 287"/>
                <a:gd name="T18" fmla="*/ 119 w 137"/>
                <a:gd name="T19" fmla="*/ 123 h 287"/>
                <a:gd name="T20" fmla="*/ 109 w 137"/>
                <a:gd name="T21" fmla="*/ 151 h 287"/>
                <a:gd name="T22" fmla="*/ 100 w 137"/>
                <a:gd name="T23" fmla="*/ 182 h 287"/>
                <a:gd name="T24" fmla="*/ 91 w 137"/>
                <a:gd name="T25" fmla="*/ 213 h 287"/>
                <a:gd name="T26" fmla="*/ 85 w 137"/>
                <a:gd name="T27" fmla="*/ 241 h 287"/>
                <a:gd name="T28" fmla="*/ 79 w 137"/>
                <a:gd name="T29" fmla="*/ 267 h 287"/>
                <a:gd name="T30" fmla="*/ 76 w 137"/>
                <a:gd name="T31" fmla="*/ 287 h 287"/>
                <a:gd name="T32" fmla="*/ 76 w 137"/>
                <a:gd name="T33" fmla="*/ 287 h 287"/>
                <a:gd name="T34" fmla="*/ 0 w 137"/>
                <a:gd name="T35" fmla="*/ 276 h 287"/>
                <a:gd name="T36" fmla="*/ 2 w 137"/>
                <a:gd name="T37" fmla="*/ 262 h 287"/>
                <a:gd name="T38" fmla="*/ 4 w 137"/>
                <a:gd name="T39" fmla="*/ 240 h 287"/>
                <a:gd name="T40" fmla="*/ 6 w 137"/>
                <a:gd name="T41" fmla="*/ 214 h 287"/>
                <a:gd name="T42" fmla="*/ 10 w 137"/>
                <a:gd name="T43" fmla="*/ 185 h 287"/>
                <a:gd name="T44" fmla="*/ 14 w 137"/>
                <a:gd name="T45" fmla="*/ 154 h 287"/>
                <a:gd name="T46" fmla="*/ 19 w 137"/>
                <a:gd name="T47" fmla="*/ 122 h 287"/>
                <a:gd name="T48" fmla="*/ 26 w 137"/>
                <a:gd name="T49" fmla="*/ 90 h 287"/>
                <a:gd name="T50" fmla="*/ 33 w 137"/>
                <a:gd name="T51" fmla="*/ 60 h 287"/>
                <a:gd name="T52" fmla="*/ 42 w 137"/>
                <a:gd name="T53" fmla="*/ 34 h 287"/>
                <a:gd name="T54" fmla="*/ 52 w 137"/>
                <a:gd name="T55" fmla="*/ 14 h 287"/>
                <a:gd name="T56" fmla="*/ 64 w 137"/>
                <a:gd name="T57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287">
                  <a:moveTo>
                    <a:pt x="64" y="0"/>
                  </a:moveTo>
                  <a:lnTo>
                    <a:pt x="79" y="1"/>
                  </a:lnTo>
                  <a:lnTo>
                    <a:pt x="96" y="5"/>
                  </a:lnTo>
                  <a:lnTo>
                    <a:pt x="110" y="14"/>
                  </a:lnTo>
                  <a:lnTo>
                    <a:pt x="123" y="25"/>
                  </a:lnTo>
                  <a:lnTo>
                    <a:pt x="132" y="40"/>
                  </a:lnTo>
                  <a:lnTo>
                    <a:pt x="137" y="56"/>
                  </a:lnTo>
                  <a:lnTo>
                    <a:pt x="136" y="76"/>
                  </a:lnTo>
                  <a:lnTo>
                    <a:pt x="129" y="96"/>
                  </a:lnTo>
                  <a:lnTo>
                    <a:pt x="119" y="123"/>
                  </a:lnTo>
                  <a:lnTo>
                    <a:pt x="109" y="151"/>
                  </a:lnTo>
                  <a:lnTo>
                    <a:pt x="100" y="182"/>
                  </a:lnTo>
                  <a:lnTo>
                    <a:pt x="91" y="213"/>
                  </a:lnTo>
                  <a:lnTo>
                    <a:pt x="85" y="241"/>
                  </a:lnTo>
                  <a:lnTo>
                    <a:pt x="79" y="26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0" y="276"/>
                  </a:lnTo>
                  <a:lnTo>
                    <a:pt x="2" y="262"/>
                  </a:lnTo>
                  <a:lnTo>
                    <a:pt x="4" y="240"/>
                  </a:lnTo>
                  <a:lnTo>
                    <a:pt x="6" y="214"/>
                  </a:lnTo>
                  <a:lnTo>
                    <a:pt x="10" y="185"/>
                  </a:lnTo>
                  <a:lnTo>
                    <a:pt x="14" y="154"/>
                  </a:lnTo>
                  <a:lnTo>
                    <a:pt x="19" y="122"/>
                  </a:lnTo>
                  <a:lnTo>
                    <a:pt x="26" y="90"/>
                  </a:lnTo>
                  <a:lnTo>
                    <a:pt x="33" y="60"/>
                  </a:lnTo>
                  <a:lnTo>
                    <a:pt x="42" y="34"/>
                  </a:lnTo>
                  <a:lnTo>
                    <a:pt x="52" y="1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7" name="Freeform 1593"/>
            <p:cNvSpPr>
              <a:spLocks/>
            </p:cNvSpPr>
            <p:nvPr/>
          </p:nvSpPr>
          <p:spPr bwMode="auto">
            <a:xfrm>
              <a:off x="9828213" y="1373188"/>
              <a:ext cx="139700" cy="371475"/>
            </a:xfrm>
            <a:custGeom>
              <a:avLst/>
              <a:gdLst>
                <a:gd name="T0" fmla="*/ 12 w 88"/>
                <a:gd name="T1" fmla="*/ 0 h 234"/>
                <a:gd name="T2" fmla="*/ 88 w 88"/>
                <a:gd name="T3" fmla="*/ 10 h 234"/>
                <a:gd name="T4" fmla="*/ 86 w 88"/>
                <a:gd name="T5" fmla="*/ 15 h 234"/>
                <a:gd name="T6" fmla="*/ 85 w 88"/>
                <a:gd name="T7" fmla="*/ 22 h 234"/>
                <a:gd name="T8" fmla="*/ 85 w 88"/>
                <a:gd name="T9" fmla="*/ 27 h 234"/>
                <a:gd name="T10" fmla="*/ 85 w 88"/>
                <a:gd name="T11" fmla="*/ 29 h 234"/>
                <a:gd name="T12" fmla="*/ 84 w 88"/>
                <a:gd name="T13" fmla="*/ 37 h 234"/>
                <a:gd name="T14" fmla="*/ 82 w 88"/>
                <a:gd name="T15" fmla="*/ 51 h 234"/>
                <a:gd name="T16" fmla="*/ 81 w 88"/>
                <a:gd name="T17" fmla="*/ 70 h 234"/>
                <a:gd name="T18" fmla="*/ 80 w 88"/>
                <a:gd name="T19" fmla="*/ 95 h 234"/>
                <a:gd name="T20" fmla="*/ 79 w 88"/>
                <a:gd name="T21" fmla="*/ 120 h 234"/>
                <a:gd name="T22" fmla="*/ 77 w 88"/>
                <a:gd name="T23" fmla="*/ 147 h 234"/>
                <a:gd name="T24" fmla="*/ 75 w 88"/>
                <a:gd name="T25" fmla="*/ 174 h 234"/>
                <a:gd name="T26" fmla="*/ 73 w 88"/>
                <a:gd name="T27" fmla="*/ 199 h 234"/>
                <a:gd name="T28" fmla="*/ 73 w 88"/>
                <a:gd name="T29" fmla="*/ 219 h 234"/>
                <a:gd name="T30" fmla="*/ 73 w 88"/>
                <a:gd name="T31" fmla="*/ 233 h 234"/>
                <a:gd name="T32" fmla="*/ 50 w 88"/>
                <a:gd name="T33" fmla="*/ 234 h 234"/>
                <a:gd name="T34" fmla="*/ 25 w 88"/>
                <a:gd name="T35" fmla="*/ 234 h 234"/>
                <a:gd name="T36" fmla="*/ 0 w 88"/>
                <a:gd name="T37" fmla="*/ 232 h 234"/>
                <a:gd name="T38" fmla="*/ 2 w 88"/>
                <a:gd name="T39" fmla="*/ 215 h 234"/>
                <a:gd name="T40" fmla="*/ 2 w 88"/>
                <a:gd name="T41" fmla="*/ 193 h 234"/>
                <a:gd name="T42" fmla="*/ 3 w 88"/>
                <a:gd name="T43" fmla="*/ 165 h 234"/>
                <a:gd name="T44" fmla="*/ 4 w 88"/>
                <a:gd name="T45" fmla="*/ 134 h 234"/>
                <a:gd name="T46" fmla="*/ 5 w 88"/>
                <a:gd name="T47" fmla="*/ 102 h 234"/>
                <a:gd name="T48" fmla="*/ 8 w 88"/>
                <a:gd name="T49" fmla="*/ 70 h 234"/>
                <a:gd name="T50" fmla="*/ 9 w 88"/>
                <a:gd name="T51" fmla="*/ 42 h 234"/>
                <a:gd name="T52" fmla="*/ 11 w 88"/>
                <a:gd name="T53" fmla="*/ 19 h 234"/>
                <a:gd name="T54" fmla="*/ 12 w 88"/>
                <a:gd name="T55" fmla="*/ 2 h 234"/>
                <a:gd name="T56" fmla="*/ 12 w 88"/>
                <a:gd name="T5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234">
                  <a:moveTo>
                    <a:pt x="12" y="0"/>
                  </a:moveTo>
                  <a:lnTo>
                    <a:pt x="88" y="10"/>
                  </a:lnTo>
                  <a:lnTo>
                    <a:pt x="86" y="15"/>
                  </a:lnTo>
                  <a:lnTo>
                    <a:pt x="85" y="22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4" y="37"/>
                  </a:lnTo>
                  <a:lnTo>
                    <a:pt x="82" y="51"/>
                  </a:lnTo>
                  <a:lnTo>
                    <a:pt x="81" y="70"/>
                  </a:lnTo>
                  <a:lnTo>
                    <a:pt x="80" y="95"/>
                  </a:lnTo>
                  <a:lnTo>
                    <a:pt x="79" y="120"/>
                  </a:lnTo>
                  <a:lnTo>
                    <a:pt x="77" y="147"/>
                  </a:lnTo>
                  <a:lnTo>
                    <a:pt x="75" y="174"/>
                  </a:lnTo>
                  <a:lnTo>
                    <a:pt x="73" y="199"/>
                  </a:lnTo>
                  <a:lnTo>
                    <a:pt x="73" y="219"/>
                  </a:lnTo>
                  <a:lnTo>
                    <a:pt x="73" y="233"/>
                  </a:lnTo>
                  <a:lnTo>
                    <a:pt x="50" y="234"/>
                  </a:lnTo>
                  <a:lnTo>
                    <a:pt x="25" y="234"/>
                  </a:lnTo>
                  <a:lnTo>
                    <a:pt x="0" y="232"/>
                  </a:lnTo>
                  <a:lnTo>
                    <a:pt x="2" y="215"/>
                  </a:lnTo>
                  <a:lnTo>
                    <a:pt x="2" y="193"/>
                  </a:lnTo>
                  <a:lnTo>
                    <a:pt x="3" y="165"/>
                  </a:lnTo>
                  <a:lnTo>
                    <a:pt x="4" y="134"/>
                  </a:lnTo>
                  <a:lnTo>
                    <a:pt x="5" y="102"/>
                  </a:lnTo>
                  <a:lnTo>
                    <a:pt x="8" y="70"/>
                  </a:lnTo>
                  <a:lnTo>
                    <a:pt x="9" y="42"/>
                  </a:lnTo>
                  <a:lnTo>
                    <a:pt x="11" y="19"/>
                  </a:lnTo>
                  <a:lnTo>
                    <a:pt x="12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8" name="Freeform 1594"/>
            <p:cNvSpPr>
              <a:spLocks/>
            </p:cNvSpPr>
            <p:nvPr/>
          </p:nvSpPr>
          <p:spPr bwMode="auto">
            <a:xfrm>
              <a:off x="9921876" y="877888"/>
              <a:ext cx="190500" cy="901700"/>
            </a:xfrm>
            <a:custGeom>
              <a:avLst/>
              <a:gdLst>
                <a:gd name="T0" fmla="*/ 120 w 120"/>
                <a:gd name="T1" fmla="*/ 0 h 568"/>
                <a:gd name="T2" fmla="*/ 116 w 120"/>
                <a:gd name="T3" fmla="*/ 28 h 568"/>
                <a:gd name="T4" fmla="*/ 112 w 120"/>
                <a:gd name="T5" fmla="*/ 61 h 568"/>
                <a:gd name="T6" fmla="*/ 109 w 120"/>
                <a:gd name="T7" fmla="*/ 103 h 568"/>
                <a:gd name="T8" fmla="*/ 107 w 120"/>
                <a:gd name="T9" fmla="*/ 146 h 568"/>
                <a:gd name="T10" fmla="*/ 106 w 120"/>
                <a:gd name="T11" fmla="*/ 194 h 568"/>
                <a:gd name="T12" fmla="*/ 104 w 120"/>
                <a:gd name="T13" fmla="*/ 241 h 568"/>
                <a:gd name="T14" fmla="*/ 103 w 120"/>
                <a:gd name="T15" fmla="*/ 290 h 568"/>
                <a:gd name="T16" fmla="*/ 102 w 120"/>
                <a:gd name="T17" fmla="*/ 336 h 568"/>
                <a:gd name="T18" fmla="*/ 99 w 120"/>
                <a:gd name="T19" fmla="*/ 378 h 568"/>
                <a:gd name="T20" fmla="*/ 98 w 120"/>
                <a:gd name="T21" fmla="*/ 417 h 568"/>
                <a:gd name="T22" fmla="*/ 95 w 120"/>
                <a:gd name="T23" fmla="*/ 449 h 568"/>
                <a:gd name="T24" fmla="*/ 91 w 120"/>
                <a:gd name="T25" fmla="*/ 480 h 568"/>
                <a:gd name="T26" fmla="*/ 90 w 120"/>
                <a:gd name="T27" fmla="*/ 508 h 568"/>
                <a:gd name="T28" fmla="*/ 89 w 120"/>
                <a:gd name="T29" fmla="*/ 532 h 568"/>
                <a:gd name="T30" fmla="*/ 89 w 120"/>
                <a:gd name="T31" fmla="*/ 552 h 568"/>
                <a:gd name="T32" fmla="*/ 89 w 120"/>
                <a:gd name="T33" fmla="*/ 563 h 568"/>
                <a:gd name="T34" fmla="*/ 89 w 120"/>
                <a:gd name="T35" fmla="*/ 568 h 568"/>
                <a:gd name="T36" fmla="*/ 66 w 120"/>
                <a:gd name="T37" fmla="*/ 567 h 568"/>
                <a:gd name="T38" fmla="*/ 45 w 120"/>
                <a:gd name="T39" fmla="*/ 563 h 568"/>
                <a:gd name="T40" fmla="*/ 29 w 120"/>
                <a:gd name="T41" fmla="*/ 558 h 568"/>
                <a:gd name="T42" fmla="*/ 14 w 120"/>
                <a:gd name="T43" fmla="*/ 550 h 568"/>
                <a:gd name="T44" fmla="*/ 17 w 120"/>
                <a:gd name="T45" fmla="*/ 526 h 568"/>
                <a:gd name="T46" fmla="*/ 21 w 120"/>
                <a:gd name="T47" fmla="*/ 494 h 568"/>
                <a:gd name="T48" fmla="*/ 23 w 120"/>
                <a:gd name="T49" fmla="*/ 457 h 568"/>
                <a:gd name="T50" fmla="*/ 26 w 120"/>
                <a:gd name="T51" fmla="*/ 417 h 568"/>
                <a:gd name="T52" fmla="*/ 27 w 120"/>
                <a:gd name="T53" fmla="*/ 375 h 568"/>
                <a:gd name="T54" fmla="*/ 30 w 120"/>
                <a:gd name="T55" fmla="*/ 334 h 568"/>
                <a:gd name="T56" fmla="*/ 31 w 120"/>
                <a:gd name="T57" fmla="*/ 295 h 568"/>
                <a:gd name="T58" fmla="*/ 34 w 120"/>
                <a:gd name="T59" fmla="*/ 260 h 568"/>
                <a:gd name="T60" fmla="*/ 36 w 120"/>
                <a:gd name="T61" fmla="*/ 232 h 568"/>
                <a:gd name="T62" fmla="*/ 39 w 120"/>
                <a:gd name="T63" fmla="*/ 212 h 568"/>
                <a:gd name="T64" fmla="*/ 40 w 120"/>
                <a:gd name="T65" fmla="*/ 190 h 568"/>
                <a:gd name="T66" fmla="*/ 38 w 120"/>
                <a:gd name="T67" fmla="*/ 165 h 568"/>
                <a:gd name="T68" fmla="*/ 32 w 120"/>
                <a:gd name="T69" fmla="*/ 141 h 568"/>
                <a:gd name="T70" fmla="*/ 26 w 120"/>
                <a:gd name="T71" fmla="*/ 118 h 568"/>
                <a:gd name="T72" fmla="*/ 18 w 120"/>
                <a:gd name="T73" fmla="*/ 96 h 568"/>
                <a:gd name="T74" fmla="*/ 12 w 120"/>
                <a:gd name="T75" fmla="*/ 78 h 568"/>
                <a:gd name="T76" fmla="*/ 5 w 120"/>
                <a:gd name="T77" fmla="*/ 65 h 568"/>
                <a:gd name="T78" fmla="*/ 0 w 120"/>
                <a:gd name="T79" fmla="*/ 58 h 568"/>
                <a:gd name="T80" fmla="*/ 9 w 120"/>
                <a:gd name="T81" fmla="*/ 42 h 568"/>
                <a:gd name="T82" fmla="*/ 23 w 120"/>
                <a:gd name="T83" fmla="*/ 28 h 568"/>
                <a:gd name="T84" fmla="*/ 43 w 120"/>
                <a:gd name="T85" fmla="*/ 17 h 568"/>
                <a:gd name="T86" fmla="*/ 66 w 120"/>
                <a:gd name="T87" fmla="*/ 8 h 568"/>
                <a:gd name="T88" fmla="*/ 91 w 120"/>
                <a:gd name="T89" fmla="*/ 2 h 568"/>
                <a:gd name="T90" fmla="*/ 120 w 120"/>
                <a:gd name="T91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568">
                  <a:moveTo>
                    <a:pt x="120" y="0"/>
                  </a:moveTo>
                  <a:lnTo>
                    <a:pt x="116" y="28"/>
                  </a:lnTo>
                  <a:lnTo>
                    <a:pt x="112" y="61"/>
                  </a:lnTo>
                  <a:lnTo>
                    <a:pt x="109" y="103"/>
                  </a:lnTo>
                  <a:lnTo>
                    <a:pt x="107" y="146"/>
                  </a:lnTo>
                  <a:lnTo>
                    <a:pt x="106" y="194"/>
                  </a:lnTo>
                  <a:lnTo>
                    <a:pt x="104" y="241"/>
                  </a:lnTo>
                  <a:lnTo>
                    <a:pt x="103" y="290"/>
                  </a:lnTo>
                  <a:lnTo>
                    <a:pt x="102" y="336"/>
                  </a:lnTo>
                  <a:lnTo>
                    <a:pt x="99" y="378"/>
                  </a:lnTo>
                  <a:lnTo>
                    <a:pt x="98" y="417"/>
                  </a:lnTo>
                  <a:lnTo>
                    <a:pt x="95" y="449"/>
                  </a:lnTo>
                  <a:lnTo>
                    <a:pt x="91" y="480"/>
                  </a:lnTo>
                  <a:lnTo>
                    <a:pt x="90" y="508"/>
                  </a:lnTo>
                  <a:lnTo>
                    <a:pt x="89" y="532"/>
                  </a:lnTo>
                  <a:lnTo>
                    <a:pt x="89" y="552"/>
                  </a:lnTo>
                  <a:lnTo>
                    <a:pt x="89" y="563"/>
                  </a:lnTo>
                  <a:lnTo>
                    <a:pt x="89" y="568"/>
                  </a:lnTo>
                  <a:lnTo>
                    <a:pt x="66" y="567"/>
                  </a:lnTo>
                  <a:lnTo>
                    <a:pt x="45" y="563"/>
                  </a:lnTo>
                  <a:lnTo>
                    <a:pt x="29" y="558"/>
                  </a:lnTo>
                  <a:lnTo>
                    <a:pt x="14" y="550"/>
                  </a:lnTo>
                  <a:lnTo>
                    <a:pt x="17" y="526"/>
                  </a:lnTo>
                  <a:lnTo>
                    <a:pt x="21" y="494"/>
                  </a:lnTo>
                  <a:lnTo>
                    <a:pt x="23" y="457"/>
                  </a:lnTo>
                  <a:lnTo>
                    <a:pt x="26" y="417"/>
                  </a:lnTo>
                  <a:lnTo>
                    <a:pt x="27" y="375"/>
                  </a:lnTo>
                  <a:lnTo>
                    <a:pt x="30" y="334"/>
                  </a:lnTo>
                  <a:lnTo>
                    <a:pt x="31" y="295"/>
                  </a:lnTo>
                  <a:lnTo>
                    <a:pt x="34" y="260"/>
                  </a:lnTo>
                  <a:lnTo>
                    <a:pt x="36" y="232"/>
                  </a:lnTo>
                  <a:lnTo>
                    <a:pt x="39" y="212"/>
                  </a:lnTo>
                  <a:lnTo>
                    <a:pt x="40" y="190"/>
                  </a:lnTo>
                  <a:lnTo>
                    <a:pt x="38" y="165"/>
                  </a:lnTo>
                  <a:lnTo>
                    <a:pt x="32" y="141"/>
                  </a:lnTo>
                  <a:lnTo>
                    <a:pt x="26" y="118"/>
                  </a:lnTo>
                  <a:lnTo>
                    <a:pt x="18" y="96"/>
                  </a:lnTo>
                  <a:lnTo>
                    <a:pt x="12" y="78"/>
                  </a:lnTo>
                  <a:lnTo>
                    <a:pt x="5" y="65"/>
                  </a:lnTo>
                  <a:lnTo>
                    <a:pt x="0" y="58"/>
                  </a:lnTo>
                  <a:lnTo>
                    <a:pt x="9" y="42"/>
                  </a:lnTo>
                  <a:lnTo>
                    <a:pt x="23" y="28"/>
                  </a:lnTo>
                  <a:lnTo>
                    <a:pt x="43" y="17"/>
                  </a:lnTo>
                  <a:lnTo>
                    <a:pt x="66" y="8"/>
                  </a:lnTo>
                  <a:lnTo>
                    <a:pt x="91" y="2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9" name="Freeform 1595"/>
            <p:cNvSpPr>
              <a:spLocks/>
            </p:cNvSpPr>
            <p:nvPr/>
          </p:nvSpPr>
          <p:spPr bwMode="auto">
            <a:xfrm>
              <a:off x="10160001" y="1682750"/>
              <a:ext cx="57150" cy="119063"/>
            </a:xfrm>
            <a:custGeom>
              <a:avLst/>
              <a:gdLst>
                <a:gd name="T0" fmla="*/ 3 w 36"/>
                <a:gd name="T1" fmla="*/ 0 h 75"/>
                <a:gd name="T2" fmla="*/ 12 w 36"/>
                <a:gd name="T3" fmla="*/ 1 h 75"/>
                <a:gd name="T4" fmla="*/ 11 w 36"/>
                <a:gd name="T5" fmla="*/ 6 h 75"/>
                <a:gd name="T6" fmla="*/ 9 w 36"/>
                <a:gd name="T7" fmla="*/ 15 h 75"/>
                <a:gd name="T8" fmla="*/ 9 w 36"/>
                <a:gd name="T9" fmla="*/ 50 h 75"/>
                <a:gd name="T10" fmla="*/ 11 w 36"/>
                <a:gd name="T11" fmla="*/ 59 h 75"/>
                <a:gd name="T12" fmla="*/ 12 w 36"/>
                <a:gd name="T13" fmla="*/ 64 h 75"/>
                <a:gd name="T14" fmla="*/ 12 w 36"/>
                <a:gd name="T15" fmla="*/ 65 h 75"/>
                <a:gd name="T16" fmla="*/ 27 w 36"/>
                <a:gd name="T17" fmla="*/ 65 h 75"/>
                <a:gd name="T18" fmla="*/ 34 w 36"/>
                <a:gd name="T19" fmla="*/ 66 h 75"/>
                <a:gd name="T20" fmla="*/ 36 w 36"/>
                <a:gd name="T21" fmla="*/ 66 h 75"/>
                <a:gd name="T22" fmla="*/ 36 w 36"/>
                <a:gd name="T23" fmla="*/ 75 h 75"/>
                <a:gd name="T24" fmla="*/ 34 w 36"/>
                <a:gd name="T25" fmla="*/ 75 h 75"/>
                <a:gd name="T26" fmla="*/ 27 w 36"/>
                <a:gd name="T27" fmla="*/ 74 h 75"/>
                <a:gd name="T28" fmla="*/ 11 w 36"/>
                <a:gd name="T29" fmla="*/ 74 h 75"/>
                <a:gd name="T30" fmla="*/ 9 w 36"/>
                <a:gd name="T31" fmla="*/ 73 h 75"/>
                <a:gd name="T32" fmla="*/ 6 w 36"/>
                <a:gd name="T33" fmla="*/ 72 h 75"/>
                <a:gd name="T34" fmla="*/ 3 w 36"/>
                <a:gd name="T35" fmla="*/ 66 h 75"/>
                <a:gd name="T36" fmla="*/ 2 w 36"/>
                <a:gd name="T37" fmla="*/ 59 h 75"/>
                <a:gd name="T38" fmla="*/ 0 w 36"/>
                <a:gd name="T39" fmla="*/ 50 h 75"/>
                <a:gd name="T40" fmla="*/ 0 w 36"/>
                <a:gd name="T41" fmla="*/ 15 h 75"/>
                <a:gd name="T42" fmla="*/ 2 w 36"/>
                <a:gd name="T43" fmla="*/ 6 h 75"/>
                <a:gd name="T44" fmla="*/ 3 w 36"/>
                <a:gd name="T4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75">
                  <a:moveTo>
                    <a:pt x="3" y="0"/>
                  </a:moveTo>
                  <a:lnTo>
                    <a:pt x="12" y="1"/>
                  </a:lnTo>
                  <a:lnTo>
                    <a:pt x="11" y="6"/>
                  </a:lnTo>
                  <a:lnTo>
                    <a:pt x="9" y="15"/>
                  </a:lnTo>
                  <a:lnTo>
                    <a:pt x="9" y="50"/>
                  </a:lnTo>
                  <a:lnTo>
                    <a:pt x="11" y="59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27" y="65"/>
                  </a:lnTo>
                  <a:lnTo>
                    <a:pt x="34" y="66"/>
                  </a:lnTo>
                  <a:lnTo>
                    <a:pt x="36" y="66"/>
                  </a:lnTo>
                  <a:lnTo>
                    <a:pt x="36" y="75"/>
                  </a:lnTo>
                  <a:lnTo>
                    <a:pt x="34" y="75"/>
                  </a:lnTo>
                  <a:lnTo>
                    <a:pt x="27" y="74"/>
                  </a:lnTo>
                  <a:lnTo>
                    <a:pt x="11" y="74"/>
                  </a:lnTo>
                  <a:lnTo>
                    <a:pt x="9" y="73"/>
                  </a:lnTo>
                  <a:lnTo>
                    <a:pt x="6" y="72"/>
                  </a:lnTo>
                  <a:lnTo>
                    <a:pt x="3" y="66"/>
                  </a:lnTo>
                  <a:lnTo>
                    <a:pt x="2" y="59"/>
                  </a:lnTo>
                  <a:lnTo>
                    <a:pt x="0" y="50"/>
                  </a:lnTo>
                  <a:lnTo>
                    <a:pt x="0" y="15"/>
                  </a:lnTo>
                  <a:lnTo>
                    <a:pt x="2" y="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0" name="Freeform 1596"/>
            <p:cNvSpPr>
              <a:spLocks/>
            </p:cNvSpPr>
            <p:nvPr/>
          </p:nvSpPr>
          <p:spPr bwMode="auto">
            <a:xfrm>
              <a:off x="10137776" y="1843088"/>
              <a:ext cx="63500" cy="992188"/>
            </a:xfrm>
            <a:custGeom>
              <a:avLst/>
              <a:gdLst>
                <a:gd name="T0" fmla="*/ 32 w 40"/>
                <a:gd name="T1" fmla="*/ 0 h 625"/>
                <a:gd name="T2" fmla="*/ 40 w 40"/>
                <a:gd name="T3" fmla="*/ 1 h 625"/>
                <a:gd name="T4" fmla="*/ 38 w 40"/>
                <a:gd name="T5" fmla="*/ 13 h 625"/>
                <a:gd name="T6" fmla="*/ 35 w 40"/>
                <a:gd name="T7" fmla="*/ 28 h 625"/>
                <a:gd name="T8" fmla="*/ 30 w 40"/>
                <a:gd name="T9" fmla="*/ 62 h 625"/>
                <a:gd name="T10" fmla="*/ 25 w 40"/>
                <a:gd name="T11" fmla="*/ 100 h 625"/>
                <a:gd name="T12" fmla="*/ 17 w 40"/>
                <a:gd name="T13" fmla="*/ 180 h 625"/>
                <a:gd name="T14" fmla="*/ 16 w 40"/>
                <a:gd name="T15" fmla="*/ 219 h 625"/>
                <a:gd name="T16" fmla="*/ 14 w 40"/>
                <a:gd name="T17" fmla="*/ 257 h 625"/>
                <a:gd name="T18" fmla="*/ 16 w 40"/>
                <a:gd name="T19" fmla="*/ 273 h 625"/>
                <a:gd name="T20" fmla="*/ 17 w 40"/>
                <a:gd name="T21" fmla="*/ 289 h 625"/>
                <a:gd name="T22" fmla="*/ 17 w 40"/>
                <a:gd name="T23" fmla="*/ 394 h 625"/>
                <a:gd name="T24" fmla="*/ 16 w 40"/>
                <a:gd name="T25" fmla="*/ 420 h 625"/>
                <a:gd name="T26" fmla="*/ 14 w 40"/>
                <a:gd name="T27" fmla="*/ 471 h 625"/>
                <a:gd name="T28" fmla="*/ 12 w 40"/>
                <a:gd name="T29" fmla="*/ 522 h 625"/>
                <a:gd name="T30" fmla="*/ 12 w 40"/>
                <a:gd name="T31" fmla="*/ 545 h 625"/>
                <a:gd name="T32" fmla="*/ 11 w 40"/>
                <a:gd name="T33" fmla="*/ 567 h 625"/>
                <a:gd name="T34" fmla="*/ 9 w 40"/>
                <a:gd name="T35" fmla="*/ 586 h 625"/>
                <a:gd name="T36" fmla="*/ 9 w 40"/>
                <a:gd name="T37" fmla="*/ 625 h 625"/>
                <a:gd name="T38" fmla="*/ 0 w 40"/>
                <a:gd name="T39" fmla="*/ 625 h 625"/>
                <a:gd name="T40" fmla="*/ 0 w 40"/>
                <a:gd name="T41" fmla="*/ 586 h 625"/>
                <a:gd name="T42" fmla="*/ 2 w 40"/>
                <a:gd name="T43" fmla="*/ 567 h 625"/>
                <a:gd name="T44" fmla="*/ 3 w 40"/>
                <a:gd name="T45" fmla="*/ 545 h 625"/>
                <a:gd name="T46" fmla="*/ 3 w 40"/>
                <a:gd name="T47" fmla="*/ 522 h 625"/>
                <a:gd name="T48" fmla="*/ 5 w 40"/>
                <a:gd name="T49" fmla="*/ 471 h 625"/>
                <a:gd name="T50" fmla="*/ 7 w 40"/>
                <a:gd name="T51" fmla="*/ 420 h 625"/>
                <a:gd name="T52" fmla="*/ 8 w 40"/>
                <a:gd name="T53" fmla="*/ 394 h 625"/>
                <a:gd name="T54" fmla="*/ 8 w 40"/>
                <a:gd name="T55" fmla="*/ 289 h 625"/>
                <a:gd name="T56" fmla="*/ 7 w 40"/>
                <a:gd name="T57" fmla="*/ 273 h 625"/>
                <a:gd name="T58" fmla="*/ 5 w 40"/>
                <a:gd name="T59" fmla="*/ 257 h 625"/>
                <a:gd name="T60" fmla="*/ 7 w 40"/>
                <a:gd name="T61" fmla="*/ 219 h 625"/>
                <a:gd name="T62" fmla="*/ 8 w 40"/>
                <a:gd name="T63" fmla="*/ 180 h 625"/>
                <a:gd name="T64" fmla="*/ 16 w 40"/>
                <a:gd name="T65" fmla="*/ 100 h 625"/>
                <a:gd name="T66" fmla="*/ 21 w 40"/>
                <a:gd name="T67" fmla="*/ 62 h 625"/>
                <a:gd name="T68" fmla="*/ 26 w 40"/>
                <a:gd name="T69" fmla="*/ 28 h 625"/>
                <a:gd name="T70" fmla="*/ 29 w 40"/>
                <a:gd name="T71" fmla="*/ 13 h 625"/>
                <a:gd name="T72" fmla="*/ 32 w 40"/>
                <a:gd name="T73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25">
                  <a:moveTo>
                    <a:pt x="32" y="0"/>
                  </a:moveTo>
                  <a:lnTo>
                    <a:pt x="40" y="1"/>
                  </a:lnTo>
                  <a:lnTo>
                    <a:pt x="38" y="13"/>
                  </a:lnTo>
                  <a:lnTo>
                    <a:pt x="35" y="28"/>
                  </a:lnTo>
                  <a:lnTo>
                    <a:pt x="30" y="62"/>
                  </a:lnTo>
                  <a:lnTo>
                    <a:pt x="25" y="100"/>
                  </a:lnTo>
                  <a:lnTo>
                    <a:pt x="17" y="180"/>
                  </a:lnTo>
                  <a:lnTo>
                    <a:pt x="16" y="219"/>
                  </a:lnTo>
                  <a:lnTo>
                    <a:pt x="14" y="257"/>
                  </a:lnTo>
                  <a:lnTo>
                    <a:pt x="16" y="273"/>
                  </a:lnTo>
                  <a:lnTo>
                    <a:pt x="17" y="289"/>
                  </a:lnTo>
                  <a:lnTo>
                    <a:pt x="17" y="394"/>
                  </a:lnTo>
                  <a:lnTo>
                    <a:pt x="16" y="420"/>
                  </a:lnTo>
                  <a:lnTo>
                    <a:pt x="14" y="471"/>
                  </a:lnTo>
                  <a:lnTo>
                    <a:pt x="12" y="522"/>
                  </a:lnTo>
                  <a:lnTo>
                    <a:pt x="12" y="545"/>
                  </a:lnTo>
                  <a:lnTo>
                    <a:pt x="11" y="567"/>
                  </a:lnTo>
                  <a:lnTo>
                    <a:pt x="9" y="586"/>
                  </a:lnTo>
                  <a:lnTo>
                    <a:pt x="9" y="625"/>
                  </a:lnTo>
                  <a:lnTo>
                    <a:pt x="0" y="625"/>
                  </a:lnTo>
                  <a:lnTo>
                    <a:pt x="0" y="586"/>
                  </a:lnTo>
                  <a:lnTo>
                    <a:pt x="2" y="567"/>
                  </a:lnTo>
                  <a:lnTo>
                    <a:pt x="3" y="545"/>
                  </a:lnTo>
                  <a:lnTo>
                    <a:pt x="3" y="522"/>
                  </a:lnTo>
                  <a:lnTo>
                    <a:pt x="5" y="471"/>
                  </a:lnTo>
                  <a:lnTo>
                    <a:pt x="7" y="420"/>
                  </a:lnTo>
                  <a:lnTo>
                    <a:pt x="8" y="394"/>
                  </a:lnTo>
                  <a:lnTo>
                    <a:pt x="8" y="289"/>
                  </a:lnTo>
                  <a:lnTo>
                    <a:pt x="7" y="273"/>
                  </a:lnTo>
                  <a:lnTo>
                    <a:pt x="5" y="257"/>
                  </a:lnTo>
                  <a:lnTo>
                    <a:pt x="7" y="219"/>
                  </a:lnTo>
                  <a:lnTo>
                    <a:pt x="8" y="180"/>
                  </a:lnTo>
                  <a:lnTo>
                    <a:pt x="16" y="100"/>
                  </a:lnTo>
                  <a:lnTo>
                    <a:pt x="21" y="62"/>
                  </a:lnTo>
                  <a:lnTo>
                    <a:pt x="26" y="28"/>
                  </a:lnTo>
                  <a:lnTo>
                    <a:pt x="29" y="13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1" name="Freeform 1597"/>
            <p:cNvSpPr>
              <a:spLocks/>
            </p:cNvSpPr>
            <p:nvPr/>
          </p:nvSpPr>
          <p:spPr bwMode="auto">
            <a:xfrm>
              <a:off x="10380663" y="938213"/>
              <a:ext cx="177800" cy="515938"/>
            </a:xfrm>
            <a:custGeom>
              <a:avLst/>
              <a:gdLst>
                <a:gd name="T0" fmla="*/ 26 w 112"/>
                <a:gd name="T1" fmla="*/ 0 h 325"/>
                <a:gd name="T2" fmla="*/ 36 w 112"/>
                <a:gd name="T3" fmla="*/ 2 h 325"/>
                <a:gd name="T4" fmla="*/ 46 w 112"/>
                <a:gd name="T5" fmla="*/ 8 h 325"/>
                <a:gd name="T6" fmla="*/ 58 w 112"/>
                <a:gd name="T7" fmla="*/ 17 h 325"/>
                <a:gd name="T8" fmla="*/ 69 w 112"/>
                <a:gd name="T9" fmla="*/ 30 h 325"/>
                <a:gd name="T10" fmla="*/ 80 w 112"/>
                <a:gd name="T11" fmla="*/ 47 h 325"/>
                <a:gd name="T12" fmla="*/ 90 w 112"/>
                <a:gd name="T13" fmla="*/ 70 h 325"/>
                <a:gd name="T14" fmla="*/ 98 w 112"/>
                <a:gd name="T15" fmla="*/ 97 h 325"/>
                <a:gd name="T16" fmla="*/ 103 w 112"/>
                <a:gd name="T17" fmla="*/ 129 h 325"/>
                <a:gd name="T18" fmla="*/ 107 w 112"/>
                <a:gd name="T19" fmla="*/ 159 h 325"/>
                <a:gd name="T20" fmla="*/ 109 w 112"/>
                <a:gd name="T21" fmla="*/ 190 h 325"/>
                <a:gd name="T22" fmla="*/ 112 w 112"/>
                <a:gd name="T23" fmla="*/ 220 h 325"/>
                <a:gd name="T24" fmla="*/ 112 w 112"/>
                <a:gd name="T25" fmla="*/ 247 h 325"/>
                <a:gd name="T26" fmla="*/ 110 w 112"/>
                <a:gd name="T27" fmla="*/ 271 h 325"/>
                <a:gd name="T28" fmla="*/ 109 w 112"/>
                <a:gd name="T29" fmla="*/ 293 h 325"/>
                <a:gd name="T30" fmla="*/ 104 w 112"/>
                <a:gd name="T31" fmla="*/ 310 h 325"/>
                <a:gd name="T32" fmla="*/ 99 w 112"/>
                <a:gd name="T33" fmla="*/ 320 h 325"/>
                <a:gd name="T34" fmla="*/ 90 w 112"/>
                <a:gd name="T35" fmla="*/ 325 h 325"/>
                <a:gd name="T36" fmla="*/ 81 w 112"/>
                <a:gd name="T37" fmla="*/ 322 h 325"/>
                <a:gd name="T38" fmla="*/ 73 w 112"/>
                <a:gd name="T39" fmla="*/ 315 h 325"/>
                <a:gd name="T40" fmla="*/ 64 w 112"/>
                <a:gd name="T41" fmla="*/ 299 h 325"/>
                <a:gd name="T42" fmla="*/ 56 w 112"/>
                <a:gd name="T43" fmla="*/ 281 h 325"/>
                <a:gd name="T44" fmla="*/ 48 w 112"/>
                <a:gd name="T45" fmla="*/ 258 h 325"/>
                <a:gd name="T46" fmla="*/ 40 w 112"/>
                <a:gd name="T47" fmla="*/ 234 h 325"/>
                <a:gd name="T48" fmla="*/ 32 w 112"/>
                <a:gd name="T49" fmla="*/ 208 h 325"/>
                <a:gd name="T50" fmla="*/ 26 w 112"/>
                <a:gd name="T51" fmla="*/ 181 h 325"/>
                <a:gd name="T52" fmla="*/ 18 w 112"/>
                <a:gd name="T53" fmla="*/ 157 h 325"/>
                <a:gd name="T54" fmla="*/ 9 w 112"/>
                <a:gd name="T55" fmla="*/ 118 h 325"/>
                <a:gd name="T56" fmla="*/ 3 w 112"/>
                <a:gd name="T57" fmla="*/ 86 h 325"/>
                <a:gd name="T58" fmla="*/ 0 w 112"/>
                <a:gd name="T59" fmla="*/ 59 h 325"/>
                <a:gd name="T60" fmla="*/ 0 w 112"/>
                <a:gd name="T61" fmla="*/ 38 h 325"/>
                <a:gd name="T62" fmla="*/ 4 w 112"/>
                <a:gd name="T63" fmla="*/ 21 h 325"/>
                <a:gd name="T64" fmla="*/ 9 w 112"/>
                <a:gd name="T65" fmla="*/ 9 h 325"/>
                <a:gd name="T66" fmla="*/ 17 w 112"/>
                <a:gd name="T67" fmla="*/ 3 h 325"/>
                <a:gd name="T68" fmla="*/ 26 w 112"/>
                <a:gd name="T69" fmla="*/ 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2" h="325">
                  <a:moveTo>
                    <a:pt x="26" y="0"/>
                  </a:moveTo>
                  <a:lnTo>
                    <a:pt x="36" y="2"/>
                  </a:lnTo>
                  <a:lnTo>
                    <a:pt x="46" y="8"/>
                  </a:lnTo>
                  <a:lnTo>
                    <a:pt x="58" y="17"/>
                  </a:lnTo>
                  <a:lnTo>
                    <a:pt x="69" y="30"/>
                  </a:lnTo>
                  <a:lnTo>
                    <a:pt x="80" y="47"/>
                  </a:lnTo>
                  <a:lnTo>
                    <a:pt x="90" y="70"/>
                  </a:lnTo>
                  <a:lnTo>
                    <a:pt x="98" y="97"/>
                  </a:lnTo>
                  <a:lnTo>
                    <a:pt x="103" y="129"/>
                  </a:lnTo>
                  <a:lnTo>
                    <a:pt x="107" y="159"/>
                  </a:lnTo>
                  <a:lnTo>
                    <a:pt x="109" y="190"/>
                  </a:lnTo>
                  <a:lnTo>
                    <a:pt x="112" y="220"/>
                  </a:lnTo>
                  <a:lnTo>
                    <a:pt x="112" y="247"/>
                  </a:lnTo>
                  <a:lnTo>
                    <a:pt x="110" y="271"/>
                  </a:lnTo>
                  <a:lnTo>
                    <a:pt x="109" y="293"/>
                  </a:lnTo>
                  <a:lnTo>
                    <a:pt x="104" y="310"/>
                  </a:lnTo>
                  <a:lnTo>
                    <a:pt x="99" y="320"/>
                  </a:lnTo>
                  <a:lnTo>
                    <a:pt x="90" y="325"/>
                  </a:lnTo>
                  <a:lnTo>
                    <a:pt x="81" y="322"/>
                  </a:lnTo>
                  <a:lnTo>
                    <a:pt x="73" y="315"/>
                  </a:lnTo>
                  <a:lnTo>
                    <a:pt x="64" y="299"/>
                  </a:lnTo>
                  <a:lnTo>
                    <a:pt x="56" y="281"/>
                  </a:lnTo>
                  <a:lnTo>
                    <a:pt x="48" y="258"/>
                  </a:lnTo>
                  <a:lnTo>
                    <a:pt x="40" y="234"/>
                  </a:lnTo>
                  <a:lnTo>
                    <a:pt x="32" y="208"/>
                  </a:lnTo>
                  <a:lnTo>
                    <a:pt x="26" y="181"/>
                  </a:lnTo>
                  <a:lnTo>
                    <a:pt x="18" y="157"/>
                  </a:lnTo>
                  <a:lnTo>
                    <a:pt x="9" y="118"/>
                  </a:lnTo>
                  <a:lnTo>
                    <a:pt x="3" y="86"/>
                  </a:lnTo>
                  <a:lnTo>
                    <a:pt x="0" y="59"/>
                  </a:lnTo>
                  <a:lnTo>
                    <a:pt x="0" y="38"/>
                  </a:lnTo>
                  <a:lnTo>
                    <a:pt x="4" y="21"/>
                  </a:lnTo>
                  <a:lnTo>
                    <a:pt x="9" y="9"/>
                  </a:lnTo>
                  <a:lnTo>
                    <a:pt x="17" y="3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2" name="Freeform 1598"/>
            <p:cNvSpPr>
              <a:spLocks/>
            </p:cNvSpPr>
            <p:nvPr/>
          </p:nvSpPr>
          <p:spPr bwMode="auto">
            <a:xfrm>
              <a:off x="10366376" y="1365250"/>
              <a:ext cx="185738" cy="398463"/>
            </a:xfrm>
            <a:custGeom>
              <a:avLst/>
              <a:gdLst>
                <a:gd name="T0" fmla="*/ 108 w 117"/>
                <a:gd name="T1" fmla="*/ 0 h 251"/>
                <a:gd name="T2" fmla="*/ 114 w 117"/>
                <a:gd name="T3" fmla="*/ 5 h 251"/>
                <a:gd name="T4" fmla="*/ 117 w 117"/>
                <a:gd name="T5" fmla="*/ 18 h 251"/>
                <a:gd name="T6" fmla="*/ 116 w 117"/>
                <a:gd name="T7" fmla="*/ 34 h 251"/>
                <a:gd name="T8" fmla="*/ 113 w 117"/>
                <a:gd name="T9" fmla="*/ 48 h 251"/>
                <a:gd name="T10" fmla="*/ 109 w 117"/>
                <a:gd name="T11" fmla="*/ 66 h 251"/>
                <a:gd name="T12" fmla="*/ 103 w 117"/>
                <a:gd name="T13" fmla="*/ 87 h 251"/>
                <a:gd name="T14" fmla="*/ 96 w 117"/>
                <a:gd name="T15" fmla="*/ 106 h 251"/>
                <a:gd name="T16" fmla="*/ 90 w 117"/>
                <a:gd name="T17" fmla="*/ 123 h 251"/>
                <a:gd name="T18" fmla="*/ 80 w 117"/>
                <a:gd name="T19" fmla="*/ 142 h 251"/>
                <a:gd name="T20" fmla="*/ 68 w 117"/>
                <a:gd name="T21" fmla="*/ 163 h 251"/>
                <a:gd name="T22" fmla="*/ 58 w 117"/>
                <a:gd name="T23" fmla="*/ 183 h 251"/>
                <a:gd name="T24" fmla="*/ 46 w 117"/>
                <a:gd name="T25" fmla="*/ 202 h 251"/>
                <a:gd name="T26" fmla="*/ 36 w 117"/>
                <a:gd name="T27" fmla="*/ 220 h 251"/>
                <a:gd name="T28" fmla="*/ 26 w 117"/>
                <a:gd name="T29" fmla="*/ 234 h 251"/>
                <a:gd name="T30" fmla="*/ 17 w 117"/>
                <a:gd name="T31" fmla="*/ 245 h 251"/>
                <a:gd name="T32" fmla="*/ 9 w 117"/>
                <a:gd name="T33" fmla="*/ 251 h 251"/>
                <a:gd name="T34" fmla="*/ 4 w 117"/>
                <a:gd name="T35" fmla="*/ 251 h 251"/>
                <a:gd name="T36" fmla="*/ 0 w 117"/>
                <a:gd name="T37" fmla="*/ 245 h 251"/>
                <a:gd name="T38" fmla="*/ 0 w 117"/>
                <a:gd name="T39" fmla="*/ 236 h 251"/>
                <a:gd name="T40" fmla="*/ 1 w 117"/>
                <a:gd name="T41" fmla="*/ 222 h 251"/>
                <a:gd name="T42" fmla="*/ 5 w 117"/>
                <a:gd name="T43" fmla="*/ 205 h 251"/>
                <a:gd name="T44" fmla="*/ 9 w 117"/>
                <a:gd name="T45" fmla="*/ 187 h 251"/>
                <a:gd name="T46" fmla="*/ 15 w 117"/>
                <a:gd name="T47" fmla="*/ 168 h 251"/>
                <a:gd name="T48" fmla="*/ 22 w 117"/>
                <a:gd name="T49" fmla="*/ 148 h 251"/>
                <a:gd name="T50" fmla="*/ 27 w 117"/>
                <a:gd name="T51" fmla="*/ 130 h 251"/>
                <a:gd name="T52" fmla="*/ 33 w 117"/>
                <a:gd name="T53" fmla="*/ 114 h 251"/>
                <a:gd name="T54" fmla="*/ 48 w 117"/>
                <a:gd name="T55" fmla="*/ 75 h 251"/>
                <a:gd name="T56" fmla="*/ 62 w 117"/>
                <a:gd name="T57" fmla="*/ 46 h 251"/>
                <a:gd name="T58" fmla="*/ 74 w 117"/>
                <a:gd name="T59" fmla="*/ 24 h 251"/>
                <a:gd name="T60" fmla="*/ 87 w 117"/>
                <a:gd name="T61" fmla="*/ 9 h 251"/>
                <a:gd name="T62" fmla="*/ 99 w 117"/>
                <a:gd name="T63" fmla="*/ 1 h 251"/>
                <a:gd name="T64" fmla="*/ 108 w 117"/>
                <a:gd name="T65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251">
                  <a:moveTo>
                    <a:pt x="108" y="0"/>
                  </a:moveTo>
                  <a:lnTo>
                    <a:pt x="114" y="5"/>
                  </a:lnTo>
                  <a:lnTo>
                    <a:pt x="117" y="18"/>
                  </a:lnTo>
                  <a:lnTo>
                    <a:pt x="116" y="34"/>
                  </a:lnTo>
                  <a:lnTo>
                    <a:pt x="113" y="48"/>
                  </a:lnTo>
                  <a:lnTo>
                    <a:pt x="109" y="66"/>
                  </a:lnTo>
                  <a:lnTo>
                    <a:pt x="103" y="87"/>
                  </a:lnTo>
                  <a:lnTo>
                    <a:pt x="96" y="106"/>
                  </a:lnTo>
                  <a:lnTo>
                    <a:pt x="90" y="123"/>
                  </a:lnTo>
                  <a:lnTo>
                    <a:pt x="80" y="142"/>
                  </a:lnTo>
                  <a:lnTo>
                    <a:pt x="68" y="163"/>
                  </a:lnTo>
                  <a:lnTo>
                    <a:pt x="58" y="183"/>
                  </a:lnTo>
                  <a:lnTo>
                    <a:pt x="46" y="202"/>
                  </a:lnTo>
                  <a:lnTo>
                    <a:pt x="36" y="220"/>
                  </a:lnTo>
                  <a:lnTo>
                    <a:pt x="26" y="234"/>
                  </a:lnTo>
                  <a:lnTo>
                    <a:pt x="17" y="245"/>
                  </a:lnTo>
                  <a:lnTo>
                    <a:pt x="9" y="251"/>
                  </a:lnTo>
                  <a:lnTo>
                    <a:pt x="4" y="251"/>
                  </a:lnTo>
                  <a:lnTo>
                    <a:pt x="0" y="245"/>
                  </a:lnTo>
                  <a:lnTo>
                    <a:pt x="0" y="236"/>
                  </a:lnTo>
                  <a:lnTo>
                    <a:pt x="1" y="222"/>
                  </a:lnTo>
                  <a:lnTo>
                    <a:pt x="5" y="205"/>
                  </a:lnTo>
                  <a:lnTo>
                    <a:pt x="9" y="187"/>
                  </a:lnTo>
                  <a:lnTo>
                    <a:pt x="15" y="168"/>
                  </a:lnTo>
                  <a:lnTo>
                    <a:pt x="22" y="148"/>
                  </a:lnTo>
                  <a:lnTo>
                    <a:pt x="27" y="130"/>
                  </a:lnTo>
                  <a:lnTo>
                    <a:pt x="33" y="114"/>
                  </a:lnTo>
                  <a:lnTo>
                    <a:pt x="48" y="75"/>
                  </a:lnTo>
                  <a:lnTo>
                    <a:pt x="62" y="46"/>
                  </a:lnTo>
                  <a:lnTo>
                    <a:pt x="74" y="24"/>
                  </a:lnTo>
                  <a:lnTo>
                    <a:pt x="87" y="9"/>
                  </a:lnTo>
                  <a:lnTo>
                    <a:pt x="99" y="1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3" name="Freeform 1599"/>
            <p:cNvSpPr>
              <a:spLocks/>
            </p:cNvSpPr>
            <p:nvPr/>
          </p:nvSpPr>
          <p:spPr bwMode="auto">
            <a:xfrm>
              <a:off x="10229851" y="1655763"/>
              <a:ext cx="201613" cy="220663"/>
            </a:xfrm>
            <a:custGeom>
              <a:avLst/>
              <a:gdLst>
                <a:gd name="T0" fmla="*/ 109 w 127"/>
                <a:gd name="T1" fmla="*/ 1 h 139"/>
                <a:gd name="T2" fmla="*/ 119 w 127"/>
                <a:gd name="T3" fmla="*/ 9 h 139"/>
                <a:gd name="T4" fmla="*/ 123 w 127"/>
                <a:gd name="T5" fmla="*/ 15 h 139"/>
                <a:gd name="T6" fmla="*/ 126 w 127"/>
                <a:gd name="T7" fmla="*/ 18 h 139"/>
                <a:gd name="T8" fmla="*/ 127 w 127"/>
                <a:gd name="T9" fmla="*/ 21 h 139"/>
                <a:gd name="T10" fmla="*/ 127 w 127"/>
                <a:gd name="T11" fmla="*/ 24 h 139"/>
                <a:gd name="T12" fmla="*/ 123 w 127"/>
                <a:gd name="T13" fmla="*/ 33 h 139"/>
                <a:gd name="T14" fmla="*/ 105 w 127"/>
                <a:gd name="T15" fmla="*/ 68 h 139"/>
                <a:gd name="T16" fmla="*/ 87 w 127"/>
                <a:gd name="T17" fmla="*/ 101 h 139"/>
                <a:gd name="T18" fmla="*/ 73 w 127"/>
                <a:gd name="T19" fmla="*/ 123 h 139"/>
                <a:gd name="T20" fmla="*/ 66 w 127"/>
                <a:gd name="T21" fmla="*/ 126 h 139"/>
                <a:gd name="T22" fmla="*/ 71 w 127"/>
                <a:gd name="T23" fmla="*/ 112 h 139"/>
                <a:gd name="T24" fmla="*/ 80 w 127"/>
                <a:gd name="T25" fmla="*/ 96 h 139"/>
                <a:gd name="T26" fmla="*/ 77 w 127"/>
                <a:gd name="T27" fmla="*/ 96 h 139"/>
                <a:gd name="T28" fmla="*/ 67 w 127"/>
                <a:gd name="T29" fmla="*/ 112 h 139"/>
                <a:gd name="T30" fmla="*/ 53 w 127"/>
                <a:gd name="T31" fmla="*/ 128 h 139"/>
                <a:gd name="T32" fmla="*/ 44 w 127"/>
                <a:gd name="T33" fmla="*/ 139 h 139"/>
                <a:gd name="T34" fmla="*/ 42 w 127"/>
                <a:gd name="T35" fmla="*/ 128 h 139"/>
                <a:gd name="T36" fmla="*/ 53 w 127"/>
                <a:gd name="T37" fmla="*/ 103 h 139"/>
                <a:gd name="T38" fmla="*/ 51 w 127"/>
                <a:gd name="T39" fmla="*/ 100 h 139"/>
                <a:gd name="T40" fmla="*/ 40 w 127"/>
                <a:gd name="T41" fmla="*/ 109 h 139"/>
                <a:gd name="T42" fmla="*/ 27 w 127"/>
                <a:gd name="T43" fmla="*/ 123 h 139"/>
                <a:gd name="T44" fmla="*/ 18 w 127"/>
                <a:gd name="T45" fmla="*/ 131 h 139"/>
                <a:gd name="T46" fmla="*/ 18 w 127"/>
                <a:gd name="T47" fmla="*/ 123 h 139"/>
                <a:gd name="T48" fmla="*/ 31 w 127"/>
                <a:gd name="T49" fmla="*/ 105 h 139"/>
                <a:gd name="T50" fmla="*/ 44 w 127"/>
                <a:gd name="T51" fmla="*/ 89 h 139"/>
                <a:gd name="T52" fmla="*/ 37 w 127"/>
                <a:gd name="T53" fmla="*/ 90 h 139"/>
                <a:gd name="T54" fmla="*/ 24 w 127"/>
                <a:gd name="T55" fmla="*/ 100 h 139"/>
                <a:gd name="T56" fmla="*/ 9 w 127"/>
                <a:gd name="T57" fmla="*/ 110 h 139"/>
                <a:gd name="T58" fmla="*/ 0 w 127"/>
                <a:gd name="T59" fmla="*/ 114 h 139"/>
                <a:gd name="T60" fmla="*/ 5 w 127"/>
                <a:gd name="T61" fmla="*/ 104 h 139"/>
                <a:gd name="T62" fmla="*/ 27 w 127"/>
                <a:gd name="T63" fmla="*/ 81 h 139"/>
                <a:gd name="T64" fmla="*/ 48 w 127"/>
                <a:gd name="T65" fmla="*/ 60 h 139"/>
                <a:gd name="T66" fmla="*/ 53 w 127"/>
                <a:gd name="T67" fmla="*/ 51 h 139"/>
                <a:gd name="T68" fmla="*/ 44 w 127"/>
                <a:gd name="T69" fmla="*/ 54 h 139"/>
                <a:gd name="T70" fmla="*/ 30 w 127"/>
                <a:gd name="T71" fmla="*/ 59 h 139"/>
                <a:gd name="T72" fmla="*/ 23 w 127"/>
                <a:gd name="T73" fmla="*/ 58 h 139"/>
                <a:gd name="T74" fmla="*/ 31 w 127"/>
                <a:gd name="T75" fmla="*/ 49 h 139"/>
                <a:gd name="T76" fmla="*/ 58 w 127"/>
                <a:gd name="T77" fmla="*/ 36 h 139"/>
                <a:gd name="T78" fmla="*/ 85 w 127"/>
                <a:gd name="T79" fmla="*/ 19 h 139"/>
                <a:gd name="T80" fmla="*/ 98 w 127"/>
                <a:gd name="T81" fmla="*/ 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" h="139">
                  <a:moveTo>
                    <a:pt x="103" y="0"/>
                  </a:moveTo>
                  <a:lnTo>
                    <a:pt x="109" y="1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2" y="14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6" y="18"/>
                  </a:lnTo>
                  <a:lnTo>
                    <a:pt x="127" y="19"/>
                  </a:lnTo>
                  <a:lnTo>
                    <a:pt x="127" y="21"/>
                  </a:lnTo>
                  <a:lnTo>
                    <a:pt x="127" y="22"/>
                  </a:lnTo>
                  <a:lnTo>
                    <a:pt x="127" y="24"/>
                  </a:lnTo>
                  <a:lnTo>
                    <a:pt x="126" y="28"/>
                  </a:lnTo>
                  <a:lnTo>
                    <a:pt x="123" y="33"/>
                  </a:lnTo>
                  <a:lnTo>
                    <a:pt x="114" y="51"/>
                  </a:lnTo>
                  <a:lnTo>
                    <a:pt x="105" y="68"/>
                  </a:lnTo>
                  <a:lnTo>
                    <a:pt x="96" y="86"/>
                  </a:lnTo>
                  <a:lnTo>
                    <a:pt x="87" y="101"/>
                  </a:lnTo>
                  <a:lnTo>
                    <a:pt x="80" y="114"/>
                  </a:lnTo>
                  <a:lnTo>
                    <a:pt x="73" y="123"/>
                  </a:lnTo>
                  <a:lnTo>
                    <a:pt x="68" y="127"/>
                  </a:lnTo>
                  <a:lnTo>
                    <a:pt x="66" y="126"/>
                  </a:lnTo>
                  <a:lnTo>
                    <a:pt x="67" y="119"/>
                  </a:lnTo>
                  <a:lnTo>
                    <a:pt x="71" y="112"/>
                  </a:lnTo>
                  <a:lnTo>
                    <a:pt x="76" y="104"/>
                  </a:lnTo>
                  <a:lnTo>
                    <a:pt x="80" y="96"/>
                  </a:lnTo>
                  <a:lnTo>
                    <a:pt x="80" y="94"/>
                  </a:lnTo>
                  <a:lnTo>
                    <a:pt x="77" y="96"/>
                  </a:lnTo>
                  <a:lnTo>
                    <a:pt x="72" y="103"/>
                  </a:lnTo>
                  <a:lnTo>
                    <a:pt x="67" y="112"/>
                  </a:lnTo>
                  <a:lnTo>
                    <a:pt x="59" y="119"/>
                  </a:lnTo>
                  <a:lnTo>
                    <a:pt x="53" y="128"/>
                  </a:lnTo>
                  <a:lnTo>
                    <a:pt x="48" y="135"/>
                  </a:lnTo>
                  <a:lnTo>
                    <a:pt x="44" y="139"/>
                  </a:lnTo>
                  <a:lnTo>
                    <a:pt x="41" y="137"/>
                  </a:lnTo>
                  <a:lnTo>
                    <a:pt x="42" y="128"/>
                  </a:lnTo>
                  <a:lnTo>
                    <a:pt x="48" y="117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1" y="100"/>
                  </a:lnTo>
                  <a:lnTo>
                    <a:pt x="46" y="104"/>
                  </a:lnTo>
                  <a:lnTo>
                    <a:pt x="40" y="109"/>
                  </a:lnTo>
                  <a:lnTo>
                    <a:pt x="33" y="117"/>
                  </a:lnTo>
                  <a:lnTo>
                    <a:pt x="27" y="123"/>
                  </a:lnTo>
                  <a:lnTo>
                    <a:pt x="22" y="128"/>
                  </a:lnTo>
                  <a:lnTo>
                    <a:pt x="18" y="131"/>
                  </a:lnTo>
                  <a:lnTo>
                    <a:pt x="15" y="131"/>
                  </a:lnTo>
                  <a:lnTo>
                    <a:pt x="18" y="123"/>
                  </a:lnTo>
                  <a:lnTo>
                    <a:pt x="23" y="116"/>
                  </a:lnTo>
                  <a:lnTo>
                    <a:pt x="31" y="105"/>
                  </a:lnTo>
                  <a:lnTo>
                    <a:pt x="41" y="92"/>
                  </a:lnTo>
                  <a:lnTo>
                    <a:pt x="44" y="89"/>
                  </a:lnTo>
                  <a:lnTo>
                    <a:pt x="41" y="89"/>
                  </a:lnTo>
                  <a:lnTo>
                    <a:pt x="37" y="90"/>
                  </a:lnTo>
                  <a:lnTo>
                    <a:pt x="31" y="95"/>
                  </a:lnTo>
                  <a:lnTo>
                    <a:pt x="24" y="100"/>
                  </a:lnTo>
                  <a:lnTo>
                    <a:pt x="17" y="105"/>
                  </a:lnTo>
                  <a:lnTo>
                    <a:pt x="9" y="110"/>
                  </a:lnTo>
                  <a:lnTo>
                    <a:pt x="4" y="113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5" y="104"/>
                  </a:lnTo>
                  <a:lnTo>
                    <a:pt x="15" y="92"/>
                  </a:lnTo>
                  <a:lnTo>
                    <a:pt x="27" y="81"/>
                  </a:lnTo>
                  <a:lnTo>
                    <a:pt x="39" y="71"/>
                  </a:lnTo>
                  <a:lnTo>
                    <a:pt x="48" y="60"/>
                  </a:lnTo>
                  <a:lnTo>
                    <a:pt x="54" y="53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4" y="54"/>
                  </a:lnTo>
                  <a:lnTo>
                    <a:pt x="36" y="56"/>
                  </a:lnTo>
                  <a:lnTo>
                    <a:pt x="30" y="59"/>
                  </a:lnTo>
                  <a:lnTo>
                    <a:pt x="24" y="59"/>
                  </a:lnTo>
                  <a:lnTo>
                    <a:pt x="23" y="58"/>
                  </a:lnTo>
                  <a:lnTo>
                    <a:pt x="24" y="54"/>
                  </a:lnTo>
                  <a:lnTo>
                    <a:pt x="31" y="49"/>
                  </a:lnTo>
                  <a:lnTo>
                    <a:pt x="44" y="42"/>
                  </a:lnTo>
                  <a:lnTo>
                    <a:pt x="58" y="36"/>
                  </a:lnTo>
                  <a:lnTo>
                    <a:pt x="72" y="28"/>
                  </a:lnTo>
                  <a:lnTo>
                    <a:pt x="85" y="19"/>
                  </a:lnTo>
                  <a:lnTo>
                    <a:pt x="92" y="9"/>
                  </a:lnTo>
                  <a:lnTo>
                    <a:pt x="98" y="3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4" name="Freeform 1600"/>
            <p:cNvSpPr>
              <a:spLocks/>
            </p:cNvSpPr>
            <p:nvPr/>
          </p:nvSpPr>
          <p:spPr bwMode="auto">
            <a:xfrm>
              <a:off x="10212388" y="1676400"/>
              <a:ext cx="182563" cy="239713"/>
            </a:xfrm>
            <a:custGeom>
              <a:avLst/>
              <a:gdLst>
                <a:gd name="T0" fmla="*/ 74 w 115"/>
                <a:gd name="T1" fmla="*/ 0 h 151"/>
                <a:gd name="T2" fmla="*/ 115 w 115"/>
                <a:gd name="T3" fmla="*/ 69 h 151"/>
                <a:gd name="T4" fmla="*/ 85 w 115"/>
                <a:gd name="T5" fmla="*/ 151 h 151"/>
                <a:gd name="T6" fmla="*/ 0 w 115"/>
                <a:gd name="T7" fmla="*/ 106 h 151"/>
                <a:gd name="T8" fmla="*/ 33 w 115"/>
                <a:gd name="T9" fmla="*/ 1 h 151"/>
                <a:gd name="T10" fmla="*/ 74 w 115"/>
                <a:gd name="T1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151">
                  <a:moveTo>
                    <a:pt x="74" y="0"/>
                  </a:moveTo>
                  <a:lnTo>
                    <a:pt x="115" y="69"/>
                  </a:lnTo>
                  <a:lnTo>
                    <a:pt x="85" y="151"/>
                  </a:lnTo>
                  <a:lnTo>
                    <a:pt x="0" y="106"/>
                  </a:lnTo>
                  <a:lnTo>
                    <a:pt x="33" y="1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5" name="Freeform 1601"/>
            <p:cNvSpPr>
              <a:spLocks/>
            </p:cNvSpPr>
            <p:nvPr/>
          </p:nvSpPr>
          <p:spPr bwMode="auto">
            <a:xfrm>
              <a:off x="10342563" y="923925"/>
              <a:ext cx="227013" cy="506413"/>
            </a:xfrm>
            <a:custGeom>
              <a:avLst/>
              <a:gdLst>
                <a:gd name="T0" fmla="*/ 55 w 143"/>
                <a:gd name="T1" fmla="*/ 0 h 319"/>
                <a:gd name="T2" fmla="*/ 74 w 143"/>
                <a:gd name="T3" fmla="*/ 13 h 319"/>
                <a:gd name="T4" fmla="*/ 91 w 143"/>
                <a:gd name="T5" fmla="*/ 30 h 319"/>
                <a:gd name="T6" fmla="*/ 104 w 143"/>
                <a:gd name="T7" fmla="*/ 53 h 319"/>
                <a:gd name="T8" fmla="*/ 115 w 143"/>
                <a:gd name="T9" fmla="*/ 79 h 319"/>
                <a:gd name="T10" fmla="*/ 124 w 143"/>
                <a:gd name="T11" fmla="*/ 108 h 319"/>
                <a:gd name="T12" fmla="*/ 132 w 143"/>
                <a:gd name="T13" fmla="*/ 139 h 319"/>
                <a:gd name="T14" fmla="*/ 137 w 143"/>
                <a:gd name="T15" fmla="*/ 172 h 319"/>
                <a:gd name="T16" fmla="*/ 141 w 143"/>
                <a:gd name="T17" fmla="*/ 204 h 319"/>
                <a:gd name="T18" fmla="*/ 142 w 143"/>
                <a:gd name="T19" fmla="*/ 236 h 319"/>
                <a:gd name="T20" fmla="*/ 143 w 143"/>
                <a:gd name="T21" fmla="*/ 267 h 319"/>
                <a:gd name="T22" fmla="*/ 143 w 143"/>
                <a:gd name="T23" fmla="*/ 294 h 319"/>
                <a:gd name="T24" fmla="*/ 143 w 143"/>
                <a:gd name="T25" fmla="*/ 319 h 319"/>
                <a:gd name="T26" fmla="*/ 72 w 143"/>
                <a:gd name="T27" fmla="*/ 305 h 319"/>
                <a:gd name="T28" fmla="*/ 66 w 143"/>
                <a:gd name="T29" fmla="*/ 284 h 319"/>
                <a:gd name="T30" fmla="*/ 60 w 143"/>
                <a:gd name="T31" fmla="*/ 258 h 319"/>
                <a:gd name="T32" fmla="*/ 54 w 143"/>
                <a:gd name="T33" fmla="*/ 228 h 319"/>
                <a:gd name="T34" fmla="*/ 45 w 143"/>
                <a:gd name="T35" fmla="*/ 195 h 319"/>
                <a:gd name="T36" fmla="*/ 36 w 143"/>
                <a:gd name="T37" fmla="*/ 163 h 319"/>
                <a:gd name="T38" fmla="*/ 25 w 143"/>
                <a:gd name="T39" fmla="*/ 134 h 319"/>
                <a:gd name="T40" fmla="*/ 12 w 143"/>
                <a:gd name="T41" fmla="*/ 108 h 319"/>
                <a:gd name="T42" fmla="*/ 2 w 143"/>
                <a:gd name="T43" fmla="*/ 85 h 319"/>
                <a:gd name="T44" fmla="*/ 0 w 143"/>
                <a:gd name="T45" fmla="*/ 63 h 319"/>
                <a:gd name="T46" fmla="*/ 2 w 143"/>
                <a:gd name="T47" fmla="*/ 43 h 319"/>
                <a:gd name="T48" fmla="*/ 11 w 143"/>
                <a:gd name="T49" fmla="*/ 26 h 319"/>
                <a:gd name="T50" fmla="*/ 23 w 143"/>
                <a:gd name="T51" fmla="*/ 12 h 319"/>
                <a:gd name="T52" fmla="*/ 38 w 143"/>
                <a:gd name="T53" fmla="*/ 4 h 319"/>
                <a:gd name="T54" fmla="*/ 55 w 143"/>
                <a:gd name="T5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319">
                  <a:moveTo>
                    <a:pt x="55" y="0"/>
                  </a:moveTo>
                  <a:lnTo>
                    <a:pt x="74" y="13"/>
                  </a:lnTo>
                  <a:lnTo>
                    <a:pt x="91" y="30"/>
                  </a:lnTo>
                  <a:lnTo>
                    <a:pt x="104" y="53"/>
                  </a:lnTo>
                  <a:lnTo>
                    <a:pt x="115" y="79"/>
                  </a:lnTo>
                  <a:lnTo>
                    <a:pt x="124" y="108"/>
                  </a:lnTo>
                  <a:lnTo>
                    <a:pt x="132" y="139"/>
                  </a:lnTo>
                  <a:lnTo>
                    <a:pt x="137" y="172"/>
                  </a:lnTo>
                  <a:lnTo>
                    <a:pt x="141" y="204"/>
                  </a:lnTo>
                  <a:lnTo>
                    <a:pt x="142" y="236"/>
                  </a:lnTo>
                  <a:lnTo>
                    <a:pt x="143" y="267"/>
                  </a:lnTo>
                  <a:lnTo>
                    <a:pt x="143" y="294"/>
                  </a:lnTo>
                  <a:lnTo>
                    <a:pt x="143" y="319"/>
                  </a:lnTo>
                  <a:lnTo>
                    <a:pt x="72" y="305"/>
                  </a:lnTo>
                  <a:lnTo>
                    <a:pt x="66" y="284"/>
                  </a:lnTo>
                  <a:lnTo>
                    <a:pt x="60" y="258"/>
                  </a:lnTo>
                  <a:lnTo>
                    <a:pt x="54" y="228"/>
                  </a:lnTo>
                  <a:lnTo>
                    <a:pt x="45" y="195"/>
                  </a:lnTo>
                  <a:lnTo>
                    <a:pt x="36" y="163"/>
                  </a:lnTo>
                  <a:lnTo>
                    <a:pt x="25" y="134"/>
                  </a:lnTo>
                  <a:lnTo>
                    <a:pt x="12" y="108"/>
                  </a:lnTo>
                  <a:lnTo>
                    <a:pt x="2" y="85"/>
                  </a:lnTo>
                  <a:lnTo>
                    <a:pt x="0" y="63"/>
                  </a:lnTo>
                  <a:lnTo>
                    <a:pt x="2" y="43"/>
                  </a:lnTo>
                  <a:lnTo>
                    <a:pt x="11" y="26"/>
                  </a:lnTo>
                  <a:lnTo>
                    <a:pt x="23" y="12"/>
                  </a:lnTo>
                  <a:lnTo>
                    <a:pt x="38" y="4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6" name="Freeform 1602"/>
            <p:cNvSpPr>
              <a:spLocks/>
            </p:cNvSpPr>
            <p:nvPr/>
          </p:nvSpPr>
          <p:spPr bwMode="auto">
            <a:xfrm>
              <a:off x="10336213" y="1398588"/>
              <a:ext cx="236538" cy="374650"/>
            </a:xfrm>
            <a:custGeom>
              <a:avLst/>
              <a:gdLst>
                <a:gd name="T0" fmla="*/ 74 w 149"/>
                <a:gd name="T1" fmla="*/ 0 h 236"/>
                <a:gd name="T2" fmla="*/ 149 w 149"/>
                <a:gd name="T3" fmla="*/ 3 h 236"/>
                <a:gd name="T4" fmla="*/ 144 w 149"/>
                <a:gd name="T5" fmla="*/ 44 h 236"/>
                <a:gd name="T6" fmla="*/ 133 w 149"/>
                <a:gd name="T7" fmla="*/ 84 h 236"/>
                <a:gd name="T8" fmla="*/ 119 w 149"/>
                <a:gd name="T9" fmla="*/ 120 h 236"/>
                <a:gd name="T10" fmla="*/ 104 w 149"/>
                <a:gd name="T11" fmla="*/ 153 h 236"/>
                <a:gd name="T12" fmla="*/ 87 w 149"/>
                <a:gd name="T13" fmla="*/ 184 h 236"/>
                <a:gd name="T14" fmla="*/ 70 w 149"/>
                <a:gd name="T15" fmla="*/ 212 h 236"/>
                <a:gd name="T16" fmla="*/ 55 w 149"/>
                <a:gd name="T17" fmla="*/ 236 h 236"/>
                <a:gd name="T18" fmla="*/ 40 w 149"/>
                <a:gd name="T19" fmla="*/ 226 h 236"/>
                <a:gd name="T20" fmla="*/ 24 w 149"/>
                <a:gd name="T21" fmla="*/ 215 h 236"/>
                <a:gd name="T22" fmla="*/ 10 w 149"/>
                <a:gd name="T23" fmla="*/ 202 h 236"/>
                <a:gd name="T24" fmla="*/ 0 w 149"/>
                <a:gd name="T25" fmla="*/ 189 h 236"/>
                <a:gd name="T26" fmla="*/ 10 w 149"/>
                <a:gd name="T27" fmla="*/ 168 h 236"/>
                <a:gd name="T28" fmla="*/ 22 w 149"/>
                <a:gd name="T29" fmla="*/ 144 h 236"/>
                <a:gd name="T30" fmla="*/ 36 w 149"/>
                <a:gd name="T31" fmla="*/ 117 h 236"/>
                <a:gd name="T32" fmla="*/ 50 w 149"/>
                <a:gd name="T33" fmla="*/ 88 h 236"/>
                <a:gd name="T34" fmla="*/ 61 w 149"/>
                <a:gd name="T35" fmla="*/ 58 h 236"/>
                <a:gd name="T36" fmla="*/ 70 w 149"/>
                <a:gd name="T37" fmla="*/ 29 h 236"/>
                <a:gd name="T38" fmla="*/ 74 w 149"/>
                <a:gd name="T3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6">
                  <a:moveTo>
                    <a:pt x="74" y="0"/>
                  </a:moveTo>
                  <a:lnTo>
                    <a:pt x="149" y="3"/>
                  </a:lnTo>
                  <a:lnTo>
                    <a:pt x="144" y="44"/>
                  </a:lnTo>
                  <a:lnTo>
                    <a:pt x="133" y="84"/>
                  </a:lnTo>
                  <a:lnTo>
                    <a:pt x="119" y="120"/>
                  </a:lnTo>
                  <a:lnTo>
                    <a:pt x="104" y="153"/>
                  </a:lnTo>
                  <a:lnTo>
                    <a:pt x="87" y="184"/>
                  </a:lnTo>
                  <a:lnTo>
                    <a:pt x="70" y="212"/>
                  </a:lnTo>
                  <a:lnTo>
                    <a:pt x="55" y="236"/>
                  </a:lnTo>
                  <a:lnTo>
                    <a:pt x="40" y="226"/>
                  </a:lnTo>
                  <a:lnTo>
                    <a:pt x="24" y="215"/>
                  </a:lnTo>
                  <a:lnTo>
                    <a:pt x="10" y="202"/>
                  </a:lnTo>
                  <a:lnTo>
                    <a:pt x="0" y="189"/>
                  </a:lnTo>
                  <a:lnTo>
                    <a:pt x="10" y="168"/>
                  </a:lnTo>
                  <a:lnTo>
                    <a:pt x="22" y="144"/>
                  </a:lnTo>
                  <a:lnTo>
                    <a:pt x="36" y="117"/>
                  </a:lnTo>
                  <a:lnTo>
                    <a:pt x="50" y="88"/>
                  </a:lnTo>
                  <a:lnTo>
                    <a:pt x="61" y="58"/>
                  </a:lnTo>
                  <a:lnTo>
                    <a:pt x="70" y="29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7" name="Freeform 1603"/>
            <p:cNvSpPr>
              <a:spLocks/>
            </p:cNvSpPr>
            <p:nvPr/>
          </p:nvSpPr>
          <p:spPr bwMode="auto">
            <a:xfrm>
              <a:off x="10013951" y="822325"/>
              <a:ext cx="117475" cy="639763"/>
            </a:xfrm>
            <a:custGeom>
              <a:avLst/>
              <a:gdLst>
                <a:gd name="T0" fmla="*/ 74 w 74"/>
                <a:gd name="T1" fmla="*/ 0 h 403"/>
                <a:gd name="T2" fmla="*/ 71 w 74"/>
                <a:gd name="T3" fmla="*/ 17 h 403"/>
                <a:gd name="T4" fmla="*/ 67 w 74"/>
                <a:gd name="T5" fmla="*/ 40 h 403"/>
                <a:gd name="T6" fmla="*/ 63 w 74"/>
                <a:gd name="T7" fmla="*/ 71 h 403"/>
                <a:gd name="T8" fmla="*/ 59 w 74"/>
                <a:gd name="T9" fmla="*/ 108 h 403"/>
                <a:gd name="T10" fmla="*/ 55 w 74"/>
                <a:gd name="T11" fmla="*/ 149 h 403"/>
                <a:gd name="T12" fmla="*/ 53 w 74"/>
                <a:gd name="T13" fmla="*/ 195 h 403"/>
                <a:gd name="T14" fmla="*/ 49 w 74"/>
                <a:gd name="T15" fmla="*/ 245 h 403"/>
                <a:gd name="T16" fmla="*/ 46 w 74"/>
                <a:gd name="T17" fmla="*/ 297 h 403"/>
                <a:gd name="T18" fmla="*/ 44 w 74"/>
                <a:gd name="T19" fmla="*/ 349 h 403"/>
                <a:gd name="T20" fmla="*/ 42 w 74"/>
                <a:gd name="T21" fmla="*/ 403 h 403"/>
                <a:gd name="T22" fmla="*/ 0 w 74"/>
                <a:gd name="T23" fmla="*/ 67 h 403"/>
                <a:gd name="T24" fmla="*/ 42 w 74"/>
                <a:gd name="T25" fmla="*/ 53 h 403"/>
                <a:gd name="T26" fmla="*/ 10 w 74"/>
                <a:gd name="T27" fmla="*/ 40 h 403"/>
                <a:gd name="T28" fmla="*/ 74 w 74"/>
                <a:gd name="T29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403">
                  <a:moveTo>
                    <a:pt x="74" y="0"/>
                  </a:moveTo>
                  <a:lnTo>
                    <a:pt x="71" y="17"/>
                  </a:lnTo>
                  <a:lnTo>
                    <a:pt x="67" y="40"/>
                  </a:lnTo>
                  <a:lnTo>
                    <a:pt x="63" y="71"/>
                  </a:lnTo>
                  <a:lnTo>
                    <a:pt x="59" y="108"/>
                  </a:lnTo>
                  <a:lnTo>
                    <a:pt x="55" y="149"/>
                  </a:lnTo>
                  <a:lnTo>
                    <a:pt x="53" y="195"/>
                  </a:lnTo>
                  <a:lnTo>
                    <a:pt x="49" y="245"/>
                  </a:lnTo>
                  <a:lnTo>
                    <a:pt x="46" y="297"/>
                  </a:lnTo>
                  <a:lnTo>
                    <a:pt x="44" y="349"/>
                  </a:lnTo>
                  <a:lnTo>
                    <a:pt x="42" y="403"/>
                  </a:lnTo>
                  <a:lnTo>
                    <a:pt x="0" y="67"/>
                  </a:lnTo>
                  <a:lnTo>
                    <a:pt x="42" y="53"/>
                  </a:lnTo>
                  <a:lnTo>
                    <a:pt x="10" y="4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8" name="Freeform 1604"/>
            <p:cNvSpPr>
              <a:spLocks/>
            </p:cNvSpPr>
            <p:nvPr/>
          </p:nvSpPr>
          <p:spPr bwMode="auto">
            <a:xfrm>
              <a:off x="10244138" y="820738"/>
              <a:ext cx="127000" cy="641350"/>
            </a:xfrm>
            <a:custGeom>
              <a:avLst/>
              <a:gdLst>
                <a:gd name="T0" fmla="*/ 0 w 80"/>
                <a:gd name="T1" fmla="*/ 0 h 404"/>
                <a:gd name="T2" fmla="*/ 68 w 80"/>
                <a:gd name="T3" fmla="*/ 42 h 404"/>
                <a:gd name="T4" fmla="*/ 33 w 80"/>
                <a:gd name="T5" fmla="*/ 54 h 404"/>
                <a:gd name="T6" fmla="*/ 80 w 80"/>
                <a:gd name="T7" fmla="*/ 67 h 404"/>
                <a:gd name="T8" fmla="*/ 48 w 80"/>
                <a:gd name="T9" fmla="*/ 404 h 404"/>
                <a:gd name="T10" fmla="*/ 46 w 80"/>
                <a:gd name="T11" fmla="*/ 350 h 404"/>
                <a:gd name="T12" fmla="*/ 42 w 80"/>
                <a:gd name="T13" fmla="*/ 298 h 404"/>
                <a:gd name="T14" fmla="*/ 37 w 80"/>
                <a:gd name="T15" fmla="*/ 245 h 404"/>
                <a:gd name="T16" fmla="*/ 32 w 80"/>
                <a:gd name="T17" fmla="*/ 196 h 404"/>
                <a:gd name="T18" fmla="*/ 27 w 80"/>
                <a:gd name="T19" fmla="*/ 150 h 404"/>
                <a:gd name="T20" fmla="*/ 22 w 80"/>
                <a:gd name="T21" fmla="*/ 108 h 404"/>
                <a:gd name="T22" fmla="*/ 15 w 80"/>
                <a:gd name="T23" fmla="*/ 72 h 404"/>
                <a:gd name="T24" fmla="*/ 9 w 80"/>
                <a:gd name="T25" fmla="*/ 41 h 404"/>
                <a:gd name="T26" fmla="*/ 4 w 80"/>
                <a:gd name="T27" fmla="*/ 17 h 404"/>
                <a:gd name="T28" fmla="*/ 0 w 80"/>
                <a:gd name="T2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404">
                  <a:moveTo>
                    <a:pt x="0" y="0"/>
                  </a:moveTo>
                  <a:lnTo>
                    <a:pt x="68" y="42"/>
                  </a:lnTo>
                  <a:lnTo>
                    <a:pt x="33" y="54"/>
                  </a:lnTo>
                  <a:lnTo>
                    <a:pt x="80" y="67"/>
                  </a:lnTo>
                  <a:lnTo>
                    <a:pt x="48" y="404"/>
                  </a:lnTo>
                  <a:lnTo>
                    <a:pt x="46" y="350"/>
                  </a:lnTo>
                  <a:lnTo>
                    <a:pt x="42" y="298"/>
                  </a:lnTo>
                  <a:lnTo>
                    <a:pt x="37" y="245"/>
                  </a:lnTo>
                  <a:lnTo>
                    <a:pt x="32" y="196"/>
                  </a:lnTo>
                  <a:lnTo>
                    <a:pt x="27" y="150"/>
                  </a:lnTo>
                  <a:lnTo>
                    <a:pt x="22" y="108"/>
                  </a:lnTo>
                  <a:lnTo>
                    <a:pt x="15" y="72"/>
                  </a:lnTo>
                  <a:lnTo>
                    <a:pt x="9" y="41"/>
                  </a:lnTo>
                  <a:lnTo>
                    <a:pt x="4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9" name="Freeform 1605"/>
            <p:cNvSpPr>
              <a:spLocks/>
            </p:cNvSpPr>
            <p:nvPr/>
          </p:nvSpPr>
          <p:spPr bwMode="auto">
            <a:xfrm>
              <a:off x="10213976" y="376238"/>
              <a:ext cx="166688" cy="93663"/>
            </a:xfrm>
            <a:custGeom>
              <a:avLst/>
              <a:gdLst>
                <a:gd name="T0" fmla="*/ 0 w 105"/>
                <a:gd name="T1" fmla="*/ 0 h 59"/>
                <a:gd name="T2" fmla="*/ 4 w 105"/>
                <a:gd name="T3" fmla="*/ 11 h 59"/>
                <a:gd name="T4" fmla="*/ 14 w 105"/>
                <a:gd name="T5" fmla="*/ 20 h 59"/>
                <a:gd name="T6" fmla="*/ 27 w 105"/>
                <a:gd name="T7" fmla="*/ 29 h 59"/>
                <a:gd name="T8" fmla="*/ 45 w 105"/>
                <a:gd name="T9" fmla="*/ 36 h 59"/>
                <a:gd name="T10" fmla="*/ 64 w 105"/>
                <a:gd name="T11" fmla="*/ 43 h 59"/>
                <a:gd name="T12" fmla="*/ 84 w 105"/>
                <a:gd name="T13" fmla="*/ 45 h 59"/>
                <a:gd name="T14" fmla="*/ 105 w 105"/>
                <a:gd name="T15" fmla="*/ 45 h 59"/>
                <a:gd name="T16" fmla="*/ 82 w 105"/>
                <a:gd name="T17" fmla="*/ 55 h 59"/>
                <a:gd name="T18" fmla="*/ 61 w 105"/>
                <a:gd name="T19" fmla="*/ 59 h 59"/>
                <a:gd name="T20" fmla="*/ 42 w 105"/>
                <a:gd name="T21" fmla="*/ 57 h 59"/>
                <a:gd name="T22" fmla="*/ 27 w 105"/>
                <a:gd name="T23" fmla="*/ 50 h 59"/>
                <a:gd name="T24" fmla="*/ 14 w 105"/>
                <a:gd name="T25" fmla="*/ 40 h 59"/>
                <a:gd name="T26" fmla="*/ 4 w 105"/>
                <a:gd name="T27" fmla="*/ 29 h 59"/>
                <a:gd name="T28" fmla="*/ 0 w 105"/>
                <a:gd name="T29" fmla="*/ 14 h 59"/>
                <a:gd name="T30" fmla="*/ 0 w 105"/>
                <a:gd name="T3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59">
                  <a:moveTo>
                    <a:pt x="0" y="0"/>
                  </a:moveTo>
                  <a:lnTo>
                    <a:pt x="4" y="11"/>
                  </a:lnTo>
                  <a:lnTo>
                    <a:pt x="14" y="20"/>
                  </a:lnTo>
                  <a:lnTo>
                    <a:pt x="27" y="29"/>
                  </a:lnTo>
                  <a:lnTo>
                    <a:pt x="45" y="36"/>
                  </a:lnTo>
                  <a:lnTo>
                    <a:pt x="64" y="43"/>
                  </a:lnTo>
                  <a:lnTo>
                    <a:pt x="84" y="45"/>
                  </a:lnTo>
                  <a:lnTo>
                    <a:pt x="105" y="45"/>
                  </a:lnTo>
                  <a:lnTo>
                    <a:pt x="82" y="55"/>
                  </a:lnTo>
                  <a:lnTo>
                    <a:pt x="61" y="59"/>
                  </a:lnTo>
                  <a:lnTo>
                    <a:pt x="42" y="57"/>
                  </a:lnTo>
                  <a:lnTo>
                    <a:pt x="27" y="50"/>
                  </a:lnTo>
                  <a:lnTo>
                    <a:pt x="14" y="40"/>
                  </a:lnTo>
                  <a:lnTo>
                    <a:pt x="4" y="29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0" name="Freeform 1606"/>
            <p:cNvSpPr>
              <a:spLocks/>
            </p:cNvSpPr>
            <p:nvPr/>
          </p:nvSpPr>
          <p:spPr bwMode="auto">
            <a:xfrm>
              <a:off x="10202863" y="393700"/>
              <a:ext cx="192088" cy="104775"/>
            </a:xfrm>
            <a:custGeom>
              <a:avLst/>
              <a:gdLst>
                <a:gd name="T0" fmla="*/ 2 w 121"/>
                <a:gd name="T1" fmla="*/ 0 h 66"/>
                <a:gd name="T2" fmla="*/ 6 w 121"/>
                <a:gd name="T3" fmla="*/ 10 h 66"/>
                <a:gd name="T4" fmla="*/ 16 w 121"/>
                <a:gd name="T5" fmla="*/ 21 h 66"/>
                <a:gd name="T6" fmla="*/ 32 w 121"/>
                <a:gd name="T7" fmla="*/ 32 h 66"/>
                <a:gd name="T8" fmla="*/ 52 w 121"/>
                <a:gd name="T9" fmla="*/ 41 h 66"/>
                <a:gd name="T10" fmla="*/ 74 w 121"/>
                <a:gd name="T11" fmla="*/ 47 h 66"/>
                <a:gd name="T12" fmla="*/ 98 w 121"/>
                <a:gd name="T13" fmla="*/ 51 h 66"/>
                <a:gd name="T14" fmla="*/ 121 w 121"/>
                <a:gd name="T15" fmla="*/ 50 h 66"/>
                <a:gd name="T16" fmla="*/ 95 w 121"/>
                <a:gd name="T17" fmla="*/ 62 h 66"/>
                <a:gd name="T18" fmla="*/ 72 w 121"/>
                <a:gd name="T19" fmla="*/ 66 h 66"/>
                <a:gd name="T20" fmla="*/ 50 w 121"/>
                <a:gd name="T21" fmla="*/ 64 h 66"/>
                <a:gd name="T22" fmla="*/ 31 w 121"/>
                <a:gd name="T23" fmla="*/ 56 h 66"/>
                <a:gd name="T24" fmla="*/ 16 w 121"/>
                <a:gd name="T25" fmla="*/ 44 h 66"/>
                <a:gd name="T26" fmla="*/ 6 w 121"/>
                <a:gd name="T27" fmla="*/ 30 h 66"/>
                <a:gd name="T28" fmla="*/ 0 w 121"/>
                <a:gd name="T29" fmla="*/ 15 h 66"/>
                <a:gd name="T30" fmla="*/ 2 w 121"/>
                <a:gd name="T3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66">
                  <a:moveTo>
                    <a:pt x="2" y="0"/>
                  </a:moveTo>
                  <a:lnTo>
                    <a:pt x="6" y="10"/>
                  </a:lnTo>
                  <a:lnTo>
                    <a:pt x="16" y="21"/>
                  </a:lnTo>
                  <a:lnTo>
                    <a:pt x="32" y="32"/>
                  </a:lnTo>
                  <a:lnTo>
                    <a:pt x="52" y="41"/>
                  </a:lnTo>
                  <a:lnTo>
                    <a:pt x="74" y="47"/>
                  </a:lnTo>
                  <a:lnTo>
                    <a:pt x="98" y="51"/>
                  </a:lnTo>
                  <a:lnTo>
                    <a:pt x="121" y="50"/>
                  </a:lnTo>
                  <a:lnTo>
                    <a:pt x="95" y="62"/>
                  </a:lnTo>
                  <a:lnTo>
                    <a:pt x="72" y="66"/>
                  </a:lnTo>
                  <a:lnTo>
                    <a:pt x="50" y="64"/>
                  </a:lnTo>
                  <a:lnTo>
                    <a:pt x="31" y="56"/>
                  </a:lnTo>
                  <a:lnTo>
                    <a:pt x="16" y="44"/>
                  </a:lnTo>
                  <a:lnTo>
                    <a:pt x="6" y="30"/>
                  </a:lnTo>
                  <a:lnTo>
                    <a:pt x="0" y="1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1" name="Freeform 1607"/>
            <p:cNvSpPr>
              <a:spLocks/>
            </p:cNvSpPr>
            <p:nvPr/>
          </p:nvSpPr>
          <p:spPr bwMode="auto">
            <a:xfrm>
              <a:off x="10144126" y="381000"/>
              <a:ext cx="192088" cy="92075"/>
            </a:xfrm>
            <a:custGeom>
              <a:avLst/>
              <a:gdLst>
                <a:gd name="T0" fmla="*/ 0 w 121"/>
                <a:gd name="T1" fmla="*/ 0 h 58"/>
                <a:gd name="T2" fmla="*/ 5 w 121"/>
                <a:gd name="T3" fmla="*/ 10 h 58"/>
                <a:gd name="T4" fmla="*/ 17 w 121"/>
                <a:gd name="T5" fmla="*/ 20 h 58"/>
                <a:gd name="T6" fmla="*/ 32 w 121"/>
                <a:gd name="T7" fmla="*/ 28 h 58"/>
                <a:gd name="T8" fmla="*/ 53 w 121"/>
                <a:gd name="T9" fmla="*/ 34 h 58"/>
                <a:gd name="T10" fmla="*/ 75 w 121"/>
                <a:gd name="T11" fmla="*/ 38 h 58"/>
                <a:gd name="T12" fmla="*/ 98 w 121"/>
                <a:gd name="T13" fmla="*/ 40 h 58"/>
                <a:gd name="T14" fmla="*/ 121 w 121"/>
                <a:gd name="T15" fmla="*/ 37 h 58"/>
                <a:gd name="T16" fmla="*/ 98 w 121"/>
                <a:gd name="T17" fmla="*/ 51 h 58"/>
                <a:gd name="T18" fmla="*/ 75 w 121"/>
                <a:gd name="T19" fmla="*/ 58 h 58"/>
                <a:gd name="T20" fmla="*/ 54 w 121"/>
                <a:gd name="T21" fmla="*/ 58 h 58"/>
                <a:gd name="T22" fmla="*/ 35 w 121"/>
                <a:gd name="T23" fmla="*/ 52 h 58"/>
                <a:gd name="T24" fmla="*/ 19 w 121"/>
                <a:gd name="T25" fmla="*/ 42 h 58"/>
                <a:gd name="T26" fmla="*/ 8 w 121"/>
                <a:gd name="T27" fmla="*/ 31 h 58"/>
                <a:gd name="T28" fmla="*/ 0 w 121"/>
                <a:gd name="T29" fmla="*/ 15 h 58"/>
                <a:gd name="T30" fmla="*/ 0 w 121"/>
                <a:gd name="T3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58">
                  <a:moveTo>
                    <a:pt x="0" y="0"/>
                  </a:moveTo>
                  <a:lnTo>
                    <a:pt x="5" y="10"/>
                  </a:lnTo>
                  <a:lnTo>
                    <a:pt x="17" y="20"/>
                  </a:lnTo>
                  <a:lnTo>
                    <a:pt x="32" y="28"/>
                  </a:lnTo>
                  <a:lnTo>
                    <a:pt x="53" y="34"/>
                  </a:lnTo>
                  <a:lnTo>
                    <a:pt x="75" y="38"/>
                  </a:lnTo>
                  <a:lnTo>
                    <a:pt x="98" y="40"/>
                  </a:lnTo>
                  <a:lnTo>
                    <a:pt x="121" y="37"/>
                  </a:lnTo>
                  <a:lnTo>
                    <a:pt x="98" y="51"/>
                  </a:lnTo>
                  <a:lnTo>
                    <a:pt x="75" y="58"/>
                  </a:lnTo>
                  <a:lnTo>
                    <a:pt x="54" y="58"/>
                  </a:lnTo>
                  <a:lnTo>
                    <a:pt x="35" y="52"/>
                  </a:lnTo>
                  <a:lnTo>
                    <a:pt x="19" y="42"/>
                  </a:lnTo>
                  <a:lnTo>
                    <a:pt x="8" y="31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2" name="Freeform 1608"/>
            <p:cNvSpPr>
              <a:spLocks/>
            </p:cNvSpPr>
            <p:nvPr/>
          </p:nvSpPr>
          <p:spPr bwMode="auto">
            <a:xfrm>
              <a:off x="10113963" y="401638"/>
              <a:ext cx="188913" cy="74613"/>
            </a:xfrm>
            <a:custGeom>
              <a:avLst/>
              <a:gdLst>
                <a:gd name="T0" fmla="*/ 0 w 119"/>
                <a:gd name="T1" fmla="*/ 0 h 47"/>
                <a:gd name="T2" fmla="*/ 6 w 119"/>
                <a:gd name="T3" fmla="*/ 9 h 47"/>
                <a:gd name="T4" fmla="*/ 18 w 119"/>
                <a:gd name="T5" fmla="*/ 16 h 47"/>
                <a:gd name="T6" fmla="*/ 35 w 119"/>
                <a:gd name="T7" fmla="*/ 21 h 47"/>
                <a:gd name="T8" fmla="*/ 54 w 119"/>
                <a:gd name="T9" fmla="*/ 25 h 47"/>
                <a:gd name="T10" fmla="*/ 76 w 119"/>
                <a:gd name="T11" fmla="*/ 27 h 47"/>
                <a:gd name="T12" fmla="*/ 97 w 119"/>
                <a:gd name="T13" fmla="*/ 25 h 47"/>
                <a:gd name="T14" fmla="*/ 119 w 119"/>
                <a:gd name="T15" fmla="*/ 20 h 47"/>
                <a:gd name="T16" fmla="*/ 99 w 119"/>
                <a:gd name="T17" fmla="*/ 36 h 47"/>
                <a:gd name="T18" fmla="*/ 78 w 119"/>
                <a:gd name="T19" fmla="*/ 45 h 47"/>
                <a:gd name="T20" fmla="*/ 58 w 119"/>
                <a:gd name="T21" fmla="*/ 47 h 47"/>
                <a:gd name="T22" fmla="*/ 40 w 119"/>
                <a:gd name="T23" fmla="*/ 45 h 47"/>
                <a:gd name="T24" fmla="*/ 23 w 119"/>
                <a:gd name="T25" fmla="*/ 38 h 47"/>
                <a:gd name="T26" fmla="*/ 10 w 119"/>
                <a:gd name="T27" fmla="*/ 27 h 47"/>
                <a:gd name="T28" fmla="*/ 3 w 119"/>
                <a:gd name="T29" fmla="*/ 14 h 47"/>
                <a:gd name="T30" fmla="*/ 0 w 119"/>
                <a:gd name="T3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" h="47">
                  <a:moveTo>
                    <a:pt x="0" y="0"/>
                  </a:moveTo>
                  <a:lnTo>
                    <a:pt x="6" y="9"/>
                  </a:lnTo>
                  <a:lnTo>
                    <a:pt x="18" y="16"/>
                  </a:lnTo>
                  <a:lnTo>
                    <a:pt x="35" y="21"/>
                  </a:lnTo>
                  <a:lnTo>
                    <a:pt x="54" y="25"/>
                  </a:lnTo>
                  <a:lnTo>
                    <a:pt x="76" y="27"/>
                  </a:lnTo>
                  <a:lnTo>
                    <a:pt x="97" y="25"/>
                  </a:lnTo>
                  <a:lnTo>
                    <a:pt x="119" y="20"/>
                  </a:lnTo>
                  <a:lnTo>
                    <a:pt x="99" y="36"/>
                  </a:lnTo>
                  <a:lnTo>
                    <a:pt x="78" y="45"/>
                  </a:lnTo>
                  <a:lnTo>
                    <a:pt x="58" y="47"/>
                  </a:lnTo>
                  <a:lnTo>
                    <a:pt x="40" y="45"/>
                  </a:lnTo>
                  <a:lnTo>
                    <a:pt x="23" y="38"/>
                  </a:lnTo>
                  <a:lnTo>
                    <a:pt x="10" y="27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3" name="Freeform 1609"/>
            <p:cNvSpPr>
              <a:spLocks/>
            </p:cNvSpPr>
            <p:nvPr/>
          </p:nvSpPr>
          <p:spPr bwMode="auto">
            <a:xfrm>
              <a:off x="10156826" y="358775"/>
              <a:ext cx="149225" cy="50800"/>
            </a:xfrm>
            <a:custGeom>
              <a:avLst/>
              <a:gdLst>
                <a:gd name="T0" fmla="*/ 94 w 94"/>
                <a:gd name="T1" fmla="*/ 0 h 32"/>
                <a:gd name="T2" fmla="*/ 81 w 94"/>
                <a:gd name="T3" fmla="*/ 15 h 32"/>
                <a:gd name="T4" fmla="*/ 67 w 94"/>
                <a:gd name="T5" fmla="*/ 25 h 32"/>
                <a:gd name="T6" fmla="*/ 51 w 94"/>
                <a:gd name="T7" fmla="*/ 31 h 32"/>
                <a:gd name="T8" fmla="*/ 37 w 94"/>
                <a:gd name="T9" fmla="*/ 32 h 32"/>
                <a:gd name="T10" fmla="*/ 24 w 94"/>
                <a:gd name="T11" fmla="*/ 29 h 32"/>
                <a:gd name="T12" fmla="*/ 13 w 94"/>
                <a:gd name="T13" fmla="*/ 24 h 32"/>
                <a:gd name="T14" fmla="*/ 4 w 94"/>
                <a:gd name="T15" fmla="*/ 15 h 32"/>
                <a:gd name="T16" fmla="*/ 0 w 94"/>
                <a:gd name="T17" fmla="*/ 5 h 32"/>
                <a:gd name="T18" fmla="*/ 8 w 94"/>
                <a:gd name="T19" fmla="*/ 11 h 32"/>
                <a:gd name="T20" fmla="*/ 20 w 94"/>
                <a:gd name="T21" fmla="*/ 15 h 32"/>
                <a:gd name="T22" fmla="*/ 37 w 94"/>
                <a:gd name="T23" fmla="*/ 16 h 32"/>
                <a:gd name="T24" fmla="*/ 56 w 94"/>
                <a:gd name="T25" fmla="*/ 14 h 32"/>
                <a:gd name="T26" fmla="*/ 76 w 94"/>
                <a:gd name="T27" fmla="*/ 9 h 32"/>
                <a:gd name="T28" fmla="*/ 94 w 94"/>
                <a:gd name="T2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32">
                  <a:moveTo>
                    <a:pt x="94" y="0"/>
                  </a:moveTo>
                  <a:lnTo>
                    <a:pt x="81" y="15"/>
                  </a:lnTo>
                  <a:lnTo>
                    <a:pt x="67" y="25"/>
                  </a:lnTo>
                  <a:lnTo>
                    <a:pt x="51" y="31"/>
                  </a:lnTo>
                  <a:lnTo>
                    <a:pt x="37" y="32"/>
                  </a:lnTo>
                  <a:lnTo>
                    <a:pt x="24" y="29"/>
                  </a:lnTo>
                  <a:lnTo>
                    <a:pt x="13" y="24"/>
                  </a:lnTo>
                  <a:lnTo>
                    <a:pt x="4" y="15"/>
                  </a:lnTo>
                  <a:lnTo>
                    <a:pt x="0" y="5"/>
                  </a:lnTo>
                  <a:lnTo>
                    <a:pt x="8" y="11"/>
                  </a:lnTo>
                  <a:lnTo>
                    <a:pt x="20" y="15"/>
                  </a:lnTo>
                  <a:lnTo>
                    <a:pt x="37" y="16"/>
                  </a:lnTo>
                  <a:lnTo>
                    <a:pt x="56" y="14"/>
                  </a:lnTo>
                  <a:lnTo>
                    <a:pt x="76" y="9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4" name="Freeform 1610"/>
            <p:cNvSpPr>
              <a:spLocks/>
            </p:cNvSpPr>
            <p:nvPr/>
          </p:nvSpPr>
          <p:spPr bwMode="auto">
            <a:xfrm>
              <a:off x="10090151" y="381000"/>
              <a:ext cx="66675" cy="109538"/>
            </a:xfrm>
            <a:custGeom>
              <a:avLst/>
              <a:gdLst>
                <a:gd name="T0" fmla="*/ 33 w 42"/>
                <a:gd name="T1" fmla="*/ 0 h 69"/>
                <a:gd name="T2" fmla="*/ 26 w 42"/>
                <a:gd name="T3" fmla="*/ 5 h 69"/>
                <a:gd name="T4" fmla="*/ 21 w 42"/>
                <a:gd name="T5" fmla="*/ 14 h 69"/>
                <a:gd name="T6" fmla="*/ 20 w 42"/>
                <a:gd name="T7" fmla="*/ 27 h 69"/>
                <a:gd name="T8" fmla="*/ 21 w 42"/>
                <a:gd name="T9" fmla="*/ 41 h 69"/>
                <a:gd name="T10" fmla="*/ 29 w 42"/>
                <a:gd name="T11" fmla="*/ 55 h 69"/>
                <a:gd name="T12" fmla="*/ 42 w 42"/>
                <a:gd name="T13" fmla="*/ 69 h 69"/>
                <a:gd name="T14" fmla="*/ 23 w 42"/>
                <a:gd name="T15" fmla="*/ 63 h 69"/>
                <a:gd name="T16" fmla="*/ 11 w 42"/>
                <a:gd name="T17" fmla="*/ 55 h 69"/>
                <a:gd name="T18" fmla="*/ 3 w 42"/>
                <a:gd name="T19" fmla="*/ 46 h 69"/>
                <a:gd name="T20" fmla="*/ 0 w 42"/>
                <a:gd name="T21" fmla="*/ 37 h 69"/>
                <a:gd name="T22" fmla="*/ 1 w 42"/>
                <a:gd name="T23" fmla="*/ 27 h 69"/>
                <a:gd name="T24" fmla="*/ 5 w 42"/>
                <a:gd name="T25" fmla="*/ 18 h 69"/>
                <a:gd name="T26" fmla="*/ 12 w 42"/>
                <a:gd name="T27" fmla="*/ 9 h 69"/>
                <a:gd name="T28" fmla="*/ 21 w 42"/>
                <a:gd name="T29" fmla="*/ 2 h 69"/>
                <a:gd name="T30" fmla="*/ 33 w 42"/>
                <a:gd name="T3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69">
                  <a:moveTo>
                    <a:pt x="33" y="0"/>
                  </a:moveTo>
                  <a:lnTo>
                    <a:pt x="26" y="5"/>
                  </a:lnTo>
                  <a:lnTo>
                    <a:pt x="21" y="14"/>
                  </a:lnTo>
                  <a:lnTo>
                    <a:pt x="20" y="27"/>
                  </a:lnTo>
                  <a:lnTo>
                    <a:pt x="21" y="41"/>
                  </a:lnTo>
                  <a:lnTo>
                    <a:pt x="29" y="55"/>
                  </a:lnTo>
                  <a:lnTo>
                    <a:pt x="42" y="69"/>
                  </a:lnTo>
                  <a:lnTo>
                    <a:pt x="23" y="63"/>
                  </a:lnTo>
                  <a:lnTo>
                    <a:pt x="11" y="55"/>
                  </a:lnTo>
                  <a:lnTo>
                    <a:pt x="3" y="46"/>
                  </a:lnTo>
                  <a:lnTo>
                    <a:pt x="0" y="37"/>
                  </a:lnTo>
                  <a:lnTo>
                    <a:pt x="1" y="27"/>
                  </a:lnTo>
                  <a:lnTo>
                    <a:pt x="5" y="18"/>
                  </a:lnTo>
                  <a:lnTo>
                    <a:pt x="12" y="9"/>
                  </a:lnTo>
                  <a:lnTo>
                    <a:pt x="21" y="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6043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5" name="Freeform 1611"/>
            <p:cNvSpPr>
              <a:spLocks/>
            </p:cNvSpPr>
            <p:nvPr/>
          </p:nvSpPr>
          <p:spPr bwMode="auto">
            <a:xfrm>
              <a:off x="10052051" y="395288"/>
              <a:ext cx="69850" cy="109538"/>
            </a:xfrm>
            <a:custGeom>
              <a:avLst/>
              <a:gdLst>
                <a:gd name="T0" fmla="*/ 44 w 44"/>
                <a:gd name="T1" fmla="*/ 0 h 69"/>
                <a:gd name="T2" fmla="*/ 36 w 44"/>
                <a:gd name="T3" fmla="*/ 5 h 69"/>
                <a:gd name="T4" fmla="*/ 29 w 44"/>
                <a:gd name="T5" fmla="*/ 15 h 69"/>
                <a:gd name="T6" fmla="*/ 24 w 44"/>
                <a:gd name="T7" fmla="*/ 31 h 69"/>
                <a:gd name="T8" fmla="*/ 25 w 44"/>
                <a:gd name="T9" fmla="*/ 49 h 69"/>
                <a:gd name="T10" fmla="*/ 31 w 44"/>
                <a:gd name="T11" fmla="*/ 69 h 69"/>
                <a:gd name="T12" fmla="*/ 15 w 44"/>
                <a:gd name="T13" fmla="*/ 56 h 69"/>
                <a:gd name="T14" fmla="*/ 4 w 44"/>
                <a:gd name="T15" fmla="*/ 45 h 69"/>
                <a:gd name="T16" fmla="*/ 0 w 44"/>
                <a:gd name="T17" fmla="*/ 32 h 69"/>
                <a:gd name="T18" fmla="*/ 3 w 44"/>
                <a:gd name="T19" fmla="*/ 20 h 69"/>
                <a:gd name="T20" fmla="*/ 8 w 44"/>
                <a:gd name="T21" fmla="*/ 11 h 69"/>
                <a:gd name="T22" fmla="*/ 18 w 44"/>
                <a:gd name="T23" fmla="*/ 5 h 69"/>
                <a:gd name="T24" fmla="*/ 30 w 44"/>
                <a:gd name="T25" fmla="*/ 0 h 69"/>
                <a:gd name="T26" fmla="*/ 44 w 44"/>
                <a:gd name="T2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69">
                  <a:moveTo>
                    <a:pt x="44" y="0"/>
                  </a:moveTo>
                  <a:lnTo>
                    <a:pt x="36" y="5"/>
                  </a:lnTo>
                  <a:lnTo>
                    <a:pt x="29" y="15"/>
                  </a:lnTo>
                  <a:lnTo>
                    <a:pt x="24" y="31"/>
                  </a:lnTo>
                  <a:lnTo>
                    <a:pt x="25" y="49"/>
                  </a:lnTo>
                  <a:lnTo>
                    <a:pt x="31" y="69"/>
                  </a:lnTo>
                  <a:lnTo>
                    <a:pt x="15" y="56"/>
                  </a:lnTo>
                  <a:lnTo>
                    <a:pt x="4" y="45"/>
                  </a:lnTo>
                  <a:lnTo>
                    <a:pt x="0" y="32"/>
                  </a:lnTo>
                  <a:lnTo>
                    <a:pt x="3" y="20"/>
                  </a:lnTo>
                  <a:lnTo>
                    <a:pt x="8" y="11"/>
                  </a:lnTo>
                  <a:lnTo>
                    <a:pt x="18" y="5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6" name="Freeform 1612"/>
            <p:cNvSpPr>
              <a:spLocks/>
            </p:cNvSpPr>
            <p:nvPr/>
          </p:nvSpPr>
          <p:spPr bwMode="auto">
            <a:xfrm>
              <a:off x="10013951" y="560388"/>
              <a:ext cx="347663" cy="260350"/>
            </a:xfrm>
            <a:custGeom>
              <a:avLst/>
              <a:gdLst>
                <a:gd name="T0" fmla="*/ 0 w 219"/>
                <a:gd name="T1" fmla="*/ 0 h 164"/>
                <a:gd name="T2" fmla="*/ 5 w 219"/>
                <a:gd name="T3" fmla="*/ 19 h 164"/>
                <a:gd name="T4" fmla="*/ 12 w 219"/>
                <a:gd name="T5" fmla="*/ 36 h 164"/>
                <a:gd name="T6" fmla="*/ 13 w 219"/>
                <a:gd name="T7" fmla="*/ 56 h 164"/>
                <a:gd name="T8" fmla="*/ 17 w 219"/>
                <a:gd name="T9" fmla="*/ 75 h 164"/>
                <a:gd name="T10" fmla="*/ 22 w 219"/>
                <a:gd name="T11" fmla="*/ 95 h 164"/>
                <a:gd name="T12" fmla="*/ 30 w 219"/>
                <a:gd name="T13" fmla="*/ 111 h 164"/>
                <a:gd name="T14" fmla="*/ 41 w 219"/>
                <a:gd name="T15" fmla="*/ 124 h 164"/>
                <a:gd name="T16" fmla="*/ 51 w 219"/>
                <a:gd name="T17" fmla="*/ 133 h 164"/>
                <a:gd name="T18" fmla="*/ 59 w 219"/>
                <a:gd name="T19" fmla="*/ 140 h 164"/>
                <a:gd name="T20" fmla="*/ 66 w 219"/>
                <a:gd name="T21" fmla="*/ 142 h 164"/>
                <a:gd name="T22" fmla="*/ 73 w 219"/>
                <a:gd name="T23" fmla="*/ 145 h 164"/>
                <a:gd name="T24" fmla="*/ 81 w 219"/>
                <a:gd name="T25" fmla="*/ 146 h 164"/>
                <a:gd name="T26" fmla="*/ 90 w 219"/>
                <a:gd name="T27" fmla="*/ 147 h 164"/>
                <a:gd name="T28" fmla="*/ 95 w 219"/>
                <a:gd name="T29" fmla="*/ 146 h 164"/>
                <a:gd name="T30" fmla="*/ 99 w 219"/>
                <a:gd name="T31" fmla="*/ 145 h 164"/>
                <a:gd name="T32" fmla="*/ 103 w 219"/>
                <a:gd name="T33" fmla="*/ 142 h 164"/>
                <a:gd name="T34" fmla="*/ 109 w 219"/>
                <a:gd name="T35" fmla="*/ 141 h 164"/>
                <a:gd name="T36" fmla="*/ 118 w 219"/>
                <a:gd name="T37" fmla="*/ 142 h 164"/>
                <a:gd name="T38" fmla="*/ 126 w 219"/>
                <a:gd name="T39" fmla="*/ 145 h 164"/>
                <a:gd name="T40" fmla="*/ 132 w 219"/>
                <a:gd name="T41" fmla="*/ 147 h 164"/>
                <a:gd name="T42" fmla="*/ 141 w 219"/>
                <a:gd name="T43" fmla="*/ 146 h 164"/>
                <a:gd name="T44" fmla="*/ 150 w 219"/>
                <a:gd name="T45" fmla="*/ 145 h 164"/>
                <a:gd name="T46" fmla="*/ 157 w 219"/>
                <a:gd name="T47" fmla="*/ 142 h 164"/>
                <a:gd name="T48" fmla="*/ 163 w 219"/>
                <a:gd name="T49" fmla="*/ 140 h 164"/>
                <a:gd name="T50" fmla="*/ 171 w 219"/>
                <a:gd name="T51" fmla="*/ 133 h 164"/>
                <a:gd name="T52" fmla="*/ 182 w 219"/>
                <a:gd name="T53" fmla="*/ 124 h 164"/>
                <a:gd name="T54" fmla="*/ 193 w 219"/>
                <a:gd name="T55" fmla="*/ 111 h 164"/>
                <a:gd name="T56" fmla="*/ 200 w 219"/>
                <a:gd name="T57" fmla="*/ 95 h 164"/>
                <a:gd name="T58" fmla="*/ 205 w 219"/>
                <a:gd name="T59" fmla="*/ 75 h 164"/>
                <a:gd name="T60" fmla="*/ 209 w 219"/>
                <a:gd name="T61" fmla="*/ 56 h 164"/>
                <a:gd name="T62" fmla="*/ 212 w 219"/>
                <a:gd name="T63" fmla="*/ 36 h 164"/>
                <a:gd name="T64" fmla="*/ 216 w 219"/>
                <a:gd name="T65" fmla="*/ 23 h 164"/>
                <a:gd name="T66" fmla="*/ 219 w 219"/>
                <a:gd name="T67" fmla="*/ 7 h 164"/>
                <a:gd name="T68" fmla="*/ 219 w 219"/>
                <a:gd name="T69" fmla="*/ 14 h 164"/>
                <a:gd name="T70" fmla="*/ 219 w 219"/>
                <a:gd name="T71" fmla="*/ 34 h 164"/>
                <a:gd name="T72" fmla="*/ 216 w 219"/>
                <a:gd name="T73" fmla="*/ 57 h 164"/>
                <a:gd name="T74" fmla="*/ 210 w 219"/>
                <a:gd name="T75" fmla="*/ 79 h 164"/>
                <a:gd name="T76" fmla="*/ 204 w 219"/>
                <a:gd name="T77" fmla="*/ 101 h 164"/>
                <a:gd name="T78" fmla="*/ 195 w 219"/>
                <a:gd name="T79" fmla="*/ 117 h 164"/>
                <a:gd name="T80" fmla="*/ 181 w 219"/>
                <a:gd name="T81" fmla="*/ 131 h 164"/>
                <a:gd name="T82" fmla="*/ 163 w 219"/>
                <a:gd name="T83" fmla="*/ 143 h 164"/>
                <a:gd name="T84" fmla="*/ 142 w 219"/>
                <a:gd name="T85" fmla="*/ 154 h 164"/>
                <a:gd name="T86" fmla="*/ 123 w 219"/>
                <a:gd name="T87" fmla="*/ 161 h 164"/>
                <a:gd name="T88" fmla="*/ 110 w 219"/>
                <a:gd name="T89" fmla="*/ 164 h 164"/>
                <a:gd name="T90" fmla="*/ 96 w 219"/>
                <a:gd name="T91" fmla="*/ 161 h 164"/>
                <a:gd name="T92" fmla="*/ 77 w 219"/>
                <a:gd name="T93" fmla="*/ 154 h 164"/>
                <a:gd name="T94" fmla="*/ 58 w 219"/>
                <a:gd name="T95" fmla="*/ 143 h 164"/>
                <a:gd name="T96" fmla="*/ 40 w 219"/>
                <a:gd name="T97" fmla="*/ 131 h 164"/>
                <a:gd name="T98" fmla="*/ 26 w 219"/>
                <a:gd name="T99" fmla="*/ 117 h 164"/>
                <a:gd name="T100" fmla="*/ 17 w 219"/>
                <a:gd name="T101" fmla="*/ 100 h 164"/>
                <a:gd name="T102" fmla="*/ 10 w 219"/>
                <a:gd name="T103" fmla="*/ 79 h 164"/>
                <a:gd name="T104" fmla="*/ 4 w 219"/>
                <a:gd name="T105" fmla="*/ 57 h 164"/>
                <a:gd name="T106" fmla="*/ 1 w 219"/>
                <a:gd name="T107" fmla="*/ 34 h 164"/>
                <a:gd name="T108" fmla="*/ 0 w 219"/>
                <a:gd name="T109" fmla="*/ 14 h 164"/>
                <a:gd name="T110" fmla="*/ 0 w 219"/>
                <a:gd name="T111" fmla="*/ 6 h 164"/>
                <a:gd name="T112" fmla="*/ 0 w 219"/>
                <a:gd name="T113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4">
                  <a:moveTo>
                    <a:pt x="0" y="0"/>
                  </a:moveTo>
                  <a:lnTo>
                    <a:pt x="5" y="19"/>
                  </a:lnTo>
                  <a:lnTo>
                    <a:pt x="12" y="36"/>
                  </a:lnTo>
                  <a:lnTo>
                    <a:pt x="13" y="56"/>
                  </a:lnTo>
                  <a:lnTo>
                    <a:pt x="17" y="75"/>
                  </a:lnTo>
                  <a:lnTo>
                    <a:pt x="22" y="95"/>
                  </a:lnTo>
                  <a:lnTo>
                    <a:pt x="30" y="111"/>
                  </a:lnTo>
                  <a:lnTo>
                    <a:pt x="41" y="124"/>
                  </a:lnTo>
                  <a:lnTo>
                    <a:pt x="51" y="133"/>
                  </a:lnTo>
                  <a:lnTo>
                    <a:pt x="59" y="140"/>
                  </a:lnTo>
                  <a:lnTo>
                    <a:pt x="66" y="142"/>
                  </a:lnTo>
                  <a:lnTo>
                    <a:pt x="73" y="145"/>
                  </a:lnTo>
                  <a:lnTo>
                    <a:pt x="81" y="146"/>
                  </a:lnTo>
                  <a:lnTo>
                    <a:pt x="90" y="147"/>
                  </a:lnTo>
                  <a:lnTo>
                    <a:pt x="95" y="146"/>
                  </a:lnTo>
                  <a:lnTo>
                    <a:pt x="99" y="145"/>
                  </a:lnTo>
                  <a:lnTo>
                    <a:pt x="103" y="142"/>
                  </a:lnTo>
                  <a:lnTo>
                    <a:pt x="109" y="141"/>
                  </a:lnTo>
                  <a:lnTo>
                    <a:pt x="118" y="142"/>
                  </a:lnTo>
                  <a:lnTo>
                    <a:pt x="126" y="145"/>
                  </a:lnTo>
                  <a:lnTo>
                    <a:pt x="132" y="147"/>
                  </a:lnTo>
                  <a:lnTo>
                    <a:pt x="141" y="146"/>
                  </a:lnTo>
                  <a:lnTo>
                    <a:pt x="150" y="145"/>
                  </a:lnTo>
                  <a:lnTo>
                    <a:pt x="157" y="142"/>
                  </a:lnTo>
                  <a:lnTo>
                    <a:pt x="163" y="140"/>
                  </a:lnTo>
                  <a:lnTo>
                    <a:pt x="171" y="133"/>
                  </a:lnTo>
                  <a:lnTo>
                    <a:pt x="182" y="124"/>
                  </a:lnTo>
                  <a:lnTo>
                    <a:pt x="193" y="111"/>
                  </a:lnTo>
                  <a:lnTo>
                    <a:pt x="200" y="95"/>
                  </a:lnTo>
                  <a:lnTo>
                    <a:pt x="205" y="75"/>
                  </a:lnTo>
                  <a:lnTo>
                    <a:pt x="209" y="56"/>
                  </a:lnTo>
                  <a:lnTo>
                    <a:pt x="212" y="36"/>
                  </a:lnTo>
                  <a:lnTo>
                    <a:pt x="216" y="23"/>
                  </a:lnTo>
                  <a:lnTo>
                    <a:pt x="219" y="7"/>
                  </a:lnTo>
                  <a:lnTo>
                    <a:pt x="219" y="14"/>
                  </a:lnTo>
                  <a:lnTo>
                    <a:pt x="219" y="34"/>
                  </a:lnTo>
                  <a:lnTo>
                    <a:pt x="216" y="57"/>
                  </a:lnTo>
                  <a:lnTo>
                    <a:pt x="210" y="79"/>
                  </a:lnTo>
                  <a:lnTo>
                    <a:pt x="204" y="101"/>
                  </a:lnTo>
                  <a:lnTo>
                    <a:pt x="195" y="117"/>
                  </a:lnTo>
                  <a:lnTo>
                    <a:pt x="181" y="131"/>
                  </a:lnTo>
                  <a:lnTo>
                    <a:pt x="163" y="143"/>
                  </a:lnTo>
                  <a:lnTo>
                    <a:pt x="142" y="154"/>
                  </a:lnTo>
                  <a:lnTo>
                    <a:pt x="123" y="161"/>
                  </a:lnTo>
                  <a:lnTo>
                    <a:pt x="110" y="164"/>
                  </a:lnTo>
                  <a:lnTo>
                    <a:pt x="96" y="161"/>
                  </a:lnTo>
                  <a:lnTo>
                    <a:pt x="77" y="154"/>
                  </a:lnTo>
                  <a:lnTo>
                    <a:pt x="58" y="143"/>
                  </a:lnTo>
                  <a:lnTo>
                    <a:pt x="40" y="131"/>
                  </a:lnTo>
                  <a:lnTo>
                    <a:pt x="26" y="117"/>
                  </a:lnTo>
                  <a:lnTo>
                    <a:pt x="17" y="100"/>
                  </a:lnTo>
                  <a:lnTo>
                    <a:pt x="10" y="79"/>
                  </a:lnTo>
                  <a:lnTo>
                    <a:pt x="4" y="57"/>
                  </a:lnTo>
                  <a:lnTo>
                    <a:pt x="1" y="34"/>
                  </a:lnTo>
                  <a:lnTo>
                    <a:pt x="0" y="14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1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7" name="Freeform 1613"/>
            <p:cNvSpPr>
              <a:spLocks/>
            </p:cNvSpPr>
            <p:nvPr/>
          </p:nvSpPr>
          <p:spPr bwMode="auto">
            <a:xfrm>
              <a:off x="9963151" y="1597025"/>
              <a:ext cx="87313" cy="34925"/>
            </a:xfrm>
            <a:custGeom>
              <a:avLst/>
              <a:gdLst>
                <a:gd name="T0" fmla="*/ 1 w 55"/>
                <a:gd name="T1" fmla="*/ 0 h 22"/>
                <a:gd name="T2" fmla="*/ 55 w 55"/>
                <a:gd name="T3" fmla="*/ 8 h 22"/>
                <a:gd name="T4" fmla="*/ 54 w 55"/>
                <a:gd name="T5" fmla="*/ 22 h 22"/>
                <a:gd name="T6" fmla="*/ 0 w 55"/>
                <a:gd name="T7" fmla="*/ 14 h 22"/>
                <a:gd name="T8" fmla="*/ 1 w 5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2">
                  <a:moveTo>
                    <a:pt x="1" y="0"/>
                  </a:moveTo>
                  <a:lnTo>
                    <a:pt x="55" y="8"/>
                  </a:lnTo>
                  <a:lnTo>
                    <a:pt x="54" y="22"/>
                  </a:lnTo>
                  <a:lnTo>
                    <a:pt x="0" y="1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866370" y="4969367"/>
            <a:ext cx="144606" cy="429885"/>
            <a:chOff x="6622630" y="5301432"/>
            <a:chExt cx="141727" cy="421327"/>
          </a:xfrm>
        </p:grpSpPr>
        <p:sp>
          <p:nvSpPr>
            <p:cNvPr id="1304" name="Rectangle 321"/>
            <p:cNvSpPr>
              <a:spLocks noChangeArrowheads="1"/>
            </p:cNvSpPr>
            <p:nvPr/>
          </p:nvSpPr>
          <p:spPr bwMode="auto">
            <a:xfrm>
              <a:off x="6631873" y="5530196"/>
              <a:ext cx="4622" cy="23107"/>
            </a:xfrm>
            <a:prstGeom prst="rect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5" name="Freeform 322"/>
            <p:cNvSpPr>
              <a:spLocks/>
            </p:cNvSpPr>
            <p:nvPr/>
          </p:nvSpPr>
          <p:spPr bwMode="auto">
            <a:xfrm>
              <a:off x="6654981" y="5688868"/>
              <a:ext cx="38513" cy="33891"/>
            </a:xfrm>
            <a:custGeom>
              <a:avLst/>
              <a:gdLst>
                <a:gd name="T0" fmla="*/ 8 w 25"/>
                <a:gd name="T1" fmla="*/ 7 h 22"/>
                <a:gd name="T2" fmla="*/ 4 w 25"/>
                <a:gd name="T3" fmla="*/ 19 h 22"/>
                <a:gd name="T4" fmla="*/ 23 w 25"/>
                <a:gd name="T5" fmla="*/ 11 h 22"/>
                <a:gd name="T6" fmla="*/ 22 w 25"/>
                <a:gd name="T7" fmla="*/ 0 h 22"/>
                <a:gd name="T8" fmla="*/ 8 w 25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2">
                  <a:moveTo>
                    <a:pt x="8" y="7"/>
                  </a:moveTo>
                  <a:cubicBezTo>
                    <a:pt x="8" y="7"/>
                    <a:pt x="0" y="17"/>
                    <a:pt x="4" y="19"/>
                  </a:cubicBezTo>
                  <a:cubicBezTo>
                    <a:pt x="8" y="22"/>
                    <a:pt x="21" y="14"/>
                    <a:pt x="23" y="11"/>
                  </a:cubicBezTo>
                  <a:cubicBezTo>
                    <a:pt x="25" y="6"/>
                    <a:pt x="22" y="0"/>
                    <a:pt x="22" y="0"/>
                  </a:cubicBezTo>
                  <a:lnTo>
                    <a:pt x="8" y="7"/>
                  </a:lnTo>
                  <a:close/>
                </a:path>
              </a:pathLst>
            </a:custGeom>
            <a:solidFill>
              <a:srgbClr val="371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6" name="Freeform 323"/>
            <p:cNvSpPr>
              <a:spLocks/>
            </p:cNvSpPr>
            <p:nvPr/>
          </p:nvSpPr>
          <p:spPr bwMode="auto">
            <a:xfrm>
              <a:off x="6701196" y="5688868"/>
              <a:ext cx="40053" cy="33891"/>
            </a:xfrm>
            <a:custGeom>
              <a:avLst/>
              <a:gdLst>
                <a:gd name="T0" fmla="*/ 17 w 26"/>
                <a:gd name="T1" fmla="*/ 7 h 22"/>
                <a:gd name="T2" fmla="*/ 22 w 26"/>
                <a:gd name="T3" fmla="*/ 19 h 22"/>
                <a:gd name="T4" fmla="*/ 3 w 26"/>
                <a:gd name="T5" fmla="*/ 11 h 22"/>
                <a:gd name="T6" fmla="*/ 4 w 26"/>
                <a:gd name="T7" fmla="*/ 0 h 22"/>
                <a:gd name="T8" fmla="*/ 17 w 26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2">
                  <a:moveTo>
                    <a:pt x="17" y="7"/>
                  </a:moveTo>
                  <a:cubicBezTo>
                    <a:pt x="17" y="7"/>
                    <a:pt x="26" y="17"/>
                    <a:pt x="22" y="19"/>
                  </a:cubicBezTo>
                  <a:cubicBezTo>
                    <a:pt x="18" y="22"/>
                    <a:pt x="4" y="14"/>
                    <a:pt x="3" y="11"/>
                  </a:cubicBezTo>
                  <a:cubicBezTo>
                    <a:pt x="0" y="6"/>
                    <a:pt x="4" y="0"/>
                    <a:pt x="4" y="0"/>
                  </a:cubicBezTo>
                  <a:lnTo>
                    <a:pt x="17" y="7"/>
                  </a:lnTo>
                  <a:close/>
                </a:path>
              </a:pathLst>
            </a:custGeom>
            <a:solidFill>
              <a:srgbClr val="371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7" name="Freeform 324"/>
            <p:cNvSpPr>
              <a:spLocks/>
            </p:cNvSpPr>
            <p:nvPr/>
          </p:nvSpPr>
          <p:spPr bwMode="auto">
            <a:xfrm>
              <a:off x="6662683" y="5511710"/>
              <a:ext cx="35432" cy="191022"/>
            </a:xfrm>
            <a:custGeom>
              <a:avLst/>
              <a:gdLst>
                <a:gd name="T0" fmla="*/ 0 w 23"/>
                <a:gd name="T1" fmla="*/ 0 h 124"/>
                <a:gd name="T2" fmla="*/ 0 w 23"/>
                <a:gd name="T3" fmla="*/ 65 h 124"/>
                <a:gd name="T4" fmla="*/ 0 w 23"/>
                <a:gd name="T5" fmla="*/ 124 h 124"/>
                <a:gd name="T6" fmla="*/ 20 w 23"/>
                <a:gd name="T7" fmla="*/ 124 h 124"/>
                <a:gd name="T8" fmla="*/ 23 w 23"/>
                <a:gd name="T9" fmla="*/ 27 h 124"/>
                <a:gd name="T10" fmla="*/ 23 w 23"/>
                <a:gd name="T11" fmla="*/ 0 h 124"/>
                <a:gd name="T12" fmla="*/ 0 w 23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4">
                  <a:moveTo>
                    <a:pt x="0" y="0"/>
                  </a:moveTo>
                  <a:cubicBezTo>
                    <a:pt x="0" y="0"/>
                    <a:pt x="0" y="45"/>
                    <a:pt x="0" y="65"/>
                  </a:cubicBezTo>
                  <a:cubicBezTo>
                    <a:pt x="0" y="85"/>
                    <a:pt x="0" y="124"/>
                    <a:pt x="0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26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8" name="Freeform 325"/>
            <p:cNvSpPr>
              <a:spLocks/>
            </p:cNvSpPr>
            <p:nvPr/>
          </p:nvSpPr>
          <p:spPr bwMode="auto">
            <a:xfrm>
              <a:off x="6698115" y="5511710"/>
              <a:ext cx="35432" cy="191022"/>
            </a:xfrm>
            <a:custGeom>
              <a:avLst/>
              <a:gdLst>
                <a:gd name="T0" fmla="*/ 22 w 23"/>
                <a:gd name="T1" fmla="*/ 0 h 124"/>
                <a:gd name="T2" fmla="*/ 22 w 23"/>
                <a:gd name="T3" fmla="*/ 65 h 124"/>
                <a:gd name="T4" fmla="*/ 22 w 23"/>
                <a:gd name="T5" fmla="*/ 124 h 124"/>
                <a:gd name="T6" fmla="*/ 3 w 23"/>
                <a:gd name="T7" fmla="*/ 124 h 124"/>
                <a:gd name="T8" fmla="*/ 0 w 23"/>
                <a:gd name="T9" fmla="*/ 27 h 124"/>
                <a:gd name="T10" fmla="*/ 0 w 23"/>
                <a:gd name="T11" fmla="*/ 0 h 124"/>
                <a:gd name="T12" fmla="*/ 22 w 23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4">
                  <a:moveTo>
                    <a:pt x="22" y="0"/>
                  </a:moveTo>
                  <a:cubicBezTo>
                    <a:pt x="22" y="0"/>
                    <a:pt x="22" y="45"/>
                    <a:pt x="22" y="65"/>
                  </a:cubicBezTo>
                  <a:cubicBezTo>
                    <a:pt x="23" y="85"/>
                    <a:pt x="22" y="124"/>
                    <a:pt x="22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0026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9" name="Freeform 326"/>
            <p:cNvSpPr>
              <a:spLocks/>
            </p:cNvSpPr>
            <p:nvPr/>
          </p:nvSpPr>
          <p:spPr bwMode="auto">
            <a:xfrm>
              <a:off x="6662683" y="5511710"/>
              <a:ext cx="20027" cy="191022"/>
            </a:xfrm>
            <a:custGeom>
              <a:avLst/>
              <a:gdLst>
                <a:gd name="T0" fmla="*/ 26 w 26"/>
                <a:gd name="T1" fmla="*/ 0 h 248"/>
                <a:gd name="T2" fmla="*/ 18 w 26"/>
                <a:gd name="T3" fmla="*/ 248 h 248"/>
                <a:gd name="T4" fmla="*/ 0 w 26"/>
                <a:gd name="T5" fmla="*/ 248 h 248"/>
                <a:gd name="T6" fmla="*/ 0 w 26"/>
                <a:gd name="T7" fmla="*/ 0 h 248"/>
                <a:gd name="T8" fmla="*/ 26 w 26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8">
                  <a:moveTo>
                    <a:pt x="26" y="0"/>
                  </a:moveTo>
                  <a:lnTo>
                    <a:pt x="18" y="248"/>
                  </a:lnTo>
                  <a:lnTo>
                    <a:pt x="0" y="248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0" name="Freeform 327"/>
            <p:cNvSpPr>
              <a:spLocks/>
            </p:cNvSpPr>
            <p:nvPr/>
          </p:nvSpPr>
          <p:spPr bwMode="auto">
            <a:xfrm>
              <a:off x="6698115" y="5511710"/>
              <a:ext cx="18486" cy="191022"/>
            </a:xfrm>
            <a:custGeom>
              <a:avLst/>
              <a:gdLst>
                <a:gd name="T0" fmla="*/ 0 w 24"/>
                <a:gd name="T1" fmla="*/ 0 h 248"/>
                <a:gd name="T2" fmla="*/ 0 w 24"/>
                <a:gd name="T3" fmla="*/ 60 h 248"/>
                <a:gd name="T4" fmla="*/ 6 w 24"/>
                <a:gd name="T5" fmla="*/ 248 h 248"/>
                <a:gd name="T6" fmla="*/ 24 w 24"/>
                <a:gd name="T7" fmla="*/ 248 h 248"/>
                <a:gd name="T8" fmla="*/ 22 w 24"/>
                <a:gd name="T9" fmla="*/ 0 h 248"/>
                <a:gd name="T10" fmla="*/ 0 w 24"/>
                <a:gd name="T11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8">
                  <a:moveTo>
                    <a:pt x="0" y="0"/>
                  </a:moveTo>
                  <a:lnTo>
                    <a:pt x="0" y="60"/>
                  </a:lnTo>
                  <a:lnTo>
                    <a:pt x="6" y="248"/>
                  </a:lnTo>
                  <a:lnTo>
                    <a:pt x="24" y="248"/>
                  </a:lnTo>
                  <a:lnTo>
                    <a:pt x="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1" name="Freeform 328"/>
            <p:cNvSpPr>
              <a:spLocks/>
            </p:cNvSpPr>
            <p:nvPr/>
          </p:nvSpPr>
          <p:spPr bwMode="auto">
            <a:xfrm>
              <a:off x="6744330" y="5517872"/>
              <a:ext cx="18486" cy="35431"/>
            </a:xfrm>
            <a:custGeom>
              <a:avLst/>
              <a:gdLst>
                <a:gd name="T0" fmla="*/ 10 w 12"/>
                <a:gd name="T1" fmla="*/ 2 h 23"/>
                <a:gd name="T2" fmla="*/ 11 w 12"/>
                <a:gd name="T3" fmla="*/ 8 h 23"/>
                <a:gd name="T4" fmla="*/ 7 w 12"/>
                <a:gd name="T5" fmla="*/ 23 h 23"/>
                <a:gd name="T6" fmla="*/ 5 w 12"/>
                <a:gd name="T7" fmla="*/ 19 h 23"/>
                <a:gd name="T8" fmla="*/ 4 w 12"/>
                <a:gd name="T9" fmla="*/ 12 h 23"/>
                <a:gd name="T10" fmla="*/ 2 w 12"/>
                <a:gd name="T11" fmla="*/ 16 h 23"/>
                <a:gd name="T12" fmla="*/ 1 w 12"/>
                <a:gd name="T13" fmla="*/ 12 h 23"/>
                <a:gd name="T14" fmla="*/ 0 w 12"/>
                <a:gd name="T15" fmla="*/ 8 h 23"/>
                <a:gd name="T16" fmla="*/ 1 w 12"/>
                <a:gd name="T17" fmla="*/ 1 h 23"/>
                <a:gd name="T18" fmla="*/ 10 w 12"/>
                <a:gd name="T1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3">
                  <a:moveTo>
                    <a:pt x="10" y="2"/>
                  </a:moveTo>
                  <a:cubicBezTo>
                    <a:pt x="10" y="2"/>
                    <a:pt x="11" y="7"/>
                    <a:pt x="11" y="8"/>
                  </a:cubicBezTo>
                  <a:cubicBezTo>
                    <a:pt x="12" y="9"/>
                    <a:pt x="11" y="22"/>
                    <a:pt x="7" y="23"/>
                  </a:cubicBezTo>
                  <a:cubicBezTo>
                    <a:pt x="3" y="23"/>
                    <a:pt x="5" y="22"/>
                    <a:pt x="5" y="19"/>
                  </a:cubicBezTo>
                  <a:cubicBezTo>
                    <a:pt x="5" y="15"/>
                    <a:pt x="6" y="12"/>
                    <a:pt x="4" y="12"/>
                  </a:cubicBezTo>
                  <a:cubicBezTo>
                    <a:pt x="2" y="12"/>
                    <a:pt x="4" y="15"/>
                    <a:pt x="2" y="16"/>
                  </a:cubicBezTo>
                  <a:cubicBezTo>
                    <a:pt x="1" y="17"/>
                    <a:pt x="1" y="15"/>
                    <a:pt x="1" y="12"/>
                  </a:cubicBezTo>
                  <a:cubicBezTo>
                    <a:pt x="0" y="11"/>
                    <a:pt x="0" y="9"/>
                    <a:pt x="0" y="8"/>
                  </a:cubicBezTo>
                  <a:cubicBezTo>
                    <a:pt x="0" y="4"/>
                    <a:pt x="2" y="3"/>
                    <a:pt x="1" y="1"/>
                  </a:cubicBezTo>
                  <a:cubicBezTo>
                    <a:pt x="1" y="0"/>
                    <a:pt x="10" y="2"/>
                    <a:pt x="10" y="2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3" name="Freeform 330"/>
            <p:cNvSpPr>
              <a:spLocks/>
            </p:cNvSpPr>
            <p:nvPr/>
          </p:nvSpPr>
          <p:spPr bwMode="auto">
            <a:xfrm>
              <a:off x="6670386" y="5306053"/>
              <a:ext cx="55458" cy="68552"/>
            </a:xfrm>
            <a:custGeom>
              <a:avLst/>
              <a:gdLst>
                <a:gd name="T0" fmla="*/ 3 w 36"/>
                <a:gd name="T1" fmla="*/ 23 h 45"/>
                <a:gd name="T2" fmla="*/ 3 w 36"/>
                <a:gd name="T3" fmla="*/ 23 h 45"/>
                <a:gd name="T4" fmla="*/ 3 w 36"/>
                <a:gd name="T5" fmla="*/ 20 h 45"/>
                <a:gd name="T6" fmla="*/ 18 w 36"/>
                <a:gd name="T7" fmla="*/ 0 h 45"/>
                <a:gd name="T8" fmla="*/ 33 w 36"/>
                <a:gd name="T9" fmla="*/ 20 h 45"/>
                <a:gd name="T10" fmla="*/ 33 w 36"/>
                <a:gd name="T11" fmla="*/ 23 h 45"/>
                <a:gd name="T12" fmla="*/ 33 w 36"/>
                <a:gd name="T13" fmla="*/ 23 h 45"/>
                <a:gd name="T14" fmla="*/ 35 w 36"/>
                <a:gd name="T15" fmla="*/ 27 h 45"/>
                <a:gd name="T16" fmla="*/ 33 w 36"/>
                <a:gd name="T17" fmla="*/ 31 h 45"/>
                <a:gd name="T18" fmla="*/ 32 w 36"/>
                <a:gd name="T19" fmla="*/ 32 h 45"/>
                <a:gd name="T20" fmla="*/ 31 w 36"/>
                <a:gd name="T21" fmla="*/ 34 h 45"/>
                <a:gd name="T22" fmla="*/ 23 w 36"/>
                <a:gd name="T23" fmla="*/ 43 h 45"/>
                <a:gd name="T24" fmla="*/ 19 w 36"/>
                <a:gd name="T25" fmla="*/ 44 h 45"/>
                <a:gd name="T26" fmla="*/ 18 w 36"/>
                <a:gd name="T27" fmla="*/ 44 h 45"/>
                <a:gd name="T28" fmla="*/ 17 w 36"/>
                <a:gd name="T29" fmla="*/ 44 h 45"/>
                <a:gd name="T30" fmla="*/ 12 w 36"/>
                <a:gd name="T31" fmla="*/ 43 h 45"/>
                <a:gd name="T32" fmla="*/ 4 w 36"/>
                <a:gd name="T33" fmla="*/ 34 h 45"/>
                <a:gd name="T34" fmla="*/ 4 w 36"/>
                <a:gd name="T35" fmla="*/ 32 h 45"/>
                <a:gd name="T36" fmla="*/ 2 w 36"/>
                <a:gd name="T37" fmla="*/ 31 h 45"/>
                <a:gd name="T38" fmla="*/ 1 w 36"/>
                <a:gd name="T39" fmla="*/ 27 h 45"/>
                <a:gd name="T40" fmla="*/ 3 w 36"/>
                <a:gd name="T41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45"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2"/>
                    <a:pt x="3" y="21"/>
                    <a:pt x="3" y="20"/>
                  </a:cubicBezTo>
                  <a:cubicBezTo>
                    <a:pt x="2" y="15"/>
                    <a:pt x="1" y="0"/>
                    <a:pt x="18" y="0"/>
                  </a:cubicBezTo>
                  <a:cubicBezTo>
                    <a:pt x="35" y="0"/>
                    <a:pt x="34" y="15"/>
                    <a:pt x="33" y="20"/>
                  </a:cubicBezTo>
                  <a:cubicBezTo>
                    <a:pt x="33" y="21"/>
                    <a:pt x="33" y="22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6" y="21"/>
                    <a:pt x="36" y="26"/>
                    <a:pt x="35" y="27"/>
                  </a:cubicBezTo>
                  <a:cubicBezTo>
                    <a:pt x="34" y="29"/>
                    <a:pt x="34" y="29"/>
                    <a:pt x="33" y="31"/>
                  </a:cubicBezTo>
                  <a:cubicBezTo>
                    <a:pt x="33" y="32"/>
                    <a:pt x="32" y="32"/>
                    <a:pt x="32" y="32"/>
                  </a:cubicBezTo>
                  <a:cubicBezTo>
                    <a:pt x="31" y="33"/>
                    <a:pt x="31" y="33"/>
                    <a:pt x="31" y="34"/>
                  </a:cubicBezTo>
                  <a:cubicBezTo>
                    <a:pt x="31" y="36"/>
                    <a:pt x="25" y="42"/>
                    <a:pt x="23" y="43"/>
                  </a:cubicBezTo>
                  <a:cubicBezTo>
                    <a:pt x="22" y="45"/>
                    <a:pt x="20" y="44"/>
                    <a:pt x="19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4"/>
                  </a:cubicBezTo>
                  <a:cubicBezTo>
                    <a:pt x="16" y="44"/>
                    <a:pt x="14" y="45"/>
                    <a:pt x="12" y="43"/>
                  </a:cubicBezTo>
                  <a:cubicBezTo>
                    <a:pt x="11" y="42"/>
                    <a:pt x="5" y="36"/>
                    <a:pt x="4" y="34"/>
                  </a:cubicBezTo>
                  <a:cubicBezTo>
                    <a:pt x="4" y="33"/>
                    <a:pt x="4" y="33"/>
                    <a:pt x="4" y="32"/>
                  </a:cubicBezTo>
                  <a:cubicBezTo>
                    <a:pt x="4" y="32"/>
                    <a:pt x="3" y="32"/>
                    <a:pt x="2" y="31"/>
                  </a:cubicBezTo>
                  <a:cubicBezTo>
                    <a:pt x="2" y="29"/>
                    <a:pt x="2" y="29"/>
                    <a:pt x="1" y="27"/>
                  </a:cubicBezTo>
                  <a:cubicBezTo>
                    <a:pt x="0" y="26"/>
                    <a:pt x="0" y="21"/>
                    <a:pt x="3" y="23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4" name="Freeform 331"/>
            <p:cNvSpPr>
              <a:spLocks/>
            </p:cNvSpPr>
            <p:nvPr/>
          </p:nvSpPr>
          <p:spPr bwMode="auto">
            <a:xfrm>
              <a:off x="6675007" y="5336093"/>
              <a:ext cx="46215" cy="38512"/>
            </a:xfrm>
            <a:custGeom>
              <a:avLst/>
              <a:gdLst>
                <a:gd name="T0" fmla="*/ 23 w 30"/>
                <a:gd name="T1" fmla="*/ 18 h 25"/>
                <a:gd name="T2" fmla="*/ 27 w 30"/>
                <a:gd name="T3" fmla="*/ 11 h 25"/>
                <a:gd name="T4" fmla="*/ 29 w 30"/>
                <a:gd name="T5" fmla="*/ 1 h 25"/>
                <a:gd name="T6" fmla="*/ 30 w 30"/>
                <a:gd name="T7" fmla="*/ 1 h 25"/>
                <a:gd name="T8" fmla="*/ 30 w 30"/>
                <a:gd name="T9" fmla="*/ 3 h 25"/>
                <a:gd name="T10" fmla="*/ 29 w 30"/>
                <a:gd name="T11" fmla="*/ 12 h 25"/>
                <a:gd name="T12" fmla="*/ 28 w 30"/>
                <a:gd name="T13" fmla="*/ 14 h 25"/>
                <a:gd name="T14" fmla="*/ 28 w 30"/>
                <a:gd name="T15" fmla="*/ 14 h 25"/>
                <a:gd name="T16" fmla="*/ 27 w 30"/>
                <a:gd name="T17" fmla="*/ 17 h 25"/>
                <a:gd name="T18" fmla="*/ 20 w 30"/>
                <a:gd name="T19" fmla="*/ 23 h 25"/>
                <a:gd name="T20" fmla="*/ 16 w 30"/>
                <a:gd name="T21" fmla="*/ 24 h 25"/>
                <a:gd name="T22" fmla="*/ 15 w 30"/>
                <a:gd name="T23" fmla="*/ 24 h 25"/>
                <a:gd name="T24" fmla="*/ 14 w 30"/>
                <a:gd name="T25" fmla="*/ 24 h 25"/>
                <a:gd name="T26" fmla="*/ 9 w 30"/>
                <a:gd name="T27" fmla="*/ 23 h 25"/>
                <a:gd name="T28" fmla="*/ 3 w 30"/>
                <a:gd name="T29" fmla="*/ 17 h 25"/>
                <a:gd name="T30" fmla="*/ 2 w 30"/>
                <a:gd name="T31" fmla="*/ 14 h 25"/>
                <a:gd name="T32" fmla="*/ 1 w 30"/>
                <a:gd name="T33" fmla="*/ 14 h 25"/>
                <a:gd name="T34" fmla="*/ 1 w 30"/>
                <a:gd name="T35" fmla="*/ 12 h 25"/>
                <a:gd name="T36" fmla="*/ 0 w 30"/>
                <a:gd name="T37" fmla="*/ 3 h 25"/>
                <a:gd name="T38" fmla="*/ 0 w 30"/>
                <a:gd name="T39" fmla="*/ 1 h 25"/>
                <a:gd name="T40" fmla="*/ 0 w 30"/>
                <a:gd name="T41" fmla="*/ 1 h 25"/>
                <a:gd name="T42" fmla="*/ 2 w 30"/>
                <a:gd name="T43" fmla="*/ 11 h 25"/>
                <a:gd name="T44" fmla="*/ 7 w 30"/>
                <a:gd name="T45" fmla="*/ 18 h 25"/>
                <a:gd name="T46" fmla="*/ 12 w 30"/>
                <a:gd name="T47" fmla="*/ 20 h 25"/>
                <a:gd name="T48" fmla="*/ 18 w 30"/>
                <a:gd name="T49" fmla="*/ 20 h 25"/>
                <a:gd name="T50" fmla="*/ 23 w 30"/>
                <a:gd name="T5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5">
                  <a:moveTo>
                    <a:pt x="23" y="18"/>
                  </a:moveTo>
                  <a:cubicBezTo>
                    <a:pt x="24" y="17"/>
                    <a:pt x="27" y="15"/>
                    <a:pt x="27" y="11"/>
                  </a:cubicBezTo>
                  <a:cubicBezTo>
                    <a:pt x="28" y="9"/>
                    <a:pt x="29" y="2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3"/>
                    <a:pt x="28" y="13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7" y="16"/>
                    <a:pt x="27" y="17"/>
                  </a:cubicBezTo>
                  <a:cubicBezTo>
                    <a:pt x="25" y="19"/>
                    <a:pt x="21" y="22"/>
                    <a:pt x="20" y="23"/>
                  </a:cubicBezTo>
                  <a:cubicBezTo>
                    <a:pt x="19" y="25"/>
                    <a:pt x="17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4" y="24"/>
                    <a:pt x="14" y="24"/>
                  </a:cubicBezTo>
                  <a:cubicBezTo>
                    <a:pt x="13" y="24"/>
                    <a:pt x="11" y="25"/>
                    <a:pt x="9" y="23"/>
                  </a:cubicBezTo>
                  <a:cubicBezTo>
                    <a:pt x="8" y="22"/>
                    <a:pt x="5" y="19"/>
                    <a:pt x="3" y="17"/>
                  </a:cubicBezTo>
                  <a:cubicBezTo>
                    <a:pt x="2" y="16"/>
                    <a:pt x="2" y="15"/>
                    <a:pt x="2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ubicBezTo>
                    <a:pt x="0" y="2"/>
                    <a:pt x="2" y="9"/>
                    <a:pt x="2" y="11"/>
                  </a:cubicBezTo>
                  <a:cubicBezTo>
                    <a:pt x="3" y="15"/>
                    <a:pt x="6" y="17"/>
                    <a:pt x="7" y="18"/>
                  </a:cubicBezTo>
                  <a:cubicBezTo>
                    <a:pt x="7" y="19"/>
                    <a:pt x="10" y="20"/>
                    <a:pt x="12" y="20"/>
                  </a:cubicBezTo>
                  <a:cubicBezTo>
                    <a:pt x="13" y="21"/>
                    <a:pt x="17" y="21"/>
                    <a:pt x="18" y="20"/>
                  </a:cubicBezTo>
                  <a:lnTo>
                    <a:pt x="23" y="18"/>
                  </a:lnTo>
                  <a:close/>
                </a:path>
              </a:pathLst>
            </a:custGeom>
            <a:solidFill>
              <a:srgbClr val="582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5" name="Freeform 332"/>
            <p:cNvSpPr>
              <a:spLocks/>
            </p:cNvSpPr>
            <p:nvPr/>
          </p:nvSpPr>
          <p:spPr bwMode="auto">
            <a:xfrm>
              <a:off x="6670386" y="5301432"/>
              <a:ext cx="53918" cy="39283"/>
            </a:xfrm>
            <a:custGeom>
              <a:avLst/>
              <a:gdLst>
                <a:gd name="T0" fmla="*/ 6 w 35"/>
                <a:gd name="T1" fmla="*/ 0 h 26"/>
                <a:gd name="T2" fmla="*/ 20 w 35"/>
                <a:gd name="T3" fmla="*/ 1 h 26"/>
                <a:gd name="T4" fmla="*/ 20 w 35"/>
                <a:gd name="T5" fmla="*/ 1 h 26"/>
                <a:gd name="T6" fmla="*/ 21 w 35"/>
                <a:gd name="T7" fmla="*/ 2 h 26"/>
                <a:gd name="T8" fmla="*/ 34 w 35"/>
                <a:gd name="T9" fmla="*/ 16 h 26"/>
                <a:gd name="T10" fmla="*/ 34 w 35"/>
                <a:gd name="T11" fmla="*/ 16 h 26"/>
                <a:gd name="T12" fmla="*/ 33 w 35"/>
                <a:gd name="T13" fmla="*/ 26 h 26"/>
                <a:gd name="T14" fmla="*/ 32 w 35"/>
                <a:gd name="T15" fmla="*/ 24 h 26"/>
                <a:gd name="T16" fmla="*/ 32 w 35"/>
                <a:gd name="T17" fmla="*/ 20 h 26"/>
                <a:gd name="T18" fmla="*/ 31 w 35"/>
                <a:gd name="T19" fmla="*/ 20 h 26"/>
                <a:gd name="T20" fmla="*/ 31 w 35"/>
                <a:gd name="T21" fmla="*/ 18 h 26"/>
                <a:gd name="T22" fmla="*/ 18 w 35"/>
                <a:gd name="T23" fmla="*/ 13 h 26"/>
                <a:gd name="T24" fmla="*/ 5 w 35"/>
                <a:gd name="T25" fmla="*/ 18 h 26"/>
                <a:gd name="T26" fmla="*/ 4 w 35"/>
                <a:gd name="T27" fmla="*/ 20 h 26"/>
                <a:gd name="T28" fmla="*/ 4 w 35"/>
                <a:gd name="T29" fmla="*/ 20 h 26"/>
                <a:gd name="T30" fmla="*/ 3 w 35"/>
                <a:gd name="T31" fmla="*/ 24 h 26"/>
                <a:gd name="T32" fmla="*/ 3 w 35"/>
                <a:gd name="T33" fmla="*/ 26 h 26"/>
                <a:gd name="T34" fmla="*/ 2 w 35"/>
                <a:gd name="T35" fmla="*/ 19 h 26"/>
                <a:gd name="T36" fmla="*/ 2 w 35"/>
                <a:gd name="T37" fmla="*/ 19 h 26"/>
                <a:gd name="T38" fmla="*/ 6 w 35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6">
                  <a:moveTo>
                    <a:pt x="6" y="0"/>
                  </a:moveTo>
                  <a:cubicBezTo>
                    <a:pt x="6" y="0"/>
                    <a:pt x="5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35" y="2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9"/>
                    <a:pt x="33" y="22"/>
                    <a:pt x="33" y="26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2"/>
                    <a:pt x="32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19"/>
                    <a:pt x="31" y="18"/>
                  </a:cubicBezTo>
                  <a:cubicBezTo>
                    <a:pt x="27" y="11"/>
                    <a:pt x="18" y="13"/>
                    <a:pt x="18" y="13"/>
                  </a:cubicBezTo>
                  <a:cubicBezTo>
                    <a:pt x="18" y="13"/>
                    <a:pt x="9" y="11"/>
                    <a:pt x="5" y="18"/>
                  </a:cubicBezTo>
                  <a:cubicBezTo>
                    <a:pt x="5" y="19"/>
                    <a:pt x="4" y="19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2"/>
                    <a:pt x="3" y="24"/>
                    <a:pt x="3" y="24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4"/>
                    <a:pt x="2" y="21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8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582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6" name="Freeform 333"/>
            <p:cNvSpPr>
              <a:spLocks/>
            </p:cNvSpPr>
            <p:nvPr/>
          </p:nvSpPr>
          <p:spPr bwMode="auto">
            <a:xfrm>
              <a:off x="6664224" y="5377687"/>
              <a:ext cx="66242" cy="98592"/>
            </a:xfrm>
            <a:custGeom>
              <a:avLst/>
              <a:gdLst>
                <a:gd name="T0" fmla="*/ 0 w 43"/>
                <a:gd name="T1" fmla="*/ 6 h 64"/>
                <a:gd name="T2" fmla="*/ 0 w 43"/>
                <a:gd name="T3" fmla="*/ 38 h 64"/>
                <a:gd name="T4" fmla="*/ 3 w 43"/>
                <a:gd name="T5" fmla="*/ 64 h 64"/>
                <a:gd name="T6" fmla="*/ 3 w 43"/>
                <a:gd name="T7" fmla="*/ 64 h 64"/>
                <a:gd name="T8" fmla="*/ 22 w 43"/>
                <a:gd name="T9" fmla="*/ 64 h 64"/>
                <a:gd name="T10" fmla="*/ 25 w 43"/>
                <a:gd name="T11" fmla="*/ 64 h 64"/>
                <a:gd name="T12" fmla="*/ 40 w 43"/>
                <a:gd name="T13" fmla="*/ 64 h 64"/>
                <a:gd name="T14" fmla="*/ 41 w 43"/>
                <a:gd name="T15" fmla="*/ 63 h 64"/>
                <a:gd name="T16" fmla="*/ 43 w 43"/>
                <a:gd name="T17" fmla="*/ 38 h 64"/>
                <a:gd name="T18" fmla="*/ 43 w 43"/>
                <a:gd name="T19" fmla="*/ 6 h 64"/>
                <a:gd name="T20" fmla="*/ 30 w 43"/>
                <a:gd name="T21" fmla="*/ 0 h 64"/>
                <a:gd name="T22" fmla="*/ 14 w 43"/>
                <a:gd name="T23" fmla="*/ 0 h 64"/>
                <a:gd name="T24" fmla="*/ 14 w 43"/>
                <a:gd name="T25" fmla="*/ 0 h 64"/>
                <a:gd name="T26" fmla="*/ 0 w 43"/>
                <a:gd name="T27" fmla="*/ 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64">
                  <a:moveTo>
                    <a:pt x="0" y="6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3" y="46"/>
                    <a:pt x="3" y="55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54"/>
                    <a:pt x="41" y="46"/>
                    <a:pt x="43" y="38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8" y="4"/>
                    <a:pt x="30" y="0"/>
                    <a:pt x="3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6" y="4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7" name="Freeform 334"/>
            <p:cNvSpPr>
              <a:spLocks/>
            </p:cNvSpPr>
            <p:nvPr/>
          </p:nvSpPr>
          <p:spPr bwMode="auto">
            <a:xfrm>
              <a:off x="6698115" y="5382308"/>
              <a:ext cx="66242" cy="143266"/>
            </a:xfrm>
            <a:custGeom>
              <a:avLst/>
              <a:gdLst>
                <a:gd name="T0" fmla="*/ 23 w 43"/>
                <a:gd name="T1" fmla="*/ 84 h 93"/>
                <a:gd name="T2" fmla="*/ 23 w 43"/>
                <a:gd name="T3" fmla="*/ 40 h 93"/>
                <a:gd name="T4" fmla="*/ 23 w 43"/>
                <a:gd name="T5" fmla="*/ 36 h 93"/>
                <a:gd name="T6" fmla="*/ 28 w 43"/>
                <a:gd name="T7" fmla="*/ 59 h 93"/>
                <a:gd name="T8" fmla="*/ 28 w 43"/>
                <a:gd name="T9" fmla="*/ 93 h 93"/>
                <a:gd name="T10" fmla="*/ 42 w 43"/>
                <a:gd name="T11" fmla="*/ 92 h 93"/>
                <a:gd name="T12" fmla="*/ 43 w 43"/>
                <a:gd name="T13" fmla="*/ 62 h 93"/>
                <a:gd name="T14" fmla="*/ 36 w 43"/>
                <a:gd name="T15" fmla="*/ 24 h 93"/>
                <a:gd name="T16" fmla="*/ 29 w 43"/>
                <a:gd name="T17" fmla="*/ 6 h 93"/>
                <a:gd name="T18" fmla="*/ 15 w 43"/>
                <a:gd name="T19" fmla="*/ 0 h 93"/>
                <a:gd name="T20" fmla="*/ 0 w 43"/>
                <a:gd name="T21" fmla="*/ 28 h 93"/>
                <a:gd name="T22" fmla="*/ 0 w 43"/>
                <a:gd name="T23" fmla="*/ 84 h 93"/>
                <a:gd name="T24" fmla="*/ 23 w 43"/>
                <a:gd name="T25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93">
                  <a:moveTo>
                    <a:pt x="23" y="84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35"/>
                    <a:pt x="23" y="35"/>
                    <a:pt x="23" y="36"/>
                  </a:cubicBezTo>
                  <a:cubicBezTo>
                    <a:pt x="24" y="37"/>
                    <a:pt x="28" y="54"/>
                    <a:pt x="28" y="59"/>
                  </a:cubicBezTo>
                  <a:cubicBezTo>
                    <a:pt x="28" y="61"/>
                    <a:pt x="28" y="90"/>
                    <a:pt x="28" y="93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3" y="91"/>
                    <a:pt x="43" y="65"/>
                    <a:pt x="43" y="62"/>
                  </a:cubicBezTo>
                  <a:cubicBezTo>
                    <a:pt x="43" y="48"/>
                    <a:pt x="40" y="40"/>
                    <a:pt x="36" y="24"/>
                  </a:cubicBezTo>
                  <a:cubicBezTo>
                    <a:pt x="33" y="8"/>
                    <a:pt x="31" y="7"/>
                    <a:pt x="29" y="6"/>
                  </a:cubicBezTo>
                  <a:cubicBezTo>
                    <a:pt x="28" y="5"/>
                    <a:pt x="20" y="2"/>
                    <a:pt x="15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4"/>
                    <a:pt x="0" y="84"/>
                    <a:pt x="0" y="84"/>
                  </a:cubicBezTo>
                  <a:lnTo>
                    <a:pt x="23" y="84"/>
                  </a:lnTo>
                  <a:close/>
                </a:path>
              </a:pathLst>
            </a:custGeom>
            <a:solidFill>
              <a:srgbClr val="4985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8" name="Freeform 335"/>
            <p:cNvSpPr>
              <a:spLocks/>
            </p:cNvSpPr>
            <p:nvPr/>
          </p:nvSpPr>
          <p:spPr bwMode="auto">
            <a:xfrm>
              <a:off x="6733546" y="5436226"/>
              <a:ext cx="12324" cy="89349"/>
            </a:xfrm>
            <a:custGeom>
              <a:avLst/>
              <a:gdLst>
                <a:gd name="T0" fmla="*/ 8 w 8"/>
                <a:gd name="T1" fmla="*/ 58 h 58"/>
                <a:gd name="T2" fmla="*/ 8 w 8"/>
                <a:gd name="T3" fmla="*/ 24 h 58"/>
                <a:gd name="T4" fmla="*/ 0 w 8"/>
                <a:gd name="T5" fmla="*/ 0 h 58"/>
                <a:gd name="T6" fmla="*/ 0 w 8"/>
                <a:gd name="T7" fmla="*/ 0 h 58"/>
                <a:gd name="T8" fmla="*/ 0 w 8"/>
                <a:gd name="T9" fmla="*/ 1 h 58"/>
                <a:gd name="T10" fmla="*/ 5 w 8"/>
                <a:gd name="T11" fmla="*/ 24 h 58"/>
                <a:gd name="T12" fmla="*/ 5 w 8"/>
                <a:gd name="T13" fmla="*/ 58 h 58"/>
                <a:gd name="T14" fmla="*/ 8 w 8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8">
                  <a:moveTo>
                    <a:pt x="8" y="58"/>
                  </a:moveTo>
                  <a:cubicBezTo>
                    <a:pt x="8" y="58"/>
                    <a:pt x="8" y="31"/>
                    <a:pt x="8" y="24"/>
                  </a:cubicBezTo>
                  <a:cubicBezTo>
                    <a:pt x="8" y="18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5" y="19"/>
                    <a:pt x="5" y="24"/>
                  </a:cubicBezTo>
                  <a:cubicBezTo>
                    <a:pt x="5" y="26"/>
                    <a:pt x="5" y="55"/>
                    <a:pt x="5" y="58"/>
                  </a:cubicBezTo>
                  <a:lnTo>
                    <a:pt x="8" y="58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9" name="Freeform 336"/>
            <p:cNvSpPr>
              <a:spLocks/>
            </p:cNvSpPr>
            <p:nvPr/>
          </p:nvSpPr>
          <p:spPr bwMode="auto">
            <a:xfrm>
              <a:off x="6733546" y="5436226"/>
              <a:ext cx="0" cy="4621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0" name="Freeform 337"/>
            <p:cNvSpPr>
              <a:spLocks/>
            </p:cNvSpPr>
            <p:nvPr/>
          </p:nvSpPr>
          <p:spPr bwMode="auto">
            <a:xfrm>
              <a:off x="6622630" y="5516332"/>
              <a:ext cx="21567" cy="35431"/>
            </a:xfrm>
            <a:custGeom>
              <a:avLst/>
              <a:gdLst>
                <a:gd name="T0" fmla="*/ 5 w 14"/>
                <a:gd name="T1" fmla="*/ 1 h 23"/>
                <a:gd name="T2" fmla="*/ 2 w 14"/>
                <a:gd name="T3" fmla="*/ 6 h 23"/>
                <a:gd name="T4" fmla="*/ 4 w 14"/>
                <a:gd name="T5" fmla="*/ 22 h 23"/>
                <a:gd name="T6" fmla="*/ 6 w 14"/>
                <a:gd name="T7" fmla="*/ 18 h 23"/>
                <a:gd name="T8" fmla="*/ 8 w 14"/>
                <a:gd name="T9" fmla="*/ 12 h 23"/>
                <a:gd name="T10" fmla="*/ 9 w 14"/>
                <a:gd name="T11" fmla="*/ 16 h 23"/>
                <a:gd name="T12" fmla="*/ 12 w 14"/>
                <a:gd name="T13" fmla="*/ 13 h 23"/>
                <a:gd name="T14" fmla="*/ 13 w 14"/>
                <a:gd name="T15" fmla="*/ 9 h 23"/>
                <a:gd name="T16" fmla="*/ 13 w 14"/>
                <a:gd name="T17" fmla="*/ 2 h 23"/>
                <a:gd name="T18" fmla="*/ 5 w 14"/>
                <a:gd name="T1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3">
                  <a:moveTo>
                    <a:pt x="5" y="1"/>
                  </a:moveTo>
                  <a:cubicBezTo>
                    <a:pt x="5" y="1"/>
                    <a:pt x="3" y="5"/>
                    <a:pt x="2" y="6"/>
                  </a:cubicBezTo>
                  <a:cubicBezTo>
                    <a:pt x="1" y="7"/>
                    <a:pt x="0" y="20"/>
                    <a:pt x="4" y="22"/>
                  </a:cubicBezTo>
                  <a:cubicBezTo>
                    <a:pt x="7" y="23"/>
                    <a:pt x="6" y="21"/>
                    <a:pt x="6" y="18"/>
                  </a:cubicBezTo>
                  <a:cubicBezTo>
                    <a:pt x="6" y="15"/>
                    <a:pt x="7" y="11"/>
                    <a:pt x="8" y="12"/>
                  </a:cubicBezTo>
                  <a:cubicBezTo>
                    <a:pt x="10" y="13"/>
                    <a:pt x="8" y="15"/>
                    <a:pt x="9" y="16"/>
                  </a:cubicBezTo>
                  <a:cubicBezTo>
                    <a:pt x="10" y="17"/>
                    <a:pt x="11" y="15"/>
                    <a:pt x="12" y="13"/>
                  </a:cubicBezTo>
                  <a:cubicBezTo>
                    <a:pt x="12" y="11"/>
                    <a:pt x="13" y="9"/>
                    <a:pt x="13" y="9"/>
                  </a:cubicBezTo>
                  <a:cubicBezTo>
                    <a:pt x="14" y="4"/>
                    <a:pt x="12" y="4"/>
                    <a:pt x="13" y="2"/>
                  </a:cubicBezTo>
                  <a:cubicBezTo>
                    <a:pt x="14" y="0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1" name="Freeform 338"/>
            <p:cNvSpPr>
              <a:spLocks/>
            </p:cNvSpPr>
            <p:nvPr/>
          </p:nvSpPr>
          <p:spPr bwMode="auto">
            <a:xfrm>
              <a:off x="6624171" y="5382308"/>
              <a:ext cx="73944" cy="144807"/>
            </a:xfrm>
            <a:custGeom>
              <a:avLst/>
              <a:gdLst>
                <a:gd name="T0" fmla="*/ 25 w 48"/>
                <a:gd name="T1" fmla="*/ 84 h 94"/>
                <a:gd name="T2" fmla="*/ 24 w 48"/>
                <a:gd name="T3" fmla="*/ 40 h 94"/>
                <a:gd name="T4" fmla="*/ 24 w 48"/>
                <a:gd name="T5" fmla="*/ 36 h 94"/>
                <a:gd name="T6" fmla="*/ 19 w 48"/>
                <a:gd name="T7" fmla="*/ 58 h 94"/>
                <a:gd name="T8" fmla="*/ 15 w 48"/>
                <a:gd name="T9" fmla="*/ 94 h 94"/>
                <a:gd name="T10" fmla="*/ 0 w 48"/>
                <a:gd name="T11" fmla="*/ 93 h 94"/>
                <a:gd name="T12" fmla="*/ 3 w 48"/>
                <a:gd name="T13" fmla="*/ 61 h 94"/>
                <a:gd name="T14" fmla="*/ 11 w 48"/>
                <a:gd name="T15" fmla="*/ 24 h 94"/>
                <a:gd name="T16" fmla="*/ 19 w 48"/>
                <a:gd name="T17" fmla="*/ 6 h 94"/>
                <a:gd name="T18" fmla="*/ 33 w 48"/>
                <a:gd name="T19" fmla="*/ 0 h 94"/>
                <a:gd name="T20" fmla="*/ 48 w 48"/>
                <a:gd name="T21" fmla="*/ 28 h 94"/>
                <a:gd name="T22" fmla="*/ 48 w 48"/>
                <a:gd name="T23" fmla="*/ 84 h 94"/>
                <a:gd name="T24" fmla="*/ 25 w 48"/>
                <a:gd name="T25" fmla="*/ 8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94">
                  <a:moveTo>
                    <a:pt x="25" y="84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35"/>
                    <a:pt x="25" y="35"/>
                    <a:pt x="24" y="36"/>
                  </a:cubicBezTo>
                  <a:cubicBezTo>
                    <a:pt x="24" y="37"/>
                    <a:pt x="19" y="54"/>
                    <a:pt x="19" y="58"/>
                  </a:cubicBezTo>
                  <a:cubicBezTo>
                    <a:pt x="19" y="60"/>
                    <a:pt x="14" y="90"/>
                    <a:pt x="15" y="94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1"/>
                    <a:pt x="3" y="63"/>
                    <a:pt x="3" y="61"/>
                  </a:cubicBezTo>
                  <a:cubicBezTo>
                    <a:pt x="4" y="44"/>
                    <a:pt x="8" y="40"/>
                    <a:pt x="11" y="24"/>
                  </a:cubicBezTo>
                  <a:cubicBezTo>
                    <a:pt x="15" y="8"/>
                    <a:pt x="17" y="7"/>
                    <a:pt x="19" y="6"/>
                  </a:cubicBezTo>
                  <a:cubicBezTo>
                    <a:pt x="20" y="5"/>
                    <a:pt x="28" y="2"/>
                    <a:pt x="33" y="0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84"/>
                    <a:pt x="48" y="84"/>
                    <a:pt x="48" y="84"/>
                  </a:cubicBezTo>
                  <a:lnTo>
                    <a:pt x="25" y="84"/>
                  </a:lnTo>
                  <a:close/>
                </a:path>
              </a:pathLst>
            </a:custGeom>
            <a:solidFill>
              <a:srgbClr val="4985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2" name="Freeform 339"/>
            <p:cNvSpPr>
              <a:spLocks/>
            </p:cNvSpPr>
            <p:nvPr/>
          </p:nvSpPr>
          <p:spPr bwMode="auto">
            <a:xfrm>
              <a:off x="6661143" y="5436226"/>
              <a:ext cx="0" cy="4621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3" name="Rectangle 340"/>
            <p:cNvSpPr>
              <a:spLocks noChangeArrowheads="1"/>
            </p:cNvSpPr>
            <p:nvPr/>
          </p:nvSpPr>
          <p:spPr bwMode="auto">
            <a:xfrm>
              <a:off x="6662683" y="5505548"/>
              <a:ext cx="70863" cy="7702"/>
            </a:xfrm>
            <a:prstGeom prst="rect">
              <a:avLst/>
            </a:pr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4" name="Freeform 341"/>
            <p:cNvSpPr>
              <a:spLocks/>
            </p:cNvSpPr>
            <p:nvPr/>
          </p:nvSpPr>
          <p:spPr bwMode="auto">
            <a:xfrm>
              <a:off x="6639576" y="5436226"/>
              <a:ext cx="21567" cy="90889"/>
            </a:xfrm>
            <a:custGeom>
              <a:avLst/>
              <a:gdLst>
                <a:gd name="T0" fmla="*/ 14 w 14"/>
                <a:gd name="T1" fmla="*/ 1 h 59"/>
                <a:gd name="T2" fmla="*/ 14 w 14"/>
                <a:gd name="T3" fmla="*/ 0 h 59"/>
                <a:gd name="T4" fmla="*/ 6 w 14"/>
                <a:gd name="T5" fmla="*/ 23 h 59"/>
                <a:gd name="T6" fmla="*/ 0 w 14"/>
                <a:gd name="T7" fmla="*/ 58 h 59"/>
                <a:gd name="T8" fmla="*/ 0 w 14"/>
                <a:gd name="T9" fmla="*/ 58 h 59"/>
                <a:gd name="T10" fmla="*/ 5 w 14"/>
                <a:gd name="T11" fmla="*/ 59 h 59"/>
                <a:gd name="T12" fmla="*/ 9 w 14"/>
                <a:gd name="T13" fmla="*/ 23 h 59"/>
                <a:gd name="T14" fmla="*/ 14 w 14"/>
                <a:gd name="T15" fmla="*/ 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59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7" y="14"/>
                    <a:pt x="6" y="23"/>
                  </a:cubicBezTo>
                  <a:cubicBezTo>
                    <a:pt x="5" y="31"/>
                    <a:pt x="0" y="58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4" y="55"/>
                    <a:pt x="9" y="25"/>
                    <a:pt x="9" y="23"/>
                  </a:cubicBezTo>
                  <a:cubicBezTo>
                    <a:pt x="9" y="19"/>
                    <a:pt x="14" y="2"/>
                    <a:pt x="14" y="1"/>
                  </a:cubicBez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5" name="Freeform 342"/>
            <p:cNvSpPr>
              <a:spLocks/>
            </p:cNvSpPr>
            <p:nvPr/>
          </p:nvSpPr>
          <p:spPr bwMode="auto">
            <a:xfrm>
              <a:off x="6661143" y="5436226"/>
              <a:ext cx="0" cy="154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79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6" name="Freeform 343"/>
            <p:cNvSpPr>
              <a:spLocks/>
            </p:cNvSpPr>
            <p:nvPr/>
          </p:nvSpPr>
          <p:spPr bwMode="auto">
            <a:xfrm>
              <a:off x="6698115" y="5377687"/>
              <a:ext cx="6162" cy="10783"/>
            </a:xfrm>
            <a:custGeom>
              <a:avLst/>
              <a:gdLst>
                <a:gd name="T0" fmla="*/ 0 w 8"/>
                <a:gd name="T1" fmla="*/ 0 h 14"/>
                <a:gd name="T2" fmla="*/ 0 w 8"/>
                <a:gd name="T3" fmla="*/ 14 h 14"/>
                <a:gd name="T4" fmla="*/ 8 w 8"/>
                <a:gd name="T5" fmla="*/ 0 h 14"/>
                <a:gd name="T6" fmla="*/ 0 w 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4">
                  <a:moveTo>
                    <a:pt x="0" y="0"/>
                  </a:moveTo>
                  <a:lnTo>
                    <a:pt x="0" y="14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7" name="Freeform 344"/>
            <p:cNvSpPr>
              <a:spLocks/>
            </p:cNvSpPr>
            <p:nvPr/>
          </p:nvSpPr>
          <p:spPr bwMode="auto">
            <a:xfrm>
              <a:off x="6698115" y="5385389"/>
              <a:ext cx="6162" cy="40053"/>
            </a:xfrm>
            <a:custGeom>
              <a:avLst/>
              <a:gdLst>
                <a:gd name="T0" fmla="*/ 2 w 8"/>
                <a:gd name="T1" fmla="*/ 0 h 52"/>
                <a:gd name="T2" fmla="*/ 8 w 8"/>
                <a:gd name="T3" fmla="*/ 30 h 52"/>
                <a:gd name="T4" fmla="*/ 2 w 8"/>
                <a:gd name="T5" fmla="*/ 46 h 52"/>
                <a:gd name="T6" fmla="*/ 0 w 8"/>
                <a:gd name="T7" fmla="*/ 52 h 52"/>
                <a:gd name="T8" fmla="*/ 0 w 8"/>
                <a:gd name="T9" fmla="*/ 0 h 52"/>
                <a:gd name="T10" fmla="*/ 2 w 8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2">
                  <a:moveTo>
                    <a:pt x="2" y="0"/>
                  </a:moveTo>
                  <a:lnTo>
                    <a:pt x="8" y="30"/>
                  </a:lnTo>
                  <a:lnTo>
                    <a:pt x="2" y="46"/>
                  </a:lnTo>
                  <a:lnTo>
                    <a:pt x="0" y="5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8" name="Freeform 345"/>
            <p:cNvSpPr>
              <a:spLocks/>
            </p:cNvSpPr>
            <p:nvPr/>
          </p:nvSpPr>
          <p:spPr bwMode="auto">
            <a:xfrm>
              <a:off x="6691953" y="5377687"/>
              <a:ext cx="6162" cy="10783"/>
            </a:xfrm>
            <a:custGeom>
              <a:avLst/>
              <a:gdLst>
                <a:gd name="T0" fmla="*/ 8 w 8"/>
                <a:gd name="T1" fmla="*/ 0 h 14"/>
                <a:gd name="T2" fmla="*/ 8 w 8"/>
                <a:gd name="T3" fmla="*/ 14 h 14"/>
                <a:gd name="T4" fmla="*/ 0 w 8"/>
                <a:gd name="T5" fmla="*/ 0 h 14"/>
                <a:gd name="T6" fmla="*/ 8 w 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4">
                  <a:moveTo>
                    <a:pt x="8" y="0"/>
                  </a:moveTo>
                  <a:lnTo>
                    <a:pt x="8" y="14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9" name="Freeform 346"/>
            <p:cNvSpPr>
              <a:spLocks/>
            </p:cNvSpPr>
            <p:nvPr/>
          </p:nvSpPr>
          <p:spPr bwMode="auto">
            <a:xfrm>
              <a:off x="6691953" y="5385389"/>
              <a:ext cx="6162" cy="40053"/>
            </a:xfrm>
            <a:custGeom>
              <a:avLst/>
              <a:gdLst>
                <a:gd name="T0" fmla="*/ 6 w 8"/>
                <a:gd name="T1" fmla="*/ 0 h 52"/>
                <a:gd name="T2" fmla="*/ 0 w 8"/>
                <a:gd name="T3" fmla="*/ 30 h 52"/>
                <a:gd name="T4" fmla="*/ 4 w 8"/>
                <a:gd name="T5" fmla="*/ 46 h 52"/>
                <a:gd name="T6" fmla="*/ 8 w 8"/>
                <a:gd name="T7" fmla="*/ 52 h 52"/>
                <a:gd name="T8" fmla="*/ 8 w 8"/>
                <a:gd name="T9" fmla="*/ 0 h 52"/>
                <a:gd name="T10" fmla="*/ 6 w 8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2">
                  <a:moveTo>
                    <a:pt x="6" y="0"/>
                  </a:moveTo>
                  <a:lnTo>
                    <a:pt x="0" y="30"/>
                  </a:lnTo>
                  <a:lnTo>
                    <a:pt x="4" y="46"/>
                  </a:lnTo>
                  <a:lnTo>
                    <a:pt x="8" y="5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0" name="Freeform 347"/>
            <p:cNvSpPr>
              <a:spLocks/>
            </p:cNvSpPr>
            <p:nvPr/>
          </p:nvSpPr>
          <p:spPr bwMode="auto">
            <a:xfrm>
              <a:off x="6625711" y="5548682"/>
              <a:ext cx="18486" cy="63160"/>
            </a:xfrm>
            <a:custGeom>
              <a:avLst/>
              <a:gdLst>
                <a:gd name="T0" fmla="*/ 12 w 12"/>
                <a:gd name="T1" fmla="*/ 37 h 41"/>
                <a:gd name="T2" fmla="*/ 6 w 12"/>
                <a:gd name="T3" fmla="*/ 40 h 41"/>
                <a:gd name="T4" fmla="*/ 0 w 12"/>
                <a:gd name="T5" fmla="*/ 37 h 41"/>
                <a:gd name="T6" fmla="*/ 0 w 12"/>
                <a:gd name="T7" fmla="*/ 4 h 41"/>
                <a:gd name="T8" fmla="*/ 6 w 12"/>
                <a:gd name="T9" fmla="*/ 1 h 41"/>
                <a:gd name="T10" fmla="*/ 12 w 12"/>
                <a:gd name="T11" fmla="*/ 4 h 41"/>
                <a:gd name="T12" fmla="*/ 12 w 12"/>
                <a:gd name="T13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1">
                  <a:moveTo>
                    <a:pt x="12" y="37"/>
                  </a:moveTo>
                  <a:cubicBezTo>
                    <a:pt x="12" y="41"/>
                    <a:pt x="9" y="40"/>
                    <a:pt x="6" y="40"/>
                  </a:cubicBezTo>
                  <a:cubicBezTo>
                    <a:pt x="2" y="40"/>
                    <a:pt x="0" y="41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2" y="1"/>
                    <a:pt x="6" y="1"/>
                  </a:cubicBezTo>
                  <a:cubicBezTo>
                    <a:pt x="9" y="1"/>
                    <a:pt x="12" y="0"/>
                    <a:pt x="12" y="4"/>
                  </a:cubicBezTo>
                  <a:lnTo>
                    <a:pt x="12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31" name="Group 1330"/>
          <p:cNvGrpSpPr/>
          <p:nvPr/>
        </p:nvGrpSpPr>
        <p:grpSpPr>
          <a:xfrm>
            <a:off x="6492982" y="1954451"/>
            <a:ext cx="144606" cy="429885"/>
            <a:chOff x="6622630" y="5301432"/>
            <a:chExt cx="141727" cy="421327"/>
          </a:xfrm>
        </p:grpSpPr>
        <p:sp>
          <p:nvSpPr>
            <p:cNvPr id="1332" name="Rectangle 321"/>
            <p:cNvSpPr>
              <a:spLocks noChangeArrowheads="1"/>
            </p:cNvSpPr>
            <p:nvPr/>
          </p:nvSpPr>
          <p:spPr bwMode="auto">
            <a:xfrm>
              <a:off x="6631873" y="5530196"/>
              <a:ext cx="4622" cy="23107"/>
            </a:xfrm>
            <a:prstGeom prst="rect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3" name="Freeform 322"/>
            <p:cNvSpPr>
              <a:spLocks/>
            </p:cNvSpPr>
            <p:nvPr/>
          </p:nvSpPr>
          <p:spPr bwMode="auto">
            <a:xfrm>
              <a:off x="6654981" y="5688868"/>
              <a:ext cx="38513" cy="33891"/>
            </a:xfrm>
            <a:custGeom>
              <a:avLst/>
              <a:gdLst>
                <a:gd name="T0" fmla="*/ 8 w 25"/>
                <a:gd name="T1" fmla="*/ 7 h 22"/>
                <a:gd name="T2" fmla="*/ 4 w 25"/>
                <a:gd name="T3" fmla="*/ 19 h 22"/>
                <a:gd name="T4" fmla="*/ 23 w 25"/>
                <a:gd name="T5" fmla="*/ 11 h 22"/>
                <a:gd name="T6" fmla="*/ 22 w 25"/>
                <a:gd name="T7" fmla="*/ 0 h 22"/>
                <a:gd name="T8" fmla="*/ 8 w 25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2">
                  <a:moveTo>
                    <a:pt x="8" y="7"/>
                  </a:moveTo>
                  <a:cubicBezTo>
                    <a:pt x="8" y="7"/>
                    <a:pt x="0" y="17"/>
                    <a:pt x="4" y="19"/>
                  </a:cubicBezTo>
                  <a:cubicBezTo>
                    <a:pt x="8" y="22"/>
                    <a:pt x="21" y="14"/>
                    <a:pt x="23" y="11"/>
                  </a:cubicBezTo>
                  <a:cubicBezTo>
                    <a:pt x="25" y="6"/>
                    <a:pt x="22" y="0"/>
                    <a:pt x="22" y="0"/>
                  </a:cubicBezTo>
                  <a:lnTo>
                    <a:pt x="8" y="7"/>
                  </a:lnTo>
                  <a:close/>
                </a:path>
              </a:pathLst>
            </a:custGeom>
            <a:solidFill>
              <a:srgbClr val="371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4" name="Freeform 323"/>
            <p:cNvSpPr>
              <a:spLocks/>
            </p:cNvSpPr>
            <p:nvPr/>
          </p:nvSpPr>
          <p:spPr bwMode="auto">
            <a:xfrm>
              <a:off x="6701196" y="5688868"/>
              <a:ext cx="40053" cy="33891"/>
            </a:xfrm>
            <a:custGeom>
              <a:avLst/>
              <a:gdLst>
                <a:gd name="T0" fmla="*/ 17 w 26"/>
                <a:gd name="T1" fmla="*/ 7 h 22"/>
                <a:gd name="T2" fmla="*/ 22 w 26"/>
                <a:gd name="T3" fmla="*/ 19 h 22"/>
                <a:gd name="T4" fmla="*/ 3 w 26"/>
                <a:gd name="T5" fmla="*/ 11 h 22"/>
                <a:gd name="T6" fmla="*/ 4 w 26"/>
                <a:gd name="T7" fmla="*/ 0 h 22"/>
                <a:gd name="T8" fmla="*/ 17 w 26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2">
                  <a:moveTo>
                    <a:pt x="17" y="7"/>
                  </a:moveTo>
                  <a:cubicBezTo>
                    <a:pt x="17" y="7"/>
                    <a:pt x="26" y="17"/>
                    <a:pt x="22" y="19"/>
                  </a:cubicBezTo>
                  <a:cubicBezTo>
                    <a:pt x="18" y="22"/>
                    <a:pt x="4" y="14"/>
                    <a:pt x="3" y="11"/>
                  </a:cubicBezTo>
                  <a:cubicBezTo>
                    <a:pt x="0" y="6"/>
                    <a:pt x="4" y="0"/>
                    <a:pt x="4" y="0"/>
                  </a:cubicBezTo>
                  <a:lnTo>
                    <a:pt x="17" y="7"/>
                  </a:lnTo>
                  <a:close/>
                </a:path>
              </a:pathLst>
            </a:custGeom>
            <a:solidFill>
              <a:srgbClr val="371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5" name="Freeform 324"/>
            <p:cNvSpPr>
              <a:spLocks/>
            </p:cNvSpPr>
            <p:nvPr/>
          </p:nvSpPr>
          <p:spPr bwMode="auto">
            <a:xfrm>
              <a:off x="6662683" y="5511710"/>
              <a:ext cx="35432" cy="191022"/>
            </a:xfrm>
            <a:custGeom>
              <a:avLst/>
              <a:gdLst>
                <a:gd name="T0" fmla="*/ 0 w 23"/>
                <a:gd name="T1" fmla="*/ 0 h 124"/>
                <a:gd name="T2" fmla="*/ 0 w 23"/>
                <a:gd name="T3" fmla="*/ 65 h 124"/>
                <a:gd name="T4" fmla="*/ 0 w 23"/>
                <a:gd name="T5" fmla="*/ 124 h 124"/>
                <a:gd name="T6" fmla="*/ 20 w 23"/>
                <a:gd name="T7" fmla="*/ 124 h 124"/>
                <a:gd name="T8" fmla="*/ 23 w 23"/>
                <a:gd name="T9" fmla="*/ 27 h 124"/>
                <a:gd name="T10" fmla="*/ 23 w 23"/>
                <a:gd name="T11" fmla="*/ 0 h 124"/>
                <a:gd name="T12" fmla="*/ 0 w 23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4">
                  <a:moveTo>
                    <a:pt x="0" y="0"/>
                  </a:moveTo>
                  <a:cubicBezTo>
                    <a:pt x="0" y="0"/>
                    <a:pt x="0" y="45"/>
                    <a:pt x="0" y="65"/>
                  </a:cubicBezTo>
                  <a:cubicBezTo>
                    <a:pt x="0" y="85"/>
                    <a:pt x="0" y="124"/>
                    <a:pt x="0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26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6" name="Freeform 325"/>
            <p:cNvSpPr>
              <a:spLocks/>
            </p:cNvSpPr>
            <p:nvPr/>
          </p:nvSpPr>
          <p:spPr bwMode="auto">
            <a:xfrm>
              <a:off x="6698115" y="5511710"/>
              <a:ext cx="35432" cy="191022"/>
            </a:xfrm>
            <a:custGeom>
              <a:avLst/>
              <a:gdLst>
                <a:gd name="T0" fmla="*/ 22 w 23"/>
                <a:gd name="T1" fmla="*/ 0 h 124"/>
                <a:gd name="T2" fmla="*/ 22 w 23"/>
                <a:gd name="T3" fmla="*/ 65 h 124"/>
                <a:gd name="T4" fmla="*/ 22 w 23"/>
                <a:gd name="T5" fmla="*/ 124 h 124"/>
                <a:gd name="T6" fmla="*/ 3 w 23"/>
                <a:gd name="T7" fmla="*/ 124 h 124"/>
                <a:gd name="T8" fmla="*/ 0 w 23"/>
                <a:gd name="T9" fmla="*/ 27 h 124"/>
                <a:gd name="T10" fmla="*/ 0 w 23"/>
                <a:gd name="T11" fmla="*/ 0 h 124"/>
                <a:gd name="T12" fmla="*/ 22 w 23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4">
                  <a:moveTo>
                    <a:pt x="22" y="0"/>
                  </a:moveTo>
                  <a:cubicBezTo>
                    <a:pt x="22" y="0"/>
                    <a:pt x="22" y="45"/>
                    <a:pt x="22" y="65"/>
                  </a:cubicBezTo>
                  <a:cubicBezTo>
                    <a:pt x="23" y="85"/>
                    <a:pt x="22" y="124"/>
                    <a:pt x="22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0026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7" name="Freeform 326"/>
            <p:cNvSpPr>
              <a:spLocks/>
            </p:cNvSpPr>
            <p:nvPr/>
          </p:nvSpPr>
          <p:spPr bwMode="auto">
            <a:xfrm>
              <a:off x="6662683" y="5511710"/>
              <a:ext cx="20027" cy="191022"/>
            </a:xfrm>
            <a:custGeom>
              <a:avLst/>
              <a:gdLst>
                <a:gd name="T0" fmla="*/ 26 w 26"/>
                <a:gd name="T1" fmla="*/ 0 h 248"/>
                <a:gd name="T2" fmla="*/ 18 w 26"/>
                <a:gd name="T3" fmla="*/ 248 h 248"/>
                <a:gd name="T4" fmla="*/ 0 w 26"/>
                <a:gd name="T5" fmla="*/ 248 h 248"/>
                <a:gd name="T6" fmla="*/ 0 w 26"/>
                <a:gd name="T7" fmla="*/ 0 h 248"/>
                <a:gd name="T8" fmla="*/ 26 w 26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8">
                  <a:moveTo>
                    <a:pt x="26" y="0"/>
                  </a:moveTo>
                  <a:lnTo>
                    <a:pt x="18" y="248"/>
                  </a:lnTo>
                  <a:lnTo>
                    <a:pt x="0" y="248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8" name="Freeform 327"/>
            <p:cNvSpPr>
              <a:spLocks/>
            </p:cNvSpPr>
            <p:nvPr/>
          </p:nvSpPr>
          <p:spPr bwMode="auto">
            <a:xfrm>
              <a:off x="6698115" y="5511710"/>
              <a:ext cx="18486" cy="191022"/>
            </a:xfrm>
            <a:custGeom>
              <a:avLst/>
              <a:gdLst>
                <a:gd name="T0" fmla="*/ 0 w 24"/>
                <a:gd name="T1" fmla="*/ 0 h 248"/>
                <a:gd name="T2" fmla="*/ 0 w 24"/>
                <a:gd name="T3" fmla="*/ 60 h 248"/>
                <a:gd name="T4" fmla="*/ 6 w 24"/>
                <a:gd name="T5" fmla="*/ 248 h 248"/>
                <a:gd name="T6" fmla="*/ 24 w 24"/>
                <a:gd name="T7" fmla="*/ 248 h 248"/>
                <a:gd name="T8" fmla="*/ 22 w 24"/>
                <a:gd name="T9" fmla="*/ 0 h 248"/>
                <a:gd name="T10" fmla="*/ 0 w 24"/>
                <a:gd name="T11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8">
                  <a:moveTo>
                    <a:pt x="0" y="0"/>
                  </a:moveTo>
                  <a:lnTo>
                    <a:pt x="0" y="60"/>
                  </a:lnTo>
                  <a:lnTo>
                    <a:pt x="6" y="248"/>
                  </a:lnTo>
                  <a:lnTo>
                    <a:pt x="24" y="248"/>
                  </a:lnTo>
                  <a:lnTo>
                    <a:pt x="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9" name="Freeform 328"/>
            <p:cNvSpPr>
              <a:spLocks/>
            </p:cNvSpPr>
            <p:nvPr/>
          </p:nvSpPr>
          <p:spPr bwMode="auto">
            <a:xfrm>
              <a:off x="6744330" y="5517872"/>
              <a:ext cx="18486" cy="35431"/>
            </a:xfrm>
            <a:custGeom>
              <a:avLst/>
              <a:gdLst>
                <a:gd name="T0" fmla="*/ 10 w 12"/>
                <a:gd name="T1" fmla="*/ 2 h 23"/>
                <a:gd name="T2" fmla="*/ 11 w 12"/>
                <a:gd name="T3" fmla="*/ 8 h 23"/>
                <a:gd name="T4" fmla="*/ 7 w 12"/>
                <a:gd name="T5" fmla="*/ 23 h 23"/>
                <a:gd name="T6" fmla="*/ 5 w 12"/>
                <a:gd name="T7" fmla="*/ 19 h 23"/>
                <a:gd name="T8" fmla="*/ 4 w 12"/>
                <a:gd name="T9" fmla="*/ 12 h 23"/>
                <a:gd name="T10" fmla="*/ 2 w 12"/>
                <a:gd name="T11" fmla="*/ 16 h 23"/>
                <a:gd name="T12" fmla="*/ 1 w 12"/>
                <a:gd name="T13" fmla="*/ 12 h 23"/>
                <a:gd name="T14" fmla="*/ 0 w 12"/>
                <a:gd name="T15" fmla="*/ 8 h 23"/>
                <a:gd name="T16" fmla="*/ 1 w 12"/>
                <a:gd name="T17" fmla="*/ 1 h 23"/>
                <a:gd name="T18" fmla="*/ 10 w 12"/>
                <a:gd name="T1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3">
                  <a:moveTo>
                    <a:pt x="10" y="2"/>
                  </a:moveTo>
                  <a:cubicBezTo>
                    <a:pt x="10" y="2"/>
                    <a:pt x="11" y="7"/>
                    <a:pt x="11" y="8"/>
                  </a:cubicBezTo>
                  <a:cubicBezTo>
                    <a:pt x="12" y="9"/>
                    <a:pt x="11" y="22"/>
                    <a:pt x="7" y="23"/>
                  </a:cubicBezTo>
                  <a:cubicBezTo>
                    <a:pt x="3" y="23"/>
                    <a:pt x="5" y="22"/>
                    <a:pt x="5" y="19"/>
                  </a:cubicBezTo>
                  <a:cubicBezTo>
                    <a:pt x="5" y="15"/>
                    <a:pt x="6" y="12"/>
                    <a:pt x="4" y="12"/>
                  </a:cubicBezTo>
                  <a:cubicBezTo>
                    <a:pt x="2" y="12"/>
                    <a:pt x="4" y="15"/>
                    <a:pt x="2" y="16"/>
                  </a:cubicBezTo>
                  <a:cubicBezTo>
                    <a:pt x="1" y="17"/>
                    <a:pt x="1" y="15"/>
                    <a:pt x="1" y="12"/>
                  </a:cubicBezTo>
                  <a:cubicBezTo>
                    <a:pt x="0" y="11"/>
                    <a:pt x="0" y="9"/>
                    <a:pt x="0" y="8"/>
                  </a:cubicBezTo>
                  <a:cubicBezTo>
                    <a:pt x="0" y="4"/>
                    <a:pt x="2" y="3"/>
                    <a:pt x="1" y="1"/>
                  </a:cubicBezTo>
                  <a:cubicBezTo>
                    <a:pt x="1" y="0"/>
                    <a:pt x="10" y="2"/>
                    <a:pt x="10" y="2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0" name="Freeform 330"/>
            <p:cNvSpPr>
              <a:spLocks/>
            </p:cNvSpPr>
            <p:nvPr/>
          </p:nvSpPr>
          <p:spPr bwMode="auto">
            <a:xfrm>
              <a:off x="6670386" y="5306053"/>
              <a:ext cx="55458" cy="68552"/>
            </a:xfrm>
            <a:custGeom>
              <a:avLst/>
              <a:gdLst>
                <a:gd name="T0" fmla="*/ 3 w 36"/>
                <a:gd name="T1" fmla="*/ 23 h 45"/>
                <a:gd name="T2" fmla="*/ 3 w 36"/>
                <a:gd name="T3" fmla="*/ 23 h 45"/>
                <a:gd name="T4" fmla="*/ 3 w 36"/>
                <a:gd name="T5" fmla="*/ 20 h 45"/>
                <a:gd name="T6" fmla="*/ 18 w 36"/>
                <a:gd name="T7" fmla="*/ 0 h 45"/>
                <a:gd name="T8" fmla="*/ 33 w 36"/>
                <a:gd name="T9" fmla="*/ 20 h 45"/>
                <a:gd name="T10" fmla="*/ 33 w 36"/>
                <a:gd name="T11" fmla="*/ 23 h 45"/>
                <a:gd name="T12" fmla="*/ 33 w 36"/>
                <a:gd name="T13" fmla="*/ 23 h 45"/>
                <a:gd name="T14" fmla="*/ 35 w 36"/>
                <a:gd name="T15" fmla="*/ 27 h 45"/>
                <a:gd name="T16" fmla="*/ 33 w 36"/>
                <a:gd name="T17" fmla="*/ 31 h 45"/>
                <a:gd name="T18" fmla="*/ 32 w 36"/>
                <a:gd name="T19" fmla="*/ 32 h 45"/>
                <a:gd name="T20" fmla="*/ 31 w 36"/>
                <a:gd name="T21" fmla="*/ 34 h 45"/>
                <a:gd name="T22" fmla="*/ 23 w 36"/>
                <a:gd name="T23" fmla="*/ 43 h 45"/>
                <a:gd name="T24" fmla="*/ 19 w 36"/>
                <a:gd name="T25" fmla="*/ 44 h 45"/>
                <a:gd name="T26" fmla="*/ 18 w 36"/>
                <a:gd name="T27" fmla="*/ 44 h 45"/>
                <a:gd name="T28" fmla="*/ 17 w 36"/>
                <a:gd name="T29" fmla="*/ 44 h 45"/>
                <a:gd name="T30" fmla="*/ 12 w 36"/>
                <a:gd name="T31" fmla="*/ 43 h 45"/>
                <a:gd name="T32" fmla="*/ 4 w 36"/>
                <a:gd name="T33" fmla="*/ 34 h 45"/>
                <a:gd name="T34" fmla="*/ 4 w 36"/>
                <a:gd name="T35" fmla="*/ 32 h 45"/>
                <a:gd name="T36" fmla="*/ 2 w 36"/>
                <a:gd name="T37" fmla="*/ 31 h 45"/>
                <a:gd name="T38" fmla="*/ 1 w 36"/>
                <a:gd name="T39" fmla="*/ 27 h 45"/>
                <a:gd name="T40" fmla="*/ 3 w 36"/>
                <a:gd name="T41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45">
                  <a:moveTo>
                    <a:pt x="3" y="2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3" y="22"/>
                    <a:pt x="3" y="21"/>
                    <a:pt x="3" y="20"/>
                  </a:cubicBezTo>
                  <a:cubicBezTo>
                    <a:pt x="2" y="15"/>
                    <a:pt x="1" y="0"/>
                    <a:pt x="18" y="0"/>
                  </a:cubicBezTo>
                  <a:cubicBezTo>
                    <a:pt x="35" y="0"/>
                    <a:pt x="34" y="15"/>
                    <a:pt x="33" y="20"/>
                  </a:cubicBezTo>
                  <a:cubicBezTo>
                    <a:pt x="33" y="21"/>
                    <a:pt x="33" y="22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6" y="21"/>
                    <a:pt x="36" y="26"/>
                    <a:pt x="35" y="27"/>
                  </a:cubicBezTo>
                  <a:cubicBezTo>
                    <a:pt x="34" y="29"/>
                    <a:pt x="34" y="29"/>
                    <a:pt x="33" y="31"/>
                  </a:cubicBezTo>
                  <a:cubicBezTo>
                    <a:pt x="33" y="32"/>
                    <a:pt x="32" y="32"/>
                    <a:pt x="32" y="32"/>
                  </a:cubicBezTo>
                  <a:cubicBezTo>
                    <a:pt x="31" y="33"/>
                    <a:pt x="31" y="33"/>
                    <a:pt x="31" y="34"/>
                  </a:cubicBezTo>
                  <a:cubicBezTo>
                    <a:pt x="31" y="36"/>
                    <a:pt x="25" y="42"/>
                    <a:pt x="23" y="43"/>
                  </a:cubicBezTo>
                  <a:cubicBezTo>
                    <a:pt x="22" y="45"/>
                    <a:pt x="20" y="44"/>
                    <a:pt x="19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7" y="44"/>
                    <a:pt x="17" y="44"/>
                  </a:cubicBezTo>
                  <a:cubicBezTo>
                    <a:pt x="16" y="44"/>
                    <a:pt x="14" y="45"/>
                    <a:pt x="12" y="43"/>
                  </a:cubicBezTo>
                  <a:cubicBezTo>
                    <a:pt x="11" y="42"/>
                    <a:pt x="5" y="36"/>
                    <a:pt x="4" y="34"/>
                  </a:cubicBezTo>
                  <a:cubicBezTo>
                    <a:pt x="4" y="33"/>
                    <a:pt x="4" y="33"/>
                    <a:pt x="4" y="32"/>
                  </a:cubicBezTo>
                  <a:cubicBezTo>
                    <a:pt x="4" y="32"/>
                    <a:pt x="3" y="32"/>
                    <a:pt x="2" y="31"/>
                  </a:cubicBezTo>
                  <a:cubicBezTo>
                    <a:pt x="2" y="29"/>
                    <a:pt x="2" y="29"/>
                    <a:pt x="1" y="27"/>
                  </a:cubicBezTo>
                  <a:cubicBezTo>
                    <a:pt x="0" y="26"/>
                    <a:pt x="0" y="21"/>
                    <a:pt x="3" y="23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1" name="Freeform 331"/>
            <p:cNvSpPr>
              <a:spLocks/>
            </p:cNvSpPr>
            <p:nvPr/>
          </p:nvSpPr>
          <p:spPr bwMode="auto">
            <a:xfrm>
              <a:off x="6675007" y="5336093"/>
              <a:ext cx="46215" cy="38512"/>
            </a:xfrm>
            <a:custGeom>
              <a:avLst/>
              <a:gdLst>
                <a:gd name="T0" fmla="*/ 23 w 30"/>
                <a:gd name="T1" fmla="*/ 18 h 25"/>
                <a:gd name="T2" fmla="*/ 27 w 30"/>
                <a:gd name="T3" fmla="*/ 11 h 25"/>
                <a:gd name="T4" fmla="*/ 29 w 30"/>
                <a:gd name="T5" fmla="*/ 1 h 25"/>
                <a:gd name="T6" fmla="*/ 30 w 30"/>
                <a:gd name="T7" fmla="*/ 1 h 25"/>
                <a:gd name="T8" fmla="*/ 30 w 30"/>
                <a:gd name="T9" fmla="*/ 3 h 25"/>
                <a:gd name="T10" fmla="*/ 29 w 30"/>
                <a:gd name="T11" fmla="*/ 12 h 25"/>
                <a:gd name="T12" fmla="*/ 28 w 30"/>
                <a:gd name="T13" fmla="*/ 14 h 25"/>
                <a:gd name="T14" fmla="*/ 28 w 30"/>
                <a:gd name="T15" fmla="*/ 14 h 25"/>
                <a:gd name="T16" fmla="*/ 27 w 30"/>
                <a:gd name="T17" fmla="*/ 17 h 25"/>
                <a:gd name="T18" fmla="*/ 20 w 30"/>
                <a:gd name="T19" fmla="*/ 23 h 25"/>
                <a:gd name="T20" fmla="*/ 16 w 30"/>
                <a:gd name="T21" fmla="*/ 24 h 25"/>
                <a:gd name="T22" fmla="*/ 15 w 30"/>
                <a:gd name="T23" fmla="*/ 24 h 25"/>
                <a:gd name="T24" fmla="*/ 14 w 30"/>
                <a:gd name="T25" fmla="*/ 24 h 25"/>
                <a:gd name="T26" fmla="*/ 9 w 30"/>
                <a:gd name="T27" fmla="*/ 23 h 25"/>
                <a:gd name="T28" fmla="*/ 3 w 30"/>
                <a:gd name="T29" fmla="*/ 17 h 25"/>
                <a:gd name="T30" fmla="*/ 2 w 30"/>
                <a:gd name="T31" fmla="*/ 14 h 25"/>
                <a:gd name="T32" fmla="*/ 1 w 30"/>
                <a:gd name="T33" fmla="*/ 14 h 25"/>
                <a:gd name="T34" fmla="*/ 1 w 30"/>
                <a:gd name="T35" fmla="*/ 12 h 25"/>
                <a:gd name="T36" fmla="*/ 0 w 30"/>
                <a:gd name="T37" fmla="*/ 3 h 25"/>
                <a:gd name="T38" fmla="*/ 0 w 30"/>
                <a:gd name="T39" fmla="*/ 1 h 25"/>
                <a:gd name="T40" fmla="*/ 0 w 30"/>
                <a:gd name="T41" fmla="*/ 1 h 25"/>
                <a:gd name="T42" fmla="*/ 2 w 30"/>
                <a:gd name="T43" fmla="*/ 11 h 25"/>
                <a:gd name="T44" fmla="*/ 7 w 30"/>
                <a:gd name="T45" fmla="*/ 18 h 25"/>
                <a:gd name="T46" fmla="*/ 12 w 30"/>
                <a:gd name="T47" fmla="*/ 20 h 25"/>
                <a:gd name="T48" fmla="*/ 18 w 30"/>
                <a:gd name="T49" fmla="*/ 20 h 25"/>
                <a:gd name="T50" fmla="*/ 23 w 30"/>
                <a:gd name="T5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5">
                  <a:moveTo>
                    <a:pt x="23" y="18"/>
                  </a:moveTo>
                  <a:cubicBezTo>
                    <a:pt x="24" y="17"/>
                    <a:pt x="27" y="15"/>
                    <a:pt x="27" y="11"/>
                  </a:cubicBezTo>
                  <a:cubicBezTo>
                    <a:pt x="28" y="9"/>
                    <a:pt x="29" y="2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3"/>
                    <a:pt x="28" y="13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7" y="16"/>
                    <a:pt x="27" y="17"/>
                  </a:cubicBezTo>
                  <a:cubicBezTo>
                    <a:pt x="25" y="19"/>
                    <a:pt x="21" y="22"/>
                    <a:pt x="20" y="23"/>
                  </a:cubicBezTo>
                  <a:cubicBezTo>
                    <a:pt x="19" y="25"/>
                    <a:pt x="17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4" y="24"/>
                    <a:pt x="14" y="24"/>
                  </a:cubicBezTo>
                  <a:cubicBezTo>
                    <a:pt x="13" y="24"/>
                    <a:pt x="11" y="25"/>
                    <a:pt x="9" y="23"/>
                  </a:cubicBezTo>
                  <a:cubicBezTo>
                    <a:pt x="8" y="22"/>
                    <a:pt x="5" y="19"/>
                    <a:pt x="3" y="17"/>
                  </a:cubicBezTo>
                  <a:cubicBezTo>
                    <a:pt x="2" y="16"/>
                    <a:pt x="2" y="15"/>
                    <a:pt x="2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ubicBezTo>
                    <a:pt x="0" y="2"/>
                    <a:pt x="2" y="9"/>
                    <a:pt x="2" y="11"/>
                  </a:cubicBezTo>
                  <a:cubicBezTo>
                    <a:pt x="3" y="15"/>
                    <a:pt x="6" y="17"/>
                    <a:pt x="7" y="18"/>
                  </a:cubicBezTo>
                  <a:cubicBezTo>
                    <a:pt x="7" y="19"/>
                    <a:pt x="10" y="20"/>
                    <a:pt x="12" y="20"/>
                  </a:cubicBezTo>
                  <a:cubicBezTo>
                    <a:pt x="13" y="21"/>
                    <a:pt x="17" y="21"/>
                    <a:pt x="18" y="20"/>
                  </a:cubicBezTo>
                  <a:lnTo>
                    <a:pt x="23" y="18"/>
                  </a:lnTo>
                  <a:close/>
                </a:path>
              </a:pathLst>
            </a:custGeom>
            <a:solidFill>
              <a:srgbClr val="582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2" name="Freeform 332"/>
            <p:cNvSpPr>
              <a:spLocks/>
            </p:cNvSpPr>
            <p:nvPr/>
          </p:nvSpPr>
          <p:spPr bwMode="auto">
            <a:xfrm>
              <a:off x="6670386" y="5301432"/>
              <a:ext cx="53918" cy="39283"/>
            </a:xfrm>
            <a:custGeom>
              <a:avLst/>
              <a:gdLst>
                <a:gd name="T0" fmla="*/ 6 w 35"/>
                <a:gd name="T1" fmla="*/ 0 h 26"/>
                <a:gd name="T2" fmla="*/ 20 w 35"/>
                <a:gd name="T3" fmla="*/ 1 h 26"/>
                <a:gd name="T4" fmla="*/ 20 w 35"/>
                <a:gd name="T5" fmla="*/ 1 h 26"/>
                <a:gd name="T6" fmla="*/ 21 w 35"/>
                <a:gd name="T7" fmla="*/ 2 h 26"/>
                <a:gd name="T8" fmla="*/ 34 w 35"/>
                <a:gd name="T9" fmla="*/ 16 h 26"/>
                <a:gd name="T10" fmla="*/ 34 w 35"/>
                <a:gd name="T11" fmla="*/ 16 h 26"/>
                <a:gd name="T12" fmla="*/ 33 w 35"/>
                <a:gd name="T13" fmla="*/ 26 h 26"/>
                <a:gd name="T14" fmla="*/ 32 w 35"/>
                <a:gd name="T15" fmla="*/ 24 h 26"/>
                <a:gd name="T16" fmla="*/ 32 w 35"/>
                <a:gd name="T17" fmla="*/ 20 h 26"/>
                <a:gd name="T18" fmla="*/ 31 w 35"/>
                <a:gd name="T19" fmla="*/ 20 h 26"/>
                <a:gd name="T20" fmla="*/ 31 w 35"/>
                <a:gd name="T21" fmla="*/ 18 h 26"/>
                <a:gd name="T22" fmla="*/ 18 w 35"/>
                <a:gd name="T23" fmla="*/ 13 h 26"/>
                <a:gd name="T24" fmla="*/ 5 w 35"/>
                <a:gd name="T25" fmla="*/ 18 h 26"/>
                <a:gd name="T26" fmla="*/ 4 w 35"/>
                <a:gd name="T27" fmla="*/ 20 h 26"/>
                <a:gd name="T28" fmla="*/ 4 w 35"/>
                <a:gd name="T29" fmla="*/ 20 h 26"/>
                <a:gd name="T30" fmla="*/ 3 w 35"/>
                <a:gd name="T31" fmla="*/ 24 h 26"/>
                <a:gd name="T32" fmla="*/ 3 w 35"/>
                <a:gd name="T33" fmla="*/ 26 h 26"/>
                <a:gd name="T34" fmla="*/ 2 w 35"/>
                <a:gd name="T35" fmla="*/ 19 h 26"/>
                <a:gd name="T36" fmla="*/ 2 w 35"/>
                <a:gd name="T37" fmla="*/ 19 h 26"/>
                <a:gd name="T38" fmla="*/ 6 w 35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6">
                  <a:moveTo>
                    <a:pt x="6" y="0"/>
                  </a:moveTo>
                  <a:cubicBezTo>
                    <a:pt x="6" y="0"/>
                    <a:pt x="5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35" y="2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9"/>
                    <a:pt x="33" y="22"/>
                    <a:pt x="33" y="26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2"/>
                    <a:pt x="32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19"/>
                    <a:pt x="31" y="18"/>
                  </a:cubicBezTo>
                  <a:cubicBezTo>
                    <a:pt x="27" y="11"/>
                    <a:pt x="18" y="13"/>
                    <a:pt x="18" y="13"/>
                  </a:cubicBezTo>
                  <a:cubicBezTo>
                    <a:pt x="18" y="13"/>
                    <a:pt x="9" y="11"/>
                    <a:pt x="5" y="18"/>
                  </a:cubicBezTo>
                  <a:cubicBezTo>
                    <a:pt x="5" y="19"/>
                    <a:pt x="4" y="19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2"/>
                    <a:pt x="3" y="24"/>
                    <a:pt x="3" y="24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4"/>
                    <a:pt x="2" y="21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8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582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3" name="Freeform 333"/>
            <p:cNvSpPr>
              <a:spLocks/>
            </p:cNvSpPr>
            <p:nvPr/>
          </p:nvSpPr>
          <p:spPr bwMode="auto">
            <a:xfrm>
              <a:off x="6664224" y="5377687"/>
              <a:ext cx="66242" cy="98592"/>
            </a:xfrm>
            <a:custGeom>
              <a:avLst/>
              <a:gdLst>
                <a:gd name="T0" fmla="*/ 0 w 43"/>
                <a:gd name="T1" fmla="*/ 6 h 64"/>
                <a:gd name="T2" fmla="*/ 0 w 43"/>
                <a:gd name="T3" fmla="*/ 38 h 64"/>
                <a:gd name="T4" fmla="*/ 3 w 43"/>
                <a:gd name="T5" fmla="*/ 64 h 64"/>
                <a:gd name="T6" fmla="*/ 3 w 43"/>
                <a:gd name="T7" fmla="*/ 64 h 64"/>
                <a:gd name="T8" fmla="*/ 22 w 43"/>
                <a:gd name="T9" fmla="*/ 64 h 64"/>
                <a:gd name="T10" fmla="*/ 25 w 43"/>
                <a:gd name="T11" fmla="*/ 64 h 64"/>
                <a:gd name="T12" fmla="*/ 40 w 43"/>
                <a:gd name="T13" fmla="*/ 64 h 64"/>
                <a:gd name="T14" fmla="*/ 41 w 43"/>
                <a:gd name="T15" fmla="*/ 63 h 64"/>
                <a:gd name="T16" fmla="*/ 43 w 43"/>
                <a:gd name="T17" fmla="*/ 38 h 64"/>
                <a:gd name="T18" fmla="*/ 43 w 43"/>
                <a:gd name="T19" fmla="*/ 6 h 64"/>
                <a:gd name="T20" fmla="*/ 30 w 43"/>
                <a:gd name="T21" fmla="*/ 0 h 64"/>
                <a:gd name="T22" fmla="*/ 14 w 43"/>
                <a:gd name="T23" fmla="*/ 0 h 64"/>
                <a:gd name="T24" fmla="*/ 14 w 43"/>
                <a:gd name="T25" fmla="*/ 0 h 64"/>
                <a:gd name="T26" fmla="*/ 0 w 43"/>
                <a:gd name="T27" fmla="*/ 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64">
                  <a:moveTo>
                    <a:pt x="0" y="6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3" y="46"/>
                    <a:pt x="3" y="55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54"/>
                    <a:pt x="41" y="46"/>
                    <a:pt x="43" y="38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8" y="4"/>
                    <a:pt x="30" y="0"/>
                    <a:pt x="3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6" y="4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4" name="Freeform 334"/>
            <p:cNvSpPr>
              <a:spLocks/>
            </p:cNvSpPr>
            <p:nvPr/>
          </p:nvSpPr>
          <p:spPr bwMode="auto">
            <a:xfrm>
              <a:off x="6698115" y="5382308"/>
              <a:ext cx="66242" cy="143266"/>
            </a:xfrm>
            <a:custGeom>
              <a:avLst/>
              <a:gdLst>
                <a:gd name="T0" fmla="*/ 23 w 43"/>
                <a:gd name="T1" fmla="*/ 84 h 93"/>
                <a:gd name="T2" fmla="*/ 23 w 43"/>
                <a:gd name="T3" fmla="*/ 40 h 93"/>
                <a:gd name="T4" fmla="*/ 23 w 43"/>
                <a:gd name="T5" fmla="*/ 36 h 93"/>
                <a:gd name="T6" fmla="*/ 28 w 43"/>
                <a:gd name="T7" fmla="*/ 59 h 93"/>
                <a:gd name="T8" fmla="*/ 28 w 43"/>
                <a:gd name="T9" fmla="*/ 93 h 93"/>
                <a:gd name="T10" fmla="*/ 42 w 43"/>
                <a:gd name="T11" fmla="*/ 92 h 93"/>
                <a:gd name="T12" fmla="*/ 43 w 43"/>
                <a:gd name="T13" fmla="*/ 62 h 93"/>
                <a:gd name="T14" fmla="*/ 36 w 43"/>
                <a:gd name="T15" fmla="*/ 24 h 93"/>
                <a:gd name="T16" fmla="*/ 29 w 43"/>
                <a:gd name="T17" fmla="*/ 6 h 93"/>
                <a:gd name="T18" fmla="*/ 15 w 43"/>
                <a:gd name="T19" fmla="*/ 0 h 93"/>
                <a:gd name="T20" fmla="*/ 0 w 43"/>
                <a:gd name="T21" fmla="*/ 28 h 93"/>
                <a:gd name="T22" fmla="*/ 0 w 43"/>
                <a:gd name="T23" fmla="*/ 84 h 93"/>
                <a:gd name="T24" fmla="*/ 23 w 43"/>
                <a:gd name="T25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93">
                  <a:moveTo>
                    <a:pt x="23" y="84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35"/>
                    <a:pt x="23" y="35"/>
                    <a:pt x="23" y="36"/>
                  </a:cubicBezTo>
                  <a:cubicBezTo>
                    <a:pt x="24" y="37"/>
                    <a:pt x="28" y="54"/>
                    <a:pt x="28" y="59"/>
                  </a:cubicBezTo>
                  <a:cubicBezTo>
                    <a:pt x="28" y="61"/>
                    <a:pt x="28" y="90"/>
                    <a:pt x="28" y="93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3" y="91"/>
                    <a:pt x="43" y="65"/>
                    <a:pt x="43" y="62"/>
                  </a:cubicBezTo>
                  <a:cubicBezTo>
                    <a:pt x="43" y="48"/>
                    <a:pt x="40" y="40"/>
                    <a:pt x="36" y="24"/>
                  </a:cubicBezTo>
                  <a:cubicBezTo>
                    <a:pt x="33" y="8"/>
                    <a:pt x="31" y="7"/>
                    <a:pt x="29" y="6"/>
                  </a:cubicBezTo>
                  <a:cubicBezTo>
                    <a:pt x="28" y="5"/>
                    <a:pt x="20" y="2"/>
                    <a:pt x="15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4"/>
                    <a:pt x="0" y="84"/>
                    <a:pt x="0" y="84"/>
                  </a:cubicBezTo>
                  <a:lnTo>
                    <a:pt x="23" y="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5" name="Freeform 335"/>
            <p:cNvSpPr>
              <a:spLocks/>
            </p:cNvSpPr>
            <p:nvPr/>
          </p:nvSpPr>
          <p:spPr bwMode="auto">
            <a:xfrm>
              <a:off x="6733546" y="5436226"/>
              <a:ext cx="12324" cy="89349"/>
            </a:xfrm>
            <a:custGeom>
              <a:avLst/>
              <a:gdLst>
                <a:gd name="T0" fmla="*/ 8 w 8"/>
                <a:gd name="T1" fmla="*/ 58 h 58"/>
                <a:gd name="T2" fmla="*/ 8 w 8"/>
                <a:gd name="T3" fmla="*/ 24 h 58"/>
                <a:gd name="T4" fmla="*/ 0 w 8"/>
                <a:gd name="T5" fmla="*/ 0 h 58"/>
                <a:gd name="T6" fmla="*/ 0 w 8"/>
                <a:gd name="T7" fmla="*/ 0 h 58"/>
                <a:gd name="T8" fmla="*/ 0 w 8"/>
                <a:gd name="T9" fmla="*/ 1 h 58"/>
                <a:gd name="T10" fmla="*/ 5 w 8"/>
                <a:gd name="T11" fmla="*/ 24 h 58"/>
                <a:gd name="T12" fmla="*/ 5 w 8"/>
                <a:gd name="T13" fmla="*/ 58 h 58"/>
                <a:gd name="T14" fmla="*/ 8 w 8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8">
                  <a:moveTo>
                    <a:pt x="8" y="58"/>
                  </a:moveTo>
                  <a:cubicBezTo>
                    <a:pt x="8" y="58"/>
                    <a:pt x="8" y="31"/>
                    <a:pt x="8" y="24"/>
                  </a:cubicBezTo>
                  <a:cubicBezTo>
                    <a:pt x="8" y="18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5" y="19"/>
                    <a:pt x="5" y="24"/>
                  </a:cubicBezTo>
                  <a:cubicBezTo>
                    <a:pt x="5" y="26"/>
                    <a:pt x="5" y="55"/>
                    <a:pt x="5" y="58"/>
                  </a:cubicBezTo>
                  <a:lnTo>
                    <a:pt x="8" y="58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6" name="Freeform 336"/>
            <p:cNvSpPr>
              <a:spLocks/>
            </p:cNvSpPr>
            <p:nvPr/>
          </p:nvSpPr>
          <p:spPr bwMode="auto">
            <a:xfrm>
              <a:off x="6733546" y="5436226"/>
              <a:ext cx="0" cy="4621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7" name="Freeform 337"/>
            <p:cNvSpPr>
              <a:spLocks/>
            </p:cNvSpPr>
            <p:nvPr/>
          </p:nvSpPr>
          <p:spPr bwMode="auto">
            <a:xfrm>
              <a:off x="6622630" y="5516332"/>
              <a:ext cx="21567" cy="35431"/>
            </a:xfrm>
            <a:custGeom>
              <a:avLst/>
              <a:gdLst>
                <a:gd name="T0" fmla="*/ 5 w 14"/>
                <a:gd name="T1" fmla="*/ 1 h 23"/>
                <a:gd name="T2" fmla="*/ 2 w 14"/>
                <a:gd name="T3" fmla="*/ 6 h 23"/>
                <a:gd name="T4" fmla="*/ 4 w 14"/>
                <a:gd name="T5" fmla="*/ 22 h 23"/>
                <a:gd name="T6" fmla="*/ 6 w 14"/>
                <a:gd name="T7" fmla="*/ 18 h 23"/>
                <a:gd name="T8" fmla="*/ 8 w 14"/>
                <a:gd name="T9" fmla="*/ 12 h 23"/>
                <a:gd name="T10" fmla="*/ 9 w 14"/>
                <a:gd name="T11" fmla="*/ 16 h 23"/>
                <a:gd name="T12" fmla="*/ 12 w 14"/>
                <a:gd name="T13" fmla="*/ 13 h 23"/>
                <a:gd name="T14" fmla="*/ 13 w 14"/>
                <a:gd name="T15" fmla="*/ 9 h 23"/>
                <a:gd name="T16" fmla="*/ 13 w 14"/>
                <a:gd name="T17" fmla="*/ 2 h 23"/>
                <a:gd name="T18" fmla="*/ 5 w 14"/>
                <a:gd name="T1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3">
                  <a:moveTo>
                    <a:pt x="5" y="1"/>
                  </a:moveTo>
                  <a:cubicBezTo>
                    <a:pt x="5" y="1"/>
                    <a:pt x="3" y="5"/>
                    <a:pt x="2" y="6"/>
                  </a:cubicBezTo>
                  <a:cubicBezTo>
                    <a:pt x="1" y="7"/>
                    <a:pt x="0" y="20"/>
                    <a:pt x="4" y="22"/>
                  </a:cubicBezTo>
                  <a:cubicBezTo>
                    <a:pt x="7" y="23"/>
                    <a:pt x="6" y="21"/>
                    <a:pt x="6" y="18"/>
                  </a:cubicBezTo>
                  <a:cubicBezTo>
                    <a:pt x="6" y="15"/>
                    <a:pt x="7" y="11"/>
                    <a:pt x="8" y="12"/>
                  </a:cubicBezTo>
                  <a:cubicBezTo>
                    <a:pt x="10" y="13"/>
                    <a:pt x="8" y="15"/>
                    <a:pt x="9" y="16"/>
                  </a:cubicBezTo>
                  <a:cubicBezTo>
                    <a:pt x="10" y="17"/>
                    <a:pt x="11" y="15"/>
                    <a:pt x="12" y="13"/>
                  </a:cubicBezTo>
                  <a:cubicBezTo>
                    <a:pt x="12" y="11"/>
                    <a:pt x="13" y="9"/>
                    <a:pt x="13" y="9"/>
                  </a:cubicBezTo>
                  <a:cubicBezTo>
                    <a:pt x="14" y="4"/>
                    <a:pt x="12" y="4"/>
                    <a:pt x="13" y="2"/>
                  </a:cubicBezTo>
                  <a:cubicBezTo>
                    <a:pt x="14" y="0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DB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9" name="Freeform 338"/>
            <p:cNvSpPr>
              <a:spLocks/>
            </p:cNvSpPr>
            <p:nvPr/>
          </p:nvSpPr>
          <p:spPr bwMode="auto">
            <a:xfrm>
              <a:off x="6624171" y="5382308"/>
              <a:ext cx="73944" cy="144807"/>
            </a:xfrm>
            <a:custGeom>
              <a:avLst/>
              <a:gdLst>
                <a:gd name="T0" fmla="*/ 25 w 48"/>
                <a:gd name="T1" fmla="*/ 84 h 94"/>
                <a:gd name="T2" fmla="*/ 24 w 48"/>
                <a:gd name="T3" fmla="*/ 40 h 94"/>
                <a:gd name="T4" fmla="*/ 24 w 48"/>
                <a:gd name="T5" fmla="*/ 36 h 94"/>
                <a:gd name="T6" fmla="*/ 19 w 48"/>
                <a:gd name="T7" fmla="*/ 58 h 94"/>
                <a:gd name="T8" fmla="*/ 15 w 48"/>
                <a:gd name="T9" fmla="*/ 94 h 94"/>
                <a:gd name="T10" fmla="*/ 0 w 48"/>
                <a:gd name="T11" fmla="*/ 93 h 94"/>
                <a:gd name="T12" fmla="*/ 3 w 48"/>
                <a:gd name="T13" fmla="*/ 61 h 94"/>
                <a:gd name="T14" fmla="*/ 11 w 48"/>
                <a:gd name="T15" fmla="*/ 24 h 94"/>
                <a:gd name="T16" fmla="*/ 19 w 48"/>
                <a:gd name="T17" fmla="*/ 6 h 94"/>
                <a:gd name="T18" fmla="*/ 33 w 48"/>
                <a:gd name="T19" fmla="*/ 0 h 94"/>
                <a:gd name="T20" fmla="*/ 48 w 48"/>
                <a:gd name="T21" fmla="*/ 28 h 94"/>
                <a:gd name="T22" fmla="*/ 48 w 48"/>
                <a:gd name="T23" fmla="*/ 84 h 94"/>
                <a:gd name="T24" fmla="*/ 25 w 48"/>
                <a:gd name="T25" fmla="*/ 8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94">
                  <a:moveTo>
                    <a:pt x="25" y="84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35"/>
                    <a:pt x="25" y="35"/>
                    <a:pt x="24" y="36"/>
                  </a:cubicBezTo>
                  <a:cubicBezTo>
                    <a:pt x="24" y="37"/>
                    <a:pt x="19" y="54"/>
                    <a:pt x="19" y="58"/>
                  </a:cubicBezTo>
                  <a:cubicBezTo>
                    <a:pt x="19" y="60"/>
                    <a:pt x="14" y="90"/>
                    <a:pt x="15" y="94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1"/>
                    <a:pt x="3" y="63"/>
                    <a:pt x="3" y="61"/>
                  </a:cubicBezTo>
                  <a:cubicBezTo>
                    <a:pt x="4" y="44"/>
                    <a:pt x="8" y="40"/>
                    <a:pt x="11" y="24"/>
                  </a:cubicBezTo>
                  <a:cubicBezTo>
                    <a:pt x="15" y="8"/>
                    <a:pt x="17" y="7"/>
                    <a:pt x="19" y="6"/>
                  </a:cubicBezTo>
                  <a:cubicBezTo>
                    <a:pt x="20" y="5"/>
                    <a:pt x="28" y="2"/>
                    <a:pt x="33" y="0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84"/>
                    <a:pt x="48" y="84"/>
                    <a:pt x="48" y="84"/>
                  </a:cubicBezTo>
                  <a:lnTo>
                    <a:pt x="25" y="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0" name="Freeform 339"/>
            <p:cNvSpPr>
              <a:spLocks/>
            </p:cNvSpPr>
            <p:nvPr/>
          </p:nvSpPr>
          <p:spPr bwMode="auto">
            <a:xfrm>
              <a:off x="6661143" y="5436226"/>
              <a:ext cx="0" cy="4621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5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1" name="Rectangle 340"/>
            <p:cNvSpPr>
              <a:spLocks noChangeArrowheads="1"/>
            </p:cNvSpPr>
            <p:nvPr/>
          </p:nvSpPr>
          <p:spPr bwMode="auto">
            <a:xfrm>
              <a:off x="6662683" y="5505548"/>
              <a:ext cx="70863" cy="7702"/>
            </a:xfrm>
            <a:prstGeom prst="rect">
              <a:avLst/>
            </a:pr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2" name="Freeform 341"/>
            <p:cNvSpPr>
              <a:spLocks/>
            </p:cNvSpPr>
            <p:nvPr/>
          </p:nvSpPr>
          <p:spPr bwMode="auto">
            <a:xfrm>
              <a:off x="6639576" y="5436226"/>
              <a:ext cx="21567" cy="90889"/>
            </a:xfrm>
            <a:custGeom>
              <a:avLst/>
              <a:gdLst>
                <a:gd name="T0" fmla="*/ 14 w 14"/>
                <a:gd name="T1" fmla="*/ 1 h 59"/>
                <a:gd name="T2" fmla="*/ 14 w 14"/>
                <a:gd name="T3" fmla="*/ 0 h 59"/>
                <a:gd name="T4" fmla="*/ 6 w 14"/>
                <a:gd name="T5" fmla="*/ 23 h 59"/>
                <a:gd name="T6" fmla="*/ 0 w 14"/>
                <a:gd name="T7" fmla="*/ 58 h 59"/>
                <a:gd name="T8" fmla="*/ 0 w 14"/>
                <a:gd name="T9" fmla="*/ 58 h 59"/>
                <a:gd name="T10" fmla="*/ 5 w 14"/>
                <a:gd name="T11" fmla="*/ 59 h 59"/>
                <a:gd name="T12" fmla="*/ 9 w 14"/>
                <a:gd name="T13" fmla="*/ 23 h 59"/>
                <a:gd name="T14" fmla="*/ 14 w 14"/>
                <a:gd name="T15" fmla="*/ 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59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7" y="14"/>
                    <a:pt x="6" y="23"/>
                  </a:cubicBezTo>
                  <a:cubicBezTo>
                    <a:pt x="5" y="31"/>
                    <a:pt x="0" y="58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4" y="55"/>
                    <a:pt x="9" y="25"/>
                    <a:pt x="9" y="23"/>
                  </a:cubicBezTo>
                  <a:cubicBezTo>
                    <a:pt x="9" y="19"/>
                    <a:pt x="14" y="2"/>
                    <a:pt x="14" y="1"/>
                  </a:cubicBez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3" name="Freeform 342"/>
            <p:cNvSpPr>
              <a:spLocks/>
            </p:cNvSpPr>
            <p:nvPr/>
          </p:nvSpPr>
          <p:spPr bwMode="auto">
            <a:xfrm>
              <a:off x="6661143" y="5436226"/>
              <a:ext cx="0" cy="1540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79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4" name="Freeform 343"/>
            <p:cNvSpPr>
              <a:spLocks/>
            </p:cNvSpPr>
            <p:nvPr/>
          </p:nvSpPr>
          <p:spPr bwMode="auto">
            <a:xfrm>
              <a:off x="6698115" y="5377687"/>
              <a:ext cx="6162" cy="10783"/>
            </a:xfrm>
            <a:custGeom>
              <a:avLst/>
              <a:gdLst>
                <a:gd name="T0" fmla="*/ 0 w 8"/>
                <a:gd name="T1" fmla="*/ 0 h 14"/>
                <a:gd name="T2" fmla="*/ 0 w 8"/>
                <a:gd name="T3" fmla="*/ 14 h 14"/>
                <a:gd name="T4" fmla="*/ 8 w 8"/>
                <a:gd name="T5" fmla="*/ 0 h 14"/>
                <a:gd name="T6" fmla="*/ 0 w 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4">
                  <a:moveTo>
                    <a:pt x="0" y="0"/>
                  </a:moveTo>
                  <a:lnTo>
                    <a:pt x="0" y="14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5" name="Freeform 344"/>
            <p:cNvSpPr>
              <a:spLocks/>
            </p:cNvSpPr>
            <p:nvPr/>
          </p:nvSpPr>
          <p:spPr bwMode="auto">
            <a:xfrm>
              <a:off x="6698115" y="5385389"/>
              <a:ext cx="6162" cy="40053"/>
            </a:xfrm>
            <a:custGeom>
              <a:avLst/>
              <a:gdLst>
                <a:gd name="T0" fmla="*/ 2 w 8"/>
                <a:gd name="T1" fmla="*/ 0 h 52"/>
                <a:gd name="T2" fmla="*/ 8 w 8"/>
                <a:gd name="T3" fmla="*/ 30 h 52"/>
                <a:gd name="T4" fmla="*/ 2 w 8"/>
                <a:gd name="T5" fmla="*/ 46 h 52"/>
                <a:gd name="T6" fmla="*/ 0 w 8"/>
                <a:gd name="T7" fmla="*/ 52 h 52"/>
                <a:gd name="T8" fmla="*/ 0 w 8"/>
                <a:gd name="T9" fmla="*/ 0 h 52"/>
                <a:gd name="T10" fmla="*/ 2 w 8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2">
                  <a:moveTo>
                    <a:pt x="2" y="0"/>
                  </a:moveTo>
                  <a:lnTo>
                    <a:pt x="8" y="30"/>
                  </a:lnTo>
                  <a:lnTo>
                    <a:pt x="2" y="46"/>
                  </a:lnTo>
                  <a:lnTo>
                    <a:pt x="0" y="5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6" name="Freeform 345"/>
            <p:cNvSpPr>
              <a:spLocks/>
            </p:cNvSpPr>
            <p:nvPr/>
          </p:nvSpPr>
          <p:spPr bwMode="auto">
            <a:xfrm>
              <a:off x="6691953" y="5377687"/>
              <a:ext cx="6162" cy="10783"/>
            </a:xfrm>
            <a:custGeom>
              <a:avLst/>
              <a:gdLst>
                <a:gd name="T0" fmla="*/ 8 w 8"/>
                <a:gd name="T1" fmla="*/ 0 h 14"/>
                <a:gd name="T2" fmla="*/ 8 w 8"/>
                <a:gd name="T3" fmla="*/ 14 h 14"/>
                <a:gd name="T4" fmla="*/ 0 w 8"/>
                <a:gd name="T5" fmla="*/ 0 h 14"/>
                <a:gd name="T6" fmla="*/ 8 w 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4">
                  <a:moveTo>
                    <a:pt x="8" y="0"/>
                  </a:moveTo>
                  <a:lnTo>
                    <a:pt x="8" y="14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7" name="Freeform 346"/>
            <p:cNvSpPr>
              <a:spLocks/>
            </p:cNvSpPr>
            <p:nvPr/>
          </p:nvSpPr>
          <p:spPr bwMode="auto">
            <a:xfrm>
              <a:off x="6691953" y="5385389"/>
              <a:ext cx="6162" cy="40053"/>
            </a:xfrm>
            <a:custGeom>
              <a:avLst/>
              <a:gdLst>
                <a:gd name="T0" fmla="*/ 6 w 8"/>
                <a:gd name="T1" fmla="*/ 0 h 52"/>
                <a:gd name="T2" fmla="*/ 0 w 8"/>
                <a:gd name="T3" fmla="*/ 30 h 52"/>
                <a:gd name="T4" fmla="*/ 4 w 8"/>
                <a:gd name="T5" fmla="*/ 46 h 52"/>
                <a:gd name="T6" fmla="*/ 8 w 8"/>
                <a:gd name="T7" fmla="*/ 52 h 52"/>
                <a:gd name="T8" fmla="*/ 8 w 8"/>
                <a:gd name="T9" fmla="*/ 0 h 52"/>
                <a:gd name="T10" fmla="*/ 6 w 8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2">
                  <a:moveTo>
                    <a:pt x="6" y="0"/>
                  </a:moveTo>
                  <a:lnTo>
                    <a:pt x="0" y="30"/>
                  </a:lnTo>
                  <a:lnTo>
                    <a:pt x="4" y="46"/>
                  </a:lnTo>
                  <a:lnTo>
                    <a:pt x="8" y="5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35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8" name="Freeform 347"/>
            <p:cNvSpPr>
              <a:spLocks/>
            </p:cNvSpPr>
            <p:nvPr/>
          </p:nvSpPr>
          <p:spPr bwMode="auto">
            <a:xfrm>
              <a:off x="6625711" y="5548682"/>
              <a:ext cx="18486" cy="63160"/>
            </a:xfrm>
            <a:custGeom>
              <a:avLst/>
              <a:gdLst>
                <a:gd name="T0" fmla="*/ 12 w 12"/>
                <a:gd name="T1" fmla="*/ 37 h 41"/>
                <a:gd name="T2" fmla="*/ 6 w 12"/>
                <a:gd name="T3" fmla="*/ 40 h 41"/>
                <a:gd name="T4" fmla="*/ 0 w 12"/>
                <a:gd name="T5" fmla="*/ 37 h 41"/>
                <a:gd name="T6" fmla="*/ 0 w 12"/>
                <a:gd name="T7" fmla="*/ 4 h 41"/>
                <a:gd name="T8" fmla="*/ 6 w 12"/>
                <a:gd name="T9" fmla="*/ 1 h 41"/>
                <a:gd name="T10" fmla="*/ 12 w 12"/>
                <a:gd name="T11" fmla="*/ 4 h 41"/>
                <a:gd name="T12" fmla="*/ 12 w 12"/>
                <a:gd name="T13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1">
                  <a:moveTo>
                    <a:pt x="12" y="37"/>
                  </a:moveTo>
                  <a:cubicBezTo>
                    <a:pt x="12" y="41"/>
                    <a:pt x="9" y="40"/>
                    <a:pt x="6" y="40"/>
                  </a:cubicBezTo>
                  <a:cubicBezTo>
                    <a:pt x="2" y="40"/>
                    <a:pt x="0" y="41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2" y="1"/>
                    <a:pt x="6" y="1"/>
                  </a:cubicBezTo>
                  <a:cubicBezTo>
                    <a:pt x="9" y="1"/>
                    <a:pt x="12" y="0"/>
                    <a:pt x="12" y="4"/>
                  </a:cubicBezTo>
                  <a:lnTo>
                    <a:pt x="12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88" name="Group 1387"/>
          <p:cNvGrpSpPr/>
          <p:nvPr/>
        </p:nvGrpSpPr>
        <p:grpSpPr>
          <a:xfrm>
            <a:off x="6779969" y="4114081"/>
            <a:ext cx="136453" cy="467863"/>
            <a:chOff x="6591918" y="414370"/>
            <a:chExt cx="1704205" cy="5843289"/>
          </a:xfrm>
        </p:grpSpPr>
        <p:grpSp>
          <p:nvGrpSpPr>
            <p:cNvPr id="1389" name="Group 1388"/>
            <p:cNvGrpSpPr/>
            <p:nvPr/>
          </p:nvGrpSpPr>
          <p:grpSpPr>
            <a:xfrm>
              <a:off x="7787210" y="1531724"/>
              <a:ext cx="508913" cy="2274503"/>
              <a:chOff x="7787210" y="1531724"/>
              <a:chExt cx="508913" cy="2274503"/>
            </a:xfrm>
          </p:grpSpPr>
          <p:grpSp>
            <p:nvGrpSpPr>
              <p:cNvPr id="1469" name="Group 1468"/>
              <p:cNvGrpSpPr/>
              <p:nvPr/>
            </p:nvGrpSpPr>
            <p:grpSpPr>
              <a:xfrm>
                <a:off x="8075157" y="3223482"/>
                <a:ext cx="181509" cy="582745"/>
                <a:chOff x="5449248" y="2817190"/>
                <a:chExt cx="419780" cy="1347728"/>
              </a:xfrm>
            </p:grpSpPr>
            <p:sp>
              <p:nvSpPr>
                <p:cNvPr id="1472" name="Freeform 1471"/>
                <p:cNvSpPr/>
                <p:nvPr/>
              </p:nvSpPr>
              <p:spPr>
                <a:xfrm>
                  <a:off x="5464897" y="3250445"/>
                  <a:ext cx="368964" cy="9144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964" h="914473">
                      <a:moveTo>
                        <a:pt x="114881" y="0"/>
                      </a:moveTo>
                      <a:lnTo>
                        <a:pt x="351950" y="0"/>
                      </a:lnTo>
                      <a:lnTo>
                        <a:pt x="368964" y="203885"/>
                      </a:lnTo>
                      <a:lnTo>
                        <a:pt x="243643" y="626006"/>
                      </a:lnTo>
                      <a:lnTo>
                        <a:pt x="27674" y="906459"/>
                      </a:lnTo>
                      <a:cubicBezTo>
                        <a:pt x="-15256" y="938656"/>
                        <a:pt x="-801" y="867005"/>
                        <a:pt x="21234" y="812795"/>
                      </a:cubicBezTo>
                      <a:cubicBezTo>
                        <a:pt x="43269" y="758585"/>
                        <a:pt x="119103" y="669206"/>
                        <a:pt x="159886" y="581200"/>
                      </a:cubicBezTo>
                      <a:lnTo>
                        <a:pt x="214778" y="316733"/>
                      </a:lnTo>
                      <a:cubicBezTo>
                        <a:pt x="214778" y="243753"/>
                        <a:pt x="183024" y="174142"/>
                        <a:pt x="153491" y="181685"/>
                      </a:cubicBezTo>
                      <a:cubicBezTo>
                        <a:pt x="143798" y="184161"/>
                        <a:pt x="129485" y="198075"/>
                        <a:pt x="114881" y="218323"/>
                      </a:cubicBezTo>
                      <a:close/>
                    </a:path>
                  </a:pathLst>
                </a:custGeom>
                <a:solidFill>
                  <a:srgbClr val="EABC9A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3" name="Freeform 1472"/>
                <p:cNvSpPr/>
                <p:nvPr/>
              </p:nvSpPr>
              <p:spPr>
                <a:xfrm>
                  <a:off x="5449248" y="2817190"/>
                  <a:ext cx="419780" cy="1334940"/>
                </a:xfrm>
                <a:custGeom>
                  <a:avLst/>
                  <a:gdLst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9962 w 419962"/>
                    <a:gd name="connsiteY0" fmla="*/ 6440 h 1178417"/>
                    <a:gd name="connsiteX1" fmla="*/ 419962 w 419962"/>
                    <a:gd name="connsiteY1" fmla="*/ 379927 h 1178417"/>
                    <a:gd name="connsiteX2" fmla="*/ 329810 w 419962"/>
                    <a:gd name="connsiteY2" fmla="*/ 850006 h 1178417"/>
                    <a:gd name="connsiteX3" fmla="*/ 78672 w 419962"/>
                    <a:gd name="connsiteY3" fmla="*/ 1178417 h 1178417"/>
                    <a:gd name="connsiteX4" fmla="*/ 72232 w 419962"/>
                    <a:gd name="connsiteY4" fmla="*/ 1043189 h 1178417"/>
                    <a:gd name="connsiteX5" fmla="*/ 239658 w 419962"/>
                    <a:gd name="connsiteY5" fmla="*/ 843567 h 1178417"/>
                    <a:gd name="connsiteX6" fmla="*/ 316931 w 419962"/>
                    <a:gd name="connsiteY6" fmla="*/ 515155 h 1178417"/>
                    <a:gd name="connsiteX7" fmla="*/ 239658 w 419962"/>
                    <a:gd name="connsiteY7" fmla="*/ 405685 h 1178417"/>
                    <a:gd name="connsiteX8" fmla="*/ 123748 w 419962"/>
                    <a:gd name="connsiteY8" fmla="*/ 585989 h 1178417"/>
                    <a:gd name="connsiteX9" fmla="*/ 143157 w 419962"/>
                    <a:gd name="connsiteY9" fmla="*/ 705502 h 1178417"/>
                    <a:gd name="connsiteX10" fmla="*/ 36928 w 419962"/>
                    <a:gd name="connsiteY10" fmla="*/ 657544 h 1178417"/>
                    <a:gd name="connsiteX11" fmla="*/ 7838 w 419962"/>
                    <a:gd name="connsiteY11" fmla="*/ 457200 h 1178417"/>
                    <a:gd name="connsiteX12" fmla="*/ 85111 w 419962"/>
                    <a:gd name="connsiteY12" fmla="*/ 225381 h 1178417"/>
                    <a:gd name="connsiteX13" fmla="*/ 226779 w 419962"/>
                    <a:gd name="connsiteY13" fmla="*/ 160986 h 1178417"/>
                    <a:gd name="connsiteX14" fmla="*/ 226779 w 419962"/>
                    <a:gd name="connsiteY14" fmla="*/ 160986 h 1178417"/>
                    <a:gd name="connsiteX15" fmla="*/ 201021 w 419962"/>
                    <a:gd name="connsiteY15" fmla="*/ 0 h 1178417"/>
                    <a:gd name="connsiteX16" fmla="*/ 419962 w 419962"/>
                    <a:gd name="connsiteY16" fmla="*/ 6440 h 1178417"/>
                    <a:gd name="connsiteX0" fmla="*/ 414499 w 414499"/>
                    <a:gd name="connsiteY0" fmla="*/ 6440 h 1178417"/>
                    <a:gd name="connsiteX1" fmla="*/ 414499 w 414499"/>
                    <a:gd name="connsiteY1" fmla="*/ 379927 h 1178417"/>
                    <a:gd name="connsiteX2" fmla="*/ 324347 w 414499"/>
                    <a:gd name="connsiteY2" fmla="*/ 850006 h 1178417"/>
                    <a:gd name="connsiteX3" fmla="*/ 73209 w 414499"/>
                    <a:gd name="connsiteY3" fmla="*/ 1178417 h 1178417"/>
                    <a:gd name="connsiteX4" fmla="*/ 66769 w 414499"/>
                    <a:gd name="connsiteY4" fmla="*/ 1043189 h 1178417"/>
                    <a:gd name="connsiteX5" fmla="*/ 234195 w 414499"/>
                    <a:gd name="connsiteY5" fmla="*/ 843567 h 1178417"/>
                    <a:gd name="connsiteX6" fmla="*/ 311468 w 414499"/>
                    <a:gd name="connsiteY6" fmla="*/ 515155 h 1178417"/>
                    <a:gd name="connsiteX7" fmla="*/ 234195 w 414499"/>
                    <a:gd name="connsiteY7" fmla="*/ 405685 h 1178417"/>
                    <a:gd name="connsiteX8" fmla="*/ 118285 w 414499"/>
                    <a:gd name="connsiteY8" fmla="*/ 585989 h 1178417"/>
                    <a:gd name="connsiteX9" fmla="*/ 137694 w 414499"/>
                    <a:gd name="connsiteY9" fmla="*/ 705502 h 1178417"/>
                    <a:gd name="connsiteX10" fmla="*/ 31465 w 414499"/>
                    <a:gd name="connsiteY10" fmla="*/ 657544 h 1178417"/>
                    <a:gd name="connsiteX11" fmla="*/ 2375 w 414499"/>
                    <a:gd name="connsiteY11" fmla="*/ 457200 h 1178417"/>
                    <a:gd name="connsiteX12" fmla="*/ 79648 w 414499"/>
                    <a:gd name="connsiteY12" fmla="*/ 225381 h 1178417"/>
                    <a:gd name="connsiteX13" fmla="*/ 221316 w 414499"/>
                    <a:gd name="connsiteY13" fmla="*/ 160986 h 1178417"/>
                    <a:gd name="connsiteX14" fmla="*/ 221316 w 414499"/>
                    <a:gd name="connsiteY14" fmla="*/ 160986 h 1178417"/>
                    <a:gd name="connsiteX15" fmla="*/ 195558 w 414499"/>
                    <a:gd name="connsiteY15" fmla="*/ 0 h 1178417"/>
                    <a:gd name="connsiteX16" fmla="*/ 414499 w 414499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97429 w 415303"/>
                    <a:gd name="connsiteY14" fmla="*/ 10343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196362 w 415303"/>
                    <a:gd name="connsiteY14" fmla="*/ 0 h 1178417"/>
                    <a:gd name="connsiteX15" fmla="*/ 415303 w 415303"/>
                    <a:gd name="connsiteY15" fmla="*/ 6440 h 1178417"/>
                    <a:gd name="connsiteX0" fmla="*/ 414629 w 414629"/>
                    <a:gd name="connsiteY0" fmla="*/ 6440 h 1178417"/>
                    <a:gd name="connsiteX1" fmla="*/ 414629 w 414629"/>
                    <a:gd name="connsiteY1" fmla="*/ 379927 h 1178417"/>
                    <a:gd name="connsiteX2" fmla="*/ 324477 w 414629"/>
                    <a:gd name="connsiteY2" fmla="*/ 850006 h 1178417"/>
                    <a:gd name="connsiteX3" fmla="*/ 73339 w 414629"/>
                    <a:gd name="connsiteY3" fmla="*/ 1178417 h 1178417"/>
                    <a:gd name="connsiteX4" fmla="*/ 66899 w 414629"/>
                    <a:gd name="connsiteY4" fmla="*/ 1043189 h 1178417"/>
                    <a:gd name="connsiteX5" fmla="*/ 234325 w 414629"/>
                    <a:gd name="connsiteY5" fmla="*/ 843567 h 1178417"/>
                    <a:gd name="connsiteX6" fmla="*/ 311598 w 414629"/>
                    <a:gd name="connsiteY6" fmla="*/ 515155 h 1178417"/>
                    <a:gd name="connsiteX7" fmla="*/ 234325 w 414629"/>
                    <a:gd name="connsiteY7" fmla="*/ 405685 h 1178417"/>
                    <a:gd name="connsiteX8" fmla="*/ 118415 w 414629"/>
                    <a:gd name="connsiteY8" fmla="*/ 585989 h 1178417"/>
                    <a:gd name="connsiteX9" fmla="*/ 137824 w 414629"/>
                    <a:gd name="connsiteY9" fmla="*/ 705502 h 1178417"/>
                    <a:gd name="connsiteX10" fmla="*/ 31595 w 414629"/>
                    <a:gd name="connsiteY10" fmla="*/ 657544 h 1178417"/>
                    <a:gd name="connsiteX11" fmla="*/ 2505 w 414629"/>
                    <a:gd name="connsiteY11" fmla="*/ 457200 h 1178417"/>
                    <a:gd name="connsiteX12" fmla="*/ 79778 w 414629"/>
                    <a:gd name="connsiteY12" fmla="*/ 225381 h 1178417"/>
                    <a:gd name="connsiteX13" fmla="*/ 183079 w 414629"/>
                    <a:gd name="connsiteY13" fmla="*/ 148198 h 1178417"/>
                    <a:gd name="connsiteX14" fmla="*/ 195688 w 414629"/>
                    <a:gd name="connsiteY14" fmla="*/ 0 h 1178417"/>
                    <a:gd name="connsiteX15" fmla="*/ 414629 w 414629"/>
                    <a:gd name="connsiteY15" fmla="*/ 6440 h 1178417"/>
                    <a:gd name="connsiteX0" fmla="*/ 413006 w 413006"/>
                    <a:gd name="connsiteY0" fmla="*/ 6440 h 1178417"/>
                    <a:gd name="connsiteX1" fmla="*/ 413006 w 413006"/>
                    <a:gd name="connsiteY1" fmla="*/ 379927 h 1178417"/>
                    <a:gd name="connsiteX2" fmla="*/ 322854 w 413006"/>
                    <a:gd name="connsiteY2" fmla="*/ 850006 h 1178417"/>
                    <a:gd name="connsiteX3" fmla="*/ 71716 w 413006"/>
                    <a:gd name="connsiteY3" fmla="*/ 1178417 h 1178417"/>
                    <a:gd name="connsiteX4" fmla="*/ 65276 w 413006"/>
                    <a:gd name="connsiteY4" fmla="*/ 1043189 h 1178417"/>
                    <a:gd name="connsiteX5" fmla="*/ 232702 w 413006"/>
                    <a:gd name="connsiteY5" fmla="*/ 843567 h 1178417"/>
                    <a:gd name="connsiteX6" fmla="*/ 309975 w 413006"/>
                    <a:gd name="connsiteY6" fmla="*/ 515155 h 1178417"/>
                    <a:gd name="connsiteX7" fmla="*/ 232702 w 413006"/>
                    <a:gd name="connsiteY7" fmla="*/ 405685 h 1178417"/>
                    <a:gd name="connsiteX8" fmla="*/ 116792 w 413006"/>
                    <a:gd name="connsiteY8" fmla="*/ 585989 h 1178417"/>
                    <a:gd name="connsiteX9" fmla="*/ 136201 w 413006"/>
                    <a:gd name="connsiteY9" fmla="*/ 705502 h 1178417"/>
                    <a:gd name="connsiteX10" fmla="*/ 29972 w 413006"/>
                    <a:gd name="connsiteY10" fmla="*/ 657544 h 1178417"/>
                    <a:gd name="connsiteX11" fmla="*/ 882 w 413006"/>
                    <a:gd name="connsiteY11" fmla="*/ 457200 h 1178417"/>
                    <a:gd name="connsiteX12" fmla="*/ 65366 w 413006"/>
                    <a:gd name="connsiteY12" fmla="*/ 257353 h 1178417"/>
                    <a:gd name="connsiteX13" fmla="*/ 181456 w 413006"/>
                    <a:gd name="connsiteY13" fmla="*/ 148198 h 1178417"/>
                    <a:gd name="connsiteX14" fmla="*/ 194065 w 413006"/>
                    <a:gd name="connsiteY14" fmla="*/ 0 h 1178417"/>
                    <a:gd name="connsiteX15" fmla="*/ 413006 w 413006"/>
                    <a:gd name="connsiteY15" fmla="*/ 6440 h 1178417"/>
                    <a:gd name="connsiteX0" fmla="*/ 387113 w 387113"/>
                    <a:gd name="connsiteY0" fmla="*/ 6440 h 1178417"/>
                    <a:gd name="connsiteX1" fmla="*/ 387113 w 387113"/>
                    <a:gd name="connsiteY1" fmla="*/ 379927 h 1178417"/>
                    <a:gd name="connsiteX2" fmla="*/ 296961 w 387113"/>
                    <a:gd name="connsiteY2" fmla="*/ 850006 h 1178417"/>
                    <a:gd name="connsiteX3" fmla="*/ 45823 w 387113"/>
                    <a:gd name="connsiteY3" fmla="*/ 1178417 h 1178417"/>
                    <a:gd name="connsiteX4" fmla="*/ 39383 w 387113"/>
                    <a:gd name="connsiteY4" fmla="*/ 1043189 h 1178417"/>
                    <a:gd name="connsiteX5" fmla="*/ 206809 w 387113"/>
                    <a:gd name="connsiteY5" fmla="*/ 843567 h 1178417"/>
                    <a:gd name="connsiteX6" fmla="*/ 284082 w 387113"/>
                    <a:gd name="connsiteY6" fmla="*/ 515155 h 1178417"/>
                    <a:gd name="connsiteX7" fmla="*/ 206809 w 387113"/>
                    <a:gd name="connsiteY7" fmla="*/ 405685 h 1178417"/>
                    <a:gd name="connsiteX8" fmla="*/ 90899 w 387113"/>
                    <a:gd name="connsiteY8" fmla="*/ 585989 h 1178417"/>
                    <a:gd name="connsiteX9" fmla="*/ 110308 w 387113"/>
                    <a:gd name="connsiteY9" fmla="*/ 705502 h 1178417"/>
                    <a:gd name="connsiteX10" fmla="*/ 4079 w 387113"/>
                    <a:gd name="connsiteY10" fmla="*/ 657544 h 1178417"/>
                    <a:gd name="connsiteX11" fmla="*/ 10159 w 387113"/>
                    <a:gd name="connsiteY11" fmla="*/ 431622 h 1178417"/>
                    <a:gd name="connsiteX12" fmla="*/ 39473 w 387113"/>
                    <a:gd name="connsiteY12" fmla="*/ 257353 h 1178417"/>
                    <a:gd name="connsiteX13" fmla="*/ 155563 w 387113"/>
                    <a:gd name="connsiteY13" fmla="*/ 148198 h 1178417"/>
                    <a:gd name="connsiteX14" fmla="*/ 168172 w 387113"/>
                    <a:gd name="connsiteY14" fmla="*/ 0 h 1178417"/>
                    <a:gd name="connsiteX15" fmla="*/ 387113 w 387113"/>
                    <a:gd name="connsiteY15" fmla="*/ 6440 h 1178417"/>
                    <a:gd name="connsiteX0" fmla="*/ 387113 w 387113"/>
                    <a:gd name="connsiteY0" fmla="*/ 6440 h 1184142"/>
                    <a:gd name="connsiteX1" fmla="*/ 387113 w 387113"/>
                    <a:gd name="connsiteY1" fmla="*/ 379927 h 1184142"/>
                    <a:gd name="connsiteX2" fmla="*/ 296961 w 387113"/>
                    <a:gd name="connsiteY2" fmla="*/ 850006 h 1184142"/>
                    <a:gd name="connsiteX3" fmla="*/ 45823 w 387113"/>
                    <a:gd name="connsiteY3" fmla="*/ 1178417 h 1184142"/>
                    <a:gd name="connsiteX4" fmla="*/ 39383 w 387113"/>
                    <a:gd name="connsiteY4" fmla="*/ 1043189 h 1184142"/>
                    <a:gd name="connsiteX5" fmla="*/ 206809 w 387113"/>
                    <a:gd name="connsiteY5" fmla="*/ 843567 h 1184142"/>
                    <a:gd name="connsiteX6" fmla="*/ 284082 w 387113"/>
                    <a:gd name="connsiteY6" fmla="*/ 515155 h 1184142"/>
                    <a:gd name="connsiteX7" fmla="*/ 206809 w 387113"/>
                    <a:gd name="connsiteY7" fmla="*/ 405685 h 1184142"/>
                    <a:gd name="connsiteX8" fmla="*/ 90899 w 387113"/>
                    <a:gd name="connsiteY8" fmla="*/ 585989 h 1184142"/>
                    <a:gd name="connsiteX9" fmla="*/ 110308 w 387113"/>
                    <a:gd name="connsiteY9" fmla="*/ 705502 h 1184142"/>
                    <a:gd name="connsiteX10" fmla="*/ 4079 w 387113"/>
                    <a:gd name="connsiteY10" fmla="*/ 657544 h 1184142"/>
                    <a:gd name="connsiteX11" fmla="*/ 10159 w 387113"/>
                    <a:gd name="connsiteY11" fmla="*/ 431622 h 1184142"/>
                    <a:gd name="connsiteX12" fmla="*/ 39473 w 387113"/>
                    <a:gd name="connsiteY12" fmla="*/ 257353 h 1184142"/>
                    <a:gd name="connsiteX13" fmla="*/ 155563 w 387113"/>
                    <a:gd name="connsiteY13" fmla="*/ 148198 h 1184142"/>
                    <a:gd name="connsiteX14" fmla="*/ 168172 w 387113"/>
                    <a:gd name="connsiteY14" fmla="*/ 0 h 1184142"/>
                    <a:gd name="connsiteX15" fmla="*/ 387113 w 387113"/>
                    <a:gd name="connsiteY15" fmla="*/ 6440 h 1184142"/>
                    <a:gd name="connsiteX0" fmla="*/ 387113 w 387113"/>
                    <a:gd name="connsiteY0" fmla="*/ 6440 h 1138506"/>
                    <a:gd name="connsiteX1" fmla="*/ 387113 w 387113"/>
                    <a:gd name="connsiteY1" fmla="*/ 379927 h 1138506"/>
                    <a:gd name="connsiteX2" fmla="*/ 296961 w 387113"/>
                    <a:gd name="connsiteY2" fmla="*/ 850006 h 1138506"/>
                    <a:gd name="connsiteX3" fmla="*/ 80992 w 387113"/>
                    <a:gd name="connsiteY3" fmla="*/ 1130459 h 1138506"/>
                    <a:gd name="connsiteX4" fmla="*/ 39383 w 387113"/>
                    <a:gd name="connsiteY4" fmla="*/ 1043189 h 1138506"/>
                    <a:gd name="connsiteX5" fmla="*/ 206809 w 387113"/>
                    <a:gd name="connsiteY5" fmla="*/ 843567 h 1138506"/>
                    <a:gd name="connsiteX6" fmla="*/ 284082 w 387113"/>
                    <a:gd name="connsiteY6" fmla="*/ 515155 h 1138506"/>
                    <a:gd name="connsiteX7" fmla="*/ 206809 w 387113"/>
                    <a:gd name="connsiteY7" fmla="*/ 405685 h 1138506"/>
                    <a:gd name="connsiteX8" fmla="*/ 90899 w 387113"/>
                    <a:gd name="connsiteY8" fmla="*/ 585989 h 1138506"/>
                    <a:gd name="connsiteX9" fmla="*/ 110308 w 387113"/>
                    <a:gd name="connsiteY9" fmla="*/ 705502 h 1138506"/>
                    <a:gd name="connsiteX10" fmla="*/ 4079 w 387113"/>
                    <a:gd name="connsiteY10" fmla="*/ 657544 h 1138506"/>
                    <a:gd name="connsiteX11" fmla="*/ 10159 w 387113"/>
                    <a:gd name="connsiteY11" fmla="*/ 431622 h 1138506"/>
                    <a:gd name="connsiteX12" fmla="*/ 39473 w 387113"/>
                    <a:gd name="connsiteY12" fmla="*/ 257353 h 1138506"/>
                    <a:gd name="connsiteX13" fmla="*/ 155563 w 387113"/>
                    <a:gd name="connsiteY13" fmla="*/ 148198 h 1138506"/>
                    <a:gd name="connsiteX14" fmla="*/ 168172 w 387113"/>
                    <a:gd name="connsiteY14" fmla="*/ 0 h 1138506"/>
                    <a:gd name="connsiteX15" fmla="*/ 387113 w 387113"/>
                    <a:gd name="connsiteY15" fmla="*/ 6440 h 1138506"/>
                    <a:gd name="connsiteX0" fmla="*/ 387113 w 387113"/>
                    <a:gd name="connsiteY0" fmla="*/ 6440 h 1139009"/>
                    <a:gd name="connsiteX1" fmla="*/ 387113 w 387113"/>
                    <a:gd name="connsiteY1" fmla="*/ 379927 h 1139009"/>
                    <a:gd name="connsiteX2" fmla="*/ 296961 w 387113"/>
                    <a:gd name="connsiteY2" fmla="*/ 850006 h 1139009"/>
                    <a:gd name="connsiteX3" fmla="*/ 80992 w 387113"/>
                    <a:gd name="connsiteY3" fmla="*/ 1130459 h 1139009"/>
                    <a:gd name="connsiteX4" fmla="*/ 39383 w 387113"/>
                    <a:gd name="connsiteY4" fmla="*/ 1043189 h 1139009"/>
                    <a:gd name="connsiteX5" fmla="*/ 213204 w 387113"/>
                    <a:gd name="connsiteY5" fmla="*/ 805200 h 1139009"/>
                    <a:gd name="connsiteX6" fmla="*/ 284082 w 387113"/>
                    <a:gd name="connsiteY6" fmla="*/ 515155 h 1139009"/>
                    <a:gd name="connsiteX7" fmla="*/ 206809 w 387113"/>
                    <a:gd name="connsiteY7" fmla="*/ 405685 h 1139009"/>
                    <a:gd name="connsiteX8" fmla="*/ 90899 w 387113"/>
                    <a:gd name="connsiteY8" fmla="*/ 585989 h 1139009"/>
                    <a:gd name="connsiteX9" fmla="*/ 110308 w 387113"/>
                    <a:gd name="connsiteY9" fmla="*/ 705502 h 1139009"/>
                    <a:gd name="connsiteX10" fmla="*/ 4079 w 387113"/>
                    <a:gd name="connsiteY10" fmla="*/ 657544 h 1139009"/>
                    <a:gd name="connsiteX11" fmla="*/ 10159 w 387113"/>
                    <a:gd name="connsiteY11" fmla="*/ 431622 h 1139009"/>
                    <a:gd name="connsiteX12" fmla="*/ 39473 w 387113"/>
                    <a:gd name="connsiteY12" fmla="*/ 257353 h 1139009"/>
                    <a:gd name="connsiteX13" fmla="*/ 155563 w 387113"/>
                    <a:gd name="connsiteY13" fmla="*/ 148198 h 1139009"/>
                    <a:gd name="connsiteX14" fmla="*/ 168172 w 387113"/>
                    <a:gd name="connsiteY14" fmla="*/ 0 h 1139009"/>
                    <a:gd name="connsiteX15" fmla="*/ 387113 w 387113"/>
                    <a:gd name="connsiteY15" fmla="*/ 6440 h 1139009"/>
                    <a:gd name="connsiteX0" fmla="*/ 387113 w 387113"/>
                    <a:gd name="connsiteY0" fmla="*/ 6440 h 1139009"/>
                    <a:gd name="connsiteX1" fmla="*/ 387113 w 387113"/>
                    <a:gd name="connsiteY1" fmla="*/ 379927 h 1139009"/>
                    <a:gd name="connsiteX2" fmla="*/ 296961 w 387113"/>
                    <a:gd name="connsiteY2" fmla="*/ 850006 h 1139009"/>
                    <a:gd name="connsiteX3" fmla="*/ 80992 w 387113"/>
                    <a:gd name="connsiteY3" fmla="*/ 1130459 h 1139009"/>
                    <a:gd name="connsiteX4" fmla="*/ 80947 w 387113"/>
                    <a:gd name="connsiteY4" fmla="*/ 1043189 h 1139009"/>
                    <a:gd name="connsiteX5" fmla="*/ 213204 w 387113"/>
                    <a:gd name="connsiteY5" fmla="*/ 805200 h 1139009"/>
                    <a:gd name="connsiteX6" fmla="*/ 284082 w 387113"/>
                    <a:gd name="connsiteY6" fmla="*/ 515155 h 1139009"/>
                    <a:gd name="connsiteX7" fmla="*/ 206809 w 387113"/>
                    <a:gd name="connsiteY7" fmla="*/ 405685 h 1139009"/>
                    <a:gd name="connsiteX8" fmla="*/ 90899 w 387113"/>
                    <a:gd name="connsiteY8" fmla="*/ 585989 h 1139009"/>
                    <a:gd name="connsiteX9" fmla="*/ 110308 w 387113"/>
                    <a:gd name="connsiteY9" fmla="*/ 705502 h 1139009"/>
                    <a:gd name="connsiteX10" fmla="*/ 4079 w 387113"/>
                    <a:gd name="connsiteY10" fmla="*/ 657544 h 1139009"/>
                    <a:gd name="connsiteX11" fmla="*/ 10159 w 387113"/>
                    <a:gd name="connsiteY11" fmla="*/ 431622 h 1139009"/>
                    <a:gd name="connsiteX12" fmla="*/ 39473 w 387113"/>
                    <a:gd name="connsiteY12" fmla="*/ 257353 h 1139009"/>
                    <a:gd name="connsiteX13" fmla="*/ 155563 w 387113"/>
                    <a:gd name="connsiteY13" fmla="*/ 148198 h 1139009"/>
                    <a:gd name="connsiteX14" fmla="*/ 168172 w 387113"/>
                    <a:gd name="connsiteY14" fmla="*/ 0 h 1139009"/>
                    <a:gd name="connsiteX15" fmla="*/ 387113 w 387113"/>
                    <a:gd name="connsiteY15" fmla="*/ 6440 h 1139009"/>
                    <a:gd name="connsiteX0" fmla="*/ 387113 w 387113"/>
                    <a:gd name="connsiteY0" fmla="*/ 6440 h 1138473"/>
                    <a:gd name="connsiteX1" fmla="*/ 387113 w 387113"/>
                    <a:gd name="connsiteY1" fmla="*/ 379927 h 1138473"/>
                    <a:gd name="connsiteX2" fmla="*/ 296961 w 387113"/>
                    <a:gd name="connsiteY2" fmla="*/ 850006 h 1138473"/>
                    <a:gd name="connsiteX3" fmla="*/ 80992 w 387113"/>
                    <a:gd name="connsiteY3" fmla="*/ 1130459 h 1138473"/>
                    <a:gd name="connsiteX4" fmla="*/ 74552 w 387113"/>
                    <a:gd name="connsiteY4" fmla="*/ 1036795 h 1138473"/>
                    <a:gd name="connsiteX5" fmla="*/ 213204 w 387113"/>
                    <a:gd name="connsiteY5" fmla="*/ 805200 h 1138473"/>
                    <a:gd name="connsiteX6" fmla="*/ 284082 w 387113"/>
                    <a:gd name="connsiteY6" fmla="*/ 515155 h 1138473"/>
                    <a:gd name="connsiteX7" fmla="*/ 206809 w 387113"/>
                    <a:gd name="connsiteY7" fmla="*/ 405685 h 1138473"/>
                    <a:gd name="connsiteX8" fmla="*/ 90899 w 387113"/>
                    <a:gd name="connsiteY8" fmla="*/ 585989 h 1138473"/>
                    <a:gd name="connsiteX9" fmla="*/ 110308 w 387113"/>
                    <a:gd name="connsiteY9" fmla="*/ 705502 h 1138473"/>
                    <a:gd name="connsiteX10" fmla="*/ 4079 w 387113"/>
                    <a:gd name="connsiteY10" fmla="*/ 657544 h 1138473"/>
                    <a:gd name="connsiteX11" fmla="*/ 10159 w 387113"/>
                    <a:gd name="connsiteY11" fmla="*/ 431622 h 1138473"/>
                    <a:gd name="connsiteX12" fmla="*/ 39473 w 387113"/>
                    <a:gd name="connsiteY12" fmla="*/ 257353 h 1138473"/>
                    <a:gd name="connsiteX13" fmla="*/ 155563 w 387113"/>
                    <a:gd name="connsiteY13" fmla="*/ 148198 h 1138473"/>
                    <a:gd name="connsiteX14" fmla="*/ 168172 w 387113"/>
                    <a:gd name="connsiteY14" fmla="*/ 0 h 1138473"/>
                    <a:gd name="connsiteX15" fmla="*/ 387113 w 387113"/>
                    <a:gd name="connsiteY15" fmla="*/ 6440 h 1138473"/>
                    <a:gd name="connsiteX0" fmla="*/ 387113 w 387113"/>
                    <a:gd name="connsiteY0" fmla="*/ 6440 h 1138473"/>
                    <a:gd name="connsiteX1" fmla="*/ 387113 w 387113"/>
                    <a:gd name="connsiteY1" fmla="*/ 379927 h 1138473"/>
                    <a:gd name="connsiteX2" fmla="*/ 296961 w 387113"/>
                    <a:gd name="connsiteY2" fmla="*/ 850006 h 1138473"/>
                    <a:gd name="connsiteX3" fmla="*/ 80992 w 387113"/>
                    <a:gd name="connsiteY3" fmla="*/ 1130459 h 1138473"/>
                    <a:gd name="connsiteX4" fmla="*/ 74552 w 387113"/>
                    <a:gd name="connsiteY4" fmla="*/ 1036795 h 1138473"/>
                    <a:gd name="connsiteX5" fmla="*/ 213204 w 387113"/>
                    <a:gd name="connsiteY5" fmla="*/ 805200 h 1138473"/>
                    <a:gd name="connsiteX6" fmla="*/ 268096 w 387113"/>
                    <a:gd name="connsiteY6" fmla="*/ 540733 h 1138473"/>
                    <a:gd name="connsiteX7" fmla="*/ 206809 w 387113"/>
                    <a:gd name="connsiteY7" fmla="*/ 405685 h 1138473"/>
                    <a:gd name="connsiteX8" fmla="*/ 90899 w 387113"/>
                    <a:gd name="connsiteY8" fmla="*/ 585989 h 1138473"/>
                    <a:gd name="connsiteX9" fmla="*/ 110308 w 387113"/>
                    <a:gd name="connsiteY9" fmla="*/ 705502 h 1138473"/>
                    <a:gd name="connsiteX10" fmla="*/ 4079 w 387113"/>
                    <a:gd name="connsiteY10" fmla="*/ 657544 h 1138473"/>
                    <a:gd name="connsiteX11" fmla="*/ 10159 w 387113"/>
                    <a:gd name="connsiteY11" fmla="*/ 431622 h 1138473"/>
                    <a:gd name="connsiteX12" fmla="*/ 39473 w 387113"/>
                    <a:gd name="connsiteY12" fmla="*/ 257353 h 1138473"/>
                    <a:gd name="connsiteX13" fmla="*/ 155563 w 387113"/>
                    <a:gd name="connsiteY13" fmla="*/ 148198 h 1138473"/>
                    <a:gd name="connsiteX14" fmla="*/ 168172 w 387113"/>
                    <a:gd name="connsiteY14" fmla="*/ 0 h 1138473"/>
                    <a:gd name="connsiteX15" fmla="*/ 387113 w 387113"/>
                    <a:gd name="connsiteY15" fmla="*/ 6440 h 1138473"/>
                    <a:gd name="connsiteX0" fmla="*/ 387113 w 422282"/>
                    <a:gd name="connsiteY0" fmla="*/ 6440 h 1138473"/>
                    <a:gd name="connsiteX1" fmla="*/ 422282 w 422282"/>
                    <a:gd name="connsiteY1" fmla="*/ 427885 h 1138473"/>
                    <a:gd name="connsiteX2" fmla="*/ 296961 w 422282"/>
                    <a:gd name="connsiteY2" fmla="*/ 850006 h 1138473"/>
                    <a:gd name="connsiteX3" fmla="*/ 80992 w 422282"/>
                    <a:gd name="connsiteY3" fmla="*/ 1130459 h 1138473"/>
                    <a:gd name="connsiteX4" fmla="*/ 74552 w 422282"/>
                    <a:gd name="connsiteY4" fmla="*/ 1036795 h 1138473"/>
                    <a:gd name="connsiteX5" fmla="*/ 213204 w 422282"/>
                    <a:gd name="connsiteY5" fmla="*/ 805200 h 1138473"/>
                    <a:gd name="connsiteX6" fmla="*/ 268096 w 422282"/>
                    <a:gd name="connsiteY6" fmla="*/ 540733 h 1138473"/>
                    <a:gd name="connsiteX7" fmla="*/ 206809 w 422282"/>
                    <a:gd name="connsiteY7" fmla="*/ 405685 h 1138473"/>
                    <a:gd name="connsiteX8" fmla="*/ 90899 w 422282"/>
                    <a:gd name="connsiteY8" fmla="*/ 585989 h 1138473"/>
                    <a:gd name="connsiteX9" fmla="*/ 110308 w 422282"/>
                    <a:gd name="connsiteY9" fmla="*/ 705502 h 1138473"/>
                    <a:gd name="connsiteX10" fmla="*/ 4079 w 422282"/>
                    <a:gd name="connsiteY10" fmla="*/ 657544 h 1138473"/>
                    <a:gd name="connsiteX11" fmla="*/ 10159 w 422282"/>
                    <a:gd name="connsiteY11" fmla="*/ 431622 h 1138473"/>
                    <a:gd name="connsiteX12" fmla="*/ 39473 w 422282"/>
                    <a:gd name="connsiteY12" fmla="*/ 257353 h 1138473"/>
                    <a:gd name="connsiteX13" fmla="*/ 155563 w 422282"/>
                    <a:gd name="connsiteY13" fmla="*/ 148198 h 1138473"/>
                    <a:gd name="connsiteX14" fmla="*/ 168172 w 422282"/>
                    <a:gd name="connsiteY14" fmla="*/ 0 h 1138473"/>
                    <a:gd name="connsiteX15" fmla="*/ 387113 w 422282"/>
                    <a:gd name="connsiteY15" fmla="*/ 6440 h 1138473"/>
                    <a:gd name="connsiteX0" fmla="*/ 387113 w 422282"/>
                    <a:gd name="connsiteY0" fmla="*/ 6440 h 1138473"/>
                    <a:gd name="connsiteX1" fmla="*/ 422282 w 422282"/>
                    <a:gd name="connsiteY1" fmla="*/ 427885 h 1138473"/>
                    <a:gd name="connsiteX2" fmla="*/ 296961 w 422282"/>
                    <a:gd name="connsiteY2" fmla="*/ 850006 h 1138473"/>
                    <a:gd name="connsiteX3" fmla="*/ 80992 w 422282"/>
                    <a:gd name="connsiteY3" fmla="*/ 1130459 h 1138473"/>
                    <a:gd name="connsiteX4" fmla="*/ 74552 w 422282"/>
                    <a:gd name="connsiteY4" fmla="*/ 1036795 h 1138473"/>
                    <a:gd name="connsiteX5" fmla="*/ 213204 w 422282"/>
                    <a:gd name="connsiteY5" fmla="*/ 805200 h 1138473"/>
                    <a:gd name="connsiteX6" fmla="*/ 268096 w 422282"/>
                    <a:gd name="connsiteY6" fmla="*/ 540733 h 1138473"/>
                    <a:gd name="connsiteX7" fmla="*/ 206809 w 422282"/>
                    <a:gd name="connsiteY7" fmla="*/ 405685 h 1138473"/>
                    <a:gd name="connsiteX8" fmla="*/ 90899 w 422282"/>
                    <a:gd name="connsiteY8" fmla="*/ 585989 h 1138473"/>
                    <a:gd name="connsiteX9" fmla="*/ 87927 w 422282"/>
                    <a:gd name="connsiteY9" fmla="*/ 657544 h 1138473"/>
                    <a:gd name="connsiteX10" fmla="*/ 4079 w 422282"/>
                    <a:gd name="connsiteY10" fmla="*/ 657544 h 1138473"/>
                    <a:gd name="connsiteX11" fmla="*/ 10159 w 422282"/>
                    <a:gd name="connsiteY11" fmla="*/ 431622 h 1138473"/>
                    <a:gd name="connsiteX12" fmla="*/ 39473 w 422282"/>
                    <a:gd name="connsiteY12" fmla="*/ 257353 h 1138473"/>
                    <a:gd name="connsiteX13" fmla="*/ 155563 w 422282"/>
                    <a:gd name="connsiteY13" fmla="*/ 148198 h 1138473"/>
                    <a:gd name="connsiteX14" fmla="*/ 168172 w 422282"/>
                    <a:gd name="connsiteY14" fmla="*/ 0 h 1138473"/>
                    <a:gd name="connsiteX15" fmla="*/ 387113 w 422282"/>
                    <a:gd name="connsiteY15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85425 w 419780"/>
                    <a:gd name="connsiteY9" fmla="*/ 657544 h 1138473"/>
                    <a:gd name="connsiteX10" fmla="*/ 4774 w 419780"/>
                    <a:gd name="connsiteY10" fmla="*/ 619178 h 1138473"/>
                    <a:gd name="connsiteX11" fmla="*/ 7657 w 419780"/>
                    <a:gd name="connsiteY11" fmla="*/ 431622 h 1138473"/>
                    <a:gd name="connsiteX12" fmla="*/ 36971 w 419780"/>
                    <a:gd name="connsiteY12" fmla="*/ 257353 h 1138473"/>
                    <a:gd name="connsiteX13" fmla="*/ 153061 w 419780"/>
                    <a:gd name="connsiteY13" fmla="*/ 148198 h 1138473"/>
                    <a:gd name="connsiteX14" fmla="*/ 165670 w 419780"/>
                    <a:gd name="connsiteY14" fmla="*/ 0 h 1138473"/>
                    <a:gd name="connsiteX15" fmla="*/ 384611 w 419780"/>
                    <a:gd name="connsiteY15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62231 w 419780"/>
                    <a:gd name="connsiteY0" fmla="*/ 0 h 1279104"/>
                    <a:gd name="connsiteX1" fmla="*/ 419780 w 419780"/>
                    <a:gd name="connsiteY1" fmla="*/ 568516 h 1279104"/>
                    <a:gd name="connsiteX2" fmla="*/ 294459 w 419780"/>
                    <a:gd name="connsiteY2" fmla="*/ 990637 h 1279104"/>
                    <a:gd name="connsiteX3" fmla="*/ 78490 w 419780"/>
                    <a:gd name="connsiteY3" fmla="*/ 1271090 h 1279104"/>
                    <a:gd name="connsiteX4" fmla="*/ 72050 w 419780"/>
                    <a:gd name="connsiteY4" fmla="*/ 1177426 h 1279104"/>
                    <a:gd name="connsiteX5" fmla="*/ 210702 w 419780"/>
                    <a:gd name="connsiteY5" fmla="*/ 945831 h 1279104"/>
                    <a:gd name="connsiteX6" fmla="*/ 265594 w 419780"/>
                    <a:gd name="connsiteY6" fmla="*/ 681364 h 1279104"/>
                    <a:gd name="connsiteX7" fmla="*/ 204307 w 419780"/>
                    <a:gd name="connsiteY7" fmla="*/ 546316 h 1279104"/>
                    <a:gd name="connsiteX8" fmla="*/ 88397 w 419780"/>
                    <a:gd name="connsiteY8" fmla="*/ 726620 h 1279104"/>
                    <a:gd name="connsiteX9" fmla="*/ 4774 w 419780"/>
                    <a:gd name="connsiteY9" fmla="*/ 759809 h 1279104"/>
                    <a:gd name="connsiteX10" fmla="*/ 7657 w 419780"/>
                    <a:gd name="connsiteY10" fmla="*/ 572253 h 1279104"/>
                    <a:gd name="connsiteX11" fmla="*/ 36971 w 419780"/>
                    <a:gd name="connsiteY11" fmla="*/ 397984 h 1279104"/>
                    <a:gd name="connsiteX12" fmla="*/ 153061 w 419780"/>
                    <a:gd name="connsiteY12" fmla="*/ 288829 h 1279104"/>
                    <a:gd name="connsiteX13" fmla="*/ 165670 w 419780"/>
                    <a:gd name="connsiteY13" fmla="*/ 140631 h 1279104"/>
                    <a:gd name="connsiteX14" fmla="*/ 362231 w 419780"/>
                    <a:gd name="connsiteY14" fmla="*/ 0 h 1279104"/>
                    <a:gd name="connsiteX0" fmla="*/ 362231 w 419780"/>
                    <a:gd name="connsiteY0" fmla="*/ 5392 h 1284496"/>
                    <a:gd name="connsiteX1" fmla="*/ 419780 w 419780"/>
                    <a:gd name="connsiteY1" fmla="*/ 573908 h 1284496"/>
                    <a:gd name="connsiteX2" fmla="*/ 294459 w 419780"/>
                    <a:gd name="connsiteY2" fmla="*/ 996029 h 1284496"/>
                    <a:gd name="connsiteX3" fmla="*/ 78490 w 419780"/>
                    <a:gd name="connsiteY3" fmla="*/ 1276482 h 1284496"/>
                    <a:gd name="connsiteX4" fmla="*/ 72050 w 419780"/>
                    <a:gd name="connsiteY4" fmla="*/ 1182818 h 1284496"/>
                    <a:gd name="connsiteX5" fmla="*/ 210702 w 419780"/>
                    <a:gd name="connsiteY5" fmla="*/ 951223 h 1284496"/>
                    <a:gd name="connsiteX6" fmla="*/ 265594 w 419780"/>
                    <a:gd name="connsiteY6" fmla="*/ 686756 h 1284496"/>
                    <a:gd name="connsiteX7" fmla="*/ 204307 w 419780"/>
                    <a:gd name="connsiteY7" fmla="*/ 551708 h 1284496"/>
                    <a:gd name="connsiteX8" fmla="*/ 88397 w 419780"/>
                    <a:gd name="connsiteY8" fmla="*/ 732012 h 1284496"/>
                    <a:gd name="connsiteX9" fmla="*/ 4774 w 419780"/>
                    <a:gd name="connsiteY9" fmla="*/ 765201 h 1284496"/>
                    <a:gd name="connsiteX10" fmla="*/ 7657 w 419780"/>
                    <a:gd name="connsiteY10" fmla="*/ 577645 h 1284496"/>
                    <a:gd name="connsiteX11" fmla="*/ 36971 w 419780"/>
                    <a:gd name="connsiteY11" fmla="*/ 403376 h 1284496"/>
                    <a:gd name="connsiteX12" fmla="*/ 153061 w 419780"/>
                    <a:gd name="connsiteY12" fmla="*/ 294221 h 1284496"/>
                    <a:gd name="connsiteX13" fmla="*/ 362231 w 419780"/>
                    <a:gd name="connsiteY13" fmla="*/ 5392 h 1284496"/>
                    <a:gd name="connsiteX0" fmla="*/ 362231 w 419780"/>
                    <a:gd name="connsiteY0" fmla="*/ 13954 h 1293058"/>
                    <a:gd name="connsiteX1" fmla="*/ 419780 w 419780"/>
                    <a:gd name="connsiteY1" fmla="*/ 582470 h 1293058"/>
                    <a:gd name="connsiteX2" fmla="*/ 294459 w 419780"/>
                    <a:gd name="connsiteY2" fmla="*/ 1004591 h 1293058"/>
                    <a:gd name="connsiteX3" fmla="*/ 78490 w 419780"/>
                    <a:gd name="connsiteY3" fmla="*/ 1285044 h 1293058"/>
                    <a:gd name="connsiteX4" fmla="*/ 72050 w 419780"/>
                    <a:gd name="connsiteY4" fmla="*/ 1191380 h 1293058"/>
                    <a:gd name="connsiteX5" fmla="*/ 210702 w 419780"/>
                    <a:gd name="connsiteY5" fmla="*/ 959785 h 1293058"/>
                    <a:gd name="connsiteX6" fmla="*/ 265594 w 419780"/>
                    <a:gd name="connsiteY6" fmla="*/ 695318 h 1293058"/>
                    <a:gd name="connsiteX7" fmla="*/ 204307 w 419780"/>
                    <a:gd name="connsiteY7" fmla="*/ 560270 h 1293058"/>
                    <a:gd name="connsiteX8" fmla="*/ 88397 w 419780"/>
                    <a:gd name="connsiteY8" fmla="*/ 740574 h 1293058"/>
                    <a:gd name="connsiteX9" fmla="*/ 4774 w 419780"/>
                    <a:gd name="connsiteY9" fmla="*/ 773763 h 1293058"/>
                    <a:gd name="connsiteX10" fmla="*/ 7657 w 419780"/>
                    <a:gd name="connsiteY10" fmla="*/ 586207 h 1293058"/>
                    <a:gd name="connsiteX11" fmla="*/ 36971 w 419780"/>
                    <a:gd name="connsiteY11" fmla="*/ 411938 h 1293058"/>
                    <a:gd name="connsiteX12" fmla="*/ 153061 w 419780"/>
                    <a:gd name="connsiteY12" fmla="*/ 302783 h 1293058"/>
                    <a:gd name="connsiteX13" fmla="*/ 225787 w 419780"/>
                    <a:gd name="connsiteY13" fmla="*/ 184665 h 1293058"/>
                    <a:gd name="connsiteX14" fmla="*/ 362231 w 419780"/>
                    <a:gd name="connsiteY14" fmla="*/ 13954 h 1293058"/>
                    <a:gd name="connsiteX0" fmla="*/ 362231 w 419780"/>
                    <a:gd name="connsiteY0" fmla="*/ 55836 h 1334940"/>
                    <a:gd name="connsiteX1" fmla="*/ 419780 w 419780"/>
                    <a:gd name="connsiteY1" fmla="*/ 624352 h 1334940"/>
                    <a:gd name="connsiteX2" fmla="*/ 294459 w 419780"/>
                    <a:gd name="connsiteY2" fmla="*/ 1046473 h 1334940"/>
                    <a:gd name="connsiteX3" fmla="*/ 78490 w 419780"/>
                    <a:gd name="connsiteY3" fmla="*/ 1326926 h 1334940"/>
                    <a:gd name="connsiteX4" fmla="*/ 72050 w 419780"/>
                    <a:gd name="connsiteY4" fmla="*/ 1233262 h 1334940"/>
                    <a:gd name="connsiteX5" fmla="*/ 210702 w 419780"/>
                    <a:gd name="connsiteY5" fmla="*/ 1001667 h 1334940"/>
                    <a:gd name="connsiteX6" fmla="*/ 265594 w 419780"/>
                    <a:gd name="connsiteY6" fmla="*/ 737200 h 1334940"/>
                    <a:gd name="connsiteX7" fmla="*/ 204307 w 419780"/>
                    <a:gd name="connsiteY7" fmla="*/ 602152 h 1334940"/>
                    <a:gd name="connsiteX8" fmla="*/ 88397 w 419780"/>
                    <a:gd name="connsiteY8" fmla="*/ 782456 h 1334940"/>
                    <a:gd name="connsiteX9" fmla="*/ 4774 w 419780"/>
                    <a:gd name="connsiteY9" fmla="*/ 815645 h 1334940"/>
                    <a:gd name="connsiteX10" fmla="*/ 7657 w 419780"/>
                    <a:gd name="connsiteY10" fmla="*/ 628089 h 1334940"/>
                    <a:gd name="connsiteX11" fmla="*/ 36971 w 419780"/>
                    <a:gd name="connsiteY11" fmla="*/ 453820 h 1334940"/>
                    <a:gd name="connsiteX12" fmla="*/ 153061 w 419780"/>
                    <a:gd name="connsiteY12" fmla="*/ 344665 h 1334940"/>
                    <a:gd name="connsiteX13" fmla="*/ 126673 w 419780"/>
                    <a:gd name="connsiteY13" fmla="*/ 31517 h 1334940"/>
                    <a:gd name="connsiteX14" fmla="*/ 362231 w 419780"/>
                    <a:gd name="connsiteY14" fmla="*/ 55836 h 1334940"/>
                    <a:gd name="connsiteX0" fmla="*/ 362231 w 419780"/>
                    <a:gd name="connsiteY0" fmla="*/ 55836 h 1334940"/>
                    <a:gd name="connsiteX1" fmla="*/ 419780 w 419780"/>
                    <a:gd name="connsiteY1" fmla="*/ 624352 h 1334940"/>
                    <a:gd name="connsiteX2" fmla="*/ 294459 w 419780"/>
                    <a:gd name="connsiteY2" fmla="*/ 1046473 h 1334940"/>
                    <a:gd name="connsiteX3" fmla="*/ 78490 w 419780"/>
                    <a:gd name="connsiteY3" fmla="*/ 1326926 h 1334940"/>
                    <a:gd name="connsiteX4" fmla="*/ 72050 w 419780"/>
                    <a:gd name="connsiteY4" fmla="*/ 1233262 h 1334940"/>
                    <a:gd name="connsiteX5" fmla="*/ 210702 w 419780"/>
                    <a:gd name="connsiteY5" fmla="*/ 1001667 h 1334940"/>
                    <a:gd name="connsiteX6" fmla="*/ 265594 w 419780"/>
                    <a:gd name="connsiteY6" fmla="*/ 737200 h 1334940"/>
                    <a:gd name="connsiteX7" fmla="*/ 204307 w 419780"/>
                    <a:gd name="connsiteY7" fmla="*/ 602152 h 1334940"/>
                    <a:gd name="connsiteX8" fmla="*/ 88397 w 419780"/>
                    <a:gd name="connsiteY8" fmla="*/ 782456 h 1334940"/>
                    <a:gd name="connsiteX9" fmla="*/ 4774 w 419780"/>
                    <a:gd name="connsiteY9" fmla="*/ 815645 h 1334940"/>
                    <a:gd name="connsiteX10" fmla="*/ 7657 w 419780"/>
                    <a:gd name="connsiteY10" fmla="*/ 628089 h 1334940"/>
                    <a:gd name="connsiteX11" fmla="*/ 36971 w 419780"/>
                    <a:gd name="connsiteY11" fmla="*/ 453820 h 1334940"/>
                    <a:gd name="connsiteX12" fmla="*/ 146667 w 419780"/>
                    <a:gd name="connsiteY12" fmla="*/ 325482 h 1334940"/>
                    <a:gd name="connsiteX13" fmla="*/ 126673 w 419780"/>
                    <a:gd name="connsiteY13" fmla="*/ 31517 h 1334940"/>
                    <a:gd name="connsiteX14" fmla="*/ 362231 w 419780"/>
                    <a:gd name="connsiteY14" fmla="*/ 55836 h 13349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19780" h="1334940">
                      <a:moveTo>
                        <a:pt x="362231" y="55836"/>
                      </a:moveTo>
                      <a:lnTo>
                        <a:pt x="419780" y="624352"/>
                      </a:lnTo>
                      <a:lnTo>
                        <a:pt x="294459" y="1046473"/>
                      </a:lnTo>
                      <a:lnTo>
                        <a:pt x="78490" y="1326926"/>
                      </a:lnTo>
                      <a:cubicBezTo>
                        <a:pt x="35560" y="1359123"/>
                        <a:pt x="50015" y="1287472"/>
                        <a:pt x="72050" y="1233262"/>
                      </a:cubicBezTo>
                      <a:cubicBezTo>
                        <a:pt x="94085" y="1179052"/>
                        <a:pt x="169919" y="1089673"/>
                        <a:pt x="210702" y="1001667"/>
                      </a:cubicBezTo>
                      <a:lnTo>
                        <a:pt x="265594" y="737200"/>
                      </a:lnTo>
                      <a:cubicBezTo>
                        <a:pt x="265594" y="664220"/>
                        <a:pt x="233840" y="594609"/>
                        <a:pt x="204307" y="602152"/>
                      </a:cubicBezTo>
                      <a:cubicBezTo>
                        <a:pt x="174774" y="609695"/>
                        <a:pt x="102349" y="723428"/>
                        <a:pt x="88397" y="782456"/>
                      </a:cubicBezTo>
                      <a:cubicBezTo>
                        <a:pt x="54129" y="921407"/>
                        <a:pt x="13465" y="865329"/>
                        <a:pt x="4774" y="815645"/>
                      </a:cubicBezTo>
                      <a:cubicBezTo>
                        <a:pt x="-4923" y="748864"/>
                        <a:pt x="2291" y="688393"/>
                        <a:pt x="7657" y="628089"/>
                      </a:cubicBezTo>
                      <a:cubicBezTo>
                        <a:pt x="13023" y="567785"/>
                        <a:pt x="13803" y="504254"/>
                        <a:pt x="36971" y="453820"/>
                      </a:cubicBezTo>
                      <a:cubicBezTo>
                        <a:pt x="60139" y="403386"/>
                        <a:pt x="131717" y="395866"/>
                        <a:pt x="146667" y="325482"/>
                      </a:cubicBezTo>
                      <a:cubicBezTo>
                        <a:pt x="161617" y="255098"/>
                        <a:pt x="91811" y="79655"/>
                        <a:pt x="126673" y="31517"/>
                      </a:cubicBezTo>
                      <a:cubicBezTo>
                        <a:pt x="161535" y="-16621"/>
                        <a:pt x="329899" y="-10465"/>
                        <a:pt x="362231" y="55836"/>
                      </a:cubicBez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</p:grpSp>
          <p:sp>
            <p:nvSpPr>
              <p:cNvPr id="1470" name="Freeform 1469"/>
              <p:cNvSpPr/>
              <p:nvPr/>
            </p:nvSpPr>
            <p:spPr>
              <a:xfrm rot="853149" flipH="1">
                <a:off x="7787210" y="1531724"/>
                <a:ext cx="508913" cy="1026057"/>
              </a:xfrm>
              <a:custGeom>
                <a:avLst/>
                <a:gdLst>
                  <a:gd name="connsiteX0" fmla="*/ 328773 w 585627"/>
                  <a:gd name="connsiteY0" fmla="*/ 0 h 1089061"/>
                  <a:gd name="connsiteX1" fmla="*/ 0 w 585627"/>
                  <a:gd name="connsiteY1" fmla="*/ 976045 h 1089061"/>
                  <a:gd name="connsiteX2" fmla="*/ 256854 w 585627"/>
                  <a:gd name="connsiteY2" fmla="*/ 1089061 h 1089061"/>
                  <a:gd name="connsiteX3" fmla="*/ 585627 w 585627"/>
                  <a:gd name="connsiteY3" fmla="*/ 472612 h 1089061"/>
                  <a:gd name="connsiteX4" fmla="*/ 328773 w 585627"/>
                  <a:gd name="connsiteY4" fmla="*/ 0 h 1089061"/>
                  <a:gd name="connsiteX0" fmla="*/ 328773 w 586224"/>
                  <a:gd name="connsiteY0" fmla="*/ 12060 h 1101121"/>
                  <a:gd name="connsiteX1" fmla="*/ 0 w 586224"/>
                  <a:gd name="connsiteY1" fmla="*/ 988105 h 1101121"/>
                  <a:gd name="connsiteX2" fmla="*/ 256854 w 586224"/>
                  <a:gd name="connsiteY2" fmla="*/ 1101121 h 1101121"/>
                  <a:gd name="connsiteX3" fmla="*/ 585627 w 586224"/>
                  <a:gd name="connsiteY3" fmla="*/ 484672 h 1101121"/>
                  <a:gd name="connsiteX4" fmla="*/ 328773 w 586224"/>
                  <a:gd name="connsiteY4" fmla="*/ 12060 h 1101121"/>
                  <a:gd name="connsiteX0" fmla="*/ 328773 w 586224"/>
                  <a:gd name="connsiteY0" fmla="*/ 12060 h 1101121"/>
                  <a:gd name="connsiteX1" fmla="*/ 0 w 586224"/>
                  <a:gd name="connsiteY1" fmla="*/ 988105 h 1101121"/>
                  <a:gd name="connsiteX2" fmla="*/ 113015 w 586224"/>
                  <a:gd name="connsiteY2" fmla="*/ 1050422 h 1101121"/>
                  <a:gd name="connsiteX3" fmla="*/ 256854 w 586224"/>
                  <a:gd name="connsiteY3" fmla="*/ 1101121 h 1101121"/>
                  <a:gd name="connsiteX4" fmla="*/ 585627 w 586224"/>
                  <a:gd name="connsiteY4" fmla="*/ 484672 h 1101121"/>
                  <a:gd name="connsiteX5" fmla="*/ 328773 w 586224"/>
                  <a:gd name="connsiteY5" fmla="*/ 12060 h 1101121"/>
                  <a:gd name="connsiteX0" fmla="*/ 329370 w 586821"/>
                  <a:gd name="connsiteY0" fmla="*/ 12060 h 1150093"/>
                  <a:gd name="connsiteX1" fmla="*/ 597 w 586821"/>
                  <a:gd name="connsiteY1" fmla="*/ 988105 h 1150093"/>
                  <a:gd name="connsiteX2" fmla="*/ 257451 w 586821"/>
                  <a:gd name="connsiteY2" fmla="*/ 1101121 h 1150093"/>
                  <a:gd name="connsiteX3" fmla="*/ 586224 w 586821"/>
                  <a:gd name="connsiteY3" fmla="*/ 484672 h 1150093"/>
                  <a:gd name="connsiteX4" fmla="*/ 329370 w 586821"/>
                  <a:gd name="connsiteY4" fmla="*/ 12060 h 1150093"/>
                  <a:gd name="connsiteX0" fmla="*/ 329370 w 621664"/>
                  <a:gd name="connsiteY0" fmla="*/ 13433 h 1151466"/>
                  <a:gd name="connsiteX1" fmla="*/ 597 w 621664"/>
                  <a:gd name="connsiteY1" fmla="*/ 989478 h 1151466"/>
                  <a:gd name="connsiteX2" fmla="*/ 257451 w 621664"/>
                  <a:gd name="connsiteY2" fmla="*/ 1102494 h 1151466"/>
                  <a:gd name="connsiteX3" fmla="*/ 586224 w 621664"/>
                  <a:gd name="connsiteY3" fmla="*/ 486045 h 1151466"/>
                  <a:gd name="connsiteX4" fmla="*/ 329370 w 621664"/>
                  <a:gd name="connsiteY4" fmla="*/ 13433 h 1151466"/>
                  <a:gd name="connsiteX0" fmla="*/ 269994 w 617120"/>
                  <a:gd name="connsiteY0" fmla="*/ 21041 h 1010632"/>
                  <a:gd name="connsiteX1" fmla="*/ 597 w 617120"/>
                  <a:gd name="connsiteY1" fmla="*/ 848644 h 1010632"/>
                  <a:gd name="connsiteX2" fmla="*/ 257451 w 617120"/>
                  <a:gd name="connsiteY2" fmla="*/ 961660 h 1010632"/>
                  <a:gd name="connsiteX3" fmla="*/ 586224 w 617120"/>
                  <a:gd name="connsiteY3" fmla="*/ 345211 h 1010632"/>
                  <a:gd name="connsiteX4" fmla="*/ 269994 w 617120"/>
                  <a:gd name="connsiteY4" fmla="*/ 21041 h 1010632"/>
                  <a:gd name="connsiteX0" fmla="*/ 269994 w 619954"/>
                  <a:gd name="connsiteY0" fmla="*/ 99624 h 1089215"/>
                  <a:gd name="connsiteX1" fmla="*/ 597 w 619954"/>
                  <a:gd name="connsiteY1" fmla="*/ 927227 h 1089215"/>
                  <a:gd name="connsiteX2" fmla="*/ 257451 w 619954"/>
                  <a:gd name="connsiteY2" fmla="*/ 1040243 h 1089215"/>
                  <a:gd name="connsiteX3" fmla="*/ 586224 w 619954"/>
                  <a:gd name="connsiteY3" fmla="*/ 423794 h 1089215"/>
                  <a:gd name="connsiteX4" fmla="*/ 269994 w 619954"/>
                  <a:gd name="connsiteY4" fmla="*/ 99624 h 1089215"/>
                  <a:gd name="connsiteX0" fmla="*/ 269994 w 513364"/>
                  <a:gd name="connsiteY0" fmla="*/ 91146 h 1080737"/>
                  <a:gd name="connsiteX1" fmla="*/ 597 w 513364"/>
                  <a:gd name="connsiteY1" fmla="*/ 918749 h 1080737"/>
                  <a:gd name="connsiteX2" fmla="*/ 257451 w 513364"/>
                  <a:gd name="connsiteY2" fmla="*/ 1031765 h 1080737"/>
                  <a:gd name="connsiteX3" fmla="*/ 466817 w 513364"/>
                  <a:gd name="connsiteY3" fmla="*/ 473133 h 1080737"/>
                  <a:gd name="connsiteX4" fmla="*/ 269994 w 513364"/>
                  <a:gd name="connsiteY4" fmla="*/ 91146 h 1080737"/>
                  <a:gd name="connsiteX0" fmla="*/ 270128 w 513498"/>
                  <a:gd name="connsiteY0" fmla="*/ 91146 h 1154890"/>
                  <a:gd name="connsiteX1" fmla="*/ 731 w 513498"/>
                  <a:gd name="connsiteY1" fmla="*/ 918749 h 1154890"/>
                  <a:gd name="connsiteX2" fmla="*/ 224250 w 513498"/>
                  <a:gd name="connsiteY2" fmla="*/ 1126262 h 1154890"/>
                  <a:gd name="connsiteX3" fmla="*/ 466951 w 513498"/>
                  <a:gd name="connsiteY3" fmla="*/ 473133 h 1154890"/>
                  <a:gd name="connsiteX4" fmla="*/ 270128 w 513498"/>
                  <a:gd name="connsiteY4" fmla="*/ 91146 h 1154890"/>
                  <a:gd name="connsiteX0" fmla="*/ 265543 w 508913"/>
                  <a:gd name="connsiteY0" fmla="*/ 91146 h 1174234"/>
                  <a:gd name="connsiteX1" fmla="*/ 755 w 508913"/>
                  <a:gd name="connsiteY1" fmla="*/ 1010046 h 1174234"/>
                  <a:gd name="connsiteX2" fmla="*/ 219665 w 508913"/>
                  <a:gd name="connsiteY2" fmla="*/ 1126262 h 1174234"/>
                  <a:gd name="connsiteX3" fmla="*/ 462366 w 508913"/>
                  <a:gd name="connsiteY3" fmla="*/ 473133 h 1174234"/>
                  <a:gd name="connsiteX4" fmla="*/ 265543 w 508913"/>
                  <a:gd name="connsiteY4" fmla="*/ 91146 h 11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913" h="1174234">
                    <a:moveTo>
                      <a:pt x="265543" y="91146"/>
                    </a:moveTo>
                    <a:lnTo>
                      <a:pt x="755" y="1010046"/>
                    </a:lnTo>
                    <a:cubicBezTo>
                      <a:pt x="-11231" y="1191556"/>
                      <a:pt x="122061" y="1210167"/>
                      <a:pt x="219665" y="1126262"/>
                    </a:cubicBezTo>
                    <a:cubicBezTo>
                      <a:pt x="289454" y="940051"/>
                      <a:pt x="392577" y="659344"/>
                      <a:pt x="462366" y="473133"/>
                    </a:cubicBezTo>
                    <a:cubicBezTo>
                      <a:pt x="599043" y="244121"/>
                      <a:pt x="404711" y="-188702"/>
                      <a:pt x="265543" y="91146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1" name="Rounded Rectangle 136"/>
              <p:cNvSpPr/>
              <p:nvPr/>
            </p:nvSpPr>
            <p:spPr>
              <a:xfrm rot="15983424">
                <a:off x="7641858" y="2670690"/>
                <a:ext cx="926680" cy="258802"/>
              </a:xfrm>
              <a:custGeom>
                <a:avLst/>
                <a:gdLst>
                  <a:gd name="connsiteX0" fmla="*/ 0 w 834013"/>
                  <a:gd name="connsiteY0" fmla="*/ 122474 h 244948"/>
                  <a:gd name="connsiteX1" fmla="*/ 122474 w 834013"/>
                  <a:gd name="connsiteY1" fmla="*/ 0 h 244948"/>
                  <a:gd name="connsiteX2" fmla="*/ 711539 w 834013"/>
                  <a:gd name="connsiteY2" fmla="*/ 0 h 244948"/>
                  <a:gd name="connsiteX3" fmla="*/ 834013 w 834013"/>
                  <a:gd name="connsiteY3" fmla="*/ 122474 h 244948"/>
                  <a:gd name="connsiteX4" fmla="*/ 834013 w 834013"/>
                  <a:gd name="connsiteY4" fmla="*/ 122474 h 244948"/>
                  <a:gd name="connsiteX5" fmla="*/ 711539 w 834013"/>
                  <a:gd name="connsiteY5" fmla="*/ 244948 h 244948"/>
                  <a:gd name="connsiteX6" fmla="*/ 122474 w 834013"/>
                  <a:gd name="connsiteY6" fmla="*/ 244948 h 244948"/>
                  <a:gd name="connsiteX7" fmla="*/ 0 w 834013"/>
                  <a:gd name="connsiteY7" fmla="*/ 122474 h 244948"/>
                  <a:gd name="connsiteX0" fmla="*/ 3 w 834016"/>
                  <a:gd name="connsiteY0" fmla="*/ 122474 h 244948"/>
                  <a:gd name="connsiteX1" fmla="*/ 119402 w 834016"/>
                  <a:gd name="connsiteY1" fmla="*/ 71930 h 244948"/>
                  <a:gd name="connsiteX2" fmla="*/ 711542 w 834016"/>
                  <a:gd name="connsiteY2" fmla="*/ 0 h 244948"/>
                  <a:gd name="connsiteX3" fmla="*/ 834016 w 834016"/>
                  <a:gd name="connsiteY3" fmla="*/ 122474 h 244948"/>
                  <a:gd name="connsiteX4" fmla="*/ 834016 w 834016"/>
                  <a:gd name="connsiteY4" fmla="*/ 122474 h 244948"/>
                  <a:gd name="connsiteX5" fmla="*/ 711542 w 834016"/>
                  <a:gd name="connsiteY5" fmla="*/ 244948 h 244948"/>
                  <a:gd name="connsiteX6" fmla="*/ 122477 w 834016"/>
                  <a:gd name="connsiteY6" fmla="*/ 244948 h 244948"/>
                  <a:gd name="connsiteX7" fmla="*/ 3 w 834016"/>
                  <a:gd name="connsiteY7" fmla="*/ 122474 h 244948"/>
                  <a:gd name="connsiteX0" fmla="*/ 75378 w 786917"/>
                  <a:gd name="connsiteY0" fmla="*/ 244948 h 244948"/>
                  <a:gd name="connsiteX1" fmla="*/ 72303 w 786917"/>
                  <a:gd name="connsiteY1" fmla="*/ 71930 h 244948"/>
                  <a:gd name="connsiteX2" fmla="*/ 664443 w 786917"/>
                  <a:gd name="connsiteY2" fmla="*/ 0 h 244948"/>
                  <a:gd name="connsiteX3" fmla="*/ 786917 w 786917"/>
                  <a:gd name="connsiteY3" fmla="*/ 122474 h 244948"/>
                  <a:gd name="connsiteX4" fmla="*/ 786917 w 786917"/>
                  <a:gd name="connsiteY4" fmla="*/ 122474 h 244948"/>
                  <a:gd name="connsiteX5" fmla="*/ 664443 w 786917"/>
                  <a:gd name="connsiteY5" fmla="*/ 244948 h 244948"/>
                  <a:gd name="connsiteX6" fmla="*/ 75378 w 786917"/>
                  <a:gd name="connsiteY6" fmla="*/ 244948 h 244948"/>
                  <a:gd name="connsiteX0" fmla="*/ 62588 w 774127"/>
                  <a:gd name="connsiteY0" fmla="*/ 244948 h 244948"/>
                  <a:gd name="connsiteX1" fmla="*/ 59513 w 774127"/>
                  <a:gd name="connsiteY1" fmla="*/ 71930 h 244948"/>
                  <a:gd name="connsiteX2" fmla="*/ 651653 w 774127"/>
                  <a:gd name="connsiteY2" fmla="*/ 0 h 244948"/>
                  <a:gd name="connsiteX3" fmla="*/ 774127 w 774127"/>
                  <a:gd name="connsiteY3" fmla="*/ 122474 h 244948"/>
                  <a:gd name="connsiteX4" fmla="*/ 774127 w 774127"/>
                  <a:gd name="connsiteY4" fmla="*/ 122474 h 244948"/>
                  <a:gd name="connsiteX5" fmla="*/ 651653 w 774127"/>
                  <a:gd name="connsiteY5" fmla="*/ 244948 h 244948"/>
                  <a:gd name="connsiteX6" fmla="*/ 62588 w 774127"/>
                  <a:gd name="connsiteY6" fmla="*/ 244948 h 244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127" h="244948">
                    <a:moveTo>
                      <a:pt x="62588" y="244948"/>
                    </a:moveTo>
                    <a:cubicBezTo>
                      <a:pt x="-36102" y="216112"/>
                      <a:pt x="-3249" y="133869"/>
                      <a:pt x="59513" y="71930"/>
                    </a:cubicBezTo>
                    <a:cubicBezTo>
                      <a:pt x="255868" y="71930"/>
                      <a:pt x="455298" y="0"/>
                      <a:pt x="651653" y="0"/>
                    </a:cubicBezTo>
                    <a:cubicBezTo>
                      <a:pt x="719294" y="0"/>
                      <a:pt x="774127" y="54833"/>
                      <a:pt x="774127" y="122474"/>
                    </a:cubicBezTo>
                    <a:lnTo>
                      <a:pt x="774127" y="122474"/>
                    </a:lnTo>
                    <a:cubicBezTo>
                      <a:pt x="774127" y="190115"/>
                      <a:pt x="719294" y="244948"/>
                      <a:pt x="651653" y="244948"/>
                    </a:cubicBezTo>
                    <a:lnTo>
                      <a:pt x="62588" y="24494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90" name="Group 1389"/>
            <p:cNvGrpSpPr/>
            <p:nvPr/>
          </p:nvGrpSpPr>
          <p:grpSpPr>
            <a:xfrm>
              <a:off x="6591918" y="414370"/>
              <a:ext cx="1520479" cy="5843289"/>
              <a:chOff x="6591918" y="414370"/>
              <a:chExt cx="1520479" cy="5843289"/>
            </a:xfrm>
          </p:grpSpPr>
          <p:sp>
            <p:nvSpPr>
              <p:cNvPr id="1391" name="Freeform 1390"/>
              <p:cNvSpPr/>
              <p:nvPr/>
            </p:nvSpPr>
            <p:spPr>
              <a:xfrm>
                <a:off x="7252474" y="1294377"/>
                <a:ext cx="550962" cy="247392"/>
              </a:xfrm>
              <a:custGeom>
                <a:avLst/>
                <a:gdLst>
                  <a:gd name="connsiteX0" fmla="*/ 0 w 549460"/>
                  <a:gd name="connsiteY0" fmla="*/ 0 h 196822"/>
                  <a:gd name="connsiteX1" fmla="*/ 549460 w 549460"/>
                  <a:gd name="connsiteY1" fmla="*/ 4101 h 196822"/>
                  <a:gd name="connsiteX2" fmla="*/ 512556 w 549460"/>
                  <a:gd name="connsiteY2" fmla="*/ 196822 h 196822"/>
                  <a:gd name="connsiteX3" fmla="*/ 45105 w 549460"/>
                  <a:gd name="connsiteY3" fmla="*/ 196822 h 196822"/>
                  <a:gd name="connsiteX4" fmla="*/ 0 w 549460"/>
                  <a:gd name="connsiteY4" fmla="*/ 0 h 196822"/>
                  <a:gd name="connsiteX0" fmla="*/ 1785 w 551245"/>
                  <a:gd name="connsiteY0" fmla="*/ 36596 h 233418"/>
                  <a:gd name="connsiteX1" fmla="*/ 551245 w 551245"/>
                  <a:gd name="connsiteY1" fmla="*/ 40697 h 233418"/>
                  <a:gd name="connsiteX2" fmla="*/ 514341 w 551245"/>
                  <a:gd name="connsiteY2" fmla="*/ 233418 h 233418"/>
                  <a:gd name="connsiteX3" fmla="*/ 46890 w 551245"/>
                  <a:gd name="connsiteY3" fmla="*/ 233418 h 233418"/>
                  <a:gd name="connsiteX4" fmla="*/ 1785 w 551245"/>
                  <a:gd name="connsiteY4" fmla="*/ 36596 h 233418"/>
                  <a:gd name="connsiteX0" fmla="*/ 1193 w 551650"/>
                  <a:gd name="connsiteY0" fmla="*/ 58995 h 255817"/>
                  <a:gd name="connsiteX1" fmla="*/ 550653 w 551650"/>
                  <a:gd name="connsiteY1" fmla="*/ 63096 h 255817"/>
                  <a:gd name="connsiteX2" fmla="*/ 513749 w 551650"/>
                  <a:gd name="connsiteY2" fmla="*/ 255817 h 255817"/>
                  <a:gd name="connsiteX3" fmla="*/ 46298 w 551650"/>
                  <a:gd name="connsiteY3" fmla="*/ 255817 h 255817"/>
                  <a:gd name="connsiteX4" fmla="*/ 1193 w 551650"/>
                  <a:gd name="connsiteY4" fmla="*/ 58995 h 255817"/>
                  <a:gd name="connsiteX0" fmla="*/ 1219 w 550962"/>
                  <a:gd name="connsiteY0" fmla="*/ 50570 h 247392"/>
                  <a:gd name="connsiteX1" fmla="*/ 550679 w 550962"/>
                  <a:gd name="connsiteY1" fmla="*/ 54671 h 247392"/>
                  <a:gd name="connsiteX2" fmla="*/ 513775 w 550962"/>
                  <a:gd name="connsiteY2" fmla="*/ 247392 h 247392"/>
                  <a:gd name="connsiteX3" fmla="*/ 46324 w 550962"/>
                  <a:gd name="connsiteY3" fmla="*/ 247392 h 247392"/>
                  <a:gd name="connsiteX4" fmla="*/ 1219 w 550962"/>
                  <a:gd name="connsiteY4" fmla="*/ 50570 h 247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0962" h="247392">
                    <a:moveTo>
                      <a:pt x="1219" y="50570"/>
                    </a:moveTo>
                    <a:cubicBezTo>
                      <a:pt x="-30457" y="-33444"/>
                      <a:pt x="565829" y="974"/>
                      <a:pt x="550679" y="54671"/>
                    </a:cubicBezTo>
                    <a:cubicBezTo>
                      <a:pt x="532918" y="117621"/>
                      <a:pt x="526076" y="183152"/>
                      <a:pt x="513775" y="247392"/>
                    </a:cubicBezTo>
                    <a:lnTo>
                      <a:pt x="46324" y="247392"/>
                    </a:lnTo>
                    <a:lnTo>
                      <a:pt x="1219" y="5057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2" name="Freeform 1391"/>
              <p:cNvSpPr/>
              <p:nvPr/>
            </p:nvSpPr>
            <p:spPr>
              <a:xfrm>
                <a:off x="7098393" y="4114800"/>
                <a:ext cx="975253" cy="465221"/>
              </a:xfrm>
              <a:custGeom>
                <a:avLst/>
                <a:gdLst>
                  <a:gd name="connsiteX0" fmla="*/ 974557 w 974557"/>
                  <a:gd name="connsiteY0" fmla="*/ 465221 h 465221"/>
                  <a:gd name="connsiteX1" fmla="*/ 0 w 974557"/>
                  <a:gd name="connsiteY1" fmla="*/ 232611 h 465221"/>
                  <a:gd name="connsiteX2" fmla="*/ 649705 w 974557"/>
                  <a:gd name="connsiteY2" fmla="*/ 0 h 465221"/>
                  <a:gd name="connsiteX3" fmla="*/ 974557 w 974557"/>
                  <a:gd name="connsiteY3" fmla="*/ 465221 h 465221"/>
                  <a:gd name="connsiteX0" fmla="*/ 974557 w 975014"/>
                  <a:gd name="connsiteY0" fmla="*/ 465221 h 465221"/>
                  <a:gd name="connsiteX1" fmla="*/ 0 w 975014"/>
                  <a:gd name="connsiteY1" fmla="*/ 232611 h 465221"/>
                  <a:gd name="connsiteX2" fmla="*/ 649705 w 975014"/>
                  <a:gd name="connsiteY2" fmla="*/ 0 h 465221"/>
                  <a:gd name="connsiteX3" fmla="*/ 974557 w 975014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5253" h="465221">
                    <a:moveTo>
                      <a:pt x="974796" y="465221"/>
                    </a:moveTo>
                    <a:cubicBezTo>
                      <a:pt x="710102" y="455863"/>
                      <a:pt x="734165" y="334211"/>
                      <a:pt x="239" y="232611"/>
                    </a:cubicBezTo>
                    <a:cubicBezTo>
                      <a:pt x="-11793" y="10696"/>
                      <a:pt x="433376" y="77537"/>
                      <a:pt x="649944" y="0"/>
                    </a:cubicBezTo>
                    <a:cubicBezTo>
                      <a:pt x="758228" y="155074"/>
                      <a:pt x="986828" y="161757"/>
                      <a:pt x="974796" y="465221"/>
                    </a:cubicBezTo>
                    <a:close/>
                  </a:path>
                </a:pathLst>
              </a:custGeom>
              <a:solidFill>
                <a:srgbClr val="00206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3" name="Trapezoid 116"/>
              <p:cNvSpPr/>
              <p:nvPr/>
            </p:nvSpPr>
            <p:spPr>
              <a:xfrm flipV="1">
                <a:off x="7014348" y="1301300"/>
                <a:ext cx="1023668" cy="1809523"/>
              </a:xfrm>
              <a:custGeom>
                <a:avLst/>
                <a:gdLst>
                  <a:gd name="connsiteX0" fmla="*/ 0 w 1023668"/>
                  <a:gd name="connsiteY0" fmla="*/ 1782576 h 1782576"/>
                  <a:gd name="connsiteX1" fmla="*/ 255917 w 1023668"/>
                  <a:gd name="connsiteY1" fmla="*/ 0 h 1782576"/>
                  <a:gd name="connsiteX2" fmla="*/ 767751 w 1023668"/>
                  <a:gd name="connsiteY2" fmla="*/ 0 h 1782576"/>
                  <a:gd name="connsiteX3" fmla="*/ 1023668 w 1023668"/>
                  <a:gd name="connsiteY3" fmla="*/ 1782576 h 1782576"/>
                  <a:gd name="connsiteX4" fmla="*/ 0 w 1023668"/>
                  <a:gd name="connsiteY4" fmla="*/ 1782576 h 1782576"/>
                  <a:gd name="connsiteX0" fmla="*/ 0 w 1023668"/>
                  <a:gd name="connsiteY0" fmla="*/ 1782576 h 1782576"/>
                  <a:gd name="connsiteX1" fmla="*/ 255917 w 1023668"/>
                  <a:gd name="connsiteY1" fmla="*/ 0 h 1782576"/>
                  <a:gd name="connsiteX2" fmla="*/ 767751 w 1023668"/>
                  <a:gd name="connsiteY2" fmla="*/ 0 h 1782576"/>
                  <a:gd name="connsiteX3" fmla="*/ 1023668 w 1023668"/>
                  <a:gd name="connsiteY3" fmla="*/ 1782576 h 1782576"/>
                  <a:gd name="connsiteX4" fmla="*/ 0 w 1023668"/>
                  <a:gd name="connsiteY4" fmla="*/ 1782576 h 1782576"/>
                  <a:gd name="connsiteX0" fmla="*/ 0 w 1023668"/>
                  <a:gd name="connsiteY0" fmla="*/ 1782576 h 1926399"/>
                  <a:gd name="connsiteX1" fmla="*/ 255917 w 1023668"/>
                  <a:gd name="connsiteY1" fmla="*/ 0 h 1926399"/>
                  <a:gd name="connsiteX2" fmla="*/ 767751 w 1023668"/>
                  <a:gd name="connsiteY2" fmla="*/ 0 h 1926399"/>
                  <a:gd name="connsiteX3" fmla="*/ 1023668 w 1023668"/>
                  <a:gd name="connsiteY3" fmla="*/ 1782576 h 1926399"/>
                  <a:gd name="connsiteX4" fmla="*/ 0 w 1023668"/>
                  <a:gd name="connsiteY4" fmla="*/ 1782576 h 1926399"/>
                  <a:gd name="connsiteX0" fmla="*/ 0 w 1023668"/>
                  <a:gd name="connsiteY0" fmla="*/ 1782576 h 1848269"/>
                  <a:gd name="connsiteX1" fmla="*/ 255917 w 1023668"/>
                  <a:gd name="connsiteY1" fmla="*/ 0 h 1848269"/>
                  <a:gd name="connsiteX2" fmla="*/ 767751 w 1023668"/>
                  <a:gd name="connsiteY2" fmla="*/ 0 h 1848269"/>
                  <a:gd name="connsiteX3" fmla="*/ 1023668 w 1023668"/>
                  <a:gd name="connsiteY3" fmla="*/ 1782576 h 1848269"/>
                  <a:gd name="connsiteX4" fmla="*/ 0 w 1023668"/>
                  <a:gd name="connsiteY4" fmla="*/ 1782576 h 1848269"/>
                  <a:gd name="connsiteX0" fmla="*/ 0 w 1023668"/>
                  <a:gd name="connsiteY0" fmla="*/ 1782576 h 1863292"/>
                  <a:gd name="connsiteX1" fmla="*/ 255917 w 1023668"/>
                  <a:gd name="connsiteY1" fmla="*/ 0 h 1863292"/>
                  <a:gd name="connsiteX2" fmla="*/ 767751 w 1023668"/>
                  <a:gd name="connsiteY2" fmla="*/ 0 h 1863292"/>
                  <a:gd name="connsiteX3" fmla="*/ 1023668 w 1023668"/>
                  <a:gd name="connsiteY3" fmla="*/ 1782576 h 1863292"/>
                  <a:gd name="connsiteX4" fmla="*/ 0 w 1023668"/>
                  <a:gd name="connsiteY4" fmla="*/ 1782576 h 1863292"/>
                  <a:gd name="connsiteX0" fmla="*/ 0 w 1023668"/>
                  <a:gd name="connsiteY0" fmla="*/ 1782576 h 1939418"/>
                  <a:gd name="connsiteX1" fmla="*/ 255917 w 1023668"/>
                  <a:gd name="connsiteY1" fmla="*/ 0 h 1939418"/>
                  <a:gd name="connsiteX2" fmla="*/ 767751 w 1023668"/>
                  <a:gd name="connsiteY2" fmla="*/ 0 h 1939418"/>
                  <a:gd name="connsiteX3" fmla="*/ 1023668 w 1023668"/>
                  <a:gd name="connsiteY3" fmla="*/ 1782576 h 1939418"/>
                  <a:gd name="connsiteX4" fmla="*/ 354053 w 1023668"/>
                  <a:gd name="connsiteY4" fmla="*/ 1849612 h 1939418"/>
                  <a:gd name="connsiteX5" fmla="*/ 0 w 1023668"/>
                  <a:gd name="connsiteY5" fmla="*/ 1782576 h 1939418"/>
                  <a:gd name="connsiteX0" fmla="*/ 0 w 1023668"/>
                  <a:gd name="connsiteY0" fmla="*/ 1782576 h 1979745"/>
                  <a:gd name="connsiteX1" fmla="*/ 255917 w 1023668"/>
                  <a:gd name="connsiteY1" fmla="*/ 0 h 1979745"/>
                  <a:gd name="connsiteX2" fmla="*/ 767751 w 1023668"/>
                  <a:gd name="connsiteY2" fmla="*/ 0 h 1979745"/>
                  <a:gd name="connsiteX3" fmla="*/ 1023668 w 1023668"/>
                  <a:gd name="connsiteY3" fmla="*/ 1782576 h 1979745"/>
                  <a:gd name="connsiteX4" fmla="*/ 769690 w 1023668"/>
                  <a:gd name="connsiteY4" fmla="*/ 1942360 h 1979745"/>
                  <a:gd name="connsiteX5" fmla="*/ 354053 w 1023668"/>
                  <a:gd name="connsiteY5" fmla="*/ 1849612 h 1979745"/>
                  <a:gd name="connsiteX6" fmla="*/ 0 w 1023668"/>
                  <a:gd name="connsiteY6" fmla="*/ 1782576 h 1979745"/>
                  <a:gd name="connsiteX0" fmla="*/ 0 w 1023668"/>
                  <a:gd name="connsiteY0" fmla="*/ 1782576 h 1979745"/>
                  <a:gd name="connsiteX1" fmla="*/ 255917 w 1023668"/>
                  <a:gd name="connsiteY1" fmla="*/ 0 h 1979745"/>
                  <a:gd name="connsiteX2" fmla="*/ 767751 w 1023668"/>
                  <a:gd name="connsiteY2" fmla="*/ 0 h 1979745"/>
                  <a:gd name="connsiteX3" fmla="*/ 1023668 w 1023668"/>
                  <a:gd name="connsiteY3" fmla="*/ 1782576 h 1979745"/>
                  <a:gd name="connsiteX4" fmla="*/ 769690 w 1023668"/>
                  <a:gd name="connsiteY4" fmla="*/ 1942360 h 1979745"/>
                  <a:gd name="connsiteX5" fmla="*/ 354053 w 1023668"/>
                  <a:gd name="connsiteY5" fmla="*/ 1849612 h 1979745"/>
                  <a:gd name="connsiteX6" fmla="*/ 0 w 1023668"/>
                  <a:gd name="connsiteY6" fmla="*/ 1782576 h 1979745"/>
                  <a:gd name="connsiteX0" fmla="*/ 0 w 1023668"/>
                  <a:gd name="connsiteY0" fmla="*/ 1782576 h 2000477"/>
                  <a:gd name="connsiteX1" fmla="*/ 255917 w 1023668"/>
                  <a:gd name="connsiteY1" fmla="*/ 0 h 2000477"/>
                  <a:gd name="connsiteX2" fmla="*/ 767751 w 1023668"/>
                  <a:gd name="connsiteY2" fmla="*/ 0 h 2000477"/>
                  <a:gd name="connsiteX3" fmla="*/ 1023668 w 1023668"/>
                  <a:gd name="connsiteY3" fmla="*/ 1782576 h 2000477"/>
                  <a:gd name="connsiteX4" fmla="*/ 769690 w 1023668"/>
                  <a:gd name="connsiteY4" fmla="*/ 1942360 h 2000477"/>
                  <a:gd name="connsiteX5" fmla="*/ 357378 w 1023668"/>
                  <a:gd name="connsiteY5" fmla="*/ 1994299 h 2000477"/>
                  <a:gd name="connsiteX6" fmla="*/ 0 w 1023668"/>
                  <a:gd name="connsiteY6" fmla="*/ 1782576 h 2000477"/>
                  <a:gd name="connsiteX0" fmla="*/ 0 w 1023668"/>
                  <a:gd name="connsiteY0" fmla="*/ 1782576 h 2000477"/>
                  <a:gd name="connsiteX1" fmla="*/ 255917 w 1023668"/>
                  <a:gd name="connsiteY1" fmla="*/ 0 h 2000477"/>
                  <a:gd name="connsiteX2" fmla="*/ 767751 w 1023668"/>
                  <a:gd name="connsiteY2" fmla="*/ 0 h 2000477"/>
                  <a:gd name="connsiteX3" fmla="*/ 1023668 w 1023668"/>
                  <a:gd name="connsiteY3" fmla="*/ 1782576 h 2000477"/>
                  <a:gd name="connsiteX4" fmla="*/ 769690 w 1023668"/>
                  <a:gd name="connsiteY4" fmla="*/ 1942360 h 2000477"/>
                  <a:gd name="connsiteX5" fmla="*/ 357378 w 1023668"/>
                  <a:gd name="connsiteY5" fmla="*/ 1994299 h 2000477"/>
                  <a:gd name="connsiteX6" fmla="*/ 0 w 1023668"/>
                  <a:gd name="connsiteY6" fmla="*/ 1782576 h 2000477"/>
                  <a:gd name="connsiteX0" fmla="*/ 0 w 1023668"/>
                  <a:gd name="connsiteY0" fmla="*/ 1782576 h 2020441"/>
                  <a:gd name="connsiteX1" fmla="*/ 255917 w 1023668"/>
                  <a:gd name="connsiteY1" fmla="*/ 0 h 2020441"/>
                  <a:gd name="connsiteX2" fmla="*/ 767751 w 1023668"/>
                  <a:gd name="connsiteY2" fmla="*/ 0 h 2020441"/>
                  <a:gd name="connsiteX3" fmla="*/ 1023668 w 1023668"/>
                  <a:gd name="connsiteY3" fmla="*/ 1782576 h 2020441"/>
                  <a:gd name="connsiteX4" fmla="*/ 669937 w 1023668"/>
                  <a:gd name="connsiteY4" fmla="*/ 2012847 h 2020441"/>
                  <a:gd name="connsiteX5" fmla="*/ 357378 w 1023668"/>
                  <a:gd name="connsiteY5" fmla="*/ 1994299 h 2020441"/>
                  <a:gd name="connsiteX6" fmla="*/ 0 w 1023668"/>
                  <a:gd name="connsiteY6" fmla="*/ 1782576 h 2020441"/>
                  <a:gd name="connsiteX0" fmla="*/ 0 w 1023668"/>
                  <a:gd name="connsiteY0" fmla="*/ 1782576 h 2018939"/>
                  <a:gd name="connsiteX1" fmla="*/ 255917 w 1023668"/>
                  <a:gd name="connsiteY1" fmla="*/ 0 h 2018939"/>
                  <a:gd name="connsiteX2" fmla="*/ 767751 w 1023668"/>
                  <a:gd name="connsiteY2" fmla="*/ 0 h 2018939"/>
                  <a:gd name="connsiteX3" fmla="*/ 1023668 w 1023668"/>
                  <a:gd name="connsiteY3" fmla="*/ 1782576 h 2018939"/>
                  <a:gd name="connsiteX4" fmla="*/ 669937 w 1023668"/>
                  <a:gd name="connsiteY4" fmla="*/ 2012847 h 2018939"/>
                  <a:gd name="connsiteX5" fmla="*/ 357378 w 1023668"/>
                  <a:gd name="connsiteY5" fmla="*/ 1994299 h 2018939"/>
                  <a:gd name="connsiteX6" fmla="*/ 0 w 1023668"/>
                  <a:gd name="connsiteY6" fmla="*/ 1782576 h 2018939"/>
                  <a:gd name="connsiteX0" fmla="*/ 0 w 1023668"/>
                  <a:gd name="connsiteY0" fmla="*/ 1782576 h 2018939"/>
                  <a:gd name="connsiteX1" fmla="*/ 255917 w 1023668"/>
                  <a:gd name="connsiteY1" fmla="*/ 0 h 2018939"/>
                  <a:gd name="connsiteX2" fmla="*/ 767751 w 1023668"/>
                  <a:gd name="connsiteY2" fmla="*/ 0 h 2018939"/>
                  <a:gd name="connsiteX3" fmla="*/ 1023668 w 1023668"/>
                  <a:gd name="connsiteY3" fmla="*/ 1782576 h 2018939"/>
                  <a:gd name="connsiteX4" fmla="*/ 669937 w 1023668"/>
                  <a:gd name="connsiteY4" fmla="*/ 2012847 h 2018939"/>
                  <a:gd name="connsiteX5" fmla="*/ 357378 w 1023668"/>
                  <a:gd name="connsiteY5" fmla="*/ 1994299 h 2018939"/>
                  <a:gd name="connsiteX6" fmla="*/ 0 w 1023668"/>
                  <a:gd name="connsiteY6" fmla="*/ 1782576 h 2018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3668" h="2018939">
                    <a:moveTo>
                      <a:pt x="0" y="1782576"/>
                    </a:moveTo>
                    <a:lnTo>
                      <a:pt x="255917" y="0"/>
                    </a:lnTo>
                    <a:lnTo>
                      <a:pt x="767751" y="0"/>
                    </a:lnTo>
                    <a:lnTo>
                      <a:pt x="1023668" y="1782576"/>
                    </a:lnTo>
                    <a:cubicBezTo>
                      <a:pt x="827811" y="1828060"/>
                      <a:pt x="685112" y="1856988"/>
                      <a:pt x="669937" y="2012847"/>
                    </a:cubicBezTo>
                    <a:cubicBezTo>
                      <a:pt x="558334" y="2024020"/>
                      <a:pt x="485660" y="2020930"/>
                      <a:pt x="357378" y="1994299"/>
                    </a:cubicBezTo>
                    <a:cubicBezTo>
                      <a:pt x="366322" y="1834773"/>
                      <a:pt x="142709" y="1805182"/>
                      <a:pt x="0" y="1782576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Trapezoid 630"/>
              <p:cNvSpPr/>
              <p:nvPr/>
            </p:nvSpPr>
            <p:spPr>
              <a:xfrm>
                <a:off x="7360378" y="1152417"/>
                <a:ext cx="333212" cy="372583"/>
              </a:xfrm>
              <a:custGeom>
                <a:avLst/>
                <a:gdLst>
                  <a:gd name="connsiteX0" fmla="*/ 0 w 1009834"/>
                  <a:gd name="connsiteY0" fmla="*/ 836387 h 836387"/>
                  <a:gd name="connsiteX1" fmla="*/ 25326 w 1009834"/>
                  <a:gd name="connsiteY1" fmla="*/ 0 h 836387"/>
                  <a:gd name="connsiteX2" fmla="*/ 984508 w 1009834"/>
                  <a:gd name="connsiteY2" fmla="*/ 0 h 836387"/>
                  <a:gd name="connsiteX3" fmla="*/ 1009834 w 1009834"/>
                  <a:gd name="connsiteY3" fmla="*/ 836387 h 836387"/>
                  <a:gd name="connsiteX4" fmla="*/ 0 w 1009834"/>
                  <a:gd name="connsiteY4" fmla="*/ 836387 h 836387"/>
                  <a:gd name="connsiteX0" fmla="*/ 0 w 1009834"/>
                  <a:gd name="connsiteY0" fmla="*/ 836387 h 836387"/>
                  <a:gd name="connsiteX1" fmla="*/ 25326 w 1009834"/>
                  <a:gd name="connsiteY1" fmla="*/ 0 h 836387"/>
                  <a:gd name="connsiteX2" fmla="*/ 984508 w 1009834"/>
                  <a:gd name="connsiteY2" fmla="*/ 0 h 836387"/>
                  <a:gd name="connsiteX3" fmla="*/ 1009834 w 1009834"/>
                  <a:gd name="connsiteY3" fmla="*/ 836387 h 836387"/>
                  <a:gd name="connsiteX4" fmla="*/ 0 w 1009834"/>
                  <a:gd name="connsiteY4" fmla="*/ 836387 h 83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9834" h="836387">
                    <a:moveTo>
                      <a:pt x="0" y="836387"/>
                    </a:moveTo>
                    <a:lnTo>
                      <a:pt x="25326" y="0"/>
                    </a:lnTo>
                    <a:lnTo>
                      <a:pt x="984508" y="0"/>
                    </a:lnTo>
                    <a:lnTo>
                      <a:pt x="1009834" y="836387"/>
                    </a:lnTo>
                    <a:cubicBezTo>
                      <a:pt x="845749" y="975785"/>
                      <a:pt x="164085" y="975785"/>
                      <a:pt x="0" y="836387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Trapezoid 630"/>
              <p:cNvSpPr/>
              <p:nvPr/>
            </p:nvSpPr>
            <p:spPr>
              <a:xfrm>
                <a:off x="7371590" y="1152417"/>
                <a:ext cx="322000" cy="247623"/>
              </a:xfrm>
              <a:custGeom>
                <a:avLst/>
                <a:gdLst/>
                <a:ahLst/>
                <a:cxnLst/>
                <a:rect l="l" t="t" r="r" b="b"/>
                <a:pathLst>
                  <a:path w="322000" h="247623">
                    <a:moveTo>
                      <a:pt x="2751" y="0"/>
                    </a:moveTo>
                    <a:lnTo>
                      <a:pt x="319249" y="0"/>
                    </a:lnTo>
                    <a:lnTo>
                      <a:pt x="322000" y="122636"/>
                    </a:lnTo>
                    <a:cubicBezTo>
                      <a:pt x="284277" y="199227"/>
                      <a:pt x="226078" y="247623"/>
                      <a:pt x="161001" y="247623"/>
                    </a:cubicBezTo>
                    <a:cubicBezTo>
                      <a:pt x="95923" y="247623"/>
                      <a:pt x="37724" y="199225"/>
                      <a:pt x="0" y="12263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396" name="Group 1395"/>
              <p:cNvGrpSpPr/>
              <p:nvPr/>
            </p:nvGrpSpPr>
            <p:grpSpPr>
              <a:xfrm>
                <a:off x="7038493" y="3186996"/>
                <a:ext cx="1073904" cy="2607663"/>
                <a:chOff x="7038493" y="3186996"/>
                <a:chExt cx="1073904" cy="2857670"/>
              </a:xfrm>
            </p:grpSpPr>
            <p:grpSp>
              <p:nvGrpSpPr>
                <p:cNvPr id="1463" name="Group 1462"/>
                <p:cNvGrpSpPr/>
                <p:nvPr/>
              </p:nvGrpSpPr>
              <p:grpSpPr>
                <a:xfrm>
                  <a:off x="7038493" y="3190523"/>
                  <a:ext cx="527376" cy="2853242"/>
                  <a:chOff x="7038493" y="3190523"/>
                  <a:chExt cx="527376" cy="2853242"/>
                </a:xfrm>
              </p:grpSpPr>
              <p:sp>
                <p:nvSpPr>
                  <p:cNvPr id="1467" name="Freeform 1466"/>
                  <p:cNvSpPr/>
                  <p:nvPr/>
                </p:nvSpPr>
                <p:spPr>
                  <a:xfrm rot="776983">
                    <a:off x="7038493" y="3190523"/>
                    <a:ext cx="527376" cy="1441052"/>
                  </a:xfrm>
                  <a:custGeom>
                    <a:avLst/>
                    <a:gdLst>
                      <a:gd name="connsiteX0" fmla="*/ 0 w 485775"/>
                      <a:gd name="connsiteY0" fmla="*/ 819150 h 1428750"/>
                      <a:gd name="connsiteX1" fmla="*/ 276225 w 485775"/>
                      <a:gd name="connsiteY1" fmla="*/ 1428750 h 1428750"/>
                      <a:gd name="connsiteX2" fmla="*/ 485775 w 485775"/>
                      <a:gd name="connsiteY2" fmla="*/ 1428750 h 1428750"/>
                      <a:gd name="connsiteX3" fmla="*/ 485775 w 485775"/>
                      <a:gd name="connsiteY3" fmla="*/ 0 h 1428750"/>
                      <a:gd name="connsiteX4" fmla="*/ 9525 w 485775"/>
                      <a:gd name="connsiteY4" fmla="*/ 0 h 1428750"/>
                      <a:gd name="connsiteX5" fmla="*/ 0 w 485775"/>
                      <a:gd name="connsiteY5" fmla="*/ 819150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06277 w 514478"/>
                      <a:gd name="connsiteY2" fmla="*/ 14328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27376"/>
                      <a:gd name="connsiteY0" fmla="*/ 569023 h 1441052"/>
                      <a:gd name="connsiteX1" fmla="*/ 284426 w 527376"/>
                      <a:gd name="connsiteY1" fmla="*/ 1441052 h 1441052"/>
                      <a:gd name="connsiteX2" fmla="*/ 506277 w 527376"/>
                      <a:gd name="connsiteY2" fmla="*/ 1432850 h 1441052"/>
                      <a:gd name="connsiteX3" fmla="*/ 514478 w 527376"/>
                      <a:gd name="connsiteY3" fmla="*/ 0 h 1441052"/>
                      <a:gd name="connsiteX4" fmla="*/ 38228 w 527376"/>
                      <a:gd name="connsiteY4" fmla="*/ 0 h 1441052"/>
                      <a:gd name="connsiteX5" fmla="*/ 0 w 527376"/>
                      <a:gd name="connsiteY5" fmla="*/ 569023 h 14410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7376" h="1441052">
                        <a:moveTo>
                          <a:pt x="0" y="569023"/>
                        </a:moveTo>
                        <a:cubicBezTo>
                          <a:pt x="15533" y="937608"/>
                          <a:pt x="129477" y="1060166"/>
                          <a:pt x="284426" y="1441052"/>
                        </a:cubicBezTo>
                        <a:lnTo>
                          <a:pt x="506277" y="1432850"/>
                        </a:lnTo>
                        <a:cubicBezTo>
                          <a:pt x="550015" y="840421"/>
                          <a:pt x="511744" y="477617"/>
                          <a:pt x="514478" y="0"/>
                        </a:cubicBezTo>
                        <a:lnTo>
                          <a:pt x="38228" y="0"/>
                        </a:lnTo>
                        <a:lnTo>
                          <a:pt x="0" y="569023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468" name="Freeform 1467"/>
                  <p:cNvSpPr/>
                  <p:nvPr/>
                </p:nvSpPr>
                <p:spPr>
                  <a:xfrm>
                    <a:off x="7083356" y="4416133"/>
                    <a:ext cx="309669" cy="1627632"/>
                  </a:xfrm>
                  <a:custGeom>
                    <a:avLst/>
                    <a:gdLst>
                      <a:gd name="connsiteX0" fmla="*/ 82296 w 342900"/>
                      <a:gd name="connsiteY0" fmla="*/ 0 h 1627632"/>
                      <a:gd name="connsiteX1" fmla="*/ 91440 w 342900"/>
                      <a:gd name="connsiteY1" fmla="*/ 219456 h 1627632"/>
                      <a:gd name="connsiteX2" fmla="*/ 0 w 342900"/>
                      <a:gd name="connsiteY2" fmla="*/ 534924 h 1627632"/>
                      <a:gd name="connsiteX3" fmla="*/ 150876 w 342900"/>
                      <a:gd name="connsiteY3" fmla="*/ 1627632 h 1627632"/>
                      <a:gd name="connsiteX4" fmla="*/ 251460 w 342900"/>
                      <a:gd name="connsiteY4" fmla="*/ 1623060 h 1627632"/>
                      <a:gd name="connsiteX5" fmla="*/ 342900 w 342900"/>
                      <a:gd name="connsiteY5" fmla="*/ 699516 h 1627632"/>
                      <a:gd name="connsiteX6" fmla="*/ 292608 w 342900"/>
                      <a:gd name="connsiteY6" fmla="*/ 13716 h 1627632"/>
                      <a:gd name="connsiteX7" fmla="*/ 82296 w 342900"/>
                      <a:gd name="connsiteY7" fmla="*/ 0 h 1627632"/>
                      <a:gd name="connsiteX0" fmla="*/ 83074 w 343678"/>
                      <a:gd name="connsiteY0" fmla="*/ 0 h 1627632"/>
                      <a:gd name="connsiteX1" fmla="*/ 92218 w 343678"/>
                      <a:gd name="connsiteY1" fmla="*/ 219456 h 1627632"/>
                      <a:gd name="connsiteX2" fmla="*/ 778 w 343678"/>
                      <a:gd name="connsiteY2" fmla="*/ 534924 h 1627632"/>
                      <a:gd name="connsiteX3" fmla="*/ 151654 w 343678"/>
                      <a:gd name="connsiteY3" fmla="*/ 1627632 h 1627632"/>
                      <a:gd name="connsiteX4" fmla="*/ 252238 w 343678"/>
                      <a:gd name="connsiteY4" fmla="*/ 1623060 h 1627632"/>
                      <a:gd name="connsiteX5" fmla="*/ 343678 w 343678"/>
                      <a:gd name="connsiteY5" fmla="*/ 699516 h 1627632"/>
                      <a:gd name="connsiteX6" fmla="*/ 293386 w 343678"/>
                      <a:gd name="connsiteY6" fmla="*/ 13716 h 1627632"/>
                      <a:gd name="connsiteX7" fmla="*/ 83074 w 343678"/>
                      <a:gd name="connsiteY7" fmla="*/ 0 h 1627632"/>
                      <a:gd name="connsiteX0" fmla="*/ 47391 w 307995"/>
                      <a:gd name="connsiteY0" fmla="*/ 0 h 1627632"/>
                      <a:gd name="connsiteX1" fmla="*/ 56535 w 307995"/>
                      <a:gd name="connsiteY1" fmla="*/ 219456 h 1627632"/>
                      <a:gd name="connsiteX2" fmla="*/ 1258 w 307995"/>
                      <a:gd name="connsiteY2" fmla="*/ 731235 h 1627632"/>
                      <a:gd name="connsiteX3" fmla="*/ 115971 w 307995"/>
                      <a:gd name="connsiteY3" fmla="*/ 1627632 h 1627632"/>
                      <a:gd name="connsiteX4" fmla="*/ 216555 w 307995"/>
                      <a:gd name="connsiteY4" fmla="*/ 1623060 h 1627632"/>
                      <a:gd name="connsiteX5" fmla="*/ 307995 w 307995"/>
                      <a:gd name="connsiteY5" fmla="*/ 699516 h 1627632"/>
                      <a:gd name="connsiteX6" fmla="*/ 257703 w 307995"/>
                      <a:gd name="connsiteY6" fmla="*/ 13716 h 1627632"/>
                      <a:gd name="connsiteX7" fmla="*/ 47391 w 307995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9669" h="1627632">
                        <a:moveTo>
                          <a:pt x="47391" y="0"/>
                        </a:moveTo>
                        <a:lnTo>
                          <a:pt x="56535" y="219456"/>
                        </a:lnTo>
                        <a:cubicBezTo>
                          <a:pt x="42819" y="308610"/>
                          <a:pt x="-8648" y="496539"/>
                          <a:pt x="1258" y="731235"/>
                        </a:cubicBezTo>
                        <a:cubicBezTo>
                          <a:pt x="11164" y="965931"/>
                          <a:pt x="74061" y="1239632"/>
                          <a:pt x="115971" y="1627632"/>
                        </a:cubicBezTo>
                        <a:lnTo>
                          <a:pt x="216555" y="1623060"/>
                        </a:lnTo>
                        <a:cubicBezTo>
                          <a:pt x="248559" y="1468374"/>
                          <a:pt x="301137" y="967740"/>
                          <a:pt x="307995" y="699516"/>
                        </a:cubicBezTo>
                        <a:cubicBezTo>
                          <a:pt x="314853" y="431292"/>
                          <a:pt x="301137" y="130302"/>
                          <a:pt x="257703" y="13716"/>
                        </a:cubicBezTo>
                        <a:lnTo>
                          <a:pt x="47391" y="0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  <p:grpSp>
              <p:nvGrpSpPr>
                <p:cNvPr id="1464" name="Group 1463"/>
                <p:cNvGrpSpPr/>
                <p:nvPr/>
              </p:nvGrpSpPr>
              <p:grpSpPr>
                <a:xfrm>
                  <a:off x="7585021" y="3186996"/>
                  <a:ext cx="527376" cy="2857670"/>
                  <a:chOff x="7585021" y="3186996"/>
                  <a:chExt cx="527376" cy="2857670"/>
                </a:xfrm>
              </p:grpSpPr>
              <p:sp>
                <p:nvSpPr>
                  <p:cNvPr id="1465" name="Freeform 1464"/>
                  <p:cNvSpPr/>
                  <p:nvPr/>
                </p:nvSpPr>
                <p:spPr>
                  <a:xfrm flipH="1">
                    <a:off x="7683390" y="4417034"/>
                    <a:ext cx="309669" cy="1627632"/>
                  </a:xfrm>
                  <a:custGeom>
                    <a:avLst/>
                    <a:gdLst>
                      <a:gd name="connsiteX0" fmla="*/ 82296 w 342900"/>
                      <a:gd name="connsiteY0" fmla="*/ 0 h 1627632"/>
                      <a:gd name="connsiteX1" fmla="*/ 91440 w 342900"/>
                      <a:gd name="connsiteY1" fmla="*/ 219456 h 1627632"/>
                      <a:gd name="connsiteX2" fmla="*/ 0 w 342900"/>
                      <a:gd name="connsiteY2" fmla="*/ 534924 h 1627632"/>
                      <a:gd name="connsiteX3" fmla="*/ 150876 w 342900"/>
                      <a:gd name="connsiteY3" fmla="*/ 1627632 h 1627632"/>
                      <a:gd name="connsiteX4" fmla="*/ 251460 w 342900"/>
                      <a:gd name="connsiteY4" fmla="*/ 1623060 h 1627632"/>
                      <a:gd name="connsiteX5" fmla="*/ 342900 w 342900"/>
                      <a:gd name="connsiteY5" fmla="*/ 699516 h 1627632"/>
                      <a:gd name="connsiteX6" fmla="*/ 292608 w 342900"/>
                      <a:gd name="connsiteY6" fmla="*/ 13716 h 1627632"/>
                      <a:gd name="connsiteX7" fmla="*/ 82296 w 342900"/>
                      <a:gd name="connsiteY7" fmla="*/ 0 h 1627632"/>
                      <a:gd name="connsiteX0" fmla="*/ 83074 w 343678"/>
                      <a:gd name="connsiteY0" fmla="*/ 0 h 1627632"/>
                      <a:gd name="connsiteX1" fmla="*/ 92218 w 343678"/>
                      <a:gd name="connsiteY1" fmla="*/ 219456 h 1627632"/>
                      <a:gd name="connsiteX2" fmla="*/ 778 w 343678"/>
                      <a:gd name="connsiteY2" fmla="*/ 534924 h 1627632"/>
                      <a:gd name="connsiteX3" fmla="*/ 151654 w 343678"/>
                      <a:gd name="connsiteY3" fmla="*/ 1627632 h 1627632"/>
                      <a:gd name="connsiteX4" fmla="*/ 252238 w 343678"/>
                      <a:gd name="connsiteY4" fmla="*/ 1623060 h 1627632"/>
                      <a:gd name="connsiteX5" fmla="*/ 343678 w 343678"/>
                      <a:gd name="connsiteY5" fmla="*/ 699516 h 1627632"/>
                      <a:gd name="connsiteX6" fmla="*/ 293386 w 343678"/>
                      <a:gd name="connsiteY6" fmla="*/ 13716 h 1627632"/>
                      <a:gd name="connsiteX7" fmla="*/ 83074 w 343678"/>
                      <a:gd name="connsiteY7" fmla="*/ 0 h 1627632"/>
                      <a:gd name="connsiteX0" fmla="*/ 47391 w 307995"/>
                      <a:gd name="connsiteY0" fmla="*/ 0 h 1627632"/>
                      <a:gd name="connsiteX1" fmla="*/ 56535 w 307995"/>
                      <a:gd name="connsiteY1" fmla="*/ 219456 h 1627632"/>
                      <a:gd name="connsiteX2" fmla="*/ 1258 w 307995"/>
                      <a:gd name="connsiteY2" fmla="*/ 731235 h 1627632"/>
                      <a:gd name="connsiteX3" fmla="*/ 115971 w 307995"/>
                      <a:gd name="connsiteY3" fmla="*/ 1627632 h 1627632"/>
                      <a:gd name="connsiteX4" fmla="*/ 216555 w 307995"/>
                      <a:gd name="connsiteY4" fmla="*/ 1623060 h 1627632"/>
                      <a:gd name="connsiteX5" fmla="*/ 307995 w 307995"/>
                      <a:gd name="connsiteY5" fmla="*/ 699516 h 1627632"/>
                      <a:gd name="connsiteX6" fmla="*/ 257703 w 307995"/>
                      <a:gd name="connsiteY6" fmla="*/ 13716 h 1627632"/>
                      <a:gd name="connsiteX7" fmla="*/ 47391 w 307995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9669" h="1627632">
                        <a:moveTo>
                          <a:pt x="47391" y="0"/>
                        </a:moveTo>
                        <a:lnTo>
                          <a:pt x="56535" y="219456"/>
                        </a:lnTo>
                        <a:cubicBezTo>
                          <a:pt x="42819" y="308610"/>
                          <a:pt x="-8648" y="496539"/>
                          <a:pt x="1258" y="731235"/>
                        </a:cubicBezTo>
                        <a:cubicBezTo>
                          <a:pt x="11164" y="965931"/>
                          <a:pt x="74061" y="1239632"/>
                          <a:pt x="115971" y="1627632"/>
                        </a:cubicBezTo>
                        <a:lnTo>
                          <a:pt x="216555" y="1623060"/>
                        </a:lnTo>
                        <a:cubicBezTo>
                          <a:pt x="248559" y="1468374"/>
                          <a:pt x="301137" y="967740"/>
                          <a:pt x="307995" y="699516"/>
                        </a:cubicBezTo>
                        <a:cubicBezTo>
                          <a:pt x="314853" y="431292"/>
                          <a:pt x="301137" y="130302"/>
                          <a:pt x="257703" y="13716"/>
                        </a:cubicBezTo>
                        <a:lnTo>
                          <a:pt x="47391" y="0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466" name="Freeform 1465"/>
                  <p:cNvSpPr/>
                  <p:nvPr/>
                </p:nvSpPr>
                <p:spPr>
                  <a:xfrm rot="21132868" flipH="1">
                    <a:off x="7585021" y="3186996"/>
                    <a:ext cx="527376" cy="1582523"/>
                  </a:xfrm>
                  <a:custGeom>
                    <a:avLst/>
                    <a:gdLst>
                      <a:gd name="connsiteX0" fmla="*/ 0 w 485775"/>
                      <a:gd name="connsiteY0" fmla="*/ 819150 h 1428750"/>
                      <a:gd name="connsiteX1" fmla="*/ 276225 w 485775"/>
                      <a:gd name="connsiteY1" fmla="*/ 1428750 h 1428750"/>
                      <a:gd name="connsiteX2" fmla="*/ 485775 w 485775"/>
                      <a:gd name="connsiteY2" fmla="*/ 1428750 h 1428750"/>
                      <a:gd name="connsiteX3" fmla="*/ 485775 w 485775"/>
                      <a:gd name="connsiteY3" fmla="*/ 0 h 1428750"/>
                      <a:gd name="connsiteX4" fmla="*/ 9525 w 485775"/>
                      <a:gd name="connsiteY4" fmla="*/ 0 h 1428750"/>
                      <a:gd name="connsiteX5" fmla="*/ 0 w 485775"/>
                      <a:gd name="connsiteY5" fmla="*/ 819150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06277 w 514478"/>
                      <a:gd name="connsiteY2" fmla="*/ 14328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27376"/>
                      <a:gd name="connsiteY0" fmla="*/ 569023 h 1441052"/>
                      <a:gd name="connsiteX1" fmla="*/ 284426 w 527376"/>
                      <a:gd name="connsiteY1" fmla="*/ 1441052 h 1441052"/>
                      <a:gd name="connsiteX2" fmla="*/ 506277 w 527376"/>
                      <a:gd name="connsiteY2" fmla="*/ 1432850 h 1441052"/>
                      <a:gd name="connsiteX3" fmla="*/ 514478 w 527376"/>
                      <a:gd name="connsiteY3" fmla="*/ 0 h 1441052"/>
                      <a:gd name="connsiteX4" fmla="*/ 38228 w 527376"/>
                      <a:gd name="connsiteY4" fmla="*/ 0 h 1441052"/>
                      <a:gd name="connsiteX5" fmla="*/ 0 w 527376"/>
                      <a:gd name="connsiteY5" fmla="*/ 569023 h 1441052"/>
                      <a:gd name="connsiteX0" fmla="*/ 0 w 527376"/>
                      <a:gd name="connsiteY0" fmla="*/ 569023 h 1582523"/>
                      <a:gd name="connsiteX1" fmla="*/ 284426 w 527376"/>
                      <a:gd name="connsiteY1" fmla="*/ 1441052 h 1582523"/>
                      <a:gd name="connsiteX2" fmla="*/ 506277 w 527376"/>
                      <a:gd name="connsiteY2" fmla="*/ 1432850 h 1582523"/>
                      <a:gd name="connsiteX3" fmla="*/ 514478 w 527376"/>
                      <a:gd name="connsiteY3" fmla="*/ 0 h 1582523"/>
                      <a:gd name="connsiteX4" fmla="*/ 38228 w 527376"/>
                      <a:gd name="connsiteY4" fmla="*/ 0 h 1582523"/>
                      <a:gd name="connsiteX5" fmla="*/ 0 w 527376"/>
                      <a:gd name="connsiteY5" fmla="*/ 569023 h 1582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7376" h="1582523">
                        <a:moveTo>
                          <a:pt x="0" y="569023"/>
                        </a:moveTo>
                        <a:cubicBezTo>
                          <a:pt x="15533" y="937608"/>
                          <a:pt x="129477" y="1060166"/>
                          <a:pt x="284426" y="1441052"/>
                        </a:cubicBezTo>
                        <a:cubicBezTo>
                          <a:pt x="368805" y="1585023"/>
                          <a:pt x="467935" y="1673025"/>
                          <a:pt x="506277" y="1432850"/>
                        </a:cubicBezTo>
                        <a:cubicBezTo>
                          <a:pt x="550015" y="840421"/>
                          <a:pt x="511744" y="477617"/>
                          <a:pt x="514478" y="0"/>
                        </a:cubicBezTo>
                        <a:lnTo>
                          <a:pt x="38228" y="0"/>
                        </a:lnTo>
                        <a:lnTo>
                          <a:pt x="0" y="569023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</p:grpSp>
          <p:sp>
            <p:nvSpPr>
              <p:cNvPr id="1397" name="Trapezoid 121"/>
              <p:cNvSpPr/>
              <p:nvPr/>
            </p:nvSpPr>
            <p:spPr>
              <a:xfrm>
                <a:off x="7030980" y="3040485"/>
                <a:ext cx="1062896" cy="1531484"/>
              </a:xfrm>
              <a:custGeom>
                <a:avLst/>
                <a:gdLst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58802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58802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45086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6899"/>
                  <a:gd name="connsiteY0" fmla="*/ 1083809 h 1083809"/>
                  <a:gd name="connsiteX1" fmla="*/ 64007 w 1026899"/>
                  <a:gd name="connsiteY1" fmla="*/ 0 h 1083809"/>
                  <a:gd name="connsiteX2" fmla="*/ 945086 w 1026899"/>
                  <a:gd name="connsiteY2" fmla="*/ 0 h 1083809"/>
                  <a:gd name="connsiteX3" fmla="*/ 1022809 w 1026899"/>
                  <a:gd name="connsiteY3" fmla="*/ 1083809 h 1083809"/>
                  <a:gd name="connsiteX4" fmla="*/ 0 w 1026899"/>
                  <a:gd name="connsiteY4" fmla="*/ 1083809 h 1083809"/>
                  <a:gd name="connsiteX0" fmla="*/ 24627 w 1051526"/>
                  <a:gd name="connsiteY0" fmla="*/ 1083809 h 1083809"/>
                  <a:gd name="connsiteX1" fmla="*/ 88634 w 1051526"/>
                  <a:gd name="connsiteY1" fmla="*/ 0 h 1083809"/>
                  <a:gd name="connsiteX2" fmla="*/ 969713 w 1051526"/>
                  <a:gd name="connsiteY2" fmla="*/ 0 h 1083809"/>
                  <a:gd name="connsiteX3" fmla="*/ 1047436 w 1051526"/>
                  <a:gd name="connsiteY3" fmla="*/ 1083809 h 1083809"/>
                  <a:gd name="connsiteX4" fmla="*/ 24627 w 1051526"/>
                  <a:gd name="connsiteY4" fmla="*/ 1083809 h 1083809"/>
                  <a:gd name="connsiteX0" fmla="*/ 24627 w 1075072"/>
                  <a:gd name="connsiteY0" fmla="*/ 1083809 h 1083809"/>
                  <a:gd name="connsiteX1" fmla="*/ 88634 w 1075072"/>
                  <a:gd name="connsiteY1" fmla="*/ 0 h 1083809"/>
                  <a:gd name="connsiteX2" fmla="*/ 969713 w 1075072"/>
                  <a:gd name="connsiteY2" fmla="*/ 0 h 1083809"/>
                  <a:gd name="connsiteX3" fmla="*/ 1047436 w 1075072"/>
                  <a:gd name="connsiteY3" fmla="*/ 1083809 h 1083809"/>
                  <a:gd name="connsiteX4" fmla="*/ 24627 w 1075072"/>
                  <a:gd name="connsiteY4" fmla="*/ 1083809 h 1083809"/>
                  <a:gd name="connsiteX0" fmla="*/ 24627 w 1075072"/>
                  <a:gd name="connsiteY0" fmla="*/ 979034 h 1083809"/>
                  <a:gd name="connsiteX1" fmla="*/ 88634 w 1075072"/>
                  <a:gd name="connsiteY1" fmla="*/ 0 h 1083809"/>
                  <a:gd name="connsiteX2" fmla="*/ 969713 w 1075072"/>
                  <a:gd name="connsiteY2" fmla="*/ 0 h 1083809"/>
                  <a:gd name="connsiteX3" fmla="*/ 1047436 w 1075072"/>
                  <a:gd name="connsiteY3" fmla="*/ 1083809 h 1083809"/>
                  <a:gd name="connsiteX4" fmla="*/ 24627 w 1075072"/>
                  <a:gd name="connsiteY4" fmla="*/ 979034 h 1083809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9832"/>
                  <a:gd name="connsiteY0" fmla="*/ 979034 h 1531484"/>
                  <a:gd name="connsiteX1" fmla="*/ 88634 w 1109832"/>
                  <a:gd name="connsiteY1" fmla="*/ 0 h 1531484"/>
                  <a:gd name="connsiteX2" fmla="*/ 998676 w 1109832"/>
                  <a:gd name="connsiteY2" fmla="*/ 8275 h 1531484"/>
                  <a:gd name="connsiteX3" fmla="*/ 1085536 w 1109832"/>
                  <a:gd name="connsiteY3" fmla="*/ 1531484 h 1531484"/>
                  <a:gd name="connsiteX4" fmla="*/ 24627 w 1109832"/>
                  <a:gd name="connsiteY4" fmla="*/ 979034 h 1531484"/>
                  <a:gd name="connsiteX0" fmla="*/ 24627 w 1103724"/>
                  <a:gd name="connsiteY0" fmla="*/ 979034 h 1531484"/>
                  <a:gd name="connsiteX1" fmla="*/ 88634 w 1103724"/>
                  <a:gd name="connsiteY1" fmla="*/ 0 h 1531484"/>
                  <a:gd name="connsiteX2" fmla="*/ 977988 w 1103724"/>
                  <a:gd name="connsiteY2" fmla="*/ 12412 h 1531484"/>
                  <a:gd name="connsiteX3" fmla="*/ 1085536 w 1103724"/>
                  <a:gd name="connsiteY3" fmla="*/ 1531484 h 1531484"/>
                  <a:gd name="connsiteX4" fmla="*/ 24627 w 1103724"/>
                  <a:gd name="connsiteY4" fmla="*/ 979034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896" h="1531484">
                    <a:moveTo>
                      <a:pt x="70297" y="1300310"/>
                    </a:moveTo>
                    <a:cubicBezTo>
                      <a:pt x="27625" y="1039624"/>
                      <a:pt x="-51254" y="342982"/>
                      <a:pt x="47806" y="0"/>
                    </a:cubicBezTo>
                    <a:lnTo>
                      <a:pt x="937160" y="12412"/>
                    </a:lnTo>
                    <a:cubicBezTo>
                      <a:pt x="1077368" y="273098"/>
                      <a:pt x="1078236" y="1133638"/>
                      <a:pt x="1044708" y="1531484"/>
                    </a:cubicBezTo>
                    <a:cubicBezTo>
                      <a:pt x="953762" y="1331292"/>
                      <a:pt x="514170" y="1337575"/>
                      <a:pt x="70297" y="130031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8" name="Freeform 1397"/>
              <p:cNvSpPr/>
              <p:nvPr/>
            </p:nvSpPr>
            <p:spPr>
              <a:xfrm flipH="1">
                <a:off x="7507514" y="1458045"/>
                <a:ext cx="575519" cy="1784686"/>
              </a:xfrm>
              <a:custGeom>
                <a:avLst/>
                <a:gdLst>
                  <a:gd name="connsiteX0" fmla="*/ 271107 w 575907"/>
                  <a:gd name="connsiteY0" fmla="*/ 0 h 1755983"/>
                  <a:gd name="connsiteX1" fmla="*/ 812 w 575907"/>
                  <a:gd name="connsiteY1" fmla="*/ 69175 h 1755983"/>
                  <a:gd name="connsiteX2" fmla="*/ 88888 w 575907"/>
                  <a:gd name="connsiteY2" fmla="*/ 555241 h 1755983"/>
                  <a:gd name="connsiteX3" fmla="*/ 150172 w 575907"/>
                  <a:gd name="connsiteY3" fmla="*/ 830472 h 1755983"/>
                  <a:gd name="connsiteX4" fmla="*/ 179092 w 575907"/>
                  <a:gd name="connsiteY4" fmla="*/ 1042948 h 1755983"/>
                  <a:gd name="connsiteX5" fmla="*/ 69824 w 575907"/>
                  <a:gd name="connsiteY5" fmla="*/ 1755983 h 1755983"/>
                  <a:gd name="connsiteX6" fmla="*/ 575907 w 575907"/>
                  <a:gd name="connsiteY6" fmla="*/ 1718736 h 1755983"/>
                  <a:gd name="connsiteX7" fmla="*/ 547152 w 575907"/>
                  <a:gd name="connsiteY7" fmla="*/ 521473 h 1755983"/>
                  <a:gd name="connsiteX8" fmla="*/ 271107 w 575907"/>
                  <a:gd name="connsiteY8" fmla="*/ 0 h 1755983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50172 w 575907"/>
                  <a:gd name="connsiteY3" fmla="*/ 830472 h 1784686"/>
                  <a:gd name="connsiteX4" fmla="*/ 179092 w 575907"/>
                  <a:gd name="connsiteY4" fmla="*/ 1042948 h 1784686"/>
                  <a:gd name="connsiteX5" fmla="*/ 24719 w 575907"/>
                  <a:gd name="connsiteY5" fmla="*/ 1784686 h 1784686"/>
                  <a:gd name="connsiteX6" fmla="*/ 575907 w 575907"/>
                  <a:gd name="connsiteY6" fmla="*/ 1718736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50172 w 575907"/>
                  <a:gd name="connsiteY3" fmla="*/ 830472 h 1784686"/>
                  <a:gd name="connsiteX4" fmla="*/ 183192 w 575907"/>
                  <a:gd name="connsiteY4" fmla="*/ 1079852 h 1784686"/>
                  <a:gd name="connsiteX5" fmla="*/ 24719 w 575907"/>
                  <a:gd name="connsiteY5" fmla="*/ 1784686 h 1784686"/>
                  <a:gd name="connsiteX6" fmla="*/ 575907 w 575907"/>
                  <a:gd name="connsiteY6" fmla="*/ 1718736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83192 w 575907"/>
                  <a:gd name="connsiteY3" fmla="*/ 1079852 h 1784686"/>
                  <a:gd name="connsiteX4" fmla="*/ 24719 w 575907"/>
                  <a:gd name="connsiteY4" fmla="*/ 1784686 h 1784686"/>
                  <a:gd name="connsiteX5" fmla="*/ 575907 w 575907"/>
                  <a:gd name="connsiteY5" fmla="*/ 1718736 h 1784686"/>
                  <a:gd name="connsiteX6" fmla="*/ 547152 w 575907"/>
                  <a:gd name="connsiteY6" fmla="*/ 521473 h 1784686"/>
                  <a:gd name="connsiteX7" fmla="*/ 271107 w 575907"/>
                  <a:gd name="connsiteY7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83192 w 575907"/>
                  <a:gd name="connsiteY3" fmla="*/ 1079852 h 1784686"/>
                  <a:gd name="connsiteX4" fmla="*/ 24719 w 575907"/>
                  <a:gd name="connsiteY4" fmla="*/ 1784686 h 1784686"/>
                  <a:gd name="connsiteX5" fmla="*/ 575907 w 575907"/>
                  <a:gd name="connsiteY5" fmla="*/ 1718736 h 1784686"/>
                  <a:gd name="connsiteX6" fmla="*/ 575519 w 575907"/>
                  <a:gd name="connsiteY6" fmla="*/ 1513755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519" h="1784686">
                    <a:moveTo>
                      <a:pt x="271107" y="0"/>
                    </a:moveTo>
                    <a:lnTo>
                      <a:pt x="812" y="69175"/>
                    </a:lnTo>
                    <a:cubicBezTo>
                      <a:pt x="-6841" y="166422"/>
                      <a:pt x="40908" y="356391"/>
                      <a:pt x="88888" y="555241"/>
                    </a:cubicBezTo>
                    <a:cubicBezTo>
                      <a:pt x="119285" y="723687"/>
                      <a:pt x="193887" y="874945"/>
                      <a:pt x="183192" y="1079852"/>
                    </a:cubicBezTo>
                    <a:cubicBezTo>
                      <a:pt x="172497" y="1284760"/>
                      <a:pt x="51557" y="1425507"/>
                      <a:pt x="24719" y="1784686"/>
                    </a:cubicBezTo>
                    <a:cubicBezTo>
                      <a:pt x="273926" y="1729701"/>
                      <a:pt x="320127" y="1745667"/>
                      <a:pt x="481564" y="1751393"/>
                    </a:cubicBezTo>
                    <a:cubicBezTo>
                      <a:pt x="524978" y="1650409"/>
                      <a:pt x="575648" y="1582082"/>
                      <a:pt x="575519" y="1513755"/>
                    </a:cubicBezTo>
                    <a:lnTo>
                      <a:pt x="547152" y="521473"/>
                    </a:lnTo>
                    <a:lnTo>
                      <a:pt x="27110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9" name="Freeform 1398"/>
              <p:cNvSpPr/>
              <p:nvPr/>
            </p:nvSpPr>
            <p:spPr>
              <a:xfrm>
                <a:off x="6960411" y="1458044"/>
                <a:ext cx="589639" cy="1772385"/>
              </a:xfrm>
              <a:custGeom>
                <a:avLst/>
                <a:gdLst>
                  <a:gd name="connsiteX0" fmla="*/ 271107 w 575907"/>
                  <a:gd name="connsiteY0" fmla="*/ 0 h 1755983"/>
                  <a:gd name="connsiteX1" fmla="*/ 547152 w 575907"/>
                  <a:gd name="connsiteY1" fmla="*/ 521473 h 1755983"/>
                  <a:gd name="connsiteX2" fmla="*/ 575907 w 575907"/>
                  <a:gd name="connsiteY2" fmla="*/ 1718736 h 1755983"/>
                  <a:gd name="connsiteX3" fmla="*/ 69824 w 575907"/>
                  <a:gd name="connsiteY3" fmla="*/ 1755983 h 1755983"/>
                  <a:gd name="connsiteX4" fmla="*/ 199594 w 575907"/>
                  <a:gd name="connsiteY4" fmla="*/ 1055249 h 1755983"/>
                  <a:gd name="connsiteX5" fmla="*/ 147138 w 575907"/>
                  <a:gd name="connsiteY5" fmla="*/ 813452 h 1755983"/>
                  <a:gd name="connsiteX6" fmla="*/ 95901 w 575907"/>
                  <a:gd name="connsiteY6" fmla="*/ 584535 h 1755983"/>
                  <a:gd name="connsiteX7" fmla="*/ 812 w 575907"/>
                  <a:gd name="connsiteY7" fmla="*/ 69175 h 1755983"/>
                  <a:gd name="connsiteX8" fmla="*/ 271107 w 575907"/>
                  <a:gd name="connsiteY8" fmla="*/ 0 h 1755983"/>
                  <a:gd name="connsiteX0" fmla="*/ 271107 w 575907"/>
                  <a:gd name="connsiteY0" fmla="*/ 0 h 1772385"/>
                  <a:gd name="connsiteX1" fmla="*/ 547152 w 575907"/>
                  <a:gd name="connsiteY1" fmla="*/ 521473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147138 w 575907"/>
                  <a:gd name="connsiteY5" fmla="*/ 813452 h 1772385"/>
                  <a:gd name="connsiteX6" fmla="*/ 95901 w 575907"/>
                  <a:gd name="connsiteY6" fmla="*/ 584535 h 1772385"/>
                  <a:gd name="connsiteX7" fmla="*/ 812 w 575907"/>
                  <a:gd name="connsiteY7" fmla="*/ 69175 h 1772385"/>
                  <a:gd name="connsiteX8" fmla="*/ 271107 w 575907"/>
                  <a:gd name="connsiteY8" fmla="*/ 0 h 1772385"/>
                  <a:gd name="connsiteX0" fmla="*/ 271107 w 575907"/>
                  <a:gd name="connsiteY0" fmla="*/ 0 h 1772385"/>
                  <a:gd name="connsiteX1" fmla="*/ 567548 w 575907"/>
                  <a:gd name="connsiteY1" fmla="*/ 514674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147138 w 575907"/>
                  <a:gd name="connsiteY5" fmla="*/ 813452 h 1772385"/>
                  <a:gd name="connsiteX6" fmla="*/ 95901 w 575907"/>
                  <a:gd name="connsiteY6" fmla="*/ 584535 h 1772385"/>
                  <a:gd name="connsiteX7" fmla="*/ 812 w 575907"/>
                  <a:gd name="connsiteY7" fmla="*/ 69175 h 1772385"/>
                  <a:gd name="connsiteX8" fmla="*/ 271107 w 575907"/>
                  <a:gd name="connsiteY8" fmla="*/ 0 h 1772385"/>
                  <a:gd name="connsiteX0" fmla="*/ 271107 w 575907"/>
                  <a:gd name="connsiteY0" fmla="*/ 0 h 1772385"/>
                  <a:gd name="connsiteX1" fmla="*/ 567548 w 575907"/>
                  <a:gd name="connsiteY1" fmla="*/ 514674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95901 w 575907"/>
                  <a:gd name="connsiteY5" fmla="*/ 584535 h 1772385"/>
                  <a:gd name="connsiteX6" fmla="*/ 812 w 575907"/>
                  <a:gd name="connsiteY6" fmla="*/ 69175 h 1772385"/>
                  <a:gd name="connsiteX7" fmla="*/ 271107 w 575907"/>
                  <a:gd name="connsiteY7" fmla="*/ 0 h 1772385"/>
                  <a:gd name="connsiteX0" fmla="*/ 271107 w 613241"/>
                  <a:gd name="connsiteY0" fmla="*/ 0 h 1772385"/>
                  <a:gd name="connsiteX1" fmla="*/ 567548 w 613241"/>
                  <a:gd name="connsiteY1" fmla="*/ 514674 h 1772385"/>
                  <a:gd name="connsiteX2" fmla="*/ 568875 w 613241"/>
                  <a:gd name="connsiteY2" fmla="*/ 1459327 h 1772385"/>
                  <a:gd name="connsiteX3" fmla="*/ 575907 w 613241"/>
                  <a:gd name="connsiteY3" fmla="*/ 1718736 h 1772385"/>
                  <a:gd name="connsiteX4" fmla="*/ 45221 w 613241"/>
                  <a:gd name="connsiteY4" fmla="*/ 1772385 h 1772385"/>
                  <a:gd name="connsiteX5" fmla="*/ 199594 w 613241"/>
                  <a:gd name="connsiteY5" fmla="*/ 1055249 h 1772385"/>
                  <a:gd name="connsiteX6" fmla="*/ 95901 w 613241"/>
                  <a:gd name="connsiteY6" fmla="*/ 584535 h 1772385"/>
                  <a:gd name="connsiteX7" fmla="*/ 812 w 613241"/>
                  <a:gd name="connsiteY7" fmla="*/ 69175 h 1772385"/>
                  <a:gd name="connsiteX8" fmla="*/ 271107 w 613241"/>
                  <a:gd name="connsiteY8" fmla="*/ 0 h 1772385"/>
                  <a:gd name="connsiteX0" fmla="*/ 271107 w 589639"/>
                  <a:gd name="connsiteY0" fmla="*/ 0 h 1772385"/>
                  <a:gd name="connsiteX1" fmla="*/ 567548 w 589639"/>
                  <a:gd name="connsiteY1" fmla="*/ 514674 h 1772385"/>
                  <a:gd name="connsiteX2" fmla="*/ 568875 w 589639"/>
                  <a:gd name="connsiteY2" fmla="*/ 1459327 h 1772385"/>
                  <a:gd name="connsiteX3" fmla="*/ 470679 w 589639"/>
                  <a:gd name="connsiteY3" fmla="*/ 1740507 h 1772385"/>
                  <a:gd name="connsiteX4" fmla="*/ 45221 w 589639"/>
                  <a:gd name="connsiteY4" fmla="*/ 1772385 h 1772385"/>
                  <a:gd name="connsiteX5" fmla="*/ 199594 w 589639"/>
                  <a:gd name="connsiteY5" fmla="*/ 1055249 h 1772385"/>
                  <a:gd name="connsiteX6" fmla="*/ 95901 w 589639"/>
                  <a:gd name="connsiteY6" fmla="*/ 584535 h 1772385"/>
                  <a:gd name="connsiteX7" fmla="*/ 812 w 589639"/>
                  <a:gd name="connsiteY7" fmla="*/ 69175 h 1772385"/>
                  <a:gd name="connsiteX8" fmla="*/ 271107 w 589639"/>
                  <a:gd name="connsiteY8" fmla="*/ 0 h 1772385"/>
                  <a:gd name="connsiteX0" fmla="*/ 271107 w 589639"/>
                  <a:gd name="connsiteY0" fmla="*/ 0 h 1772385"/>
                  <a:gd name="connsiteX1" fmla="*/ 567548 w 589639"/>
                  <a:gd name="connsiteY1" fmla="*/ 514674 h 1772385"/>
                  <a:gd name="connsiteX2" fmla="*/ 568875 w 589639"/>
                  <a:gd name="connsiteY2" fmla="*/ 1459327 h 1772385"/>
                  <a:gd name="connsiteX3" fmla="*/ 470679 w 589639"/>
                  <a:gd name="connsiteY3" fmla="*/ 1740507 h 1772385"/>
                  <a:gd name="connsiteX4" fmla="*/ 45221 w 589639"/>
                  <a:gd name="connsiteY4" fmla="*/ 1772385 h 1772385"/>
                  <a:gd name="connsiteX5" fmla="*/ 199594 w 589639"/>
                  <a:gd name="connsiteY5" fmla="*/ 1055249 h 1772385"/>
                  <a:gd name="connsiteX6" fmla="*/ 95901 w 589639"/>
                  <a:gd name="connsiteY6" fmla="*/ 584535 h 1772385"/>
                  <a:gd name="connsiteX7" fmla="*/ 812 w 589639"/>
                  <a:gd name="connsiteY7" fmla="*/ 69175 h 1772385"/>
                  <a:gd name="connsiteX8" fmla="*/ 271107 w 589639"/>
                  <a:gd name="connsiteY8" fmla="*/ 0 h 177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9639" h="1772385">
                    <a:moveTo>
                      <a:pt x="271107" y="0"/>
                    </a:moveTo>
                    <a:lnTo>
                      <a:pt x="567548" y="514674"/>
                    </a:lnTo>
                    <a:cubicBezTo>
                      <a:pt x="617176" y="757895"/>
                      <a:pt x="567482" y="1258650"/>
                      <a:pt x="568875" y="1459327"/>
                    </a:cubicBezTo>
                    <a:cubicBezTo>
                      <a:pt x="570268" y="1660004"/>
                      <a:pt x="572469" y="1655674"/>
                      <a:pt x="470679" y="1740507"/>
                    </a:cubicBezTo>
                    <a:lnTo>
                      <a:pt x="45221" y="1772385"/>
                    </a:lnTo>
                    <a:cubicBezTo>
                      <a:pt x="72059" y="1413206"/>
                      <a:pt x="191147" y="1253224"/>
                      <a:pt x="199594" y="1055249"/>
                    </a:cubicBezTo>
                    <a:cubicBezTo>
                      <a:pt x="208041" y="857274"/>
                      <a:pt x="129031" y="748881"/>
                      <a:pt x="95901" y="584535"/>
                    </a:cubicBezTo>
                    <a:cubicBezTo>
                      <a:pt x="45721" y="375231"/>
                      <a:pt x="-7216" y="171187"/>
                      <a:pt x="812" y="69175"/>
                    </a:cubicBezTo>
                    <a:lnTo>
                      <a:pt x="27110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0" name="Freeform 1399"/>
              <p:cNvSpPr/>
              <p:nvPr/>
            </p:nvSpPr>
            <p:spPr>
              <a:xfrm>
                <a:off x="7161838" y="414370"/>
                <a:ext cx="728689" cy="804913"/>
              </a:xfrm>
              <a:custGeom>
                <a:avLst/>
                <a:gdLst>
                  <a:gd name="connsiteX0" fmla="*/ 1026694 w 2042694"/>
                  <a:gd name="connsiteY0" fmla="*/ 0 h 2593474"/>
                  <a:gd name="connsiteX1" fmla="*/ 0 w 2042694"/>
                  <a:gd name="connsiteY1" fmla="*/ 2593474 h 2593474"/>
                  <a:gd name="connsiteX2" fmla="*/ 2042694 w 2042694"/>
                  <a:gd name="connsiteY2" fmla="*/ 2593474 h 2593474"/>
                  <a:gd name="connsiteX3" fmla="*/ 1026694 w 2042694"/>
                  <a:gd name="connsiteY3" fmla="*/ 0 h 2593474"/>
                  <a:gd name="connsiteX0" fmla="*/ 1048637 w 2087217"/>
                  <a:gd name="connsiteY0" fmla="*/ 0 h 2593474"/>
                  <a:gd name="connsiteX1" fmla="*/ 21943 w 2087217"/>
                  <a:gd name="connsiteY1" fmla="*/ 2593474 h 2593474"/>
                  <a:gd name="connsiteX2" fmla="*/ 2064637 w 2087217"/>
                  <a:gd name="connsiteY2" fmla="*/ 2593474 h 2593474"/>
                  <a:gd name="connsiteX3" fmla="*/ 1048637 w 2087217"/>
                  <a:gd name="connsiteY3" fmla="*/ 0 h 2593474"/>
                  <a:gd name="connsiteX0" fmla="*/ 1126045 w 2244682"/>
                  <a:gd name="connsiteY0" fmla="*/ 0 h 2593474"/>
                  <a:gd name="connsiteX1" fmla="*/ 99351 w 2244682"/>
                  <a:gd name="connsiteY1" fmla="*/ 2593474 h 2593474"/>
                  <a:gd name="connsiteX2" fmla="*/ 2142045 w 2244682"/>
                  <a:gd name="connsiteY2" fmla="*/ 2593474 h 2593474"/>
                  <a:gd name="connsiteX3" fmla="*/ 1126045 w 2244682"/>
                  <a:gd name="connsiteY3" fmla="*/ 0 h 2593474"/>
                  <a:gd name="connsiteX0" fmla="*/ 838573 w 1876384"/>
                  <a:gd name="connsiteY0" fmla="*/ 2743 h 2596217"/>
                  <a:gd name="connsiteX1" fmla="*/ 26802 w 1876384"/>
                  <a:gd name="connsiteY1" fmla="*/ 2107755 h 2596217"/>
                  <a:gd name="connsiteX2" fmla="*/ 1854573 w 1876384"/>
                  <a:gd name="connsiteY2" fmla="*/ 2596217 h 2596217"/>
                  <a:gd name="connsiteX3" fmla="*/ 838573 w 1876384"/>
                  <a:gd name="connsiteY3" fmla="*/ 2743 h 2596217"/>
                  <a:gd name="connsiteX0" fmla="*/ 837911 w 1749358"/>
                  <a:gd name="connsiteY0" fmla="*/ 2 h 2116737"/>
                  <a:gd name="connsiteX1" fmla="*/ 26140 w 1749358"/>
                  <a:gd name="connsiteY1" fmla="*/ 2105014 h 2116737"/>
                  <a:gd name="connsiteX2" fmla="*/ 1724957 w 1749358"/>
                  <a:gd name="connsiteY2" fmla="*/ 2116737 h 2116737"/>
                  <a:gd name="connsiteX3" fmla="*/ 837911 w 1749358"/>
                  <a:gd name="connsiteY3" fmla="*/ 2 h 2116737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6821" h="2117330">
                    <a:moveTo>
                      <a:pt x="930258" y="595"/>
                    </a:moveTo>
                    <a:cubicBezTo>
                      <a:pt x="-208662" y="-36528"/>
                      <a:pt x="-50846" y="1673361"/>
                      <a:pt x="118487" y="2105607"/>
                    </a:cubicBezTo>
                    <a:cubicBezTo>
                      <a:pt x="403405" y="1890684"/>
                      <a:pt x="1559740" y="1933668"/>
                      <a:pt x="1817304" y="2117330"/>
                    </a:cubicBezTo>
                    <a:cubicBezTo>
                      <a:pt x="1988420" y="1685084"/>
                      <a:pt x="2069178" y="37718"/>
                      <a:pt x="930258" y="595"/>
                    </a:cubicBez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1" name="Freeform 1400"/>
              <p:cNvSpPr/>
              <p:nvPr/>
            </p:nvSpPr>
            <p:spPr>
              <a:xfrm>
                <a:off x="7179291" y="462995"/>
                <a:ext cx="696904" cy="756266"/>
              </a:xfrm>
              <a:custGeom>
                <a:avLst/>
                <a:gdLst>
                  <a:gd name="connsiteX0" fmla="*/ 1026694 w 2042694"/>
                  <a:gd name="connsiteY0" fmla="*/ 0 h 2593474"/>
                  <a:gd name="connsiteX1" fmla="*/ 0 w 2042694"/>
                  <a:gd name="connsiteY1" fmla="*/ 2593474 h 2593474"/>
                  <a:gd name="connsiteX2" fmla="*/ 2042694 w 2042694"/>
                  <a:gd name="connsiteY2" fmla="*/ 2593474 h 2593474"/>
                  <a:gd name="connsiteX3" fmla="*/ 1026694 w 2042694"/>
                  <a:gd name="connsiteY3" fmla="*/ 0 h 2593474"/>
                  <a:gd name="connsiteX0" fmla="*/ 1048637 w 2087217"/>
                  <a:gd name="connsiteY0" fmla="*/ 0 h 2593474"/>
                  <a:gd name="connsiteX1" fmla="*/ 21943 w 2087217"/>
                  <a:gd name="connsiteY1" fmla="*/ 2593474 h 2593474"/>
                  <a:gd name="connsiteX2" fmla="*/ 2064637 w 2087217"/>
                  <a:gd name="connsiteY2" fmla="*/ 2593474 h 2593474"/>
                  <a:gd name="connsiteX3" fmla="*/ 1048637 w 2087217"/>
                  <a:gd name="connsiteY3" fmla="*/ 0 h 2593474"/>
                  <a:gd name="connsiteX0" fmla="*/ 1126045 w 2244682"/>
                  <a:gd name="connsiteY0" fmla="*/ 0 h 2593474"/>
                  <a:gd name="connsiteX1" fmla="*/ 99351 w 2244682"/>
                  <a:gd name="connsiteY1" fmla="*/ 2593474 h 2593474"/>
                  <a:gd name="connsiteX2" fmla="*/ 2142045 w 2244682"/>
                  <a:gd name="connsiteY2" fmla="*/ 2593474 h 2593474"/>
                  <a:gd name="connsiteX3" fmla="*/ 1126045 w 2244682"/>
                  <a:gd name="connsiteY3" fmla="*/ 0 h 2593474"/>
                  <a:gd name="connsiteX0" fmla="*/ 838573 w 1876384"/>
                  <a:gd name="connsiteY0" fmla="*/ 2743 h 2596217"/>
                  <a:gd name="connsiteX1" fmla="*/ 26802 w 1876384"/>
                  <a:gd name="connsiteY1" fmla="*/ 2107755 h 2596217"/>
                  <a:gd name="connsiteX2" fmla="*/ 1854573 w 1876384"/>
                  <a:gd name="connsiteY2" fmla="*/ 2596217 h 2596217"/>
                  <a:gd name="connsiteX3" fmla="*/ 838573 w 1876384"/>
                  <a:gd name="connsiteY3" fmla="*/ 2743 h 2596217"/>
                  <a:gd name="connsiteX0" fmla="*/ 837911 w 1749358"/>
                  <a:gd name="connsiteY0" fmla="*/ 2 h 2116737"/>
                  <a:gd name="connsiteX1" fmla="*/ 26140 w 1749358"/>
                  <a:gd name="connsiteY1" fmla="*/ 2105014 h 2116737"/>
                  <a:gd name="connsiteX2" fmla="*/ 1724957 w 1749358"/>
                  <a:gd name="connsiteY2" fmla="*/ 2116737 h 2116737"/>
                  <a:gd name="connsiteX3" fmla="*/ 837911 w 1749358"/>
                  <a:gd name="connsiteY3" fmla="*/ 2 h 2116737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884348 w 1833210"/>
                  <a:gd name="connsiteY0" fmla="*/ 1 h 2116736"/>
                  <a:gd name="connsiteX1" fmla="*/ 72577 w 1833210"/>
                  <a:gd name="connsiteY1" fmla="*/ 2105013 h 2116736"/>
                  <a:gd name="connsiteX2" fmla="*/ 1771394 w 1833210"/>
                  <a:gd name="connsiteY2" fmla="*/ 2116736 h 2116736"/>
                  <a:gd name="connsiteX3" fmla="*/ 884348 w 1833210"/>
                  <a:gd name="connsiteY3" fmla="*/ 1 h 2116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3210" h="2116736">
                    <a:moveTo>
                      <a:pt x="884348" y="1"/>
                    </a:moveTo>
                    <a:cubicBezTo>
                      <a:pt x="-24018" y="299"/>
                      <a:pt x="-96756" y="1672767"/>
                      <a:pt x="72577" y="2105013"/>
                    </a:cubicBezTo>
                    <a:cubicBezTo>
                      <a:pt x="357495" y="1890090"/>
                      <a:pt x="1513830" y="1933074"/>
                      <a:pt x="1771394" y="2116736"/>
                    </a:cubicBezTo>
                    <a:cubicBezTo>
                      <a:pt x="1942510" y="1684490"/>
                      <a:pt x="1792714" y="-297"/>
                      <a:pt x="884348" y="1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2" name="Rectangle 1401"/>
              <p:cNvSpPr/>
              <p:nvPr/>
            </p:nvSpPr>
            <p:spPr>
              <a:xfrm>
                <a:off x="7259344" y="777662"/>
                <a:ext cx="533492" cy="17585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03" name="Group 1402"/>
              <p:cNvGrpSpPr/>
              <p:nvPr/>
            </p:nvGrpSpPr>
            <p:grpSpPr>
              <a:xfrm>
                <a:off x="7609183" y="811799"/>
                <a:ext cx="74012" cy="79800"/>
                <a:chOff x="3924944" y="2994541"/>
                <a:chExt cx="293463" cy="293463"/>
              </a:xfrm>
            </p:grpSpPr>
            <p:sp>
              <p:nvSpPr>
                <p:cNvPr id="1460" name="Oval 1459"/>
                <p:cNvSpPr/>
                <p:nvPr/>
              </p:nvSpPr>
              <p:spPr>
                <a:xfrm>
                  <a:off x="3924944" y="2994541"/>
                  <a:ext cx="293463" cy="2934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1" name="Oval 1460"/>
                <p:cNvSpPr/>
                <p:nvPr/>
              </p:nvSpPr>
              <p:spPr>
                <a:xfrm>
                  <a:off x="4001711" y="3071308"/>
                  <a:ext cx="139929" cy="139929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2" name="Oval 1461"/>
                <p:cNvSpPr/>
                <p:nvPr/>
              </p:nvSpPr>
              <p:spPr>
                <a:xfrm>
                  <a:off x="3936996" y="3053464"/>
                  <a:ext cx="152400" cy="106566"/>
                </a:xfrm>
                <a:prstGeom prst="ellipse">
                  <a:avLst/>
                </a:prstGeom>
                <a:gradFill>
                  <a:gsLst>
                    <a:gs pos="19000">
                      <a:schemeClr val="bg1"/>
                    </a:gs>
                    <a:gs pos="100000">
                      <a:schemeClr val="accent2">
                        <a:alpha val="38000"/>
                      </a:schemeClr>
                    </a:gs>
                  </a:gsLst>
                  <a:lin ang="2700000" scaled="1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04" name="Group 1403"/>
              <p:cNvGrpSpPr/>
              <p:nvPr/>
            </p:nvGrpSpPr>
            <p:grpSpPr>
              <a:xfrm>
                <a:off x="7343574" y="811799"/>
                <a:ext cx="74012" cy="79800"/>
                <a:chOff x="3924944" y="2994541"/>
                <a:chExt cx="293463" cy="293463"/>
              </a:xfrm>
            </p:grpSpPr>
            <p:sp>
              <p:nvSpPr>
                <p:cNvPr id="1457" name="Oval 1456"/>
                <p:cNvSpPr/>
                <p:nvPr/>
              </p:nvSpPr>
              <p:spPr>
                <a:xfrm>
                  <a:off x="3924944" y="2994541"/>
                  <a:ext cx="293463" cy="2934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8" name="Oval 1457"/>
                <p:cNvSpPr/>
                <p:nvPr/>
              </p:nvSpPr>
              <p:spPr>
                <a:xfrm>
                  <a:off x="4001711" y="3071308"/>
                  <a:ext cx="139929" cy="139929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9" name="Oval 1458"/>
                <p:cNvSpPr/>
                <p:nvPr/>
              </p:nvSpPr>
              <p:spPr>
                <a:xfrm>
                  <a:off x="3936996" y="3053464"/>
                  <a:ext cx="152400" cy="106566"/>
                </a:xfrm>
                <a:prstGeom prst="ellipse">
                  <a:avLst/>
                </a:prstGeom>
                <a:gradFill>
                  <a:gsLst>
                    <a:gs pos="19000">
                      <a:schemeClr val="bg1"/>
                    </a:gs>
                    <a:gs pos="100000">
                      <a:schemeClr val="accent2">
                        <a:alpha val="38000"/>
                      </a:schemeClr>
                    </a:gs>
                  </a:gsLst>
                  <a:lin ang="2700000" scaled="1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05" name="Oval 8"/>
              <p:cNvSpPr/>
              <p:nvPr/>
            </p:nvSpPr>
            <p:spPr>
              <a:xfrm>
                <a:off x="7222236" y="462783"/>
                <a:ext cx="594691" cy="842016"/>
              </a:xfrm>
              <a:custGeom>
                <a:avLst/>
                <a:gdLst>
                  <a:gd name="connsiteX0" fmla="*/ 1354723 w 1948722"/>
                  <a:gd name="connsiteY0" fmla="*/ 1130928 h 2717715"/>
                  <a:gd name="connsiteX1" fmla="*/ 1121124 w 1948722"/>
                  <a:gd name="connsiteY1" fmla="*/ 1259959 h 2717715"/>
                  <a:gd name="connsiteX2" fmla="*/ 1354723 w 1948722"/>
                  <a:gd name="connsiteY2" fmla="*/ 1388990 h 2717715"/>
                  <a:gd name="connsiteX3" fmla="*/ 1588322 w 1948722"/>
                  <a:gd name="connsiteY3" fmla="*/ 1259959 h 2717715"/>
                  <a:gd name="connsiteX4" fmla="*/ 1354723 w 1948722"/>
                  <a:gd name="connsiteY4" fmla="*/ 1130928 h 2717715"/>
                  <a:gd name="connsiteX5" fmla="*/ 547961 w 1948722"/>
                  <a:gd name="connsiteY5" fmla="*/ 1130928 h 2717715"/>
                  <a:gd name="connsiteX6" fmla="*/ 314362 w 1948722"/>
                  <a:gd name="connsiteY6" fmla="*/ 1259959 h 2717715"/>
                  <a:gd name="connsiteX7" fmla="*/ 547961 w 1948722"/>
                  <a:gd name="connsiteY7" fmla="*/ 1388990 h 2717715"/>
                  <a:gd name="connsiteX8" fmla="*/ 781560 w 1948722"/>
                  <a:gd name="connsiteY8" fmla="*/ 1259959 h 2717715"/>
                  <a:gd name="connsiteX9" fmla="*/ 547961 w 1948722"/>
                  <a:gd name="connsiteY9" fmla="*/ 1130928 h 2717715"/>
                  <a:gd name="connsiteX10" fmla="*/ 974361 w 1948722"/>
                  <a:gd name="connsiteY10" fmla="*/ 0 h 2717715"/>
                  <a:gd name="connsiteX11" fmla="*/ 1948722 w 1948722"/>
                  <a:gd name="connsiteY11" fmla="*/ 1431589 h 2717715"/>
                  <a:gd name="connsiteX12" fmla="*/ 1946848 w 1948722"/>
                  <a:gd name="connsiteY12" fmla="*/ 1486136 h 2717715"/>
                  <a:gd name="connsiteX13" fmla="*/ 974737 w 1948722"/>
                  <a:gd name="connsiteY13" fmla="*/ 2717715 h 2717715"/>
                  <a:gd name="connsiteX14" fmla="*/ 3526 w 1948722"/>
                  <a:gd name="connsiteY14" fmla="*/ 1534189 h 2717715"/>
                  <a:gd name="connsiteX15" fmla="*/ 0 w 1948722"/>
                  <a:gd name="connsiteY15" fmla="*/ 1431589 h 2717715"/>
                  <a:gd name="connsiteX16" fmla="*/ 974361 w 1948722"/>
                  <a:gd name="connsiteY16" fmla="*/ 0 h 2717715"/>
                  <a:gd name="connsiteX0" fmla="*/ 1354723 w 1948722"/>
                  <a:gd name="connsiteY0" fmla="*/ 1130928 h 2718406"/>
                  <a:gd name="connsiteX1" fmla="*/ 1121124 w 1948722"/>
                  <a:gd name="connsiteY1" fmla="*/ 1259959 h 2718406"/>
                  <a:gd name="connsiteX2" fmla="*/ 1354723 w 1948722"/>
                  <a:gd name="connsiteY2" fmla="*/ 1388990 h 2718406"/>
                  <a:gd name="connsiteX3" fmla="*/ 1588322 w 1948722"/>
                  <a:gd name="connsiteY3" fmla="*/ 1259959 h 2718406"/>
                  <a:gd name="connsiteX4" fmla="*/ 1354723 w 1948722"/>
                  <a:gd name="connsiteY4" fmla="*/ 1130928 h 2718406"/>
                  <a:gd name="connsiteX5" fmla="*/ 547961 w 1948722"/>
                  <a:gd name="connsiteY5" fmla="*/ 1130928 h 2718406"/>
                  <a:gd name="connsiteX6" fmla="*/ 314362 w 1948722"/>
                  <a:gd name="connsiteY6" fmla="*/ 1259959 h 2718406"/>
                  <a:gd name="connsiteX7" fmla="*/ 547961 w 1948722"/>
                  <a:gd name="connsiteY7" fmla="*/ 1388990 h 2718406"/>
                  <a:gd name="connsiteX8" fmla="*/ 781560 w 1948722"/>
                  <a:gd name="connsiteY8" fmla="*/ 1259959 h 2718406"/>
                  <a:gd name="connsiteX9" fmla="*/ 547961 w 1948722"/>
                  <a:gd name="connsiteY9" fmla="*/ 1130928 h 2718406"/>
                  <a:gd name="connsiteX10" fmla="*/ 974361 w 1948722"/>
                  <a:gd name="connsiteY10" fmla="*/ 0 h 2718406"/>
                  <a:gd name="connsiteX11" fmla="*/ 1948722 w 1948722"/>
                  <a:gd name="connsiteY11" fmla="*/ 1431589 h 2718406"/>
                  <a:gd name="connsiteX12" fmla="*/ 1946848 w 1948722"/>
                  <a:gd name="connsiteY12" fmla="*/ 1486136 h 2718406"/>
                  <a:gd name="connsiteX13" fmla="*/ 974737 w 1948722"/>
                  <a:gd name="connsiteY13" fmla="*/ 2717715 h 2718406"/>
                  <a:gd name="connsiteX14" fmla="*/ 106848 w 1948722"/>
                  <a:gd name="connsiteY14" fmla="*/ 1653009 h 2718406"/>
                  <a:gd name="connsiteX15" fmla="*/ 0 w 1948722"/>
                  <a:gd name="connsiteY15" fmla="*/ 1431589 h 2718406"/>
                  <a:gd name="connsiteX16" fmla="*/ 974361 w 1948722"/>
                  <a:gd name="connsiteY16" fmla="*/ 0 h 2718406"/>
                  <a:gd name="connsiteX0" fmla="*/ 1354723 w 1948722"/>
                  <a:gd name="connsiteY0" fmla="*/ 1130928 h 2718581"/>
                  <a:gd name="connsiteX1" fmla="*/ 1121124 w 1948722"/>
                  <a:gd name="connsiteY1" fmla="*/ 1259959 h 2718581"/>
                  <a:gd name="connsiteX2" fmla="*/ 1354723 w 1948722"/>
                  <a:gd name="connsiteY2" fmla="*/ 1388990 h 2718581"/>
                  <a:gd name="connsiteX3" fmla="*/ 1588322 w 1948722"/>
                  <a:gd name="connsiteY3" fmla="*/ 1259959 h 2718581"/>
                  <a:gd name="connsiteX4" fmla="*/ 1354723 w 1948722"/>
                  <a:gd name="connsiteY4" fmla="*/ 1130928 h 2718581"/>
                  <a:gd name="connsiteX5" fmla="*/ 547961 w 1948722"/>
                  <a:gd name="connsiteY5" fmla="*/ 1130928 h 2718581"/>
                  <a:gd name="connsiteX6" fmla="*/ 314362 w 1948722"/>
                  <a:gd name="connsiteY6" fmla="*/ 1259959 h 2718581"/>
                  <a:gd name="connsiteX7" fmla="*/ 547961 w 1948722"/>
                  <a:gd name="connsiteY7" fmla="*/ 1388990 h 2718581"/>
                  <a:gd name="connsiteX8" fmla="*/ 781560 w 1948722"/>
                  <a:gd name="connsiteY8" fmla="*/ 1259959 h 2718581"/>
                  <a:gd name="connsiteX9" fmla="*/ 547961 w 1948722"/>
                  <a:gd name="connsiteY9" fmla="*/ 1130928 h 2718581"/>
                  <a:gd name="connsiteX10" fmla="*/ 974361 w 1948722"/>
                  <a:gd name="connsiteY10" fmla="*/ 0 h 2718581"/>
                  <a:gd name="connsiteX11" fmla="*/ 1948722 w 1948722"/>
                  <a:gd name="connsiteY11" fmla="*/ 1431589 h 2718581"/>
                  <a:gd name="connsiteX12" fmla="*/ 1946848 w 1948722"/>
                  <a:gd name="connsiteY12" fmla="*/ 1486136 h 2718581"/>
                  <a:gd name="connsiteX13" fmla="*/ 974737 w 1948722"/>
                  <a:gd name="connsiteY13" fmla="*/ 2717715 h 2718581"/>
                  <a:gd name="connsiteX14" fmla="*/ 106848 w 1948722"/>
                  <a:gd name="connsiteY14" fmla="*/ 1653009 h 2718581"/>
                  <a:gd name="connsiteX15" fmla="*/ 0 w 1948722"/>
                  <a:gd name="connsiteY15" fmla="*/ 1431589 h 2718581"/>
                  <a:gd name="connsiteX16" fmla="*/ 974361 w 1948722"/>
                  <a:gd name="connsiteY16" fmla="*/ 0 h 2718581"/>
                  <a:gd name="connsiteX0" fmla="*/ 1354723 w 1948722"/>
                  <a:gd name="connsiteY0" fmla="*/ 1130928 h 2717775"/>
                  <a:gd name="connsiteX1" fmla="*/ 1121124 w 1948722"/>
                  <a:gd name="connsiteY1" fmla="*/ 1259959 h 2717775"/>
                  <a:gd name="connsiteX2" fmla="*/ 1354723 w 1948722"/>
                  <a:gd name="connsiteY2" fmla="*/ 1388990 h 2717775"/>
                  <a:gd name="connsiteX3" fmla="*/ 1588322 w 1948722"/>
                  <a:gd name="connsiteY3" fmla="*/ 1259959 h 2717775"/>
                  <a:gd name="connsiteX4" fmla="*/ 1354723 w 1948722"/>
                  <a:gd name="connsiteY4" fmla="*/ 1130928 h 2717775"/>
                  <a:gd name="connsiteX5" fmla="*/ 547961 w 1948722"/>
                  <a:gd name="connsiteY5" fmla="*/ 1130928 h 2717775"/>
                  <a:gd name="connsiteX6" fmla="*/ 314362 w 1948722"/>
                  <a:gd name="connsiteY6" fmla="*/ 1259959 h 2717775"/>
                  <a:gd name="connsiteX7" fmla="*/ 547961 w 1948722"/>
                  <a:gd name="connsiteY7" fmla="*/ 1388990 h 2717775"/>
                  <a:gd name="connsiteX8" fmla="*/ 781560 w 1948722"/>
                  <a:gd name="connsiteY8" fmla="*/ 1259959 h 2717775"/>
                  <a:gd name="connsiteX9" fmla="*/ 547961 w 1948722"/>
                  <a:gd name="connsiteY9" fmla="*/ 1130928 h 2717775"/>
                  <a:gd name="connsiteX10" fmla="*/ 974361 w 1948722"/>
                  <a:gd name="connsiteY10" fmla="*/ 0 h 2717775"/>
                  <a:gd name="connsiteX11" fmla="*/ 1948722 w 1948722"/>
                  <a:gd name="connsiteY11" fmla="*/ 1431589 h 2717775"/>
                  <a:gd name="connsiteX12" fmla="*/ 1859025 w 1948722"/>
                  <a:gd name="connsiteY12" fmla="*/ 1610122 h 2717775"/>
                  <a:gd name="connsiteX13" fmla="*/ 974737 w 1948722"/>
                  <a:gd name="connsiteY13" fmla="*/ 2717715 h 2717775"/>
                  <a:gd name="connsiteX14" fmla="*/ 106848 w 1948722"/>
                  <a:gd name="connsiteY14" fmla="*/ 1653009 h 2717775"/>
                  <a:gd name="connsiteX15" fmla="*/ 0 w 1948722"/>
                  <a:gd name="connsiteY15" fmla="*/ 1431589 h 2717775"/>
                  <a:gd name="connsiteX16" fmla="*/ 974361 w 1948722"/>
                  <a:gd name="connsiteY16" fmla="*/ 0 h 2717775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57409 w 1948722"/>
                  <a:gd name="connsiteY7" fmla="*/ 1351197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9448 w 1948722"/>
                  <a:gd name="connsiteY2" fmla="*/ 1346473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57409 w 1948722"/>
                  <a:gd name="connsiteY7" fmla="*/ 1351197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656303"/>
                  <a:gd name="connsiteX1" fmla="*/ 1121124 w 1948722"/>
                  <a:gd name="connsiteY1" fmla="*/ 1259959 h 2656303"/>
                  <a:gd name="connsiteX2" fmla="*/ 1359448 w 1948722"/>
                  <a:gd name="connsiteY2" fmla="*/ 1346473 h 2656303"/>
                  <a:gd name="connsiteX3" fmla="*/ 1588322 w 1948722"/>
                  <a:gd name="connsiteY3" fmla="*/ 1259959 h 2656303"/>
                  <a:gd name="connsiteX4" fmla="*/ 1354723 w 1948722"/>
                  <a:gd name="connsiteY4" fmla="*/ 1130928 h 2656303"/>
                  <a:gd name="connsiteX5" fmla="*/ 547961 w 1948722"/>
                  <a:gd name="connsiteY5" fmla="*/ 1130928 h 2656303"/>
                  <a:gd name="connsiteX6" fmla="*/ 314362 w 1948722"/>
                  <a:gd name="connsiteY6" fmla="*/ 1259959 h 2656303"/>
                  <a:gd name="connsiteX7" fmla="*/ 557409 w 1948722"/>
                  <a:gd name="connsiteY7" fmla="*/ 1351197 h 2656303"/>
                  <a:gd name="connsiteX8" fmla="*/ 781560 w 1948722"/>
                  <a:gd name="connsiteY8" fmla="*/ 1259959 h 2656303"/>
                  <a:gd name="connsiteX9" fmla="*/ 547961 w 1948722"/>
                  <a:gd name="connsiteY9" fmla="*/ 1130928 h 2656303"/>
                  <a:gd name="connsiteX10" fmla="*/ 974361 w 1948722"/>
                  <a:gd name="connsiteY10" fmla="*/ 0 h 2656303"/>
                  <a:gd name="connsiteX11" fmla="*/ 1948722 w 1948722"/>
                  <a:gd name="connsiteY11" fmla="*/ 1431589 h 2656303"/>
                  <a:gd name="connsiteX12" fmla="*/ 1817696 w 1948722"/>
                  <a:gd name="connsiteY12" fmla="*/ 1646284 h 2656303"/>
                  <a:gd name="connsiteX13" fmla="*/ 1017254 w 1948722"/>
                  <a:gd name="connsiteY13" fmla="*/ 2656301 h 2656303"/>
                  <a:gd name="connsiteX14" fmla="*/ 106848 w 1948722"/>
                  <a:gd name="connsiteY14" fmla="*/ 1653009 h 2656303"/>
                  <a:gd name="connsiteX15" fmla="*/ 0 w 1948722"/>
                  <a:gd name="connsiteY15" fmla="*/ 1431589 h 2656303"/>
                  <a:gd name="connsiteX16" fmla="*/ 974361 w 1948722"/>
                  <a:gd name="connsiteY16" fmla="*/ 0 h 2656303"/>
                  <a:gd name="connsiteX0" fmla="*/ 1354723 w 1948722"/>
                  <a:gd name="connsiteY0" fmla="*/ 1130928 h 2656318"/>
                  <a:gd name="connsiteX1" fmla="*/ 1121124 w 1948722"/>
                  <a:gd name="connsiteY1" fmla="*/ 1259959 h 2656318"/>
                  <a:gd name="connsiteX2" fmla="*/ 1359448 w 1948722"/>
                  <a:gd name="connsiteY2" fmla="*/ 1346473 h 2656318"/>
                  <a:gd name="connsiteX3" fmla="*/ 1588322 w 1948722"/>
                  <a:gd name="connsiteY3" fmla="*/ 1259959 h 2656318"/>
                  <a:gd name="connsiteX4" fmla="*/ 1354723 w 1948722"/>
                  <a:gd name="connsiteY4" fmla="*/ 1130928 h 2656318"/>
                  <a:gd name="connsiteX5" fmla="*/ 547961 w 1948722"/>
                  <a:gd name="connsiteY5" fmla="*/ 1130928 h 2656318"/>
                  <a:gd name="connsiteX6" fmla="*/ 314362 w 1948722"/>
                  <a:gd name="connsiteY6" fmla="*/ 1259959 h 2656318"/>
                  <a:gd name="connsiteX7" fmla="*/ 557409 w 1948722"/>
                  <a:gd name="connsiteY7" fmla="*/ 1351197 h 2656318"/>
                  <a:gd name="connsiteX8" fmla="*/ 781560 w 1948722"/>
                  <a:gd name="connsiteY8" fmla="*/ 1259959 h 2656318"/>
                  <a:gd name="connsiteX9" fmla="*/ 547961 w 1948722"/>
                  <a:gd name="connsiteY9" fmla="*/ 1130928 h 2656318"/>
                  <a:gd name="connsiteX10" fmla="*/ 974361 w 1948722"/>
                  <a:gd name="connsiteY10" fmla="*/ 0 h 2656318"/>
                  <a:gd name="connsiteX11" fmla="*/ 1948722 w 1948722"/>
                  <a:gd name="connsiteY11" fmla="*/ 1431589 h 2656318"/>
                  <a:gd name="connsiteX12" fmla="*/ 1817696 w 1948722"/>
                  <a:gd name="connsiteY12" fmla="*/ 1646284 h 2656318"/>
                  <a:gd name="connsiteX13" fmla="*/ 1017254 w 1948722"/>
                  <a:gd name="connsiteY13" fmla="*/ 2656301 h 2656318"/>
                  <a:gd name="connsiteX14" fmla="*/ 149365 w 1948722"/>
                  <a:gd name="connsiteY14" fmla="*/ 1629389 h 2656318"/>
                  <a:gd name="connsiteX15" fmla="*/ 0 w 1948722"/>
                  <a:gd name="connsiteY15" fmla="*/ 1431589 h 2656318"/>
                  <a:gd name="connsiteX16" fmla="*/ 974361 w 1948722"/>
                  <a:gd name="connsiteY16" fmla="*/ 0 h 2656318"/>
                  <a:gd name="connsiteX0" fmla="*/ 1354723 w 1948722"/>
                  <a:gd name="connsiteY0" fmla="*/ 1130928 h 2656301"/>
                  <a:gd name="connsiteX1" fmla="*/ 1121124 w 1948722"/>
                  <a:gd name="connsiteY1" fmla="*/ 1259959 h 2656301"/>
                  <a:gd name="connsiteX2" fmla="*/ 1359448 w 1948722"/>
                  <a:gd name="connsiteY2" fmla="*/ 1346473 h 2656301"/>
                  <a:gd name="connsiteX3" fmla="*/ 1588322 w 1948722"/>
                  <a:gd name="connsiteY3" fmla="*/ 1259959 h 2656301"/>
                  <a:gd name="connsiteX4" fmla="*/ 1354723 w 1948722"/>
                  <a:gd name="connsiteY4" fmla="*/ 1130928 h 2656301"/>
                  <a:gd name="connsiteX5" fmla="*/ 547961 w 1948722"/>
                  <a:gd name="connsiteY5" fmla="*/ 1130928 h 2656301"/>
                  <a:gd name="connsiteX6" fmla="*/ 314362 w 1948722"/>
                  <a:gd name="connsiteY6" fmla="*/ 1259959 h 2656301"/>
                  <a:gd name="connsiteX7" fmla="*/ 557409 w 1948722"/>
                  <a:gd name="connsiteY7" fmla="*/ 1351197 h 2656301"/>
                  <a:gd name="connsiteX8" fmla="*/ 781560 w 1948722"/>
                  <a:gd name="connsiteY8" fmla="*/ 1259959 h 2656301"/>
                  <a:gd name="connsiteX9" fmla="*/ 547961 w 1948722"/>
                  <a:gd name="connsiteY9" fmla="*/ 1130928 h 2656301"/>
                  <a:gd name="connsiteX10" fmla="*/ 974361 w 1948722"/>
                  <a:gd name="connsiteY10" fmla="*/ 0 h 2656301"/>
                  <a:gd name="connsiteX11" fmla="*/ 1948722 w 1948722"/>
                  <a:gd name="connsiteY11" fmla="*/ 1431589 h 2656301"/>
                  <a:gd name="connsiteX12" fmla="*/ 1789352 w 1948722"/>
                  <a:gd name="connsiteY12" fmla="*/ 1632111 h 2656301"/>
                  <a:gd name="connsiteX13" fmla="*/ 1017254 w 1948722"/>
                  <a:gd name="connsiteY13" fmla="*/ 2656301 h 2656301"/>
                  <a:gd name="connsiteX14" fmla="*/ 149365 w 1948722"/>
                  <a:gd name="connsiteY14" fmla="*/ 1629389 h 2656301"/>
                  <a:gd name="connsiteX15" fmla="*/ 0 w 1948722"/>
                  <a:gd name="connsiteY15" fmla="*/ 1431589 h 2656301"/>
                  <a:gd name="connsiteX16" fmla="*/ 974361 w 1948722"/>
                  <a:gd name="connsiteY16" fmla="*/ 0 h 2656301"/>
                  <a:gd name="connsiteX0" fmla="*/ 1283861 w 1877860"/>
                  <a:gd name="connsiteY0" fmla="*/ 1134211 h 2659584"/>
                  <a:gd name="connsiteX1" fmla="*/ 1050262 w 1877860"/>
                  <a:gd name="connsiteY1" fmla="*/ 1263242 h 2659584"/>
                  <a:gd name="connsiteX2" fmla="*/ 1288586 w 1877860"/>
                  <a:gd name="connsiteY2" fmla="*/ 1349756 h 2659584"/>
                  <a:gd name="connsiteX3" fmla="*/ 1517460 w 1877860"/>
                  <a:gd name="connsiteY3" fmla="*/ 1263242 h 2659584"/>
                  <a:gd name="connsiteX4" fmla="*/ 1283861 w 1877860"/>
                  <a:gd name="connsiteY4" fmla="*/ 1134211 h 2659584"/>
                  <a:gd name="connsiteX5" fmla="*/ 477099 w 1877860"/>
                  <a:gd name="connsiteY5" fmla="*/ 1134211 h 2659584"/>
                  <a:gd name="connsiteX6" fmla="*/ 243500 w 1877860"/>
                  <a:gd name="connsiteY6" fmla="*/ 1263242 h 2659584"/>
                  <a:gd name="connsiteX7" fmla="*/ 486547 w 1877860"/>
                  <a:gd name="connsiteY7" fmla="*/ 1354480 h 2659584"/>
                  <a:gd name="connsiteX8" fmla="*/ 710698 w 1877860"/>
                  <a:gd name="connsiteY8" fmla="*/ 1263242 h 2659584"/>
                  <a:gd name="connsiteX9" fmla="*/ 477099 w 1877860"/>
                  <a:gd name="connsiteY9" fmla="*/ 1134211 h 2659584"/>
                  <a:gd name="connsiteX10" fmla="*/ 903499 w 1877860"/>
                  <a:gd name="connsiteY10" fmla="*/ 3283 h 2659584"/>
                  <a:gd name="connsiteX11" fmla="*/ 1877860 w 1877860"/>
                  <a:gd name="connsiteY11" fmla="*/ 1434872 h 2659584"/>
                  <a:gd name="connsiteX12" fmla="*/ 1718490 w 1877860"/>
                  <a:gd name="connsiteY12" fmla="*/ 1635394 h 2659584"/>
                  <a:gd name="connsiteX13" fmla="*/ 946392 w 1877860"/>
                  <a:gd name="connsiteY13" fmla="*/ 2659584 h 2659584"/>
                  <a:gd name="connsiteX14" fmla="*/ 78503 w 1877860"/>
                  <a:gd name="connsiteY14" fmla="*/ 1632672 h 2659584"/>
                  <a:gd name="connsiteX15" fmla="*/ 0 w 1877860"/>
                  <a:gd name="connsiteY15" fmla="*/ 1165596 h 2659584"/>
                  <a:gd name="connsiteX16" fmla="*/ 903499 w 1877860"/>
                  <a:gd name="connsiteY16" fmla="*/ 3283 h 2659584"/>
                  <a:gd name="connsiteX0" fmla="*/ 1283861 w 1802274"/>
                  <a:gd name="connsiteY0" fmla="*/ 1131006 h 2656379"/>
                  <a:gd name="connsiteX1" fmla="*/ 1050262 w 1802274"/>
                  <a:gd name="connsiteY1" fmla="*/ 1260037 h 2656379"/>
                  <a:gd name="connsiteX2" fmla="*/ 1288586 w 1802274"/>
                  <a:gd name="connsiteY2" fmla="*/ 1346551 h 2656379"/>
                  <a:gd name="connsiteX3" fmla="*/ 1517460 w 1802274"/>
                  <a:gd name="connsiteY3" fmla="*/ 1260037 h 2656379"/>
                  <a:gd name="connsiteX4" fmla="*/ 1283861 w 1802274"/>
                  <a:gd name="connsiteY4" fmla="*/ 1131006 h 2656379"/>
                  <a:gd name="connsiteX5" fmla="*/ 477099 w 1802274"/>
                  <a:gd name="connsiteY5" fmla="*/ 1131006 h 2656379"/>
                  <a:gd name="connsiteX6" fmla="*/ 243500 w 1802274"/>
                  <a:gd name="connsiteY6" fmla="*/ 1260037 h 2656379"/>
                  <a:gd name="connsiteX7" fmla="*/ 486547 w 1802274"/>
                  <a:gd name="connsiteY7" fmla="*/ 1351275 h 2656379"/>
                  <a:gd name="connsiteX8" fmla="*/ 710698 w 1802274"/>
                  <a:gd name="connsiteY8" fmla="*/ 1260037 h 2656379"/>
                  <a:gd name="connsiteX9" fmla="*/ 477099 w 1802274"/>
                  <a:gd name="connsiteY9" fmla="*/ 1131006 h 2656379"/>
                  <a:gd name="connsiteX10" fmla="*/ 903499 w 1802274"/>
                  <a:gd name="connsiteY10" fmla="*/ 78 h 2656379"/>
                  <a:gd name="connsiteX11" fmla="*/ 1802274 w 1802274"/>
                  <a:gd name="connsiteY11" fmla="*/ 1200185 h 2656379"/>
                  <a:gd name="connsiteX12" fmla="*/ 1718490 w 1802274"/>
                  <a:gd name="connsiteY12" fmla="*/ 1632189 h 2656379"/>
                  <a:gd name="connsiteX13" fmla="*/ 946392 w 1802274"/>
                  <a:gd name="connsiteY13" fmla="*/ 2656379 h 2656379"/>
                  <a:gd name="connsiteX14" fmla="*/ 78503 w 1802274"/>
                  <a:gd name="connsiteY14" fmla="*/ 1629467 h 2656379"/>
                  <a:gd name="connsiteX15" fmla="*/ 0 w 1802274"/>
                  <a:gd name="connsiteY15" fmla="*/ 1162391 h 2656379"/>
                  <a:gd name="connsiteX16" fmla="*/ 903499 w 1802274"/>
                  <a:gd name="connsiteY16" fmla="*/ 78 h 2656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802274" h="2656379">
                    <a:moveTo>
                      <a:pt x="1283861" y="1131006"/>
                    </a:moveTo>
                    <a:cubicBezTo>
                      <a:pt x="1154848" y="1131006"/>
                      <a:pt x="1049475" y="1224113"/>
                      <a:pt x="1050262" y="1260037"/>
                    </a:cubicBezTo>
                    <a:cubicBezTo>
                      <a:pt x="1051050" y="1295961"/>
                      <a:pt x="1159573" y="1346551"/>
                      <a:pt x="1288586" y="1346551"/>
                    </a:cubicBezTo>
                    <a:cubicBezTo>
                      <a:pt x="1417599" y="1346551"/>
                      <a:pt x="1518248" y="1295961"/>
                      <a:pt x="1517460" y="1260037"/>
                    </a:cubicBezTo>
                    <a:cubicBezTo>
                      <a:pt x="1516673" y="1224113"/>
                      <a:pt x="1412874" y="1131006"/>
                      <a:pt x="1283861" y="1131006"/>
                    </a:cubicBezTo>
                    <a:close/>
                    <a:moveTo>
                      <a:pt x="477099" y="1131006"/>
                    </a:moveTo>
                    <a:cubicBezTo>
                      <a:pt x="348086" y="1131006"/>
                      <a:pt x="241925" y="1223326"/>
                      <a:pt x="243500" y="1260037"/>
                    </a:cubicBezTo>
                    <a:cubicBezTo>
                      <a:pt x="245075" y="1296748"/>
                      <a:pt x="357534" y="1351275"/>
                      <a:pt x="486547" y="1351275"/>
                    </a:cubicBezTo>
                    <a:cubicBezTo>
                      <a:pt x="615560" y="1351275"/>
                      <a:pt x="712273" y="1296748"/>
                      <a:pt x="710698" y="1260037"/>
                    </a:cubicBezTo>
                    <a:cubicBezTo>
                      <a:pt x="709123" y="1223326"/>
                      <a:pt x="606112" y="1131006"/>
                      <a:pt x="477099" y="1131006"/>
                    </a:cubicBezTo>
                    <a:close/>
                    <a:moveTo>
                      <a:pt x="903499" y="78"/>
                    </a:moveTo>
                    <a:cubicBezTo>
                      <a:pt x="1203878" y="6377"/>
                      <a:pt x="1802274" y="409540"/>
                      <a:pt x="1802274" y="1200185"/>
                    </a:cubicBezTo>
                    <a:cubicBezTo>
                      <a:pt x="1801649" y="1218367"/>
                      <a:pt x="1719115" y="1614007"/>
                      <a:pt x="1718490" y="1632189"/>
                    </a:cubicBezTo>
                    <a:cubicBezTo>
                      <a:pt x="1577774" y="2311956"/>
                      <a:pt x="1219723" y="2656833"/>
                      <a:pt x="946392" y="2656379"/>
                    </a:cubicBezTo>
                    <a:cubicBezTo>
                      <a:pt x="673061" y="2655925"/>
                      <a:pt x="200884" y="2213500"/>
                      <a:pt x="78503" y="1629467"/>
                    </a:cubicBezTo>
                    <a:cubicBezTo>
                      <a:pt x="75808" y="1595614"/>
                      <a:pt x="0" y="1196907"/>
                      <a:pt x="0" y="1162391"/>
                    </a:cubicBezTo>
                    <a:cubicBezTo>
                      <a:pt x="0" y="371746"/>
                      <a:pt x="603120" y="-6221"/>
                      <a:pt x="903499" y="78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06" name="Oval 1405"/>
              <p:cNvSpPr/>
              <p:nvPr/>
            </p:nvSpPr>
            <p:spPr>
              <a:xfrm>
                <a:off x="7178469" y="822465"/>
                <a:ext cx="80875" cy="161466"/>
              </a:xfrm>
              <a:prstGeom prst="ellipse">
                <a:avLst/>
              </a:pr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07" name="Freeform 1406"/>
              <p:cNvSpPr/>
              <p:nvPr/>
            </p:nvSpPr>
            <p:spPr>
              <a:xfrm>
                <a:off x="7459487" y="785577"/>
                <a:ext cx="124050" cy="304847"/>
              </a:xfrm>
              <a:custGeom>
                <a:avLst/>
                <a:gdLst>
                  <a:gd name="connsiteX0" fmla="*/ 0 w 557784"/>
                  <a:gd name="connsiteY0" fmla="*/ 0 h 877824"/>
                  <a:gd name="connsiteX1" fmla="*/ 169164 w 557784"/>
                  <a:gd name="connsiteY1" fmla="*/ 137160 h 877824"/>
                  <a:gd name="connsiteX2" fmla="*/ 210312 w 557784"/>
                  <a:gd name="connsiteY2" fmla="*/ 676656 h 877824"/>
                  <a:gd name="connsiteX3" fmla="*/ 91440 w 557784"/>
                  <a:gd name="connsiteY3" fmla="*/ 790956 h 877824"/>
                  <a:gd name="connsiteX4" fmla="*/ 288036 w 557784"/>
                  <a:gd name="connsiteY4" fmla="*/ 877824 h 877824"/>
                  <a:gd name="connsiteX5" fmla="*/ 557784 w 557784"/>
                  <a:gd name="connsiteY5" fmla="*/ 763524 h 877824"/>
                  <a:gd name="connsiteX6" fmla="*/ 301752 w 557784"/>
                  <a:gd name="connsiteY6" fmla="*/ 822960 h 877824"/>
                  <a:gd name="connsiteX7" fmla="*/ 228600 w 557784"/>
                  <a:gd name="connsiteY7" fmla="*/ 763524 h 877824"/>
                  <a:gd name="connsiteX8" fmla="*/ 224028 w 557784"/>
                  <a:gd name="connsiteY8" fmla="*/ 164592 h 877824"/>
                  <a:gd name="connsiteX9" fmla="*/ 82296 w 557784"/>
                  <a:gd name="connsiteY9" fmla="*/ 13716 h 877824"/>
                  <a:gd name="connsiteX10" fmla="*/ 0 w 557784"/>
                  <a:gd name="connsiteY10" fmla="*/ 0 h 877824"/>
                  <a:gd name="connsiteX0" fmla="*/ 0 w 557784"/>
                  <a:gd name="connsiteY0" fmla="*/ 91990 h 969814"/>
                  <a:gd name="connsiteX1" fmla="*/ 169164 w 557784"/>
                  <a:gd name="connsiteY1" fmla="*/ 229150 h 969814"/>
                  <a:gd name="connsiteX2" fmla="*/ 210312 w 557784"/>
                  <a:gd name="connsiteY2" fmla="*/ 768646 h 969814"/>
                  <a:gd name="connsiteX3" fmla="*/ 91440 w 557784"/>
                  <a:gd name="connsiteY3" fmla="*/ 882946 h 969814"/>
                  <a:gd name="connsiteX4" fmla="*/ 288036 w 557784"/>
                  <a:gd name="connsiteY4" fmla="*/ 969814 h 969814"/>
                  <a:gd name="connsiteX5" fmla="*/ 557784 w 557784"/>
                  <a:gd name="connsiteY5" fmla="*/ 855514 h 969814"/>
                  <a:gd name="connsiteX6" fmla="*/ 301752 w 557784"/>
                  <a:gd name="connsiteY6" fmla="*/ 914950 h 969814"/>
                  <a:gd name="connsiteX7" fmla="*/ 228600 w 557784"/>
                  <a:gd name="connsiteY7" fmla="*/ 855514 h 969814"/>
                  <a:gd name="connsiteX8" fmla="*/ 224028 w 557784"/>
                  <a:gd name="connsiteY8" fmla="*/ 256582 h 969814"/>
                  <a:gd name="connsiteX9" fmla="*/ 160020 w 557784"/>
                  <a:gd name="connsiteY9" fmla="*/ 0 h 969814"/>
                  <a:gd name="connsiteX10" fmla="*/ 0 w 557784"/>
                  <a:gd name="connsiteY10" fmla="*/ 91990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118872 w 466344"/>
                  <a:gd name="connsiteY2" fmla="*/ 768646 h 969814"/>
                  <a:gd name="connsiteX3" fmla="*/ 0 w 466344"/>
                  <a:gd name="connsiteY3" fmla="*/ 882946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118872 w 466344"/>
                  <a:gd name="connsiteY2" fmla="*/ 768646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82296 w 466344"/>
                  <a:gd name="connsiteY2" fmla="*/ 759454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82296 w 466344"/>
                  <a:gd name="connsiteY2" fmla="*/ 759454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8242 w 469722"/>
                  <a:gd name="connsiteY0" fmla="*/ 9263 h 970247"/>
                  <a:gd name="connsiteX1" fmla="*/ 81102 w 469722"/>
                  <a:gd name="connsiteY1" fmla="*/ 229150 h 970247"/>
                  <a:gd name="connsiteX2" fmla="*/ 85674 w 469722"/>
                  <a:gd name="connsiteY2" fmla="*/ 759454 h 970247"/>
                  <a:gd name="connsiteX3" fmla="*/ 3378 w 469722"/>
                  <a:gd name="connsiteY3" fmla="*/ 887542 h 970247"/>
                  <a:gd name="connsiteX4" fmla="*/ 199974 w 469722"/>
                  <a:gd name="connsiteY4" fmla="*/ 969814 h 970247"/>
                  <a:gd name="connsiteX5" fmla="*/ 469722 w 469722"/>
                  <a:gd name="connsiteY5" fmla="*/ 855514 h 970247"/>
                  <a:gd name="connsiteX6" fmla="*/ 213690 w 469722"/>
                  <a:gd name="connsiteY6" fmla="*/ 914950 h 970247"/>
                  <a:gd name="connsiteX7" fmla="*/ 140538 w 469722"/>
                  <a:gd name="connsiteY7" fmla="*/ 855514 h 970247"/>
                  <a:gd name="connsiteX8" fmla="*/ 135966 w 469722"/>
                  <a:gd name="connsiteY8" fmla="*/ 256582 h 970247"/>
                  <a:gd name="connsiteX9" fmla="*/ 71958 w 469722"/>
                  <a:gd name="connsiteY9" fmla="*/ 0 h 970247"/>
                  <a:gd name="connsiteX10" fmla="*/ 58242 w 469722"/>
                  <a:gd name="connsiteY10" fmla="*/ 9263 h 970247"/>
                  <a:gd name="connsiteX0" fmla="*/ 54864 w 466344"/>
                  <a:gd name="connsiteY0" fmla="*/ 9263 h 979409"/>
                  <a:gd name="connsiteX1" fmla="*/ 77724 w 466344"/>
                  <a:gd name="connsiteY1" fmla="*/ 229150 h 979409"/>
                  <a:gd name="connsiteX2" fmla="*/ 82296 w 466344"/>
                  <a:gd name="connsiteY2" fmla="*/ 759454 h 979409"/>
                  <a:gd name="connsiteX3" fmla="*/ 0 w 466344"/>
                  <a:gd name="connsiteY3" fmla="*/ 887542 h 979409"/>
                  <a:gd name="connsiteX4" fmla="*/ 196596 w 466344"/>
                  <a:gd name="connsiteY4" fmla="*/ 969814 h 979409"/>
                  <a:gd name="connsiteX5" fmla="*/ 466344 w 466344"/>
                  <a:gd name="connsiteY5" fmla="*/ 855514 h 979409"/>
                  <a:gd name="connsiteX6" fmla="*/ 210312 w 466344"/>
                  <a:gd name="connsiteY6" fmla="*/ 914950 h 979409"/>
                  <a:gd name="connsiteX7" fmla="*/ 137160 w 466344"/>
                  <a:gd name="connsiteY7" fmla="*/ 855514 h 979409"/>
                  <a:gd name="connsiteX8" fmla="*/ 132588 w 466344"/>
                  <a:gd name="connsiteY8" fmla="*/ 256582 h 979409"/>
                  <a:gd name="connsiteX9" fmla="*/ 68580 w 466344"/>
                  <a:gd name="connsiteY9" fmla="*/ 0 h 979409"/>
                  <a:gd name="connsiteX10" fmla="*/ 54864 w 466344"/>
                  <a:gd name="connsiteY10" fmla="*/ 9263 h 979409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210312 w 466344"/>
                  <a:gd name="connsiteY6" fmla="*/ 914950 h 969840"/>
                  <a:gd name="connsiteX7" fmla="*/ 137160 w 466344"/>
                  <a:gd name="connsiteY7" fmla="*/ 855514 h 969840"/>
                  <a:gd name="connsiteX8" fmla="*/ 132588 w 466344"/>
                  <a:gd name="connsiteY8" fmla="*/ 256582 h 969840"/>
                  <a:gd name="connsiteX9" fmla="*/ 68580 w 466344"/>
                  <a:gd name="connsiteY9" fmla="*/ 0 h 969840"/>
                  <a:gd name="connsiteX10" fmla="*/ 54864 w 466344"/>
                  <a:gd name="connsiteY10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210312 w 466344"/>
                  <a:gd name="connsiteY6" fmla="*/ 914950 h 969840"/>
                  <a:gd name="connsiteX7" fmla="*/ 137160 w 466344"/>
                  <a:gd name="connsiteY7" fmla="*/ 855514 h 969840"/>
                  <a:gd name="connsiteX8" fmla="*/ 132588 w 466344"/>
                  <a:gd name="connsiteY8" fmla="*/ 256582 h 969840"/>
                  <a:gd name="connsiteX9" fmla="*/ 68580 w 466344"/>
                  <a:gd name="connsiteY9" fmla="*/ 0 h 969840"/>
                  <a:gd name="connsiteX10" fmla="*/ 54864 w 466344"/>
                  <a:gd name="connsiteY10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379073"/>
                  <a:gd name="connsiteY0" fmla="*/ 9263 h 970190"/>
                  <a:gd name="connsiteX1" fmla="*/ 77724 w 379073"/>
                  <a:gd name="connsiteY1" fmla="*/ 229150 h 970190"/>
                  <a:gd name="connsiteX2" fmla="*/ 82296 w 379073"/>
                  <a:gd name="connsiteY2" fmla="*/ 759454 h 970190"/>
                  <a:gd name="connsiteX3" fmla="*/ 0 w 379073"/>
                  <a:gd name="connsiteY3" fmla="*/ 887542 h 970190"/>
                  <a:gd name="connsiteX4" fmla="*/ 196596 w 379073"/>
                  <a:gd name="connsiteY4" fmla="*/ 969814 h 970190"/>
                  <a:gd name="connsiteX5" fmla="*/ 379073 w 379073"/>
                  <a:gd name="connsiteY5" fmla="*/ 855514 h 970190"/>
                  <a:gd name="connsiteX6" fmla="*/ 137160 w 379073"/>
                  <a:gd name="connsiteY6" fmla="*/ 855514 h 970190"/>
                  <a:gd name="connsiteX7" fmla="*/ 132588 w 379073"/>
                  <a:gd name="connsiteY7" fmla="*/ 256582 h 970190"/>
                  <a:gd name="connsiteX8" fmla="*/ 68580 w 379073"/>
                  <a:gd name="connsiteY8" fmla="*/ 0 h 970190"/>
                  <a:gd name="connsiteX9" fmla="*/ 54864 w 379073"/>
                  <a:gd name="connsiteY9" fmla="*/ 9263 h 970190"/>
                  <a:gd name="connsiteX0" fmla="*/ 54864 w 379073"/>
                  <a:gd name="connsiteY0" fmla="*/ 9263 h 970190"/>
                  <a:gd name="connsiteX1" fmla="*/ 77724 w 379073"/>
                  <a:gd name="connsiteY1" fmla="*/ 229150 h 970190"/>
                  <a:gd name="connsiteX2" fmla="*/ 82296 w 379073"/>
                  <a:gd name="connsiteY2" fmla="*/ 759454 h 970190"/>
                  <a:gd name="connsiteX3" fmla="*/ 0 w 379073"/>
                  <a:gd name="connsiteY3" fmla="*/ 887542 h 970190"/>
                  <a:gd name="connsiteX4" fmla="*/ 196596 w 379073"/>
                  <a:gd name="connsiteY4" fmla="*/ 969814 h 970190"/>
                  <a:gd name="connsiteX5" fmla="*/ 379073 w 379073"/>
                  <a:gd name="connsiteY5" fmla="*/ 855514 h 970190"/>
                  <a:gd name="connsiteX6" fmla="*/ 137160 w 379073"/>
                  <a:gd name="connsiteY6" fmla="*/ 855514 h 970190"/>
                  <a:gd name="connsiteX7" fmla="*/ 132588 w 379073"/>
                  <a:gd name="connsiteY7" fmla="*/ 256582 h 970190"/>
                  <a:gd name="connsiteX8" fmla="*/ 68580 w 379073"/>
                  <a:gd name="connsiteY8" fmla="*/ 0 h 970190"/>
                  <a:gd name="connsiteX9" fmla="*/ 54864 w 379073"/>
                  <a:gd name="connsiteY9" fmla="*/ 9263 h 970190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02875 w 344788"/>
                  <a:gd name="connsiteY6" fmla="*/ 855514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02875 w 344788"/>
                  <a:gd name="connsiteY6" fmla="*/ 855514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27808 w 344788"/>
                  <a:gd name="connsiteY6" fmla="*/ 886845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34295 w 344788"/>
                  <a:gd name="connsiteY0" fmla="*/ 0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27808 w 344788"/>
                  <a:gd name="connsiteY6" fmla="*/ 886845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0" fmla="*/ 0 w 375947"/>
                  <a:gd name="connsiteY0" fmla="*/ 0 h 966762"/>
                  <a:gd name="connsiteX1" fmla="*/ 74598 w 375947"/>
                  <a:gd name="connsiteY1" fmla="*/ 226016 h 966762"/>
                  <a:gd name="connsiteX2" fmla="*/ 79170 w 375947"/>
                  <a:gd name="connsiteY2" fmla="*/ 756320 h 966762"/>
                  <a:gd name="connsiteX3" fmla="*/ 31159 w 375947"/>
                  <a:gd name="connsiteY3" fmla="*/ 868742 h 966762"/>
                  <a:gd name="connsiteX4" fmla="*/ 193470 w 375947"/>
                  <a:gd name="connsiteY4" fmla="*/ 966680 h 966762"/>
                  <a:gd name="connsiteX5" fmla="*/ 375947 w 375947"/>
                  <a:gd name="connsiteY5" fmla="*/ 852380 h 966762"/>
                  <a:gd name="connsiteX6" fmla="*/ 158967 w 375947"/>
                  <a:gd name="connsiteY6" fmla="*/ 883711 h 966762"/>
                  <a:gd name="connsiteX7" fmla="*/ 129462 w 375947"/>
                  <a:gd name="connsiteY7" fmla="*/ 253448 h 966762"/>
                  <a:gd name="connsiteX8" fmla="*/ 0 w 375947"/>
                  <a:gd name="connsiteY8" fmla="*/ 0 h 96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5947" h="966762">
                    <a:moveTo>
                      <a:pt x="0" y="0"/>
                    </a:moveTo>
                    <a:cubicBezTo>
                      <a:pt x="24866" y="75339"/>
                      <a:pt x="61403" y="99963"/>
                      <a:pt x="74598" y="226016"/>
                    </a:cubicBezTo>
                    <a:cubicBezTo>
                      <a:pt x="87793" y="352069"/>
                      <a:pt x="106602" y="512145"/>
                      <a:pt x="79170" y="756320"/>
                    </a:cubicBezTo>
                    <a:lnTo>
                      <a:pt x="31159" y="868742"/>
                    </a:lnTo>
                    <a:cubicBezTo>
                      <a:pt x="50209" y="903802"/>
                      <a:pt x="136005" y="969407"/>
                      <a:pt x="193470" y="966680"/>
                    </a:cubicBezTo>
                    <a:cubicBezTo>
                      <a:pt x="250935" y="963953"/>
                      <a:pt x="298498" y="931212"/>
                      <a:pt x="375947" y="852380"/>
                    </a:cubicBezTo>
                    <a:cubicBezTo>
                      <a:pt x="266219" y="852380"/>
                      <a:pt x="228099" y="924004"/>
                      <a:pt x="158967" y="883711"/>
                    </a:cubicBezTo>
                    <a:cubicBezTo>
                      <a:pt x="89835" y="843418"/>
                      <a:pt x="140892" y="396034"/>
                      <a:pt x="129462" y="25344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Moon 1407"/>
              <p:cNvSpPr/>
              <p:nvPr/>
            </p:nvSpPr>
            <p:spPr>
              <a:xfrm rot="5400000">
                <a:off x="7631338" y="742923"/>
                <a:ext cx="47315" cy="163594"/>
              </a:xfrm>
              <a:prstGeom prst="moon">
                <a:avLst>
                  <a:gd name="adj" fmla="val 53541"/>
                </a:avLst>
              </a:prstGeom>
              <a:solidFill>
                <a:srgbClr val="E3A8F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grpSp>
            <p:nvGrpSpPr>
              <p:cNvPr id="1409" name="Group 1408"/>
              <p:cNvGrpSpPr/>
              <p:nvPr/>
            </p:nvGrpSpPr>
            <p:grpSpPr>
              <a:xfrm>
                <a:off x="7426625" y="1103573"/>
                <a:ext cx="202452" cy="80358"/>
                <a:chOff x="7206201" y="2269553"/>
                <a:chExt cx="611134" cy="252515"/>
              </a:xfrm>
            </p:grpSpPr>
            <p:grpSp>
              <p:nvGrpSpPr>
                <p:cNvPr id="1453" name="Group 1452"/>
                <p:cNvGrpSpPr/>
                <p:nvPr/>
              </p:nvGrpSpPr>
              <p:grpSpPr>
                <a:xfrm>
                  <a:off x="7206201" y="2269553"/>
                  <a:ext cx="611134" cy="252515"/>
                  <a:chOff x="7206201" y="2269553"/>
                  <a:chExt cx="611134" cy="252515"/>
                </a:xfrm>
              </p:grpSpPr>
              <p:sp>
                <p:nvSpPr>
                  <p:cNvPr id="1455" name="Freeform 1454"/>
                  <p:cNvSpPr/>
                  <p:nvPr/>
                </p:nvSpPr>
                <p:spPr>
                  <a:xfrm>
                    <a:off x="7206201" y="2269553"/>
                    <a:ext cx="611134" cy="252515"/>
                  </a:xfrm>
                  <a:custGeom>
                    <a:avLst/>
                    <a:gdLst>
                      <a:gd name="connsiteX0" fmla="*/ 0 w 704088"/>
                      <a:gd name="connsiteY0" fmla="*/ 36576 h 539496"/>
                      <a:gd name="connsiteX1" fmla="*/ 704088 w 704088"/>
                      <a:gd name="connsiteY1" fmla="*/ 0 h 539496"/>
                      <a:gd name="connsiteX2" fmla="*/ 347472 w 704088"/>
                      <a:gd name="connsiteY2" fmla="*/ 539496 h 539496"/>
                      <a:gd name="connsiteX3" fmla="*/ 0 w 704088"/>
                      <a:gd name="connsiteY3" fmla="*/ 36576 h 539496"/>
                      <a:gd name="connsiteX0" fmla="*/ 0 w 704088"/>
                      <a:gd name="connsiteY0" fmla="*/ 85818 h 588738"/>
                      <a:gd name="connsiteX1" fmla="*/ 704088 w 704088"/>
                      <a:gd name="connsiteY1" fmla="*/ 49242 h 588738"/>
                      <a:gd name="connsiteX2" fmla="*/ 347472 w 704088"/>
                      <a:gd name="connsiteY2" fmla="*/ 588738 h 588738"/>
                      <a:gd name="connsiteX3" fmla="*/ 0 w 704088"/>
                      <a:gd name="connsiteY3" fmla="*/ 85818 h 588738"/>
                      <a:gd name="connsiteX0" fmla="*/ 0 w 704088"/>
                      <a:gd name="connsiteY0" fmla="*/ 58319 h 561239"/>
                      <a:gd name="connsiteX1" fmla="*/ 704088 w 704088"/>
                      <a:gd name="connsiteY1" fmla="*/ 21743 h 561239"/>
                      <a:gd name="connsiteX2" fmla="*/ 347472 w 704088"/>
                      <a:gd name="connsiteY2" fmla="*/ 561239 h 561239"/>
                      <a:gd name="connsiteX3" fmla="*/ 0 w 704088"/>
                      <a:gd name="connsiteY3" fmla="*/ 58319 h 561239"/>
                      <a:gd name="connsiteX0" fmla="*/ 0 w 704088"/>
                      <a:gd name="connsiteY0" fmla="*/ 36576 h 539496"/>
                      <a:gd name="connsiteX1" fmla="*/ 704088 w 704088"/>
                      <a:gd name="connsiteY1" fmla="*/ 0 h 539496"/>
                      <a:gd name="connsiteX2" fmla="*/ 347472 w 704088"/>
                      <a:gd name="connsiteY2" fmla="*/ 539496 h 539496"/>
                      <a:gd name="connsiteX3" fmla="*/ 0 w 704088"/>
                      <a:gd name="connsiteY3" fmla="*/ 36576 h 539496"/>
                      <a:gd name="connsiteX0" fmla="*/ 7983 w 712071"/>
                      <a:gd name="connsiteY0" fmla="*/ 36576 h 573258"/>
                      <a:gd name="connsiteX1" fmla="*/ 712071 w 712071"/>
                      <a:gd name="connsiteY1" fmla="*/ 0 h 573258"/>
                      <a:gd name="connsiteX2" fmla="*/ 355455 w 712071"/>
                      <a:gd name="connsiteY2" fmla="*/ 539496 h 573258"/>
                      <a:gd name="connsiteX3" fmla="*/ 7983 w 712071"/>
                      <a:gd name="connsiteY3" fmla="*/ 36576 h 573258"/>
                      <a:gd name="connsiteX0" fmla="*/ 8915 w 713003"/>
                      <a:gd name="connsiteY0" fmla="*/ 36576 h 539612"/>
                      <a:gd name="connsiteX1" fmla="*/ 713003 w 713003"/>
                      <a:gd name="connsiteY1" fmla="*/ 0 h 539612"/>
                      <a:gd name="connsiteX2" fmla="*/ 356387 w 713003"/>
                      <a:gd name="connsiteY2" fmla="*/ 539496 h 539612"/>
                      <a:gd name="connsiteX3" fmla="*/ 8915 w 713003"/>
                      <a:gd name="connsiteY3" fmla="*/ 36576 h 539612"/>
                      <a:gd name="connsiteX0" fmla="*/ 7453 w 711541"/>
                      <a:gd name="connsiteY0" fmla="*/ 36576 h 411657"/>
                      <a:gd name="connsiteX1" fmla="*/ 711541 w 711541"/>
                      <a:gd name="connsiteY1" fmla="*/ 0 h 411657"/>
                      <a:gd name="connsiteX2" fmla="*/ 414361 w 711541"/>
                      <a:gd name="connsiteY2" fmla="*/ 411480 h 411657"/>
                      <a:gd name="connsiteX3" fmla="*/ 7453 w 711541"/>
                      <a:gd name="connsiteY3" fmla="*/ 36576 h 411657"/>
                      <a:gd name="connsiteX0" fmla="*/ 8259 w 712347"/>
                      <a:gd name="connsiteY0" fmla="*/ 36576 h 412039"/>
                      <a:gd name="connsiteX1" fmla="*/ 712347 w 712347"/>
                      <a:gd name="connsiteY1" fmla="*/ 0 h 412039"/>
                      <a:gd name="connsiteX2" fmla="*/ 415167 w 712347"/>
                      <a:gd name="connsiteY2" fmla="*/ 411480 h 412039"/>
                      <a:gd name="connsiteX3" fmla="*/ 8259 w 712347"/>
                      <a:gd name="connsiteY3" fmla="*/ 36576 h 412039"/>
                      <a:gd name="connsiteX0" fmla="*/ 0 w 704088"/>
                      <a:gd name="connsiteY0" fmla="*/ 36576 h 412673"/>
                      <a:gd name="connsiteX1" fmla="*/ 704088 w 704088"/>
                      <a:gd name="connsiteY1" fmla="*/ 0 h 412673"/>
                      <a:gd name="connsiteX2" fmla="*/ 406908 w 704088"/>
                      <a:gd name="connsiteY2" fmla="*/ 411480 h 412673"/>
                      <a:gd name="connsiteX3" fmla="*/ 0 w 704088"/>
                      <a:gd name="connsiteY3" fmla="*/ 36576 h 412673"/>
                      <a:gd name="connsiteX0" fmla="*/ 0 w 704088"/>
                      <a:gd name="connsiteY0" fmla="*/ 36576 h 292712"/>
                      <a:gd name="connsiteX1" fmla="*/ 704088 w 704088"/>
                      <a:gd name="connsiteY1" fmla="*/ 0 h 292712"/>
                      <a:gd name="connsiteX2" fmla="*/ 402336 w 704088"/>
                      <a:gd name="connsiteY2" fmla="*/ 288036 h 292712"/>
                      <a:gd name="connsiteX3" fmla="*/ 0 w 704088"/>
                      <a:gd name="connsiteY3" fmla="*/ 36576 h 292712"/>
                      <a:gd name="connsiteX0" fmla="*/ 0 w 704088"/>
                      <a:gd name="connsiteY0" fmla="*/ 36576 h 290923"/>
                      <a:gd name="connsiteX1" fmla="*/ 704088 w 704088"/>
                      <a:gd name="connsiteY1" fmla="*/ 0 h 290923"/>
                      <a:gd name="connsiteX2" fmla="*/ 402336 w 704088"/>
                      <a:gd name="connsiteY2" fmla="*/ 288036 h 290923"/>
                      <a:gd name="connsiteX3" fmla="*/ 0 w 704088"/>
                      <a:gd name="connsiteY3" fmla="*/ 36576 h 290923"/>
                      <a:gd name="connsiteX0" fmla="*/ 0 w 704088"/>
                      <a:gd name="connsiteY0" fmla="*/ 36576 h 290923"/>
                      <a:gd name="connsiteX1" fmla="*/ 704088 w 704088"/>
                      <a:gd name="connsiteY1" fmla="*/ 0 h 290923"/>
                      <a:gd name="connsiteX2" fmla="*/ 402336 w 704088"/>
                      <a:gd name="connsiteY2" fmla="*/ 288036 h 290923"/>
                      <a:gd name="connsiteX3" fmla="*/ 0 w 704088"/>
                      <a:gd name="connsiteY3" fmla="*/ 36576 h 2909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04088" h="290923">
                        <a:moveTo>
                          <a:pt x="0" y="36576"/>
                        </a:moveTo>
                        <a:cubicBezTo>
                          <a:pt x="402336" y="106680"/>
                          <a:pt x="463296" y="62484"/>
                          <a:pt x="704088" y="0"/>
                        </a:cubicBezTo>
                        <a:cubicBezTo>
                          <a:pt x="635508" y="134112"/>
                          <a:pt x="594360" y="272796"/>
                          <a:pt x="402336" y="288036"/>
                        </a:cubicBezTo>
                        <a:cubicBezTo>
                          <a:pt x="210312" y="303276"/>
                          <a:pt x="132588" y="263652"/>
                          <a:pt x="0" y="36576"/>
                        </a:cubicBezTo>
                        <a:close/>
                      </a:path>
                    </a:pathLst>
                  </a:custGeom>
                  <a:solidFill>
                    <a:srgbClr val="D4475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456" name="Oval 492"/>
                  <p:cNvSpPr/>
                  <p:nvPr/>
                </p:nvSpPr>
                <p:spPr>
                  <a:xfrm>
                    <a:off x="7295433" y="2349859"/>
                    <a:ext cx="432668" cy="1722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8477" h="198400">
                        <a:moveTo>
                          <a:pt x="249208" y="0"/>
                        </a:moveTo>
                        <a:cubicBezTo>
                          <a:pt x="353845" y="0"/>
                          <a:pt x="445850" y="36977"/>
                          <a:pt x="498477" y="93170"/>
                        </a:cubicBezTo>
                        <a:cubicBezTo>
                          <a:pt x="455726" y="148132"/>
                          <a:pt x="397103" y="187770"/>
                          <a:pt x="299500" y="195516"/>
                        </a:cubicBezTo>
                        <a:cubicBezTo>
                          <a:pt x="161254" y="206488"/>
                          <a:pt x="82251" y="189023"/>
                          <a:pt x="0" y="93094"/>
                        </a:cubicBezTo>
                        <a:cubicBezTo>
                          <a:pt x="52643" y="36946"/>
                          <a:pt x="144616" y="0"/>
                          <a:pt x="249208" y="0"/>
                        </a:cubicBezTo>
                        <a:close/>
                      </a:path>
                    </a:pathLst>
                  </a:custGeom>
                  <a:solidFill>
                    <a:srgbClr val="EA9E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  <p:sp>
              <p:nvSpPr>
                <p:cNvPr id="1454" name="Freeform 1453"/>
                <p:cNvSpPr/>
                <p:nvPr/>
              </p:nvSpPr>
              <p:spPr>
                <a:xfrm>
                  <a:off x="7206201" y="2269553"/>
                  <a:ext cx="611134" cy="1138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088" h="131129">
                      <a:moveTo>
                        <a:pt x="704088" y="0"/>
                      </a:moveTo>
                      <a:lnTo>
                        <a:pt x="670585" y="67885"/>
                      </a:lnTo>
                      <a:cubicBezTo>
                        <a:pt x="464424" y="123212"/>
                        <a:pt x="388532" y="159437"/>
                        <a:pt x="40616" y="102125"/>
                      </a:cubicBezTo>
                      <a:cubicBezTo>
                        <a:pt x="27356" y="82387"/>
                        <a:pt x="13983" y="60524"/>
                        <a:pt x="0" y="36576"/>
                      </a:cubicBezTo>
                      <a:cubicBezTo>
                        <a:pt x="402336" y="106680"/>
                        <a:pt x="463296" y="62484"/>
                        <a:pt x="70408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410" name="Freeform 1409"/>
              <p:cNvSpPr/>
              <p:nvPr/>
            </p:nvSpPr>
            <p:spPr>
              <a:xfrm flipH="1">
                <a:off x="7188283" y="836123"/>
                <a:ext cx="41949" cy="117392"/>
              </a:xfrm>
              <a:custGeom>
                <a:avLst/>
                <a:gdLst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52795 w 127117"/>
                  <a:gd name="connsiteY5" fmla="*/ 239070 h 405447"/>
                  <a:gd name="connsiteX6" fmla="*/ 60180 w 127117"/>
                  <a:gd name="connsiteY6" fmla="*/ 335798 h 405447"/>
                  <a:gd name="connsiteX7" fmla="*/ 73074 w 127117"/>
                  <a:gd name="connsiteY7" fmla="*/ 405447 h 405447"/>
                  <a:gd name="connsiteX8" fmla="*/ 127100 w 127117"/>
                  <a:gd name="connsiteY8" fmla="*/ 174710 h 405447"/>
                  <a:gd name="connsiteX9" fmla="*/ 63930 w 127117"/>
                  <a:gd name="connsiteY9" fmla="*/ 7683 h 405447"/>
                  <a:gd name="connsiteX10" fmla="*/ 46290 w 127117"/>
                  <a:gd name="connsiteY10" fmla="*/ 1 h 405447"/>
                  <a:gd name="connsiteX0" fmla="*/ 46290 w 127117"/>
                  <a:gd name="connsiteY0" fmla="*/ 1 h 406048"/>
                  <a:gd name="connsiteX1" fmla="*/ 8038 w 127117"/>
                  <a:gd name="connsiteY1" fmla="*/ 45476 h 406048"/>
                  <a:gd name="connsiteX2" fmla="*/ 86790 w 127117"/>
                  <a:gd name="connsiteY2" fmla="*/ 199707 h 406048"/>
                  <a:gd name="connsiteX3" fmla="*/ 86450 w 127117"/>
                  <a:gd name="connsiteY3" fmla="*/ 204808 h 406048"/>
                  <a:gd name="connsiteX4" fmla="*/ 0 w 127117"/>
                  <a:gd name="connsiteY4" fmla="*/ 157686 h 406048"/>
                  <a:gd name="connsiteX5" fmla="*/ 52795 w 127117"/>
                  <a:gd name="connsiteY5" fmla="*/ 239070 h 406048"/>
                  <a:gd name="connsiteX6" fmla="*/ 73074 w 127117"/>
                  <a:gd name="connsiteY6" fmla="*/ 405447 h 406048"/>
                  <a:gd name="connsiteX7" fmla="*/ 127100 w 127117"/>
                  <a:gd name="connsiteY7" fmla="*/ 174710 h 406048"/>
                  <a:gd name="connsiteX8" fmla="*/ 63930 w 127117"/>
                  <a:gd name="connsiteY8" fmla="*/ 7683 h 406048"/>
                  <a:gd name="connsiteX9" fmla="*/ 46290 w 127117"/>
                  <a:gd name="connsiteY9" fmla="*/ 1 h 406048"/>
                  <a:gd name="connsiteX0" fmla="*/ 46356 w 127183"/>
                  <a:gd name="connsiteY0" fmla="*/ 1 h 405447"/>
                  <a:gd name="connsiteX1" fmla="*/ 8104 w 127183"/>
                  <a:gd name="connsiteY1" fmla="*/ 45476 h 405447"/>
                  <a:gd name="connsiteX2" fmla="*/ 86856 w 127183"/>
                  <a:gd name="connsiteY2" fmla="*/ 199707 h 405447"/>
                  <a:gd name="connsiteX3" fmla="*/ 86516 w 127183"/>
                  <a:gd name="connsiteY3" fmla="*/ 204808 h 405447"/>
                  <a:gd name="connsiteX4" fmla="*/ 66 w 127183"/>
                  <a:gd name="connsiteY4" fmla="*/ 157686 h 405447"/>
                  <a:gd name="connsiteX5" fmla="*/ 73140 w 127183"/>
                  <a:gd name="connsiteY5" fmla="*/ 405447 h 405447"/>
                  <a:gd name="connsiteX6" fmla="*/ 127166 w 127183"/>
                  <a:gd name="connsiteY6" fmla="*/ 174710 h 405447"/>
                  <a:gd name="connsiteX7" fmla="*/ 63996 w 127183"/>
                  <a:gd name="connsiteY7" fmla="*/ 7683 h 405447"/>
                  <a:gd name="connsiteX8" fmla="*/ 46356 w 127183"/>
                  <a:gd name="connsiteY8" fmla="*/ 1 h 405447"/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73074 w 127117"/>
                  <a:gd name="connsiteY5" fmla="*/ 405447 h 405447"/>
                  <a:gd name="connsiteX6" fmla="*/ 127100 w 127117"/>
                  <a:gd name="connsiteY6" fmla="*/ 174710 h 405447"/>
                  <a:gd name="connsiteX7" fmla="*/ 63930 w 127117"/>
                  <a:gd name="connsiteY7" fmla="*/ 7683 h 405447"/>
                  <a:gd name="connsiteX8" fmla="*/ 46290 w 127117"/>
                  <a:gd name="connsiteY8" fmla="*/ 1 h 405447"/>
                  <a:gd name="connsiteX0" fmla="*/ 46290 w 127117"/>
                  <a:gd name="connsiteY0" fmla="*/ 1 h 421977"/>
                  <a:gd name="connsiteX1" fmla="*/ 8038 w 127117"/>
                  <a:gd name="connsiteY1" fmla="*/ 45476 h 421977"/>
                  <a:gd name="connsiteX2" fmla="*/ 86790 w 127117"/>
                  <a:gd name="connsiteY2" fmla="*/ 199707 h 421977"/>
                  <a:gd name="connsiteX3" fmla="*/ 86450 w 127117"/>
                  <a:gd name="connsiteY3" fmla="*/ 204808 h 421977"/>
                  <a:gd name="connsiteX4" fmla="*/ 0 w 127117"/>
                  <a:gd name="connsiteY4" fmla="*/ 157686 h 421977"/>
                  <a:gd name="connsiteX5" fmla="*/ 73074 w 127117"/>
                  <a:gd name="connsiteY5" fmla="*/ 405447 h 421977"/>
                  <a:gd name="connsiteX6" fmla="*/ 127100 w 127117"/>
                  <a:gd name="connsiteY6" fmla="*/ 174710 h 421977"/>
                  <a:gd name="connsiteX7" fmla="*/ 63930 w 127117"/>
                  <a:gd name="connsiteY7" fmla="*/ 7683 h 421977"/>
                  <a:gd name="connsiteX8" fmla="*/ 46290 w 127117"/>
                  <a:gd name="connsiteY8" fmla="*/ 1 h 421977"/>
                  <a:gd name="connsiteX0" fmla="*/ 46290 w 127121"/>
                  <a:gd name="connsiteY0" fmla="*/ 1 h 405476"/>
                  <a:gd name="connsiteX1" fmla="*/ 8038 w 127121"/>
                  <a:gd name="connsiteY1" fmla="*/ 45476 h 405476"/>
                  <a:gd name="connsiteX2" fmla="*/ 86790 w 127121"/>
                  <a:gd name="connsiteY2" fmla="*/ 199707 h 405476"/>
                  <a:gd name="connsiteX3" fmla="*/ 86450 w 127121"/>
                  <a:gd name="connsiteY3" fmla="*/ 204808 h 405476"/>
                  <a:gd name="connsiteX4" fmla="*/ 0 w 127121"/>
                  <a:gd name="connsiteY4" fmla="*/ 157686 h 405476"/>
                  <a:gd name="connsiteX5" fmla="*/ 73074 w 127121"/>
                  <a:gd name="connsiteY5" fmla="*/ 405447 h 405476"/>
                  <a:gd name="connsiteX6" fmla="*/ 127100 w 127121"/>
                  <a:gd name="connsiteY6" fmla="*/ 174710 h 405476"/>
                  <a:gd name="connsiteX7" fmla="*/ 63930 w 127121"/>
                  <a:gd name="connsiteY7" fmla="*/ 7683 h 405476"/>
                  <a:gd name="connsiteX8" fmla="*/ 46290 w 127121"/>
                  <a:gd name="connsiteY8" fmla="*/ 1 h 405476"/>
                  <a:gd name="connsiteX0" fmla="*/ 46290 w 127130"/>
                  <a:gd name="connsiteY0" fmla="*/ 1 h 370347"/>
                  <a:gd name="connsiteX1" fmla="*/ 8038 w 127130"/>
                  <a:gd name="connsiteY1" fmla="*/ 45476 h 370347"/>
                  <a:gd name="connsiteX2" fmla="*/ 86790 w 127130"/>
                  <a:gd name="connsiteY2" fmla="*/ 199707 h 370347"/>
                  <a:gd name="connsiteX3" fmla="*/ 86450 w 127130"/>
                  <a:gd name="connsiteY3" fmla="*/ 204808 h 370347"/>
                  <a:gd name="connsiteX4" fmla="*/ 0 w 127130"/>
                  <a:gd name="connsiteY4" fmla="*/ 157686 h 370347"/>
                  <a:gd name="connsiteX5" fmla="*/ 81190 w 127130"/>
                  <a:gd name="connsiteY5" fmla="*/ 370278 h 370347"/>
                  <a:gd name="connsiteX6" fmla="*/ 127100 w 127130"/>
                  <a:gd name="connsiteY6" fmla="*/ 174710 h 370347"/>
                  <a:gd name="connsiteX7" fmla="*/ 63930 w 127130"/>
                  <a:gd name="connsiteY7" fmla="*/ 7683 h 370347"/>
                  <a:gd name="connsiteX8" fmla="*/ 46290 w 127130"/>
                  <a:gd name="connsiteY8" fmla="*/ 1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30" h="370347">
                    <a:moveTo>
                      <a:pt x="46290" y="1"/>
                    </a:moveTo>
                    <a:cubicBezTo>
                      <a:pt x="26886" y="100"/>
                      <a:pt x="5180" y="21473"/>
                      <a:pt x="8038" y="45476"/>
                    </a:cubicBezTo>
                    <a:lnTo>
                      <a:pt x="86790" y="199707"/>
                    </a:lnTo>
                    <a:cubicBezTo>
                      <a:pt x="86677" y="201407"/>
                      <a:pt x="86563" y="203108"/>
                      <a:pt x="86450" y="204808"/>
                    </a:cubicBezTo>
                    <a:cubicBezTo>
                      <a:pt x="67440" y="167342"/>
                      <a:pt x="31336" y="147098"/>
                      <a:pt x="0" y="157686"/>
                    </a:cubicBezTo>
                    <a:cubicBezTo>
                      <a:pt x="141153" y="272285"/>
                      <a:pt x="55065" y="368735"/>
                      <a:pt x="81190" y="370278"/>
                    </a:cubicBezTo>
                    <a:cubicBezTo>
                      <a:pt x="107315" y="371821"/>
                      <a:pt x="128028" y="349014"/>
                      <a:pt x="127100" y="174710"/>
                    </a:cubicBezTo>
                    <a:cubicBezTo>
                      <a:pt x="125576" y="108416"/>
                      <a:pt x="83774" y="29222"/>
                      <a:pt x="63930" y="7683"/>
                    </a:cubicBezTo>
                    <a:cubicBezTo>
                      <a:pt x="58969" y="2298"/>
                      <a:pt x="52757" y="-32"/>
                      <a:pt x="46290" y="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11" name="Freeform 1410"/>
              <p:cNvSpPr/>
              <p:nvPr/>
            </p:nvSpPr>
            <p:spPr>
              <a:xfrm>
                <a:off x="7428847" y="1103799"/>
                <a:ext cx="201947" cy="23479"/>
              </a:xfrm>
              <a:custGeom>
                <a:avLst/>
                <a:gdLst>
                  <a:gd name="connsiteX0" fmla="*/ 0 w 531223"/>
                  <a:gd name="connsiteY0" fmla="*/ 26125 h 29028"/>
                  <a:gd name="connsiteX1" fmla="*/ 200297 w 531223"/>
                  <a:gd name="connsiteY1" fmla="*/ 14514 h 29028"/>
                  <a:gd name="connsiteX2" fmla="*/ 267063 w 531223"/>
                  <a:gd name="connsiteY2" fmla="*/ 29028 h 29028"/>
                  <a:gd name="connsiteX3" fmla="*/ 330926 w 531223"/>
                  <a:gd name="connsiteY3" fmla="*/ 11611 h 29028"/>
                  <a:gd name="connsiteX4" fmla="*/ 531223 w 531223"/>
                  <a:gd name="connsiteY4" fmla="*/ 0 h 29028"/>
                  <a:gd name="connsiteX5" fmla="*/ 0 w 531223"/>
                  <a:gd name="connsiteY5" fmla="*/ 26125 h 29028"/>
                  <a:gd name="connsiteX0" fmla="*/ 0 w 531223"/>
                  <a:gd name="connsiteY0" fmla="*/ 26125 h 53375"/>
                  <a:gd name="connsiteX1" fmla="*/ 200297 w 531223"/>
                  <a:gd name="connsiteY1" fmla="*/ 14514 h 53375"/>
                  <a:gd name="connsiteX2" fmla="*/ 267063 w 531223"/>
                  <a:gd name="connsiteY2" fmla="*/ 29028 h 53375"/>
                  <a:gd name="connsiteX3" fmla="*/ 330926 w 531223"/>
                  <a:gd name="connsiteY3" fmla="*/ 11611 h 53375"/>
                  <a:gd name="connsiteX4" fmla="*/ 531223 w 531223"/>
                  <a:gd name="connsiteY4" fmla="*/ 0 h 53375"/>
                  <a:gd name="connsiteX5" fmla="*/ 0 w 531223"/>
                  <a:gd name="connsiteY5" fmla="*/ 26125 h 53375"/>
                  <a:gd name="connsiteX0" fmla="*/ 0 w 531223"/>
                  <a:gd name="connsiteY0" fmla="*/ 41801 h 69051"/>
                  <a:gd name="connsiteX1" fmla="*/ 200297 w 531223"/>
                  <a:gd name="connsiteY1" fmla="*/ 30190 h 69051"/>
                  <a:gd name="connsiteX2" fmla="*/ 267063 w 531223"/>
                  <a:gd name="connsiteY2" fmla="*/ 44704 h 69051"/>
                  <a:gd name="connsiteX3" fmla="*/ 330926 w 531223"/>
                  <a:gd name="connsiteY3" fmla="*/ 27287 h 69051"/>
                  <a:gd name="connsiteX4" fmla="*/ 531223 w 531223"/>
                  <a:gd name="connsiteY4" fmla="*/ 15676 h 69051"/>
                  <a:gd name="connsiteX5" fmla="*/ 0 w 531223"/>
                  <a:gd name="connsiteY5" fmla="*/ 41801 h 69051"/>
                  <a:gd name="connsiteX0" fmla="*/ 0 w 531223"/>
                  <a:gd name="connsiteY0" fmla="*/ 26125 h 100285"/>
                  <a:gd name="connsiteX1" fmla="*/ 200297 w 531223"/>
                  <a:gd name="connsiteY1" fmla="*/ 14514 h 100285"/>
                  <a:gd name="connsiteX2" fmla="*/ 267063 w 531223"/>
                  <a:gd name="connsiteY2" fmla="*/ 29028 h 100285"/>
                  <a:gd name="connsiteX3" fmla="*/ 330926 w 531223"/>
                  <a:gd name="connsiteY3" fmla="*/ 11611 h 100285"/>
                  <a:gd name="connsiteX4" fmla="*/ 531223 w 531223"/>
                  <a:gd name="connsiteY4" fmla="*/ 0 h 100285"/>
                  <a:gd name="connsiteX5" fmla="*/ 0 w 531223"/>
                  <a:gd name="connsiteY5" fmla="*/ 26125 h 100285"/>
                  <a:gd name="connsiteX0" fmla="*/ 0 w 531223"/>
                  <a:gd name="connsiteY0" fmla="*/ 26125 h 100285"/>
                  <a:gd name="connsiteX1" fmla="*/ 200297 w 531223"/>
                  <a:gd name="connsiteY1" fmla="*/ 14514 h 100285"/>
                  <a:gd name="connsiteX2" fmla="*/ 267063 w 531223"/>
                  <a:gd name="connsiteY2" fmla="*/ 29028 h 100285"/>
                  <a:gd name="connsiteX3" fmla="*/ 330926 w 531223"/>
                  <a:gd name="connsiteY3" fmla="*/ 11611 h 100285"/>
                  <a:gd name="connsiteX4" fmla="*/ 531223 w 531223"/>
                  <a:gd name="connsiteY4" fmla="*/ 0 h 100285"/>
                  <a:gd name="connsiteX5" fmla="*/ 0 w 531223"/>
                  <a:gd name="connsiteY5" fmla="*/ 26125 h 100285"/>
                  <a:gd name="connsiteX0" fmla="*/ 0 w 531223"/>
                  <a:gd name="connsiteY0" fmla="*/ 26125 h 54206"/>
                  <a:gd name="connsiteX1" fmla="*/ 200297 w 531223"/>
                  <a:gd name="connsiteY1" fmla="*/ 14514 h 54206"/>
                  <a:gd name="connsiteX2" fmla="*/ 267063 w 531223"/>
                  <a:gd name="connsiteY2" fmla="*/ 29028 h 54206"/>
                  <a:gd name="connsiteX3" fmla="*/ 330926 w 531223"/>
                  <a:gd name="connsiteY3" fmla="*/ 11611 h 54206"/>
                  <a:gd name="connsiteX4" fmla="*/ 531223 w 531223"/>
                  <a:gd name="connsiteY4" fmla="*/ 0 h 54206"/>
                  <a:gd name="connsiteX5" fmla="*/ 0 w 531223"/>
                  <a:gd name="connsiteY5" fmla="*/ 26125 h 54206"/>
                  <a:gd name="connsiteX0" fmla="*/ 0 w 531223"/>
                  <a:gd name="connsiteY0" fmla="*/ 26125 h 64293"/>
                  <a:gd name="connsiteX1" fmla="*/ 200297 w 531223"/>
                  <a:gd name="connsiteY1" fmla="*/ 14514 h 64293"/>
                  <a:gd name="connsiteX2" fmla="*/ 267063 w 531223"/>
                  <a:gd name="connsiteY2" fmla="*/ 29028 h 64293"/>
                  <a:gd name="connsiteX3" fmla="*/ 330926 w 531223"/>
                  <a:gd name="connsiteY3" fmla="*/ 11611 h 64293"/>
                  <a:gd name="connsiteX4" fmla="*/ 531223 w 531223"/>
                  <a:gd name="connsiteY4" fmla="*/ 0 h 64293"/>
                  <a:gd name="connsiteX5" fmla="*/ 0 w 531223"/>
                  <a:gd name="connsiteY5" fmla="*/ 26125 h 64293"/>
                  <a:gd name="connsiteX0" fmla="*/ 0 w 531223"/>
                  <a:gd name="connsiteY0" fmla="*/ 26125 h 64293"/>
                  <a:gd name="connsiteX1" fmla="*/ 200297 w 531223"/>
                  <a:gd name="connsiteY1" fmla="*/ 14514 h 64293"/>
                  <a:gd name="connsiteX2" fmla="*/ 267063 w 531223"/>
                  <a:gd name="connsiteY2" fmla="*/ 29028 h 64293"/>
                  <a:gd name="connsiteX3" fmla="*/ 330926 w 531223"/>
                  <a:gd name="connsiteY3" fmla="*/ 11611 h 64293"/>
                  <a:gd name="connsiteX4" fmla="*/ 531223 w 531223"/>
                  <a:gd name="connsiteY4" fmla="*/ 0 h 64293"/>
                  <a:gd name="connsiteX5" fmla="*/ 0 w 531223"/>
                  <a:gd name="connsiteY5" fmla="*/ 26125 h 6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1223" h="64293">
                    <a:moveTo>
                      <a:pt x="0" y="26125"/>
                    </a:moveTo>
                    <a:cubicBezTo>
                      <a:pt x="174172" y="25158"/>
                      <a:pt x="133531" y="18384"/>
                      <a:pt x="200297" y="14514"/>
                    </a:cubicBezTo>
                    <a:lnTo>
                      <a:pt x="267063" y="29028"/>
                    </a:lnTo>
                    <a:lnTo>
                      <a:pt x="330926" y="11611"/>
                    </a:lnTo>
                    <a:lnTo>
                      <a:pt x="531223" y="0"/>
                    </a:lnTo>
                    <a:cubicBezTo>
                      <a:pt x="371566" y="55154"/>
                      <a:pt x="307703" y="98696"/>
                      <a:pt x="0" y="26125"/>
                    </a:cubicBezTo>
                    <a:close/>
                  </a:path>
                </a:pathLst>
              </a:custGeom>
              <a:solidFill>
                <a:srgbClr val="FF4F4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2" name="Freeform 1411"/>
              <p:cNvSpPr/>
              <p:nvPr/>
            </p:nvSpPr>
            <p:spPr>
              <a:xfrm>
                <a:off x="7428683" y="1105390"/>
                <a:ext cx="201870" cy="112012"/>
              </a:xfrm>
              <a:custGeom>
                <a:avLst/>
                <a:gdLst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87541"/>
                  <a:gd name="connsiteX1" fmla="*/ 538163 w 538163"/>
                  <a:gd name="connsiteY1" fmla="*/ 0 h 87541"/>
                  <a:gd name="connsiteX2" fmla="*/ 0 w 538163"/>
                  <a:gd name="connsiteY2" fmla="*/ 21432 h 87541"/>
                  <a:gd name="connsiteX0" fmla="*/ 0 w 538163"/>
                  <a:gd name="connsiteY0" fmla="*/ 21432 h 305387"/>
                  <a:gd name="connsiteX1" fmla="*/ 538163 w 538163"/>
                  <a:gd name="connsiteY1" fmla="*/ 0 h 305387"/>
                  <a:gd name="connsiteX2" fmla="*/ 0 w 538163"/>
                  <a:gd name="connsiteY2" fmla="*/ 21432 h 305387"/>
                  <a:gd name="connsiteX0" fmla="*/ 0 w 538163"/>
                  <a:gd name="connsiteY0" fmla="*/ 40320 h 324275"/>
                  <a:gd name="connsiteX1" fmla="*/ 538163 w 538163"/>
                  <a:gd name="connsiteY1" fmla="*/ 18888 h 324275"/>
                  <a:gd name="connsiteX2" fmla="*/ 0 w 538163"/>
                  <a:gd name="connsiteY2" fmla="*/ 40320 h 324275"/>
                  <a:gd name="connsiteX0" fmla="*/ 0 w 538163"/>
                  <a:gd name="connsiteY0" fmla="*/ 40320 h 349566"/>
                  <a:gd name="connsiteX1" fmla="*/ 538163 w 538163"/>
                  <a:gd name="connsiteY1" fmla="*/ 18888 h 349566"/>
                  <a:gd name="connsiteX2" fmla="*/ 0 w 538163"/>
                  <a:gd name="connsiteY2" fmla="*/ 40320 h 349566"/>
                  <a:gd name="connsiteX0" fmla="*/ 0 w 538163"/>
                  <a:gd name="connsiteY0" fmla="*/ 40320 h 324264"/>
                  <a:gd name="connsiteX1" fmla="*/ 538163 w 538163"/>
                  <a:gd name="connsiteY1" fmla="*/ 18888 h 324264"/>
                  <a:gd name="connsiteX2" fmla="*/ 0 w 538163"/>
                  <a:gd name="connsiteY2" fmla="*/ 40320 h 324264"/>
                  <a:gd name="connsiteX0" fmla="*/ 0 w 538163"/>
                  <a:gd name="connsiteY0" fmla="*/ 24558 h 308502"/>
                  <a:gd name="connsiteX1" fmla="*/ 538163 w 538163"/>
                  <a:gd name="connsiteY1" fmla="*/ 3126 h 308502"/>
                  <a:gd name="connsiteX2" fmla="*/ 0 w 538163"/>
                  <a:gd name="connsiteY2" fmla="*/ 24558 h 308502"/>
                  <a:gd name="connsiteX0" fmla="*/ 0 w 538163"/>
                  <a:gd name="connsiteY0" fmla="*/ 21432 h 305376"/>
                  <a:gd name="connsiteX1" fmla="*/ 538163 w 538163"/>
                  <a:gd name="connsiteY1" fmla="*/ 0 h 305376"/>
                  <a:gd name="connsiteX2" fmla="*/ 0 w 538163"/>
                  <a:gd name="connsiteY2" fmla="*/ 21432 h 305376"/>
                  <a:gd name="connsiteX0" fmla="*/ 0 w 538163"/>
                  <a:gd name="connsiteY0" fmla="*/ 21432 h 305376"/>
                  <a:gd name="connsiteX1" fmla="*/ 538163 w 538163"/>
                  <a:gd name="connsiteY1" fmla="*/ 0 h 305376"/>
                  <a:gd name="connsiteX2" fmla="*/ 0 w 538163"/>
                  <a:gd name="connsiteY2" fmla="*/ 21432 h 305376"/>
                  <a:gd name="connsiteX0" fmla="*/ 0 w 538163"/>
                  <a:gd name="connsiteY0" fmla="*/ 21432 h 315021"/>
                  <a:gd name="connsiteX1" fmla="*/ 538163 w 538163"/>
                  <a:gd name="connsiteY1" fmla="*/ 0 h 315021"/>
                  <a:gd name="connsiteX2" fmla="*/ 0 w 538163"/>
                  <a:gd name="connsiteY2" fmla="*/ 21432 h 315021"/>
                  <a:gd name="connsiteX0" fmla="*/ 0 w 538163"/>
                  <a:gd name="connsiteY0" fmla="*/ 21432 h 315021"/>
                  <a:gd name="connsiteX1" fmla="*/ 538163 w 538163"/>
                  <a:gd name="connsiteY1" fmla="*/ 0 h 315021"/>
                  <a:gd name="connsiteX2" fmla="*/ 0 w 538163"/>
                  <a:gd name="connsiteY2" fmla="*/ 21432 h 315021"/>
                  <a:gd name="connsiteX0" fmla="*/ 0 w 531019"/>
                  <a:gd name="connsiteY0" fmla="*/ 19051 h 313378"/>
                  <a:gd name="connsiteX1" fmla="*/ 531019 w 531019"/>
                  <a:gd name="connsiteY1" fmla="*/ 0 h 313378"/>
                  <a:gd name="connsiteX2" fmla="*/ 0 w 531019"/>
                  <a:gd name="connsiteY2" fmla="*/ 19051 h 313378"/>
                  <a:gd name="connsiteX0" fmla="*/ 0 w 531058"/>
                  <a:gd name="connsiteY0" fmla="*/ 19051 h 315242"/>
                  <a:gd name="connsiteX1" fmla="*/ 531019 w 531058"/>
                  <a:gd name="connsiteY1" fmla="*/ 0 h 315242"/>
                  <a:gd name="connsiteX2" fmla="*/ 0 w 531058"/>
                  <a:gd name="connsiteY2" fmla="*/ 19051 h 315242"/>
                  <a:gd name="connsiteX0" fmla="*/ 0 w 531060"/>
                  <a:gd name="connsiteY0" fmla="*/ 19051 h 301633"/>
                  <a:gd name="connsiteX1" fmla="*/ 531019 w 531060"/>
                  <a:gd name="connsiteY1" fmla="*/ 0 h 301633"/>
                  <a:gd name="connsiteX2" fmla="*/ 0 w 531060"/>
                  <a:gd name="connsiteY2" fmla="*/ 19051 h 301633"/>
                  <a:gd name="connsiteX0" fmla="*/ 0 w 531060"/>
                  <a:gd name="connsiteY0" fmla="*/ 19051 h 301633"/>
                  <a:gd name="connsiteX1" fmla="*/ 531019 w 531060"/>
                  <a:gd name="connsiteY1" fmla="*/ 0 h 301633"/>
                  <a:gd name="connsiteX2" fmla="*/ 0 w 531060"/>
                  <a:gd name="connsiteY2" fmla="*/ 19051 h 301633"/>
                  <a:gd name="connsiteX0" fmla="*/ 0 w 531019"/>
                  <a:gd name="connsiteY0" fmla="*/ 19051 h 306722"/>
                  <a:gd name="connsiteX1" fmla="*/ 531019 w 531019"/>
                  <a:gd name="connsiteY1" fmla="*/ 0 h 306722"/>
                  <a:gd name="connsiteX2" fmla="*/ 0 w 531019"/>
                  <a:gd name="connsiteY2" fmla="*/ 19051 h 306722"/>
                  <a:gd name="connsiteX0" fmla="*/ 0 w 531019"/>
                  <a:gd name="connsiteY0" fmla="*/ 19051 h 306722"/>
                  <a:gd name="connsiteX1" fmla="*/ 531019 w 531019"/>
                  <a:gd name="connsiteY1" fmla="*/ 0 h 306722"/>
                  <a:gd name="connsiteX2" fmla="*/ 0 w 531019"/>
                  <a:gd name="connsiteY2" fmla="*/ 19051 h 3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1019" h="306722">
                    <a:moveTo>
                      <a:pt x="0" y="19051"/>
                    </a:moveTo>
                    <a:cubicBezTo>
                      <a:pt x="296071" y="423863"/>
                      <a:pt x="463550" y="78581"/>
                      <a:pt x="531019" y="0"/>
                    </a:cubicBezTo>
                    <a:cubicBezTo>
                      <a:pt x="477838" y="180975"/>
                      <a:pt x="253206" y="578645"/>
                      <a:pt x="0" y="19051"/>
                    </a:cubicBezTo>
                    <a:close/>
                  </a:path>
                </a:pathLst>
              </a:custGeom>
              <a:solidFill>
                <a:srgbClr val="FF818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3" name="Freeform 1412"/>
              <p:cNvSpPr/>
              <p:nvPr/>
            </p:nvSpPr>
            <p:spPr>
              <a:xfrm flipH="1">
                <a:off x="7567327" y="821198"/>
                <a:ext cx="179606" cy="38583"/>
              </a:xfrm>
              <a:custGeom>
                <a:avLst/>
                <a:gdLst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434930 w 513532"/>
                  <a:gd name="connsiteY12" fmla="*/ 23581 h 133623"/>
                  <a:gd name="connsiteX13" fmla="*/ 513532 w 513532"/>
                  <a:gd name="connsiteY13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35368 w 513532"/>
                  <a:gd name="connsiteY10" fmla="*/ 0 h 133623"/>
                  <a:gd name="connsiteX11" fmla="*/ 434930 w 513532"/>
                  <a:gd name="connsiteY11" fmla="*/ 23581 h 133623"/>
                  <a:gd name="connsiteX12" fmla="*/ 513532 w 513532"/>
                  <a:gd name="connsiteY12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30565 w 513532"/>
                  <a:gd name="connsiteY7" fmla="*/ 10481 h 133623"/>
                  <a:gd name="connsiteX8" fmla="*/ 324887 w 513532"/>
                  <a:gd name="connsiteY8" fmla="*/ 41921 h 133623"/>
                  <a:gd name="connsiteX9" fmla="*/ 335368 w 513532"/>
                  <a:gd name="connsiteY9" fmla="*/ 0 h 133623"/>
                  <a:gd name="connsiteX10" fmla="*/ 434930 w 513532"/>
                  <a:gd name="connsiteY10" fmla="*/ 23581 h 133623"/>
                  <a:gd name="connsiteX11" fmla="*/ 513532 w 513532"/>
                  <a:gd name="connsiteY11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30565 w 513532"/>
                  <a:gd name="connsiteY7" fmla="*/ 10481 h 133623"/>
                  <a:gd name="connsiteX8" fmla="*/ 335368 w 513532"/>
                  <a:gd name="connsiteY8" fmla="*/ 0 h 133623"/>
                  <a:gd name="connsiteX9" fmla="*/ 434930 w 513532"/>
                  <a:gd name="connsiteY9" fmla="*/ 23581 h 133623"/>
                  <a:gd name="connsiteX10" fmla="*/ 513532 w 513532"/>
                  <a:gd name="connsiteY10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33623 w 513532"/>
                  <a:gd name="connsiteY5" fmla="*/ 41921 h 133623"/>
                  <a:gd name="connsiteX6" fmla="*/ 230565 w 513532"/>
                  <a:gd name="connsiteY6" fmla="*/ 10481 h 133623"/>
                  <a:gd name="connsiteX7" fmla="*/ 335368 w 513532"/>
                  <a:gd name="connsiteY7" fmla="*/ 0 h 133623"/>
                  <a:gd name="connsiteX8" fmla="*/ 434930 w 513532"/>
                  <a:gd name="connsiteY8" fmla="*/ 23581 h 133623"/>
                  <a:gd name="connsiteX9" fmla="*/ 513532 w 513532"/>
                  <a:gd name="connsiteY9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73362 w 513532"/>
                  <a:gd name="connsiteY3" fmla="*/ 70742 h 133623"/>
                  <a:gd name="connsiteX4" fmla="*/ 133623 w 513532"/>
                  <a:gd name="connsiteY4" fmla="*/ 41921 h 133623"/>
                  <a:gd name="connsiteX5" fmla="*/ 230565 w 513532"/>
                  <a:gd name="connsiteY5" fmla="*/ 10481 h 133623"/>
                  <a:gd name="connsiteX6" fmla="*/ 335368 w 513532"/>
                  <a:gd name="connsiteY6" fmla="*/ 0 h 133623"/>
                  <a:gd name="connsiteX7" fmla="*/ 434930 w 513532"/>
                  <a:gd name="connsiteY7" fmla="*/ 23581 h 133623"/>
                  <a:gd name="connsiteX8" fmla="*/ 513532 w 513532"/>
                  <a:gd name="connsiteY8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73362 w 513532"/>
                  <a:gd name="connsiteY3" fmla="*/ 70742 h 133623"/>
                  <a:gd name="connsiteX4" fmla="*/ 133623 w 513532"/>
                  <a:gd name="connsiteY4" fmla="*/ 41921 h 133623"/>
                  <a:gd name="connsiteX5" fmla="*/ 230565 w 513532"/>
                  <a:gd name="connsiteY5" fmla="*/ 10481 h 133623"/>
                  <a:gd name="connsiteX6" fmla="*/ 335368 w 513532"/>
                  <a:gd name="connsiteY6" fmla="*/ 0 h 133623"/>
                  <a:gd name="connsiteX7" fmla="*/ 513532 w 513532"/>
                  <a:gd name="connsiteY7" fmla="*/ 120523 h 133623"/>
                  <a:gd name="connsiteX0" fmla="*/ 513532 w 513532"/>
                  <a:gd name="connsiteY0" fmla="*/ 110042 h 123142"/>
                  <a:gd name="connsiteX1" fmla="*/ 91702 w 513532"/>
                  <a:gd name="connsiteY1" fmla="*/ 123142 h 123142"/>
                  <a:gd name="connsiteX2" fmla="*/ 0 w 513532"/>
                  <a:gd name="connsiteY2" fmla="*/ 89082 h 123142"/>
                  <a:gd name="connsiteX3" fmla="*/ 73362 w 513532"/>
                  <a:gd name="connsiteY3" fmla="*/ 60261 h 123142"/>
                  <a:gd name="connsiteX4" fmla="*/ 133623 w 513532"/>
                  <a:gd name="connsiteY4" fmla="*/ 31440 h 123142"/>
                  <a:gd name="connsiteX5" fmla="*/ 230565 w 513532"/>
                  <a:gd name="connsiteY5" fmla="*/ 0 h 123142"/>
                  <a:gd name="connsiteX6" fmla="*/ 513532 w 513532"/>
                  <a:gd name="connsiteY6" fmla="*/ 110042 h 123142"/>
                  <a:gd name="connsiteX0" fmla="*/ 513532 w 513532"/>
                  <a:gd name="connsiteY0" fmla="*/ 78602 h 91702"/>
                  <a:gd name="connsiteX1" fmla="*/ 91702 w 513532"/>
                  <a:gd name="connsiteY1" fmla="*/ 91702 h 91702"/>
                  <a:gd name="connsiteX2" fmla="*/ 0 w 513532"/>
                  <a:gd name="connsiteY2" fmla="*/ 57642 h 91702"/>
                  <a:gd name="connsiteX3" fmla="*/ 73362 w 513532"/>
                  <a:gd name="connsiteY3" fmla="*/ 28821 h 91702"/>
                  <a:gd name="connsiteX4" fmla="*/ 133623 w 513532"/>
                  <a:gd name="connsiteY4" fmla="*/ 0 h 91702"/>
                  <a:gd name="connsiteX5" fmla="*/ 513532 w 513532"/>
                  <a:gd name="connsiteY5" fmla="*/ 78602 h 91702"/>
                  <a:gd name="connsiteX0" fmla="*/ 513532 w 513532"/>
                  <a:gd name="connsiteY0" fmla="*/ 69487 h 82587"/>
                  <a:gd name="connsiteX1" fmla="*/ 91702 w 513532"/>
                  <a:gd name="connsiteY1" fmla="*/ 82587 h 82587"/>
                  <a:gd name="connsiteX2" fmla="*/ 0 w 513532"/>
                  <a:gd name="connsiteY2" fmla="*/ 48527 h 82587"/>
                  <a:gd name="connsiteX3" fmla="*/ 73362 w 513532"/>
                  <a:gd name="connsiteY3" fmla="*/ 19706 h 82587"/>
                  <a:gd name="connsiteX4" fmla="*/ 513532 w 513532"/>
                  <a:gd name="connsiteY4" fmla="*/ 69487 h 82587"/>
                  <a:gd name="connsiteX0" fmla="*/ 513532 w 513532"/>
                  <a:gd name="connsiteY0" fmla="*/ 69487 h 82587"/>
                  <a:gd name="connsiteX1" fmla="*/ 91702 w 513532"/>
                  <a:gd name="connsiteY1" fmla="*/ 82587 h 82587"/>
                  <a:gd name="connsiteX2" fmla="*/ 0 w 513532"/>
                  <a:gd name="connsiteY2" fmla="*/ 48527 h 82587"/>
                  <a:gd name="connsiteX3" fmla="*/ 513532 w 513532"/>
                  <a:gd name="connsiteY3" fmla="*/ 69487 h 82587"/>
                  <a:gd name="connsiteX0" fmla="*/ 513532 w 513532"/>
                  <a:gd name="connsiteY0" fmla="*/ 71921 h 85021"/>
                  <a:gd name="connsiteX1" fmla="*/ 91702 w 513532"/>
                  <a:gd name="connsiteY1" fmla="*/ 85021 h 85021"/>
                  <a:gd name="connsiteX2" fmla="*/ 0 w 513532"/>
                  <a:gd name="connsiteY2" fmla="*/ 50961 h 85021"/>
                  <a:gd name="connsiteX3" fmla="*/ 513532 w 513532"/>
                  <a:gd name="connsiteY3" fmla="*/ 71921 h 85021"/>
                  <a:gd name="connsiteX0" fmla="*/ 513532 w 513532"/>
                  <a:gd name="connsiteY0" fmla="*/ 86084 h 99184"/>
                  <a:gd name="connsiteX1" fmla="*/ 91702 w 513532"/>
                  <a:gd name="connsiteY1" fmla="*/ 99184 h 99184"/>
                  <a:gd name="connsiteX2" fmla="*/ 0 w 513532"/>
                  <a:gd name="connsiteY2" fmla="*/ 65124 h 99184"/>
                  <a:gd name="connsiteX3" fmla="*/ 513532 w 513532"/>
                  <a:gd name="connsiteY3" fmla="*/ 86084 h 99184"/>
                  <a:gd name="connsiteX0" fmla="*/ 489389 w 489389"/>
                  <a:gd name="connsiteY0" fmla="*/ 78238 h 91338"/>
                  <a:gd name="connsiteX1" fmla="*/ 67559 w 489389"/>
                  <a:gd name="connsiteY1" fmla="*/ 91338 h 91338"/>
                  <a:gd name="connsiteX2" fmla="*/ 0 w 489389"/>
                  <a:gd name="connsiteY2" fmla="*/ 69350 h 91338"/>
                  <a:gd name="connsiteX3" fmla="*/ 489389 w 489389"/>
                  <a:gd name="connsiteY3" fmla="*/ 78238 h 91338"/>
                  <a:gd name="connsiteX0" fmla="*/ 489389 w 489389"/>
                  <a:gd name="connsiteY0" fmla="*/ 79529 h 92629"/>
                  <a:gd name="connsiteX1" fmla="*/ 67559 w 489389"/>
                  <a:gd name="connsiteY1" fmla="*/ 92629 h 92629"/>
                  <a:gd name="connsiteX2" fmla="*/ 0 w 489389"/>
                  <a:gd name="connsiteY2" fmla="*/ 70641 h 92629"/>
                  <a:gd name="connsiteX3" fmla="*/ 489389 w 489389"/>
                  <a:gd name="connsiteY3" fmla="*/ 79529 h 92629"/>
                  <a:gd name="connsiteX0" fmla="*/ 472456 w 472456"/>
                  <a:gd name="connsiteY0" fmla="*/ 95713 h 95713"/>
                  <a:gd name="connsiteX1" fmla="*/ 67559 w 472456"/>
                  <a:gd name="connsiteY1" fmla="*/ 84622 h 95713"/>
                  <a:gd name="connsiteX2" fmla="*/ 0 w 472456"/>
                  <a:gd name="connsiteY2" fmla="*/ 62634 h 95713"/>
                  <a:gd name="connsiteX3" fmla="*/ 472456 w 472456"/>
                  <a:gd name="connsiteY3" fmla="*/ 95713 h 95713"/>
                  <a:gd name="connsiteX0" fmla="*/ 472456 w 472456"/>
                  <a:gd name="connsiteY0" fmla="*/ 95713 h 95713"/>
                  <a:gd name="connsiteX1" fmla="*/ 67559 w 472456"/>
                  <a:gd name="connsiteY1" fmla="*/ 84622 h 95713"/>
                  <a:gd name="connsiteX2" fmla="*/ 0 w 472456"/>
                  <a:gd name="connsiteY2" fmla="*/ 62634 h 95713"/>
                  <a:gd name="connsiteX3" fmla="*/ 472456 w 472456"/>
                  <a:gd name="connsiteY3" fmla="*/ 95713 h 95713"/>
                  <a:gd name="connsiteX0" fmla="*/ 472456 w 472456"/>
                  <a:gd name="connsiteY0" fmla="*/ 105652 h 105652"/>
                  <a:gd name="connsiteX1" fmla="*/ 67559 w 472456"/>
                  <a:gd name="connsiteY1" fmla="*/ 94561 h 105652"/>
                  <a:gd name="connsiteX2" fmla="*/ 0 w 472456"/>
                  <a:gd name="connsiteY2" fmla="*/ 72573 h 105652"/>
                  <a:gd name="connsiteX3" fmla="*/ 472456 w 472456"/>
                  <a:gd name="connsiteY3" fmla="*/ 105652 h 105652"/>
                  <a:gd name="connsiteX0" fmla="*/ 472456 w 472456"/>
                  <a:gd name="connsiteY0" fmla="*/ 105652 h 105652"/>
                  <a:gd name="connsiteX1" fmla="*/ 67559 w 472456"/>
                  <a:gd name="connsiteY1" fmla="*/ 94561 h 105652"/>
                  <a:gd name="connsiteX2" fmla="*/ 0 w 472456"/>
                  <a:gd name="connsiteY2" fmla="*/ 72573 h 105652"/>
                  <a:gd name="connsiteX3" fmla="*/ 472456 w 472456"/>
                  <a:gd name="connsiteY3" fmla="*/ 105652 h 105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2456" h="105652">
                    <a:moveTo>
                      <a:pt x="472456" y="105652"/>
                    </a:moveTo>
                    <a:cubicBezTo>
                      <a:pt x="452778" y="65478"/>
                      <a:pt x="257950" y="-59149"/>
                      <a:pt x="67559" y="94561"/>
                    </a:cubicBezTo>
                    <a:lnTo>
                      <a:pt x="0" y="72573"/>
                    </a:lnTo>
                    <a:cubicBezTo>
                      <a:pt x="258694" y="-53224"/>
                      <a:pt x="407022" y="2023"/>
                      <a:pt x="472456" y="105652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4" name="Moon 1413"/>
              <p:cNvSpPr/>
              <p:nvPr/>
            </p:nvSpPr>
            <p:spPr>
              <a:xfrm rot="16490238">
                <a:off x="7359355" y="807963"/>
                <a:ext cx="29392" cy="146942"/>
              </a:xfrm>
              <a:prstGeom prst="moon">
                <a:avLst>
                  <a:gd name="adj" fmla="val 21789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5" name="Moon 1414"/>
              <p:cNvSpPr/>
              <p:nvPr/>
            </p:nvSpPr>
            <p:spPr>
              <a:xfrm rot="5109762" flipH="1">
                <a:off x="7635288" y="805883"/>
                <a:ext cx="29392" cy="146942"/>
              </a:xfrm>
              <a:prstGeom prst="moon">
                <a:avLst>
                  <a:gd name="adj" fmla="val 21789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6" name="Oval 1415"/>
              <p:cNvSpPr/>
              <p:nvPr/>
            </p:nvSpPr>
            <p:spPr>
              <a:xfrm>
                <a:off x="7771578" y="822465"/>
                <a:ext cx="80875" cy="161466"/>
              </a:xfrm>
              <a:prstGeom prst="ellipse">
                <a:avLst/>
              </a:pr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17" name="Freeform 1416"/>
              <p:cNvSpPr/>
              <p:nvPr/>
            </p:nvSpPr>
            <p:spPr>
              <a:xfrm>
                <a:off x="7800859" y="836123"/>
                <a:ext cx="41949" cy="117392"/>
              </a:xfrm>
              <a:custGeom>
                <a:avLst/>
                <a:gdLst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52795 w 127117"/>
                  <a:gd name="connsiteY5" fmla="*/ 239070 h 405447"/>
                  <a:gd name="connsiteX6" fmla="*/ 60180 w 127117"/>
                  <a:gd name="connsiteY6" fmla="*/ 335798 h 405447"/>
                  <a:gd name="connsiteX7" fmla="*/ 73074 w 127117"/>
                  <a:gd name="connsiteY7" fmla="*/ 405447 h 405447"/>
                  <a:gd name="connsiteX8" fmla="*/ 127100 w 127117"/>
                  <a:gd name="connsiteY8" fmla="*/ 174710 h 405447"/>
                  <a:gd name="connsiteX9" fmla="*/ 63930 w 127117"/>
                  <a:gd name="connsiteY9" fmla="*/ 7683 h 405447"/>
                  <a:gd name="connsiteX10" fmla="*/ 46290 w 127117"/>
                  <a:gd name="connsiteY10" fmla="*/ 1 h 405447"/>
                  <a:gd name="connsiteX0" fmla="*/ 46290 w 127117"/>
                  <a:gd name="connsiteY0" fmla="*/ 1 h 406048"/>
                  <a:gd name="connsiteX1" fmla="*/ 8038 w 127117"/>
                  <a:gd name="connsiteY1" fmla="*/ 45476 h 406048"/>
                  <a:gd name="connsiteX2" fmla="*/ 86790 w 127117"/>
                  <a:gd name="connsiteY2" fmla="*/ 199707 h 406048"/>
                  <a:gd name="connsiteX3" fmla="*/ 86450 w 127117"/>
                  <a:gd name="connsiteY3" fmla="*/ 204808 h 406048"/>
                  <a:gd name="connsiteX4" fmla="*/ 0 w 127117"/>
                  <a:gd name="connsiteY4" fmla="*/ 157686 h 406048"/>
                  <a:gd name="connsiteX5" fmla="*/ 52795 w 127117"/>
                  <a:gd name="connsiteY5" fmla="*/ 239070 h 406048"/>
                  <a:gd name="connsiteX6" fmla="*/ 73074 w 127117"/>
                  <a:gd name="connsiteY6" fmla="*/ 405447 h 406048"/>
                  <a:gd name="connsiteX7" fmla="*/ 127100 w 127117"/>
                  <a:gd name="connsiteY7" fmla="*/ 174710 h 406048"/>
                  <a:gd name="connsiteX8" fmla="*/ 63930 w 127117"/>
                  <a:gd name="connsiteY8" fmla="*/ 7683 h 406048"/>
                  <a:gd name="connsiteX9" fmla="*/ 46290 w 127117"/>
                  <a:gd name="connsiteY9" fmla="*/ 1 h 406048"/>
                  <a:gd name="connsiteX0" fmla="*/ 46356 w 127183"/>
                  <a:gd name="connsiteY0" fmla="*/ 1 h 405447"/>
                  <a:gd name="connsiteX1" fmla="*/ 8104 w 127183"/>
                  <a:gd name="connsiteY1" fmla="*/ 45476 h 405447"/>
                  <a:gd name="connsiteX2" fmla="*/ 86856 w 127183"/>
                  <a:gd name="connsiteY2" fmla="*/ 199707 h 405447"/>
                  <a:gd name="connsiteX3" fmla="*/ 86516 w 127183"/>
                  <a:gd name="connsiteY3" fmla="*/ 204808 h 405447"/>
                  <a:gd name="connsiteX4" fmla="*/ 66 w 127183"/>
                  <a:gd name="connsiteY4" fmla="*/ 157686 h 405447"/>
                  <a:gd name="connsiteX5" fmla="*/ 73140 w 127183"/>
                  <a:gd name="connsiteY5" fmla="*/ 405447 h 405447"/>
                  <a:gd name="connsiteX6" fmla="*/ 127166 w 127183"/>
                  <a:gd name="connsiteY6" fmla="*/ 174710 h 405447"/>
                  <a:gd name="connsiteX7" fmla="*/ 63996 w 127183"/>
                  <a:gd name="connsiteY7" fmla="*/ 7683 h 405447"/>
                  <a:gd name="connsiteX8" fmla="*/ 46356 w 127183"/>
                  <a:gd name="connsiteY8" fmla="*/ 1 h 405447"/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73074 w 127117"/>
                  <a:gd name="connsiteY5" fmla="*/ 405447 h 405447"/>
                  <a:gd name="connsiteX6" fmla="*/ 127100 w 127117"/>
                  <a:gd name="connsiteY6" fmla="*/ 174710 h 405447"/>
                  <a:gd name="connsiteX7" fmla="*/ 63930 w 127117"/>
                  <a:gd name="connsiteY7" fmla="*/ 7683 h 405447"/>
                  <a:gd name="connsiteX8" fmla="*/ 46290 w 127117"/>
                  <a:gd name="connsiteY8" fmla="*/ 1 h 405447"/>
                  <a:gd name="connsiteX0" fmla="*/ 46290 w 127117"/>
                  <a:gd name="connsiteY0" fmla="*/ 1 h 421977"/>
                  <a:gd name="connsiteX1" fmla="*/ 8038 w 127117"/>
                  <a:gd name="connsiteY1" fmla="*/ 45476 h 421977"/>
                  <a:gd name="connsiteX2" fmla="*/ 86790 w 127117"/>
                  <a:gd name="connsiteY2" fmla="*/ 199707 h 421977"/>
                  <a:gd name="connsiteX3" fmla="*/ 86450 w 127117"/>
                  <a:gd name="connsiteY3" fmla="*/ 204808 h 421977"/>
                  <a:gd name="connsiteX4" fmla="*/ 0 w 127117"/>
                  <a:gd name="connsiteY4" fmla="*/ 157686 h 421977"/>
                  <a:gd name="connsiteX5" fmla="*/ 73074 w 127117"/>
                  <a:gd name="connsiteY5" fmla="*/ 405447 h 421977"/>
                  <a:gd name="connsiteX6" fmla="*/ 127100 w 127117"/>
                  <a:gd name="connsiteY6" fmla="*/ 174710 h 421977"/>
                  <a:gd name="connsiteX7" fmla="*/ 63930 w 127117"/>
                  <a:gd name="connsiteY7" fmla="*/ 7683 h 421977"/>
                  <a:gd name="connsiteX8" fmla="*/ 46290 w 127117"/>
                  <a:gd name="connsiteY8" fmla="*/ 1 h 421977"/>
                  <a:gd name="connsiteX0" fmla="*/ 46290 w 127121"/>
                  <a:gd name="connsiteY0" fmla="*/ 1 h 405476"/>
                  <a:gd name="connsiteX1" fmla="*/ 8038 w 127121"/>
                  <a:gd name="connsiteY1" fmla="*/ 45476 h 405476"/>
                  <a:gd name="connsiteX2" fmla="*/ 86790 w 127121"/>
                  <a:gd name="connsiteY2" fmla="*/ 199707 h 405476"/>
                  <a:gd name="connsiteX3" fmla="*/ 86450 w 127121"/>
                  <a:gd name="connsiteY3" fmla="*/ 204808 h 405476"/>
                  <a:gd name="connsiteX4" fmla="*/ 0 w 127121"/>
                  <a:gd name="connsiteY4" fmla="*/ 157686 h 405476"/>
                  <a:gd name="connsiteX5" fmla="*/ 73074 w 127121"/>
                  <a:gd name="connsiteY5" fmla="*/ 405447 h 405476"/>
                  <a:gd name="connsiteX6" fmla="*/ 127100 w 127121"/>
                  <a:gd name="connsiteY6" fmla="*/ 174710 h 405476"/>
                  <a:gd name="connsiteX7" fmla="*/ 63930 w 127121"/>
                  <a:gd name="connsiteY7" fmla="*/ 7683 h 405476"/>
                  <a:gd name="connsiteX8" fmla="*/ 46290 w 127121"/>
                  <a:gd name="connsiteY8" fmla="*/ 1 h 405476"/>
                  <a:gd name="connsiteX0" fmla="*/ 46290 w 127130"/>
                  <a:gd name="connsiteY0" fmla="*/ 1 h 370347"/>
                  <a:gd name="connsiteX1" fmla="*/ 8038 w 127130"/>
                  <a:gd name="connsiteY1" fmla="*/ 45476 h 370347"/>
                  <a:gd name="connsiteX2" fmla="*/ 86790 w 127130"/>
                  <a:gd name="connsiteY2" fmla="*/ 199707 h 370347"/>
                  <a:gd name="connsiteX3" fmla="*/ 86450 w 127130"/>
                  <a:gd name="connsiteY3" fmla="*/ 204808 h 370347"/>
                  <a:gd name="connsiteX4" fmla="*/ 0 w 127130"/>
                  <a:gd name="connsiteY4" fmla="*/ 157686 h 370347"/>
                  <a:gd name="connsiteX5" fmla="*/ 81190 w 127130"/>
                  <a:gd name="connsiteY5" fmla="*/ 370278 h 370347"/>
                  <a:gd name="connsiteX6" fmla="*/ 127100 w 127130"/>
                  <a:gd name="connsiteY6" fmla="*/ 174710 h 370347"/>
                  <a:gd name="connsiteX7" fmla="*/ 63930 w 127130"/>
                  <a:gd name="connsiteY7" fmla="*/ 7683 h 370347"/>
                  <a:gd name="connsiteX8" fmla="*/ 46290 w 127130"/>
                  <a:gd name="connsiteY8" fmla="*/ 1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30" h="370347">
                    <a:moveTo>
                      <a:pt x="46290" y="1"/>
                    </a:moveTo>
                    <a:cubicBezTo>
                      <a:pt x="26886" y="100"/>
                      <a:pt x="5180" y="21473"/>
                      <a:pt x="8038" y="45476"/>
                    </a:cubicBezTo>
                    <a:lnTo>
                      <a:pt x="86790" y="199707"/>
                    </a:lnTo>
                    <a:cubicBezTo>
                      <a:pt x="86677" y="201407"/>
                      <a:pt x="86563" y="203108"/>
                      <a:pt x="86450" y="204808"/>
                    </a:cubicBezTo>
                    <a:cubicBezTo>
                      <a:pt x="67440" y="167342"/>
                      <a:pt x="31336" y="147098"/>
                      <a:pt x="0" y="157686"/>
                    </a:cubicBezTo>
                    <a:cubicBezTo>
                      <a:pt x="141153" y="272285"/>
                      <a:pt x="55065" y="368735"/>
                      <a:pt x="81190" y="370278"/>
                    </a:cubicBezTo>
                    <a:cubicBezTo>
                      <a:pt x="107315" y="371821"/>
                      <a:pt x="128028" y="349014"/>
                      <a:pt x="127100" y="174710"/>
                    </a:cubicBezTo>
                    <a:cubicBezTo>
                      <a:pt x="125576" y="108416"/>
                      <a:pt x="83774" y="29222"/>
                      <a:pt x="63930" y="7683"/>
                    </a:cubicBezTo>
                    <a:cubicBezTo>
                      <a:pt x="58969" y="2298"/>
                      <a:pt x="52757" y="-32"/>
                      <a:pt x="46290" y="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18" name="Freeform 1417"/>
              <p:cNvSpPr/>
              <p:nvPr/>
            </p:nvSpPr>
            <p:spPr>
              <a:xfrm rot="746198">
                <a:off x="7561093" y="741098"/>
                <a:ext cx="182538" cy="54971"/>
              </a:xfrm>
              <a:custGeom>
                <a:avLst/>
                <a:gdLst>
                  <a:gd name="connsiteX0" fmla="*/ 0 w 447403"/>
                  <a:gd name="connsiteY0" fmla="*/ 107768 h 120831"/>
                  <a:gd name="connsiteX1" fmla="*/ 320040 w 447403"/>
                  <a:gd name="connsiteY1" fmla="*/ 0 h 120831"/>
                  <a:gd name="connsiteX2" fmla="*/ 447403 w 447403"/>
                  <a:gd name="connsiteY2" fmla="*/ 68580 h 120831"/>
                  <a:gd name="connsiteX3" fmla="*/ 323306 w 447403"/>
                  <a:gd name="connsiteY3" fmla="*/ 35923 h 120831"/>
                  <a:gd name="connsiteX4" fmla="*/ 101237 w 447403"/>
                  <a:gd name="connsiteY4" fmla="*/ 120831 h 120831"/>
                  <a:gd name="connsiteX5" fmla="*/ 0 w 447403"/>
                  <a:gd name="connsiteY5" fmla="*/ 107768 h 120831"/>
                  <a:gd name="connsiteX0" fmla="*/ 8907 w 456310"/>
                  <a:gd name="connsiteY0" fmla="*/ 107768 h 127278"/>
                  <a:gd name="connsiteX1" fmla="*/ 328947 w 456310"/>
                  <a:gd name="connsiteY1" fmla="*/ 0 h 127278"/>
                  <a:gd name="connsiteX2" fmla="*/ 456310 w 456310"/>
                  <a:gd name="connsiteY2" fmla="*/ 68580 h 127278"/>
                  <a:gd name="connsiteX3" fmla="*/ 332213 w 456310"/>
                  <a:gd name="connsiteY3" fmla="*/ 35923 h 127278"/>
                  <a:gd name="connsiteX4" fmla="*/ 110144 w 456310"/>
                  <a:gd name="connsiteY4" fmla="*/ 120831 h 127278"/>
                  <a:gd name="connsiteX5" fmla="*/ 8907 w 456310"/>
                  <a:gd name="connsiteY5" fmla="*/ 107768 h 127278"/>
                  <a:gd name="connsiteX0" fmla="*/ 7806 w 471537"/>
                  <a:gd name="connsiteY0" fmla="*/ 137160 h 144836"/>
                  <a:gd name="connsiteX1" fmla="*/ 344174 w 471537"/>
                  <a:gd name="connsiteY1" fmla="*/ 0 h 144836"/>
                  <a:gd name="connsiteX2" fmla="*/ 471537 w 471537"/>
                  <a:gd name="connsiteY2" fmla="*/ 68580 h 144836"/>
                  <a:gd name="connsiteX3" fmla="*/ 347440 w 471537"/>
                  <a:gd name="connsiteY3" fmla="*/ 35923 h 144836"/>
                  <a:gd name="connsiteX4" fmla="*/ 125371 w 471537"/>
                  <a:gd name="connsiteY4" fmla="*/ 120831 h 144836"/>
                  <a:gd name="connsiteX5" fmla="*/ 7806 w 471537"/>
                  <a:gd name="connsiteY5" fmla="*/ 137160 h 144836"/>
                  <a:gd name="connsiteX0" fmla="*/ 16437 w 480168"/>
                  <a:gd name="connsiteY0" fmla="*/ 137160 h 150527"/>
                  <a:gd name="connsiteX1" fmla="*/ 352805 w 480168"/>
                  <a:gd name="connsiteY1" fmla="*/ 0 h 150527"/>
                  <a:gd name="connsiteX2" fmla="*/ 480168 w 480168"/>
                  <a:gd name="connsiteY2" fmla="*/ 68580 h 150527"/>
                  <a:gd name="connsiteX3" fmla="*/ 356071 w 480168"/>
                  <a:gd name="connsiteY3" fmla="*/ 35923 h 150527"/>
                  <a:gd name="connsiteX4" fmla="*/ 81750 w 480168"/>
                  <a:gd name="connsiteY4" fmla="*/ 137160 h 150527"/>
                  <a:gd name="connsiteX5" fmla="*/ 16437 w 480168"/>
                  <a:gd name="connsiteY5" fmla="*/ 137160 h 15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0168" h="150527">
                    <a:moveTo>
                      <a:pt x="16437" y="137160"/>
                    </a:moveTo>
                    <a:cubicBezTo>
                      <a:pt x="61613" y="114300"/>
                      <a:pt x="278238" y="6531"/>
                      <a:pt x="352805" y="0"/>
                    </a:cubicBezTo>
                    <a:lnTo>
                      <a:pt x="480168" y="68580"/>
                    </a:lnTo>
                    <a:lnTo>
                      <a:pt x="356071" y="35923"/>
                    </a:lnTo>
                    <a:lnTo>
                      <a:pt x="81750" y="137160"/>
                    </a:lnTo>
                    <a:cubicBezTo>
                      <a:pt x="27866" y="149134"/>
                      <a:pt x="-28739" y="160020"/>
                      <a:pt x="16437" y="137160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9" name="Freeform 1418"/>
              <p:cNvSpPr/>
              <p:nvPr/>
            </p:nvSpPr>
            <p:spPr>
              <a:xfrm rot="20853802" flipH="1">
                <a:off x="7284008" y="741098"/>
                <a:ext cx="182538" cy="54971"/>
              </a:xfrm>
              <a:custGeom>
                <a:avLst/>
                <a:gdLst>
                  <a:gd name="connsiteX0" fmla="*/ 0 w 447403"/>
                  <a:gd name="connsiteY0" fmla="*/ 107768 h 120831"/>
                  <a:gd name="connsiteX1" fmla="*/ 320040 w 447403"/>
                  <a:gd name="connsiteY1" fmla="*/ 0 h 120831"/>
                  <a:gd name="connsiteX2" fmla="*/ 447403 w 447403"/>
                  <a:gd name="connsiteY2" fmla="*/ 68580 h 120831"/>
                  <a:gd name="connsiteX3" fmla="*/ 323306 w 447403"/>
                  <a:gd name="connsiteY3" fmla="*/ 35923 h 120831"/>
                  <a:gd name="connsiteX4" fmla="*/ 101237 w 447403"/>
                  <a:gd name="connsiteY4" fmla="*/ 120831 h 120831"/>
                  <a:gd name="connsiteX5" fmla="*/ 0 w 447403"/>
                  <a:gd name="connsiteY5" fmla="*/ 107768 h 120831"/>
                  <a:gd name="connsiteX0" fmla="*/ 8907 w 456310"/>
                  <a:gd name="connsiteY0" fmla="*/ 107768 h 127278"/>
                  <a:gd name="connsiteX1" fmla="*/ 328947 w 456310"/>
                  <a:gd name="connsiteY1" fmla="*/ 0 h 127278"/>
                  <a:gd name="connsiteX2" fmla="*/ 456310 w 456310"/>
                  <a:gd name="connsiteY2" fmla="*/ 68580 h 127278"/>
                  <a:gd name="connsiteX3" fmla="*/ 332213 w 456310"/>
                  <a:gd name="connsiteY3" fmla="*/ 35923 h 127278"/>
                  <a:gd name="connsiteX4" fmla="*/ 110144 w 456310"/>
                  <a:gd name="connsiteY4" fmla="*/ 120831 h 127278"/>
                  <a:gd name="connsiteX5" fmla="*/ 8907 w 456310"/>
                  <a:gd name="connsiteY5" fmla="*/ 107768 h 127278"/>
                  <a:gd name="connsiteX0" fmla="*/ 7806 w 471537"/>
                  <a:gd name="connsiteY0" fmla="*/ 137160 h 144836"/>
                  <a:gd name="connsiteX1" fmla="*/ 344174 w 471537"/>
                  <a:gd name="connsiteY1" fmla="*/ 0 h 144836"/>
                  <a:gd name="connsiteX2" fmla="*/ 471537 w 471537"/>
                  <a:gd name="connsiteY2" fmla="*/ 68580 h 144836"/>
                  <a:gd name="connsiteX3" fmla="*/ 347440 w 471537"/>
                  <a:gd name="connsiteY3" fmla="*/ 35923 h 144836"/>
                  <a:gd name="connsiteX4" fmla="*/ 125371 w 471537"/>
                  <a:gd name="connsiteY4" fmla="*/ 120831 h 144836"/>
                  <a:gd name="connsiteX5" fmla="*/ 7806 w 471537"/>
                  <a:gd name="connsiteY5" fmla="*/ 137160 h 144836"/>
                  <a:gd name="connsiteX0" fmla="*/ 16437 w 480168"/>
                  <a:gd name="connsiteY0" fmla="*/ 137160 h 150527"/>
                  <a:gd name="connsiteX1" fmla="*/ 352805 w 480168"/>
                  <a:gd name="connsiteY1" fmla="*/ 0 h 150527"/>
                  <a:gd name="connsiteX2" fmla="*/ 480168 w 480168"/>
                  <a:gd name="connsiteY2" fmla="*/ 68580 h 150527"/>
                  <a:gd name="connsiteX3" fmla="*/ 356071 w 480168"/>
                  <a:gd name="connsiteY3" fmla="*/ 35923 h 150527"/>
                  <a:gd name="connsiteX4" fmla="*/ 81750 w 480168"/>
                  <a:gd name="connsiteY4" fmla="*/ 137160 h 150527"/>
                  <a:gd name="connsiteX5" fmla="*/ 16437 w 480168"/>
                  <a:gd name="connsiteY5" fmla="*/ 137160 h 15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0168" h="150527">
                    <a:moveTo>
                      <a:pt x="16437" y="137160"/>
                    </a:moveTo>
                    <a:cubicBezTo>
                      <a:pt x="61613" y="114300"/>
                      <a:pt x="278238" y="6531"/>
                      <a:pt x="352805" y="0"/>
                    </a:cubicBezTo>
                    <a:lnTo>
                      <a:pt x="480168" y="68580"/>
                    </a:lnTo>
                    <a:lnTo>
                      <a:pt x="356071" y="35923"/>
                    </a:lnTo>
                    <a:lnTo>
                      <a:pt x="81750" y="137160"/>
                    </a:lnTo>
                    <a:cubicBezTo>
                      <a:pt x="27866" y="149134"/>
                      <a:pt x="-28739" y="160020"/>
                      <a:pt x="16437" y="137160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20" name="Group 1419"/>
              <p:cNvGrpSpPr/>
              <p:nvPr/>
            </p:nvGrpSpPr>
            <p:grpSpPr>
              <a:xfrm flipH="1">
                <a:off x="7276579" y="799943"/>
                <a:ext cx="179606" cy="58718"/>
                <a:chOff x="7768009" y="1609827"/>
                <a:chExt cx="472456" cy="160788"/>
              </a:xfrm>
            </p:grpSpPr>
            <p:sp>
              <p:nvSpPr>
                <p:cNvPr id="1451" name="Moon 1450"/>
                <p:cNvSpPr/>
                <p:nvPr/>
              </p:nvSpPr>
              <p:spPr>
                <a:xfrm rot="5400000">
                  <a:off x="7933841" y="1459440"/>
                  <a:ext cx="129562" cy="430336"/>
                </a:xfrm>
                <a:prstGeom prst="moon">
                  <a:avLst>
                    <a:gd name="adj" fmla="val 53541"/>
                  </a:avLst>
                </a:prstGeom>
                <a:solidFill>
                  <a:srgbClr val="E3A8FA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452" name="Freeform 1451"/>
                <p:cNvSpPr/>
                <p:nvPr/>
              </p:nvSpPr>
              <p:spPr>
                <a:xfrm flipH="1">
                  <a:off x="7768009" y="1664963"/>
                  <a:ext cx="472456" cy="105652"/>
                </a:xfrm>
                <a:custGeom>
                  <a:avLst/>
                  <a:gdLst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434930 w 513532"/>
                    <a:gd name="connsiteY12" fmla="*/ 23581 h 133623"/>
                    <a:gd name="connsiteX13" fmla="*/ 513532 w 513532"/>
                    <a:gd name="connsiteY13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35368 w 513532"/>
                    <a:gd name="connsiteY10" fmla="*/ 0 h 133623"/>
                    <a:gd name="connsiteX11" fmla="*/ 434930 w 513532"/>
                    <a:gd name="connsiteY11" fmla="*/ 23581 h 133623"/>
                    <a:gd name="connsiteX12" fmla="*/ 513532 w 513532"/>
                    <a:gd name="connsiteY12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30565 w 513532"/>
                    <a:gd name="connsiteY7" fmla="*/ 10481 h 133623"/>
                    <a:gd name="connsiteX8" fmla="*/ 324887 w 513532"/>
                    <a:gd name="connsiteY8" fmla="*/ 41921 h 133623"/>
                    <a:gd name="connsiteX9" fmla="*/ 335368 w 513532"/>
                    <a:gd name="connsiteY9" fmla="*/ 0 h 133623"/>
                    <a:gd name="connsiteX10" fmla="*/ 434930 w 513532"/>
                    <a:gd name="connsiteY10" fmla="*/ 23581 h 133623"/>
                    <a:gd name="connsiteX11" fmla="*/ 513532 w 513532"/>
                    <a:gd name="connsiteY11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30565 w 513532"/>
                    <a:gd name="connsiteY7" fmla="*/ 10481 h 133623"/>
                    <a:gd name="connsiteX8" fmla="*/ 335368 w 513532"/>
                    <a:gd name="connsiteY8" fmla="*/ 0 h 133623"/>
                    <a:gd name="connsiteX9" fmla="*/ 434930 w 513532"/>
                    <a:gd name="connsiteY9" fmla="*/ 23581 h 133623"/>
                    <a:gd name="connsiteX10" fmla="*/ 513532 w 513532"/>
                    <a:gd name="connsiteY10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33623 w 513532"/>
                    <a:gd name="connsiteY5" fmla="*/ 41921 h 133623"/>
                    <a:gd name="connsiteX6" fmla="*/ 230565 w 513532"/>
                    <a:gd name="connsiteY6" fmla="*/ 10481 h 133623"/>
                    <a:gd name="connsiteX7" fmla="*/ 335368 w 513532"/>
                    <a:gd name="connsiteY7" fmla="*/ 0 h 133623"/>
                    <a:gd name="connsiteX8" fmla="*/ 434930 w 513532"/>
                    <a:gd name="connsiteY8" fmla="*/ 23581 h 133623"/>
                    <a:gd name="connsiteX9" fmla="*/ 513532 w 513532"/>
                    <a:gd name="connsiteY9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73362 w 513532"/>
                    <a:gd name="connsiteY3" fmla="*/ 70742 h 133623"/>
                    <a:gd name="connsiteX4" fmla="*/ 133623 w 513532"/>
                    <a:gd name="connsiteY4" fmla="*/ 41921 h 133623"/>
                    <a:gd name="connsiteX5" fmla="*/ 230565 w 513532"/>
                    <a:gd name="connsiteY5" fmla="*/ 10481 h 133623"/>
                    <a:gd name="connsiteX6" fmla="*/ 335368 w 513532"/>
                    <a:gd name="connsiteY6" fmla="*/ 0 h 133623"/>
                    <a:gd name="connsiteX7" fmla="*/ 434930 w 513532"/>
                    <a:gd name="connsiteY7" fmla="*/ 23581 h 133623"/>
                    <a:gd name="connsiteX8" fmla="*/ 513532 w 513532"/>
                    <a:gd name="connsiteY8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73362 w 513532"/>
                    <a:gd name="connsiteY3" fmla="*/ 70742 h 133623"/>
                    <a:gd name="connsiteX4" fmla="*/ 133623 w 513532"/>
                    <a:gd name="connsiteY4" fmla="*/ 41921 h 133623"/>
                    <a:gd name="connsiteX5" fmla="*/ 230565 w 513532"/>
                    <a:gd name="connsiteY5" fmla="*/ 10481 h 133623"/>
                    <a:gd name="connsiteX6" fmla="*/ 335368 w 513532"/>
                    <a:gd name="connsiteY6" fmla="*/ 0 h 133623"/>
                    <a:gd name="connsiteX7" fmla="*/ 513532 w 513532"/>
                    <a:gd name="connsiteY7" fmla="*/ 120523 h 133623"/>
                    <a:gd name="connsiteX0" fmla="*/ 513532 w 513532"/>
                    <a:gd name="connsiteY0" fmla="*/ 110042 h 123142"/>
                    <a:gd name="connsiteX1" fmla="*/ 91702 w 513532"/>
                    <a:gd name="connsiteY1" fmla="*/ 123142 h 123142"/>
                    <a:gd name="connsiteX2" fmla="*/ 0 w 513532"/>
                    <a:gd name="connsiteY2" fmla="*/ 89082 h 123142"/>
                    <a:gd name="connsiteX3" fmla="*/ 73362 w 513532"/>
                    <a:gd name="connsiteY3" fmla="*/ 60261 h 123142"/>
                    <a:gd name="connsiteX4" fmla="*/ 133623 w 513532"/>
                    <a:gd name="connsiteY4" fmla="*/ 31440 h 123142"/>
                    <a:gd name="connsiteX5" fmla="*/ 230565 w 513532"/>
                    <a:gd name="connsiteY5" fmla="*/ 0 h 123142"/>
                    <a:gd name="connsiteX6" fmla="*/ 513532 w 513532"/>
                    <a:gd name="connsiteY6" fmla="*/ 110042 h 123142"/>
                    <a:gd name="connsiteX0" fmla="*/ 513532 w 513532"/>
                    <a:gd name="connsiteY0" fmla="*/ 78602 h 91702"/>
                    <a:gd name="connsiteX1" fmla="*/ 91702 w 513532"/>
                    <a:gd name="connsiteY1" fmla="*/ 91702 h 91702"/>
                    <a:gd name="connsiteX2" fmla="*/ 0 w 513532"/>
                    <a:gd name="connsiteY2" fmla="*/ 57642 h 91702"/>
                    <a:gd name="connsiteX3" fmla="*/ 73362 w 513532"/>
                    <a:gd name="connsiteY3" fmla="*/ 28821 h 91702"/>
                    <a:gd name="connsiteX4" fmla="*/ 133623 w 513532"/>
                    <a:gd name="connsiteY4" fmla="*/ 0 h 91702"/>
                    <a:gd name="connsiteX5" fmla="*/ 513532 w 513532"/>
                    <a:gd name="connsiteY5" fmla="*/ 78602 h 91702"/>
                    <a:gd name="connsiteX0" fmla="*/ 513532 w 513532"/>
                    <a:gd name="connsiteY0" fmla="*/ 69487 h 82587"/>
                    <a:gd name="connsiteX1" fmla="*/ 91702 w 513532"/>
                    <a:gd name="connsiteY1" fmla="*/ 82587 h 82587"/>
                    <a:gd name="connsiteX2" fmla="*/ 0 w 513532"/>
                    <a:gd name="connsiteY2" fmla="*/ 48527 h 82587"/>
                    <a:gd name="connsiteX3" fmla="*/ 73362 w 513532"/>
                    <a:gd name="connsiteY3" fmla="*/ 19706 h 82587"/>
                    <a:gd name="connsiteX4" fmla="*/ 513532 w 513532"/>
                    <a:gd name="connsiteY4" fmla="*/ 69487 h 82587"/>
                    <a:gd name="connsiteX0" fmla="*/ 513532 w 513532"/>
                    <a:gd name="connsiteY0" fmla="*/ 69487 h 82587"/>
                    <a:gd name="connsiteX1" fmla="*/ 91702 w 513532"/>
                    <a:gd name="connsiteY1" fmla="*/ 82587 h 82587"/>
                    <a:gd name="connsiteX2" fmla="*/ 0 w 513532"/>
                    <a:gd name="connsiteY2" fmla="*/ 48527 h 82587"/>
                    <a:gd name="connsiteX3" fmla="*/ 513532 w 513532"/>
                    <a:gd name="connsiteY3" fmla="*/ 69487 h 82587"/>
                    <a:gd name="connsiteX0" fmla="*/ 513532 w 513532"/>
                    <a:gd name="connsiteY0" fmla="*/ 71921 h 85021"/>
                    <a:gd name="connsiteX1" fmla="*/ 91702 w 513532"/>
                    <a:gd name="connsiteY1" fmla="*/ 85021 h 85021"/>
                    <a:gd name="connsiteX2" fmla="*/ 0 w 513532"/>
                    <a:gd name="connsiteY2" fmla="*/ 50961 h 85021"/>
                    <a:gd name="connsiteX3" fmla="*/ 513532 w 513532"/>
                    <a:gd name="connsiteY3" fmla="*/ 71921 h 85021"/>
                    <a:gd name="connsiteX0" fmla="*/ 513532 w 513532"/>
                    <a:gd name="connsiteY0" fmla="*/ 86084 h 99184"/>
                    <a:gd name="connsiteX1" fmla="*/ 91702 w 513532"/>
                    <a:gd name="connsiteY1" fmla="*/ 99184 h 99184"/>
                    <a:gd name="connsiteX2" fmla="*/ 0 w 513532"/>
                    <a:gd name="connsiteY2" fmla="*/ 65124 h 99184"/>
                    <a:gd name="connsiteX3" fmla="*/ 513532 w 513532"/>
                    <a:gd name="connsiteY3" fmla="*/ 86084 h 99184"/>
                    <a:gd name="connsiteX0" fmla="*/ 489389 w 489389"/>
                    <a:gd name="connsiteY0" fmla="*/ 78238 h 91338"/>
                    <a:gd name="connsiteX1" fmla="*/ 67559 w 489389"/>
                    <a:gd name="connsiteY1" fmla="*/ 91338 h 91338"/>
                    <a:gd name="connsiteX2" fmla="*/ 0 w 489389"/>
                    <a:gd name="connsiteY2" fmla="*/ 69350 h 91338"/>
                    <a:gd name="connsiteX3" fmla="*/ 489389 w 489389"/>
                    <a:gd name="connsiteY3" fmla="*/ 78238 h 91338"/>
                    <a:gd name="connsiteX0" fmla="*/ 489389 w 489389"/>
                    <a:gd name="connsiteY0" fmla="*/ 79529 h 92629"/>
                    <a:gd name="connsiteX1" fmla="*/ 67559 w 489389"/>
                    <a:gd name="connsiteY1" fmla="*/ 92629 h 92629"/>
                    <a:gd name="connsiteX2" fmla="*/ 0 w 489389"/>
                    <a:gd name="connsiteY2" fmla="*/ 70641 h 92629"/>
                    <a:gd name="connsiteX3" fmla="*/ 489389 w 489389"/>
                    <a:gd name="connsiteY3" fmla="*/ 79529 h 92629"/>
                    <a:gd name="connsiteX0" fmla="*/ 472456 w 472456"/>
                    <a:gd name="connsiteY0" fmla="*/ 95713 h 95713"/>
                    <a:gd name="connsiteX1" fmla="*/ 67559 w 472456"/>
                    <a:gd name="connsiteY1" fmla="*/ 84622 h 95713"/>
                    <a:gd name="connsiteX2" fmla="*/ 0 w 472456"/>
                    <a:gd name="connsiteY2" fmla="*/ 62634 h 95713"/>
                    <a:gd name="connsiteX3" fmla="*/ 472456 w 472456"/>
                    <a:gd name="connsiteY3" fmla="*/ 95713 h 95713"/>
                    <a:gd name="connsiteX0" fmla="*/ 472456 w 472456"/>
                    <a:gd name="connsiteY0" fmla="*/ 95713 h 95713"/>
                    <a:gd name="connsiteX1" fmla="*/ 67559 w 472456"/>
                    <a:gd name="connsiteY1" fmla="*/ 84622 h 95713"/>
                    <a:gd name="connsiteX2" fmla="*/ 0 w 472456"/>
                    <a:gd name="connsiteY2" fmla="*/ 62634 h 95713"/>
                    <a:gd name="connsiteX3" fmla="*/ 472456 w 472456"/>
                    <a:gd name="connsiteY3" fmla="*/ 95713 h 95713"/>
                    <a:gd name="connsiteX0" fmla="*/ 472456 w 472456"/>
                    <a:gd name="connsiteY0" fmla="*/ 105652 h 105652"/>
                    <a:gd name="connsiteX1" fmla="*/ 67559 w 472456"/>
                    <a:gd name="connsiteY1" fmla="*/ 94561 h 105652"/>
                    <a:gd name="connsiteX2" fmla="*/ 0 w 472456"/>
                    <a:gd name="connsiteY2" fmla="*/ 72573 h 105652"/>
                    <a:gd name="connsiteX3" fmla="*/ 472456 w 472456"/>
                    <a:gd name="connsiteY3" fmla="*/ 105652 h 105652"/>
                    <a:gd name="connsiteX0" fmla="*/ 472456 w 472456"/>
                    <a:gd name="connsiteY0" fmla="*/ 105652 h 105652"/>
                    <a:gd name="connsiteX1" fmla="*/ 67559 w 472456"/>
                    <a:gd name="connsiteY1" fmla="*/ 94561 h 105652"/>
                    <a:gd name="connsiteX2" fmla="*/ 0 w 472456"/>
                    <a:gd name="connsiteY2" fmla="*/ 72573 h 105652"/>
                    <a:gd name="connsiteX3" fmla="*/ 472456 w 472456"/>
                    <a:gd name="connsiteY3" fmla="*/ 105652 h 105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2456" h="105652">
                      <a:moveTo>
                        <a:pt x="472456" y="105652"/>
                      </a:moveTo>
                      <a:cubicBezTo>
                        <a:pt x="452778" y="65478"/>
                        <a:pt x="257950" y="-59149"/>
                        <a:pt x="67559" y="94561"/>
                      </a:cubicBezTo>
                      <a:lnTo>
                        <a:pt x="0" y="72573"/>
                      </a:lnTo>
                      <a:cubicBezTo>
                        <a:pt x="258694" y="-53224"/>
                        <a:pt x="407022" y="2023"/>
                        <a:pt x="472456" y="10565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21" name="Freeform 1420"/>
              <p:cNvSpPr/>
              <p:nvPr/>
            </p:nvSpPr>
            <p:spPr>
              <a:xfrm>
                <a:off x="7193510" y="432738"/>
                <a:ext cx="661841" cy="407812"/>
              </a:xfrm>
              <a:custGeom>
                <a:avLst/>
                <a:gdLst/>
                <a:ahLst/>
                <a:cxnLst/>
                <a:rect l="l" t="t" r="r" b="b"/>
                <a:pathLst>
                  <a:path w="1740976" h="1116708">
                    <a:moveTo>
                      <a:pt x="848935" y="103"/>
                    </a:moveTo>
                    <a:cubicBezTo>
                      <a:pt x="1615999" y="-10885"/>
                      <a:pt x="1760896" y="853695"/>
                      <a:pt x="1738921" y="1116708"/>
                    </a:cubicBezTo>
                    <a:cubicBezTo>
                      <a:pt x="1629719" y="1084590"/>
                      <a:pt x="1527054" y="1057896"/>
                      <a:pt x="1429831" y="1037293"/>
                    </a:cubicBezTo>
                    <a:cubicBezTo>
                      <a:pt x="1433528" y="645042"/>
                      <a:pt x="1394705" y="585268"/>
                      <a:pt x="1276621" y="376252"/>
                    </a:cubicBezTo>
                    <a:cubicBezTo>
                      <a:pt x="1348301" y="614213"/>
                      <a:pt x="1383618" y="676724"/>
                      <a:pt x="1367489" y="1023444"/>
                    </a:cubicBezTo>
                    <a:cubicBezTo>
                      <a:pt x="1286986" y="1006449"/>
                      <a:pt x="1210498" y="992941"/>
                      <a:pt x="1137410" y="983339"/>
                    </a:cubicBezTo>
                    <a:cubicBezTo>
                      <a:pt x="1127156" y="918837"/>
                      <a:pt x="1110795" y="840804"/>
                      <a:pt x="1086155" y="725161"/>
                    </a:cubicBezTo>
                    <a:cubicBezTo>
                      <a:pt x="1096176" y="833760"/>
                      <a:pt x="1101398" y="912097"/>
                      <a:pt x="1102915" y="978319"/>
                    </a:cubicBezTo>
                    <a:cubicBezTo>
                      <a:pt x="820463" y="940989"/>
                      <a:pt x="590909" y="951734"/>
                      <a:pt x="383542" y="988902"/>
                    </a:cubicBezTo>
                    <a:cubicBezTo>
                      <a:pt x="365953" y="517846"/>
                      <a:pt x="440012" y="442138"/>
                      <a:pt x="595289" y="211057"/>
                    </a:cubicBezTo>
                    <a:cubicBezTo>
                      <a:pt x="464963" y="352449"/>
                      <a:pt x="298928" y="468845"/>
                      <a:pt x="294746" y="1006199"/>
                    </a:cubicBezTo>
                    <a:cubicBezTo>
                      <a:pt x="194679" y="1026480"/>
                      <a:pt x="99189" y="1053585"/>
                      <a:pt x="4272" y="1083746"/>
                    </a:cubicBezTo>
                    <a:cubicBezTo>
                      <a:pt x="-25257" y="627077"/>
                      <a:pt x="81871" y="11090"/>
                      <a:pt x="848935" y="103"/>
                    </a:cubicBez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2" name="Block Arc 1421"/>
              <p:cNvSpPr/>
              <p:nvPr/>
            </p:nvSpPr>
            <p:spPr>
              <a:xfrm rot="17100000" flipH="1">
                <a:off x="7192336" y="957701"/>
                <a:ext cx="63593" cy="62302"/>
              </a:xfrm>
              <a:prstGeom prst="blockArc">
                <a:avLst>
                  <a:gd name="adj1" fmla="val 10800000"/>
                  <a:gd name="adj2" fmla="val 8154576"/>
                  <a:gd name="adj3" fmla="val 19585"/>
                </a:avLst>
              </a:prstGeom>
              <a:gradFill flip="none" rotWithShape="1">
                <a:gsLst>
                  <a:gs pos="58000">
                    <a:schemeClr val="bg1"/>
                  </a:gs>
                  <a:gs pos="38000">
                    <a:srgbClr val="FFFF00"/>
                  </a:gs>
                  <a:gs pos="13000">
                    <a:srgbClr val="A7A600"/>
                  </a:gs>
                  <a:gs pos="78000">
                    <a:srgbClr val="333200"/>
                  </a:gs>
                  <a:gs pos="60000">
                    <a:srgbClr val="FFFF00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3" name="Block Arc 1422"/>
              <p:cNvSpPr/>
              <p:nvPr/>
            </p:nvSpPr>
            <p:spPr>
              <a:xfrm rot="4500000">
                <a:off x="7799359" y="957701"/>
                <a:ext cx="63593" cy="62302"/>
              </a:xfrm>
              <a:prstGeom prst="blockArc">
                <a:avLst>
                  <a:gd name="adj1" fmla="val 10800000"/>
                  <a:gd name="adj2" fmla="val 8154576"/>
                  <a:gd name="adj3" fmla="val 19585"/>
                </a:avLst>
              </a:prstGeom>
              <a:gradFill flip="none" rotWithShape="1">
                <a:gsLst>
                  <a:gs pos="58000">
                    <a:schemeClr val="bg1"/>
                  </a:gs>
                  <a:gs pos="38000">
                    <a:srgbClr val="FFFF00"/>
                  </a:gs>
                  <a:gs pos="13000">
                    <a:srgbClr val="A7A600"/>
                  </a:gs>
                  <a:gs pos="78000">
                    <a:srgbClr val="333200"/>
                  </a:gs>
                  <a:gs pos="60000">
                    <a:srgbClr val="FFFF00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4" name="Freeform 1423"/>
              <p:cNvSpPr/>
              <p:nvPr/>
            </p:nvSpPr>
            <p:spPr>
              <a:xfrm>
                <a:off x="7230297" y="786418"/>
                <a:ext cx="127755" cy="426346"/>
              </a:xfrm>
              <a:custGeom>
                <a:avLst/>
                <a:gdLst>
                  <a:gd name="connsiteX0" fmla="*/ 113323 w 339969"/>
                  <a:gd name="connsiteY0" fmla="*/ 0 h 1133230"/>
                  <a:gd name="connsiteX1" fmla="*/ 339969 w 339969"/>
                  <a:gd name="connsiteY1" fmla="*/ 1133230 h 1133230"/>
                  <a:gd name="connsiteX2" fmla="*/ 0 w 339969"/>
                  <a:gd name="connsiteY2" fmla="*/ 23446 h 1133230"/>
                  <a:gd name="connsiteX3" fmla="*/ 113323 w 339969"/>
                  <a:gd name="connsiteY3" fmla="*/ 0 h 1133230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061" h="1121507">
                    <a:moveTo>
                      <a:pt x="113323" y="0"/>
                    </a:moveTo>
                    <a:cubicBezTo>
                      <a:pt x="125046" y="127652"/>
                      <a:pt x="-42985" y="833640"/>
                      <a:pt x="336061" y="1121507"/>
                    </a:cubicBezTo>
                    <a:cubicBezTo>
                      <a:pt x="-61221" y="872718"/>
                      <a:pt x="29958" y="229251"/>
                      <a:pt x="0" y="23446"/>
                    </a:cubicBezTo>
                    <a:lnTo>
                      <a:pt x="113323" y="0"/>
                    </a:ln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5" name="Freeform 1424"/>
              <p:cNvSpPr/>
              <p:nvPr/>
            </p:nvSpPr>
            <p:spPr>
              <a:xfrm rot="448402" flipH="1">
                <a:off x="7653343" y="786418"/>
                <a:ext cx="127755" cy="426346"/>
              </a:xfrm>
              <a:custGeom>
                <a:avLst/>
                <a:gdLst>
                  <a:gd name="connsiteX0" fmla="*/ 113323 w 339969"/>
                  <a:gd name="connsiteY0" fmla="*/ 0 h 1133230"/>
                  <a:gd name="connsiteX1" fmla="*/ 339969 w 339969"/>
                  <a:gd name="connsiteY1" fmla="*/ 1133230 h 1133230"/>
                  <a:gd name="connsiteX2" fmla="*/ 0 w 339969"/>
                  <a:gd name="connsiteY2" fmla="*/ 23446 h 1133230"/>
                  <a:gd name="connsiteX3" fmla="*/ 113323 w 339969"/>
                  <a:gd name="connsiteY3" fmla="*/ 0 h 1133230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061" h="1121507">
                    <a:moveTo>
                      <a:pt x="113323" y="0"/>
                    </a:moveTo>
                    <a:cubicBezTo>
                      <a:pt x="125046" y="127652"/>
                      <a:pt x="-42985" y="833640"/>
                      <a:pt x="336061" y="1121507"/>
                    </a:cubicBezTo>
                    <a:cubicBezTo>
                      <a:pt x="-61221" y="872718"/>
                      <a:pt x="29958" y="229251"/>
                      <a:pt x="0" y="23446"/>
                    </a:cubicBezTo>
                    <a:lnTo>
                      <a:pt x="113323" y="0"/>
                    </a:ln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6" name="Freeform 1425"/>
              <p:cNvSpPr/>
              <p:nvPr/>
            </p:nvSpPr>
            <p:spPr>
              <a:xfrm>
                <a:off x="7197481" y="528773"/>
                <a:ext cx="634434" cy="163198"/>
              </a:xfrm>
              <a:custGeom>
                <a:avLst/>
                <a:gdLst/>
                <a:ahLst/>
                <a:cxnLst/>
                <a:rect l="l" t="t" r="r" b="b"/>
                <a:pathLst>
                  <a:path w="1668883" h="429293">
                    <a:moveTo>
                      <a:pt x="438172" y="43849"/>
                    </a:moveTo>
                    <a:lnTo>
                      <a:pt x="450520" y="45723"/>
                    </a:lnTo>
                    <a:cubicBezTo>
                      <a:pt x="405546" y="134671"/>
                      <a:pt x="352371" y="153913"/>
                      <a:pt x="315598" y="312568"/>
                    </a:cubicBezTo>
                    <a:cubicBezTo>
                      <a:pt x="265568" y="317820"/>
                      <a:pt x="220027" y="327535"/>
                      <a:pt x="180420" y="336262"/>
                    </a:cubicBezTo>
                    <a:cubicBezTo>
                      <a:pt x="99778" y="354030"/>
                      <a:pt x="10935" y="456542"/>
                      <a:pt x="0" y="422371"/>
                    </a:cubicBezTo>
                    <a:lnTo>
                      <a:pt x="114813" y="131239"/>
                    </a:lnTo>
                    <a:cubicBezTo>
                      <a:pt x="178370" y="68366"/>
                      <a:pt x="300700" y="56748"/>
                      <a:pt x="381342" y="45130"/>
                    </a:cubicBezTo>
                    <a:cubicBezTo>
                      <a:pt x="401503" y="42226"/>
                      <a:pt x="420211" y="42268"/>
                      <a:pt x="438172" y="43849"/>
                    </a:cubicBezTo>
                    <a:close/>
                    <a:moveTo>
                      <a:pt x="1414655" y="41029"/>
                    </a:moveTo>
                    <a:lnTo>
                      <a:pt x="1545870" y="131239"/>
                    </a:lnTo>
                    <a:lnTo>
                      <a:pt x="1668883" y="389568"/>
                    </a:lnTo>
                    <a:cubicBezTo>
                      <a:pt x="1637559" y="407148"/>
                      <a:pt x="1518265" y="397605"/>
                      <a:pt x="1420894" y="386347"/>
                    </a:cubicBezTo>
                    <a:cubicBezTo>
                      <a:pt x="1393049" y="239679"/>
                      <a:pt x="1316001" y="166819"/>
                      <a:pt x="1263554" y="57055"/>
                    </a:cubicBezTo>
                    <a:close/>
                    <a:moveTo>
                      <a:pt x="856994" y="25"/>
                    </a:moveTo>
                    <a:cubicBezTo>
                      <a:pt x="947887" y="1392"/>
                      <a:pt x="1053816" y="79301"/>
                      <a:pt x="1144026" y="69733"/>
                    </a:cubicBezTo>
                    <a:lnTo>
                      <a:pt x="1239443" y="90242"/>
                    </a:lnTo>
                    <a:cubicBezTo>
                      <a:pt x="1278172" y="178613"/>
                      <a:pt x="1288199" y="266984"/>
                      <a:pt x="1302326" y="371757"/>
                    </a:cubicBezTo>
                    <a:cubicBezTo>
                      <a:pt x="1241290" y="363994"/>
                      <a:pt x="1184848" y="357569"/>
                      <a:pt x="1144026" y="356764"/>
                    </a:cubicBezTo>
                    <a:lnTo>
                      <a:pt x="1093810" y="358591"/>
                    </a:lnTo>
                    <a:lnTo>
                      <a:pt x="1045615" y="250152"/>
                    </a:lnTo>
                    <a:lnTo>
                      <a:pt x="1034403" y="362275"/>
                    </a:lnTo>
                    <a:cubicBezTo>
                      <a:pt x="962907" y="369796"/>
                      <a:pt x="910363" y="382637"/>
                      <a:pt x="836492" y="373166"/>
                    </a:cubicBezTo>
                    <a:lnTo>
                      <a:pt x="483853" y="315760"/>
                    </a:lnTo>
                    <a:lnTo>
                      <a:pt x="436403" y="311679"/>
                    </a:lnTo>
                    <a:cubicBezTo>
                      <a:pt x="444879" y="154254"/>
                      <a:pt x="510762" y="74739"/>
                      <a:pt x="560241" y="60829"/>
                    </a:cubicBezTo>
                    <a:cubicBezTo>
                      <a:pt x="572519" y="62842"/>
                      <a:pt x="585280" y="62800"/>
                      <a:pt x="598665" y="61531"/>
                    </a:cubicBezTo>
                    <a:cubicBezTo>
                      <a:pt x="677940" y="54013"/>
                      <a:pt x="766101" y="-1342"/>
                      <a:pt x="856994" y="25"/>
                    </a:cubicBezTo>
                    <a:close/>
                  </a:path>
                </a:pathLst>
              </a:custGeom>
              <a:solidFill>
                <a:srgbClr val="FFFFFF">
                  <a:alpha val="43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7" name="Freeform 1426"/>
              <p:cNvSpPr/>
              <p:nvPr/>
            </p:nvSpPr>
            <p:spPr>
              <a:xfrm>
                <a:off x="7243794" y="1350132"/>
                <a:ext cx="285716" cy="629749"/>
              </a:xfrm>
              <a:custGeom>
                <a:avLst/>
                <a:gdLst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1934" h="733529">
                    <a:moveTo>
                      <a:pt x="10048" y="0"/>
                    </a:moveTo>
                    <a:cubicBezTo>
                      <a:pt x="131624" y="262617"/>
                      <a:pt x="162663" y="395466"/>
                      <a:pt x="401934" y="733529"/>
                    </a:cubicBezTo>
                    <a:cubicBezTo>
                      <a:pt x="340384" y="643857"/>
                      <a:pt x="152085" y="484774"/>
                      <a:pt x="0" y="211015"/>
                    </a:cubicBezTo>
                    <a:lnTo>
                      <a:pt x="10048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8" name="Freeform 1427"/>
              <p:cNvSpPr/>
              <p:nvPr/>
            </p:nvSpPr>
            <p:spPr>
              <a:xfrm flipH="1">
                <a:off x="7525608" y="1350132"/>
                <a:ext cx="285716" cy="629749"/>
              </a:xfrm>
              <a:custGeom>
                <a:avLst/>
                <a:gdLst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1934" h="733529">
                    <a:moveTo>
                      <a:pt x="10048" y="0"/>
                    </a:moveTo>
                    <a:cubicBezTo>
                      <a:pt x="131624" y="262617"/>
                      <a:pt x="162663" y="395466"/>
                      <a:pt x="401934" y="733529"/>
                    </a:cubicBezTo>
                    <a:cubicBezTo>
                      <a:pt x="340384" y="643857"/>
                      <a:pt x="152085" y="484774"/>
                      <a:pt x="0" y="211015"/>
                    </a:cubicBezTo>
                    <a:lnTo>
                      <a:pt x="10048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29" name="Group 1428"/>
              <p:cNvGrpSpPr/>
              <p:nvPr/>
            </p:nvGrpSpPr>
            <p:grpSpPr>
              <a:xfrm>
                <a:off x="6591918" y="1524392"/>
                <a:ext cx="801061" cy="1682799"/>
                <a:chOff x="6591918" y="1524392"/>
                <a:chExt cx="801061" cy="1682799"/>
              </a:xfrm>
            </p:grpSpPr>
            <p:sp>
              <p:nvSpPr>
                <p:cNvPr id="1448" name="Freeform 1447"/>
                <p:cNvSpPr/>
                <p:nvPr/>
              </p:nvSpPr>
              <p:spPr>
                <a:xfrm rot="287938">
                  <a:off x="6591918" y="1524392"/>
                  <a:ext cx="513364" cy="944358"/>
                </a:xfrm>
                <a:custGeom>
                  <a:avLst/>
                  <a:gdLst>
                    <a:gd name="connsiteX0" fmla="*/ 328773 w 585627"/>
                    <a:gd name="connsiteY0" fmla="*/ 0 h 1089061"/>
                    <a:gd name="connsiteX1" fmla="*/ 0 w 585627"/>
                    <a:gd name="connsiteY1" fmla="*/ 976045 h 1089061"/>
                    <a:gd name="connsiteX2" fmla="*/ 256854 w 585627"/>
                    <a:gd name="connsiteY2" fmla="*/ 1089061 h 1089061"/>
                    <a:gd name="connsiteX3" fmla="*/ 585627 w 585627"/>
                    <a:gd name="connsiteY3" fmla="*/ 472612 h 1089061"/>
                    <a:gd name="connsiteX4" fmla="*/ 328773 w 585627"/>
                    <a:gd name="connsiteY4" fmla="*/ 0 h 1089061"/>
                    <a:gd name="connsiteX0" fmla="*/ 328773 w 586224"/>
                    <a:gd name="connsiteY0" fmla="*/ 12060 h 1101121"/>
                    <a:gd name="connsiteX1" fmla="*/ 0 w 586224"/>
                    <a:gd name="connsiteY1" fmla="*/ 988105 h 1101121"/>
                    <a:gd name="connsiteX2" fmla="*/ 256854 w 586224"/>
                    <a:gd name="connsiteY2" fmla="*/ 1101121 h 1101121"/>
                    <a:gd name="connsiteX3" fmla="*/ 585627 w 586224"/>
                    <a:gd name="connsiteY3" fmla="*/ 484672 h 1101121"/>
                    <a:gd name="connsiteX4" fmla="*/ 328773 w 586224"/>
                    <a:gd name="connsiteY4" fmla="*/ 12060 h 1101121"/>
                    <a:gd name="connsiteX0" fmla="*/ 328773 w 586224"/>
                    <a:gd name="connsiteY0" fmla="*/ 12060 h 1101121"/>
                    <a:gd name="connsiteX1" fmla="*/ 0 w 586224"/>
                    <a:gd name="connsiteY1" fmla="*/ 988105 h 1101121"/>
                    <a:gd name="connsiteX2" fmla="*/ 113015 w 586224"/>
                    <a:gd name="connsiteY2" fmla="*/ 1050422 h 1101121"/>
                    <a:gd name="connsiteX3" fmla="*/ 256854 w 586224"/>
                    <a:gd name="connsiteY3" fmla="*/ 1101121 h 1101121"/>
                    <a:gd name="connsiteX4" fmla="*/ 585627 w 586224"/>
                    <a:gd name="connsiteY4" fmla="*/ 484672 h 1101121"/>
                    <a:gd name="connsiteX5" fmla="*/ 328773 w 586224"/>
                    <a:gd name="connsiteY5" fmla="*/ 12060 h 1101121"/>
                    <a:gd name="connsiteX0" fmla="*/ 329370 w 586821"/>
                    <a:gd name="connsiteY0" fmla="*/ 12060 h 1150093"/>
                    <a:gd name="connsiteX1" fmla="*/ 597 w 586821"/>
                    <a:gd name="connsiteY1" fmla="*/ 988105 h 1150093"/>
                    <a:gd name="connsiteX2" fmla="*/ 257451 w 586821"/>
                    <a:gd name="connsiteY2" fmla="*/ 1101121 h 1150093"/>
                    <a:gd name="connsiteX3" fmla="*/ 586224 w 586821"/>
                    <a:gd name="connsiteY3" fmla="*/ 484672 h 1150093"/>
                    <a:gd name="connsiteX4" fmla="*/ 329370 w 586821"/>
                    <a:gd name="connsiteY4" fmla="*/ 12060 h 1150093"/>
                    <a:gd name="connsiteX0" fmla="*/ 329370 w 621664"/>
                    <a:gd name="connsiteY0" fmla="*/ 13433 h 1151466"/>
                    <a:gd name="connsiteX1" fmla="*/ 597 w 621664"/>
                    <a:gd name="connsiteY1" fmla="*/ 989478 h 1151466"/>
                    <a:gd name="connsiteX2" fmla="*/ 257451 w 621664"/>
                    <a:gd name="connsiteY2" fmla="*/ 1102494 h 1151466"/>
                    <a:gd name="connsiteX3" fmla="*/ 586224 w 621664"/>
                    <a:gd name="connsiteY3" fmla="*/ 486045 h 1151466"/>
                    <a:gd name="connsiteX4" fmla="*/ 329370 w 621664"/>
                    <a:gd name="connsiteY4" fmla="*/ 13433 h 1151466"/>
                    <a:gd name="connsiteX0" fmla="*/ 269994 w 617120"/>
                    <a:gd name="connsiteY0" fmla="*/ 21041 h 1010632"/>
                    <a:gd name="connsiteX1" fmla="*/ 597 w 617120"/>
                    <a:gd name="connsiteY1" fmla="*/ 848644 h 1010632"/>
                    <a:gd name="connsiteX2" fmla="*/ 257451 w 617120"/>
                    <a:gd name="connsiteY2" fmla="*/ 961660 h 1010632"/>
                    <a:gd name="connsiteX3" fmla="*/ 586224 w 617120"/>
                    <a:gd name="connsiteY3" fmla="*/ 345211 h 1010632"/>
                    <a:gd name="connsiteX4" fmla="*/ 269994 w 617120"/>
                    <a:gd name="connsiteY4" fmla="*/ 21041 h 1010632"/>
                    <a:gd name="connsiteX0" fmla="*/ 269994 w 619954"/>
                    <a:gd name="connsiteY0" fmla="*/ 99624 h 1089215"/>
                    <a:gd name="connsiteX1" fmla="*/ 597 w 619954"/>
                    <a:gd name="connsiteY1" fmla="*/ 927227 h 1089215"/>
                    <a:gd name="connsiteX2" fmla="*/ 257451 w 619954"/>
                    <a:gd name="connsiteY2" fmla="*/ 1040243 h 1089215"/>
                    <a:gd name="connsiteX3" fmla="*/ 586224 w 619954"/>
                    <a:gd name="connsiteY3" fmla="*/ 423794 h 1089215"/>
                    <a:gd name="connsiteX4" fmla="*/ 269994 w 619954"/>
                    <a:gd name="connsiteY4" fmla="*/ 99624 h 1089215"/>
                    <a:gd name="connsiteX0" fmla="*/ 269994 w 513364"/>
                    <a:gd name="connsiteY0" fmla="*/ 91146 h 1080737"/>
                    <a:gd name="connsiteX1" fmla="*/ 597 w 513364"/>
                    <a:gd name="connsiteY1" fmla="*/ 918749 h 1080737"/>
                    <a:gd name="connsiteX2" fmla="*/ 257451 w 513364"/>
                    <a:gd name="connsiteY2" fmla="*/ 1031765 h 1080737"/>
                    <a:gd name="connsiteX3" fmla="*/ 466817 w 513364"/>
                    <a:gd name="connsiteY3" fmla="*/ 473133 h 1080737"/>
                    <a:gd name="connsiteX4" fmla="*/ 269994 w 513364"/>
                    <a:gd name="connsiteY4" fmla="*/ 91146 h 108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364" h="1080737">
                      <a:moveTo>
                        <a:pt x="269994" y="91146"/>
                      </a:moveTo>
                      <a:lnTo>
                        <a:pt x="597" y="918749"/>
                      </a:lnTo>
                      <a:cubicBezTo>
                        <a:pt x="-11389" y="1100259"/>
                        <a:pt x="159847" y="1115670"/>
                        <a:pt x="257451" y="1031765"/>
                      </a:cubicBezTo>
                      <a:lnTo>
                        <a:pt x="466817" y="473133"/>
                      </a:lnTo>
                      <a:cubicBezTo>
                        <a:pt x="603494" y="244121"/>
                        <a:pt x="409162" y="-188702"/>
                        <a:pt x="269994" y="9114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9" name="Freeform 1448"/>
                <p:cNvSpPr/>
                <p:nvPr/>
              </p:nvSpPr>
              <p:spPr>
                <a:xfrm rot="18566135" flipV="1">
                  <a:off x="6938906" y="2753118"/>
                  <a:ext cx="287690" cy="620456"/>
                </a:xfrm>
                <a:custGeom>
                  <a:avLst/>
                  <a:gdLst>
                    <a:gd name="connsiteX0" fmla="*/ 528511 w 1254582"/>
                    <a:gd name="connsiteY0" fmla="*/ 1523 h 2511809"/>
                    <a:gd name="connsiteX1" fmla="*/ 699650 w 1254582"/>
                    <a:gd name="connsiteY1" fmla="*/ 103684 h 2511809"/>
                    <a:gd name="connsiteX2" fmla="*/ 616670 w 1254582"/>
                    <a:gd name="connsiteY2" fmla="*/ 603083 h 2511809"/>
                    <a:gd name="connsiteX3" fmla="*/ 656794 w 1254582"/>
                    <a:gd name="connsiteY3" fmla="*/ 1258882 h 2511809"/>
                    <a:gd name="connsiteX4" fmla="*/ 721115 w 1254582"/>
                    <a:gd name="connsiteY4" fmla="*/ 131612 h 2511809"/>
                    <a:gd name="connsiteX5" fmla="*/ 830436 w 1254582"/>
                    <a:gd name="connsiteY5" fmla="*/ 475975 h 2511809"/>
                    <a:gd name="connsiteX6" fmla="*/ 804557 w 1254582"/>
                    <a:gd name="connsiteY6" fmla="*/ 1243726 h 2511809"/>
                    <a:gd name="connsiteX7" fmla="*/ 1080602 w 1254582"/>
                    <a:gd name="connsiteY7" fmla="*/ 924549 h 2511809"/>
                    <a:gd name="connsiteX8" fmla="*/ 1253130 w 1254582"/>
                    <a:gd name="connsiteY8" fmla="*/ 1071198 h 2511809"/>
                    <a:gd name="connsiteX9" fmla="*/ 994338 w 1254582"/>
                    <a:gd name="connsiteY9" fmla="*/ 1735432 h 2511809"/>
                    <a:gd name="connsiteX10" fmla="*/ 744172 w 1254582"/>
                    <a:gd name="connsiteY10" fmla="*/ 1994225 h 2511809"/>
                    <a:gd name="connsiteX11" fmla="*/ 701040 w 1254582"/>
                    <a:gd name="connsiteY11" fmla="*/ 2511809 h 2511809"/>
                    <a:gd name="connsiteX12" fmla="*/ 183455 w 1254582"/>
                    <a:gd name="connsiteY12" fmla="*/ 2477304 h 2511809"/>
                    <a:gd name="connsiteX13" fmla="*/ 200708 w 1254582"/>
                    <a:gd name="connsiteY13" fmla="*/ 2080489 h 2511809"/>
                    <a:gd name="connsiteX14" fmla="*/ 2300 w 1254582"/>
                    <a:gd name="connsiteY14" fmla="*/ 1364496 h 2511809"/>
                    <a:gd name="connsiteX15" fmla="*/ 79938 w 1254582"/>
                    <a:gd name="connsiteY15" fmla="*/ 622624 h 2511809"/>
                    <a:gd name="connsiteX16" fmla="*/ 256503 w 1254582"/>
                    <a:gd name="connsiteY16" fmla="*/ 254290 h 2511809"/>
                    <a:gd name="connsiteX17" fmla="*/ 198548 w 1254582"/>
                    <a:gd name="connsiteY17" fmla="*/ 603083 h 2511809"/>
                    <a:gd name="connsiteX18" fmla="*/ 238672 w 1254582"/>
                    <a:gd name="connsiteY18" fmla="*/ 1258882 h 2511809"/>
                    <a:gd name="connsiteX19" fmla="*/ 505954 w 1254582"/>
                    <a:gd name="connsiteY19" fmla="*/ 10547 h 2511809"/>
                    <a:gd name="connsiteX20" fmla="*/ 407499 w 1254582"/>
                    <a:gd name="connsiteY20" fmla="*/ 603083 h 2511809"/>
                    <a:gd name="connsiteX21" fmla="*/ 447623 w 1254582"/>
                    <a:gd name="connsiteY21" fmla="*/ 1258882 h 2511809"/>
                    <a:gd name="connsiteX22" fmla="*/ 519153 w 1254582"/>
                    <a:gd name="connsiteY22" fmla="*/ 5267 h 2511809"/>
                    <a:gd name="connsiteX23" fmla="*/ 528511 w 1254582"/>
                    <a:gd name="connsiteY23" fmla="*/ 1523 h 2511809"/>
                    <a:gd name="connsiteX0" fmla="*/ 528511 w 1254582"/>
                    <a:gd name="connsiteY0" fmla="*/ 0 h 2510286"/>
                    <a:gd name="connsiteX1" fmla="*/ 616670 w 1254582"/>
                    <a:gd name="connsiteY1" fmla="*/ 601560 h 2510286"/>
                    <a:gd name="connsiteX2" fmla="*/ 656794 w 1254582"/>
                    <a:gd name="connsiteY2" fmla="*/ 1257359 h 2510286"/>
                    <a:gd name="connsiteX3" fmla="*/ 721115 w 1254582"/>
                    <a:gd name="connsiteY3" fmla="*/ 130089 h 2510286"/>
                    <a:gd name="connsiteX4" fmla="*/ 830436 w 1254582"/>
                    <a:gd name="connsiteY4" fmla="*/ 474452 h 2510286"/>
                    <a:gd name="connsiteX5" fmla="*/ 804557 w 1254582"/>
                    <a:gd name="connsiteY5" fmla="*/ 1242203 h 2510286"/>
                    <a:gd name="connsiteX6" fmla="*/ 1080602 w 1254582"/>
                    <a:gd name="connsiteY6" fmla="*/ 923026 h 2510286"/>
                    <a:gd name="connsiteX7" fmla="*/ 1253130 w 1254582"/>
                    <a:gd name="connsiteY7" fmla="*/ 1069675 h 2510286"/>
                    <a:gd name="connsiteX8" fmla="*/ 994338 w 1254582"/>
                    <a:gd name="connsiteY8" fmla="*/ 1733909 h 2510286"/>
                    <a:gd name="connsiteX9" fmla="*/ 744172 w 1254582"/>
                    <a:gd name="connsiteY9" fmla="*/ 1992702 h 2510286"/>
                    <a:gd name="connsiteX10" fmla="*/ 701040 w 1254582"/>
                    <a:gd name="connsiteY10" fmla="*/ 2510286 h 2510286"/>
                    <a:gd name="connsiteX11" fmla="*/ 183455 w 1254582"/>
                    <a:gd name="connsiteY11" fmla="*/ 2475781 h 2510286"/>
                    <a:gd name="connsiteX12" fmla="*/ 200708 w 1254582"/>
                    <a:gd name="connsiteY12" fmla="*/ 2078966 h 2510286"/>
                    <a:gd name="connsiteX13" fmla="*/ 2300 w 1254582"/>
                    <a:gd name="connsiteY13" fmla="*/ 1362973 h 2510286"/>
                    <a:gd name="connsiteX14" fmla="*/ 79938 w 1254582"/>
                    <a:gd name="connsiteY14" fmla="*/ 621101 h 2510286"/>
                    <a:gd name="connsiteX15" fmla="*/ 256503 w 1254582"/>
                    <a:gd name="connsiteY15" fmla="*/ 252767 h 2510286"/>
                    <a:gd name="connsiteX16" fmla="*/ 198548 w 1254582"/>
                    <a:gd name="connsiteY16" fmla="*/ 601560 h 2510286"/>
                    <a:gd name="connsiteX17" fmla="*/ 238672 w 1254582"/>
                    <a:gd name="connsiteY17" fmla="*/ 1257359 h 2510286"/>
                    <a:gd name="connsiteX18" fmla="*/ 505954 w 1254582"/>
                    <a:gd name="connsiteY18" fmla="*/ 9024 h 2510286"/>
                    <a:gd name="connsiteX19" fmla="*/ 407499 w 1254582"/>
                    <a:gd name="connsiteY19" fmla="*/ 601560 h 2510286"/>
                    <a:gd name="connsiteX20" fmla="*/ 447623 w 1254582"/>
                    <a:gd name="connsiteY20" fmla="*/ 1257359 h 2510286"/>
                    <a:gd name="connsiteX21" fmla="*/ 519153 w 1254582"/>
                    <a:gd name="connsiteY21" fmla="*/ 3744 h 2510286"/>
                    <a:gd name="connsiteX22" fmla="*/ 528511 w 1254582"/>
                    <a:gd name="connsiteY22" fmla="*/ 0 h 2510286"/>
                    <a:gd name="connsiteX0" fmla="*/ 542227 w 1254582"/>
                    <a:gd name="connsiteY0" fmla="*/ 0 h 2514858"/>
                    <a:gd name="connsiteX1" fmla="*/ 616670 w 1254582"/>
                    <a:gd name="connsiteY1" fmla="*/ 606132 h 2514858"/>
                    <a:gd name="connsiteX2" fmla="*/ 656794 w 1254582"/>
                    <a:gd name="connsiteY2" fmla="*/ 1261931 h 2514858"/>
                    <a:gd name="connsiteX3" fmla="*/ 721115 w 1254582"/>
                    <a:gd name="connsiteY3" fmla="*/ 134661 h 2514858"/>
                    <a:gd name="connsiteX4" fmla="*/ 830436 w 1254582"/>
                    <a:gd name="connsiteY4" fmla="*/ 479024 h 2514858"/>
                    <a:gd name="connsiteX5" fmla="*/ 804557 w 1254582"/>
                    <a:gd name="connsiteY5" fmla="*/ 1246775 h 2514858"/>
                    <a:gd name="connsiteX6" fmla="*/ 1080602 w 1254582"/>
                    <a:gd name="connsiteY6" fmla="*/ 927598 h 2514858"/>
                    <a:gd name="connsiteX7" fmla="*/ 1253130 w 1254582"/>
                    <a:gd name="connsiteY7" fmla="*/ 1074247 h 2514858"/>
                    <a:gd name="connsiteX8" fmla="*/ 994338 w 1254582"/>
                    <a:gd name="connsiteY8" fmla="*/ 1738481 h 2514858"/>
                    <a:gd name="connsiteX9" fmla="*/ 744172 w 1254582"/>
                    <a:gd name="connsiteY9" fmla="*/ 1997274 h 2514858"/>
                    <a:gd name="connsiteX10" fmla="*/ 701040 w 1254582"/>
                    <a:gd name="connsiteY10" fmla="*/ 2514858 h 2514858"/>
                    <a:gd name="connsiteX11" fmla="*/ 183455 w 1254582"/>
                    <a:gd name="connsiteY11" fmla="*/ 2480353 h 2514858"/>
                    <a:gd name="connsiteX12" fmla="*/ 200708 w 1254582"/>
                    <a:gd name="connsiteY12" fmla="*/ 2083538 h 2514858"/>
                    <a:gd name="connsiteX13" fmla="*/ 2300 w 1254582"/>
                    <a:gd name="connsiteY13" fmla="*/ 1367545 h 2514858"/>
                    <a:gd name="connsiteX14" fmla="*/ 79938 w 1254582"/>
                    <a:gd name="connsiteY14" fmla="*/ 625673 h 2514858"/>
                    <a:gd name="connsiteX15" fmla="*/ 256503 w 1254582"/>
                    <a:gd name="connsiteY15" fmla="*/ 257339 h 2514858"/>
                    <a:gd name="connsiteX16" fmla="*/ 198548 w 1254582"/>
                    <a:gd name="connsiteY16" fmla="*/ 606132 h 2514858"/>
                    <a:gd name="connsiteX17" fmla="*/ 238672 w 1254582"/>
                    <a:gd name="connsiteY17" fmla="*/ 1261931 h 2514858"/>
                    <a:gd name="connsiteX18" fmla="*/ 505954 w 1254582"/>
                    <a:gd name="connsiteY18" fmla="*/ 13596 h 2514858"/>
                    <a:gd name="connsiteX19" fmla="*/ 407499 w 1254582"/>
                    <a:gd name="connsiteY19" fmla="*/ 606132 h 2514858"/>
                    <a:gd name="connsiteX20" fmla="*/ 447623 w 1254582"/>
                    <a:gd name="connsiteY20" fmla="*/ 1261931 h 2514858"/>
                    <a:gd name="connsiteX21" fmla="*/ 519153 w 1254582"/>
                    <a:gd name="connsiteY21" fmla="*/ 8316 h 2514858"/>
                    <a:gd name="connsiteX22" fmla="*/ 542227 w 1254582"/>
                    <a:gd name="connsiteY22" fmla="*/ 0 h 2514858"/>
                    <a:gd name="connsiteX0" fmla="*/ 542227 w 1254582"/>
                    <a:gd name="connsiteY0" fmla="*/ 114628 h 2629486"/>
                    <a:gd name="connsiteX1" fmla="*/ 616670 w 1254582"/>
                    <a:gd name="connsiteY1" fmla="*/ 720760 h 2629486"/>
                    <a:gd name="connsiteX2" fmla="*/ 656794 w 1254582"/>
                    <a:gd name="connsiteY2" fmla="*/ 1376559 h 2629486"/>
                    <a:gd name="connsiteX3" fmla="*/ 721115 w 1254582"/>
                    <a:gd name="connsiteY3" fmla="*/ 249289 h 2629486"/>
                    <a:gd name="connsiteX4" fmla="*/ 830436 w 1254582"/>
                    <a:gd name="connsiteY4" fmla="*/ 593652 h 2629486"/>
                    <a:gd name="connsiteX5" fmla="*/ 804557 w 1254582"/>
                    <a:gd name="connsiteY5" fmla="*/ 1361403 h 2629486"/>
                    <a:gd name="connsiteX6" fmla="*/ 1080602 w 1254582"/>
                    <a:gd name="connsiteY6" fmla="*/ 1042226 h 2629486"/>
                    <a:gd name="connsiteX7" fmla="*/ 1253130 w 1254582"/>
                    <a:gd name="connsiteY7" fmla="*/ 1188875 h 2629486"/>
                    <a:gd name="connsiteX8" fmla="*/ 994338 w 1254582"/>
                    <a:gd name="connsiteY8" fmla="*/ 1853109 h 2629486"/>
                    <a:gd name="connsiteX9" fmla="*/ 744172 w 1254582"/>
                    <a:gd name="connsiteY9" fmla="*/ 2111902 h 2629486"/>
                    <a:gd name="connsiteX10" fmla="*/ 701040 w 1254582"/>
                    <a:gd name="connsiteY10" fmla="*/ 2629486 h 2629486"/>
                    <a:gd name="connsiteX11" fmla="*/ 183455 w 1254582"/>
                    <a:gd name="connsiteY11" fmla="*/ 2594981 h 2629486"/>
                    <a:gd name="connsiteX12" fmla="*/ 200708 w 1254582"/>
                    <a:gd name="connsiteY12" fmla="*/ 2198166 h 2629486"/>
                    <a:gd name="connsiteX13" fmla="*/ 2300 w 1254582"/>
                    <a:gd name="connsiteY13" fmla="*/ 1482173 h 2629486"/>
                    <a:gd name="connsiteX14" fmla="*/ 79938 w 1254582"/>
                    <a:gd name="connsiteY14" fmla="*/ 740301 h 2629486"/>
                    <a:gd name="connsiteX15" fmla="*/ 256503 w 1254582"/>
                    <a:gd name="connsiteY15" fmla="*/ 371967 h 2629486"/>
                    <a:gd name="connsiteX16" fmla="*/ 198548 w 1254582"/>
                    <a:gd name="connsiteY16" fmla="*/ 720760 h 2629486"/>
                    <a:gd name="connsiteX17" fmla="*/ 238672 w 1254582"/>
                    <a:gd name="connsiteY17" fmla="*/ 1376559 h 2629486"/>
                    <a:gd name="connsiteX18" fmla="*/ 505954 w 1254582"/>
                    <a:gd name="connsiteY18" fmla="*/ 128224 h 2629486"/>
                    <a:gd name="connsiteX19" fmla="*/ 407499 w 1254582"/>
                    <a:gd name="connsiteY19" fmla="*/ 720760 h 2629486"/>
                    <a:gd name="connsiteX20" fmla="*/ 447623 w 1254582"/>
                    <a:gd name="connsiteY20" fmla="*/ 1376559 h 2629486"/>
                    <a:gd name="connsiteX21" fmla="*/ 519153 w 1254582"/>
                    <a:gd name="connsiteY21" fmla="*/ 122944 h 2629486"/>
                    <a:gd name="connsiteX22" fmla="*/ 542227 w 1254582"/>
                    <a:gd name="connsiteY22" fmla="*/ 114628 h 2629486"/>
                    <a:gd name="connsiteX0" fmla="*/ 697675 w 1254582"/>
                    <a:gd name="connsiteY0" fmla="*/ 68793 h 2675091"/>
                    <a:gd name="connsiteX1" fmla="*/ 616670 w 1254582"/>
                    <a:gd name="connsiteY1" fmla="*/ 766365 h 2675091"/>
                    <a:gd name="connsiteX2" fmla="*/ 656794 w 1254582"/>
                    <a:gd name="connsiteY2" fmla="*/ 1422164 h 2675091"/>
                    <a:gd name="connsiteX3" fmla="*/ 721115 w 1254582"/>
                    <a:gd name="connsiteY3" fmla="*/ 294894 h 2675091"/>
                    <a:gd name="connsiteX4" fmla="*/ 830436 w 1254582"/>
                    <a:gd name="connsiteY4" fmla="*/ 639257 h 2675091"/>
                    <a:gd name="connsiteX5" fmla="*/ 804557 w 1254582"/>
                    <a:gd name="connsiteY5" fmla="*/ 1407008 h 2675091"/>
                    <a:gd name="connsiteX6" fmla="*/ 1080602 w 1254582"/>
                    <a:gd name="connsiteY6" fmla="*/ 1087831 h 2675091"/>
                    <a:gd name="connsiteX7" fmla="*/ 1253130 w 1254582"/>
                    <a:gd name="connsiteY7" fmla="*/ 1234480 h 2675091"/>
                    <a:gd name="connsiteX8" fmla="*/ 994338 w 1254582"/>
                    <a:gd name="connsiteY8" fmla="*/ 1898714 h 2675091"/>
                    <a:gd name="connsiteX9" fmla="*/ 744172 w 1254582"/>
                    <a:gd name="connsiteY9" fmla="*/ 2157507 h 2675091"/>
                    <a:gd name="connsiteX10" fmla="*/ 701040 w 1254582"/>
                    <a:gd name="connsiteY10" fmla="*/ 2675091 h 2675091"/>
                    <a:gd name="connsiteX11" fmla="*/ 183455 w 1254582"/>
                    <a:gd name="connsiteY11" fmla="*/ 2640586 h 2675091"/>
                    <a:gd name="connsiteX12" fmla="*/ 200708 w 1254582"/>
                    <a:gd name="connsiteY12" fmla="*/ 2243771 h 2675091"/>
                    <a:gd name="connsiteX13" fmla="*/ 2300 w 1254582"/>
                    <a:gd name="connsiteY13" fmla="*/ 1527778 h 2675091"/>
                    <a:gd name="connsiteX14" fmla="*/ 79938 w 1254582"/>
                    <a:gd name="connsiteY14" fmla="*/ 785906 h 2675091"/>
                    <a:gd name="connsiteX15" fmla="*/ 256503 w 1254582"/>
                    <a:gd name="connsiteY15" fmla="*/ 417572 h 2675091"/>
                    <a:gd name="connsiteX16" fmla="*/ 198548 w 1254582"/>
                    <a:gd name="connsiteY16" fmla="*/ 766365 h 2675091"/>
                    <a:gd name="connsiteX17" fmla="*/ 238672 w 1254582"/>
                    <a:gd name="connsiteY17" fmla="*/ 1422164 h 2675091"/>
                    <a:gd name="connsiteX18" fmla="*/ 505954 w 1254582"/>
                    <a:gd name="connsiteY18" fmla="*/ 173829 h 2675091"/>
                    <a:gd name="connsiteX19" fmla="*/ 407499 w 1254582"/>
                    <a:gd name="connsiteY19" fmla="*/ 766365 h 2675091"/>
                    <a:gd name="connsiteX20" fmla="*/ 447623 w 1254582"/>
                    <a:gd name="connsiteY20" fmla="*/ 1422164 h 2675091"/>
                    <a:gd name="connsiteX21" fmla="*/ 519153 w 1254582"/>
                    <a:gd name="connsiteY21" fmla="*/ 168549 h 2675091"/>
                    <a:gd name="connsiteX22" fmla="*/ 697675 w 1254582"/>
                    <a:gd name="connsiteY22" fmla="*/ 68793 h 2675091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5337 h 2611635"/>
                    <a:gd name="connsiteX1" fmla="*/ 616670 w 1254582"/>
                    <a:gd name="connsiteY1" fmla="*/ 702909 h 2611635"/>
                    <a:gd name="connsiteX2" fmla="*/ 656794 w 1254582"/>
                    <a:gd name="connsiteY2" fmla="*/ 1358708 h 2611635"/>
                    <a:gd name="connsiteX3" fmla="*/ 721115 w 1254582"/>
                    <a:gd name="connsiteY3" fmla="*/ 231438 h 2611635"/>
                    <a:gd name="connsiteX4" fmla="*/ 830436 w 1254582"/>
                    <a:gd name="connsiteY4" fmla="*/ 575801 h 2611635"/>
                    <a:gd name="connsiteX5" fmla="*/ 804557 w 1254582"/>
                    <a:gd name="connsiteY5" fmla="*/ 1343552 h 2611635"/>
                    <a:gd name="connsiteX6" fmla="*/ 1080602 w 1254582"/>
                    <a:gd name="connsiteY6" fmla="*/ 1024375 h 2611635"/>
                    <a:gd name="connsiteX7" fmla="*/ 1253130 w 1254582"/>
                    <a:gd name="connsiteY7" fmla="*/ 1171024 h 2611635"/>
                    <a:gd name="connsiteX8" fmla="*/ 994338 w 1254582"/>
                    <a:gd name="connsiteY8" fmla="*/ 1835258 h 2611635"/>
                    <a:gd name="connsiteX9" fmla="*/ 744172 w 1254582"/>
                    <a:gd name="connsiteY9" fmla="*/ 2094051 h 2611635"/>
                    <a:gd name="connsiteX10" fmla="*/ 701040 w 1254582"/>
                    <a:gd name="connsiteY10" fmla="*/ 2611635 h 2611635"/>
                    <a:gd name="connsiteX11" fmla="*/ 183455 w 1254582"/>
                    <a:gd name="connsiteY11" fmla="*/ 2577130 h 2611635"/>
                    <a:gd name="connsiteX12" fmla="*/ 200708 w 1254582"/>
                    <a:gd name="connsiteY12" fmla="*/ 2180315 h 2611635"/>
                    <a:gd name="connsiteX13" fmla="*/ 2300 w 1254582"/>
                    <a:gd name="connsiteY13" fmla="*/ 1464322 h 2611635"/>
                    <a:gd name="connsiteX14" fmla="*/ 79938 w 1254582"/>
                    <a:gd name="connsiteY14" fmla="*/ 722450 h 2611635"/>
                    <a:gd name="connsiteX15" fmla="*/ 256503 w 1254582"/>
                    <a:gd name="connsiteY15" fmla="*/ 354116 h 2611635"/>
                    <a:gd name="connsiteX16" fmla="*/ 198548 w 1254582"/>
                    <a:gd name="connsiteY16" fmla="*/ 702909 h 2611635"/>
                    <a:gd name="connsiteX17" fmla="*/ 238672 w 1254582"/>
                    <a:gd name="connsiteY17" fmla="*/ 1358708 h 2611635"/>
                    <a:gd name="connsiteX18" fmla="*/ 505954 w 1254582"/>
                    <a:gd name="connsiteY18" fmla="*/ 110373 h 2611635"/>
                    <a:gd name="connsiteX19" fmla="*/ 439503 w 1254582"/>
                    <a:gd name="connsiteY19" fmla="*/ 762345 h 2611635"/>
                    <a:gd name="connsiteX20" fmla="*/ 447623 w 1254582"/>
                    <a:gd name="connsiteY20" fmla="*/ 1358708 h 2611635"/>
                    <a:gd name="connsiteX21" fmla="*/ 697675 w 1254582"/>
                    <a:gd name="connsiteY21" fmla="*/ 5337 h 2611635"/>
                    <a:gd name="connsiteX0" fmla="*/ 697675 w 1254582"/>
                    <a:gd name="connsiteY0" fmla="*/ 5337 h 2611635"/>
                    <a:gd name="connsiteX1" fmla="*/ 616670 w 1254582"/>
                    <a:gd name="connsiteY1" fmla="*/ 702909 h 2611635"/>
                    <a:gd name="connsiteX2" fmla="*/ 656794 w 1254582"/>
                    <a:gd name="connsiteY2" fmla="*/ 1358708 h 2611635"/>
                    <a:gd name="connsiteX3" fmla="*/ 721115 w 1254582"/>
                    <a:gd name="connsiteY3" fmla="*/ 231438 h 2611635"/>
                    <a:gd name="connsiteX4" fmla="*/ 830436 w 1254582"/>
                    <a:gd name="connsiteY4" fmla="*/ 575801 h 2611635"/>
                    <a:gd name="connsiteX5" fmla="*/ 804557 w 1254582"/>
                    <a:gd name="connsiteY5" fmla="*/ 1343552 h 2611635"/>
                    <a:gd name="connsiteX6" fmla="*/ 1080602 w 1254582"/>
                    <a:gd name="connsiteY6" fmla="*/ 1024375 h 2611635"/>
                    <a:gd name="connsiteX7" fmla="*/ 1253130 w 1254582"/>
                    <a:gd name="connsiteY7" fmla="*/ 1171024 h 2611635"/>
                    <a:gd name="connsiteX8" fmla="*/ 994338 w 1254582"/>
                    <a:gd name="connsiteY8" fmla="*/ 1835258 h 2611635"/>
                    <a:gd name="connsiteX9" fmla="*/ 744172 w 1254582"/>
                    <a:gd name="connsiteY9" fmla="*/ 2094051 h 2611635"/>
                    <a:gd name="connsiteX10" fmla="*/ 701040 w 1254582"/>
                    <a:gd name="connsiteY10" fmla="*/ 2611635 h 2611635"/>
                    <a:gd name="connsiteX11" fmla="*/ 183455 w 1254582"/>
                    <a:gd name="connsiteY11" fmla="*/ 2577130 h 2611635"/>
                    <a:gd name="connsiteX12" fmla="*/ 200708 w 1254582"/>
                    <a:gd name="connsiteY12" fmla="*/ 2180315 h 2611635"/>
                    <a:gd name="connsiteX13" fmla="*/ 2300 w 1254582"/>
                    <a:gd name="connsiteY13" fmla="*/ 1464322 h 2611635"/>
                    <a:gd name="connsiteX14" fmla="*/ 79938 w 1254582"/>
                    <a:gd name="connsiteY14" fmla="*/ 722450 h 2611635"/>
                    <a:gd name="connsiteX15" fmla="*/ 256503 w 1254582"/>
                    <a:gd name="connsiteY15" fmla="*/ 354116 h 2611635"/>
                    <a:gd name="connsiteX16" fmla="*/ 198548 w 1254582"/>
                    <a:gd name="connsiteY16" fmla="*/ 702909 h 2611635"/>
                    <a:gd name="connsiteX17" fmla="*/ 238672 w 1254582"/>
                    <a:gd name="connsiteY17" fmla="*/ 1358708 h 2611635"/>
                    <a:gd name="connsiteX18" fmla="*/ 505954 w 1254582"/>
                    <a:gd name="connsiteY18" fmla="*/ 110373 h 2611635"/>
                    <a:gd name="connsiteX19" fmla="*/ 439503 w 1254582"/>
                    <a:gd name="connsiteY19" fmla="*/ 762345 h 2611635"/>
                    <a:gd name="connsiteX20" fmla="*/ 447623 w 1254582"/>
                    <a:gd name="connsiteY20" fmla="*/ 1358708 h 2611635"/>
                    <a:gd name="connsiteX21" fmla="*/ 697675 w 1254582"/>
                    <a:gd name="connsiteY21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196685 w 1252719"/>
                    <a:gd name="connsiteY15" fmla="*/ 702909 h 2611635"/>
                    <a:gd name="connsiteX16" fmla="*/ 236809 w 1252719"/>
                    <a:gd name="connsiteY16" fmla="*/ 1358708 h 2611635"/>
                    <a:gd name="connsiteX17" fmla="*/ 504091 w 1252719"/>
                    <a:gd name="connsiteY17" fmla="*/ 110373 h 2611635"/>
                    <a:gd name="connsiteX18" fmla="*/ 437640 w 1252719"/>
                    <a:gd name="connsiteY18" fmla="*/ 762345 h 2611635"/>
                    <a:gd name="connsiteX19" fmla="*/ 445760 w 1252719"/>
                    <a:gd name="connsiteY19" fmla="*/ 1358708 h 2611635"/>
                    <a:gd name="connsiteX20" fmla="*/ 695812 w 1252719"/>
                    <a:gd name="connsiteY20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236809 w 1252719"/>
                    <a:gd name="connsiteY15" fmla="*/ 1358708 h 2611635"/>
                    <a:gd name="connsiteX16" fmla="*/ 504091 w 1252719"/>
                    <a:gd name="connsiteY16" fmla="*/ 110373 h 2611635"/>
                    <a:gd name="connsiteX17" fmla="*/ 437640 w 1252719"/>
                    <a:gd name="connsiteY17" fmla="*/ 762345 h 2611635"/>
                    <a:gd name="connsiteX18" fmla="*/ 445760 w 1252719"/>
                    <a:gd name="connsiteY18" fmla="*/ 1358708 h 2611635"/>
                    <a:gd name="connsiteX19" fmla="*/ 695812 w 1252719"/>
                    <a:gd name="connsiteY19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236809 w 1252719"/>
                    <a:gd name="connsiteY15" fmla="*/ 1358708 h 2611635"/>
                    <a:gd name="connsiteX16" fmla="*/ 504091 w 1252719"/>
                    <a:gd name="connsiteY16" fmla="*/ 110373 h 2611635"/>
                    <a:gd name="connsiteX17" fmla="*/ 437640 w 1252719"/>
                    <a:gd name="connsiteY17" fmla="*/ 762345 h 2611635"/>
                    <a:gd name="connsiteX18" fmla="*/ 445760 w 1252719"/>
                    <a:gd name="connsiteY18" fmla="*/ 1358708 h 2611635"/>
                    <a:gd name="connsiteX19" fmla="*/ 695812 w 1252719"/>
                    <a:gd name="connsiteY19" fmla="*/ 5337 h 2611635"/>
                    <a:gd name="connsiteX0" fmla="*/ 659378 w 1216285"/>
                    <a:gd name="connsiteY0" fmla="*/ 5337 h 2611635"/>
                    <a:gd name="connsiteX1" fmla="*/ 578373 w 1216285"/>
                    <a:gd name="connsiteY1" fmla="*/ 702909 h 2611635"/>
                    <a:gd name="connsiteX2" fmla="*/ 618497 w 1216285"/>
                    <a:gd name="connsiteY2" fmla="*/ 1358708 h 2611635"/>
                    <a:gd name="connsiteX3" fmla="*/ 682818 w 1216285"/>
                    <a:gd name="connsiteY3" fmla="*/ 231438 h 2611635"/>
                    <a:gd name="connsiteX4" fmla="*/ 792139 w 1216285"/>
                    <a:gd name="connsiteY4" fmla="*/ 575801 h 2611635"/>
                    <a:gd name="connsiteX5" fmla="*/ 766260 w 1216285"/>
                    <a:gd name="connsiteY5" fmla="*/ 1343552 h 2611635"/>
                    <a:gd name="connsiteX6" fmla="*/ 1042305 w 1216285"/>
                    <a:gd name="connsiteY6" fmla="*/ 1024375 h 2611635"/>
                    <a:gd name="connsiteX7" fmla="*/ 1214833 w 1216285"/>
                    <a:gd name="connsiteY7" fmla="*/ 1171024 h 2611635"/>
                    <a:gd name="connsiteX8" fmla="*/ 956041 w 1216285"/>
                    <a:gd name="connsiteY8" fmla="*/ 1835258 h 2611635"/>
                    <a:gd name="connsiteX9" fmla="*/ 705875 w 1216285"/>
                    <a:gd name="connsiteY9" fmla="*/ 2094051 h 2611635"/>
                    <a:gd name="connsiteX10" fmla="*/ 662743 w 1216285"/>
                    <a:gd name="connsiteY10" fmla="*/ 2611635 h 2611635"/>
                    <a:gd name="connsiteX11" fmla="*/ 145158 w 1216285"/>
                    <a:gd name="connsiteY11" fmla="*/ 2577130 h 2611635"/>
                    <a:gd name="connsiteX12" fmla="*/ 162411 w 1216285"/>
                    <a:gd name="connsiteY12" fmla="*/ 2180315 h 2611635"/>
                    <a:gd name="connsiteX13" fmla="*/ 579 w 1216285"/>
                    <a:gd name="connsiteY13" fmla="*/ 1299730 h 2611635"/>
                    <a:gd name="connsiteX14" fmla="*/ 218206 w 1216285"/>
                    <a:gd name="connsiteY14" fmla="*/ 354116 h 2611635"/>
                    <a:gd name="connsiteX15" fmla="*/ 200375 w 1216285"/>
                    <a:gd name="connsiteY15" fmla="*/ 1358708 h 2611635"/>
                    <a:gd name="connsiteX16" fmla="*/ 467657 w 1216285"/>
                    <a:gd name="connsiteY16" fmla="*/ 110373 h 2611635"/>
                    <a:gd name="connsiteX17" fmla="*/ 401206 w 1216285"/>
                    <a:gd name="connsiteY17" fmla="*/ 762345 h 2611635"/>
                    <a:gd name="connsiteX18" fmla="*/ 409326 w 1216285"/>
                    <a:gd name="connsiteY18" fmla="*/ 1358708 h 2611635"/>
                    <a:gd name="connsiteX19" fmla="*/ 659378 w 1216285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67746 w 1216374"/>
                    <a:gd name="connsiteY16" fmla="*/ 110373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67746 w 1216374"/>
                    <a:gd name="connsiteY16" fmla="*/ 110373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08310 w 1216374"/>
                    <a:gd name="connsiteY16" fmla="*/ 416697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08310 w 1216374"/>
                    <a:gd name="connsiteY16" fmla="*/ 416697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478 h 2611776"/>
                    <a:gd name="connsiteX1" fmla="*/ 578462 w 1216374"/>
                    <a:gd name="connsiteY1" fmla="*/ 703050 h 2611776"/>
                    <a:gd name="connsiteX2" fmla="*/ 618586 w 1216374"/>
                    <a:gd name="connsiteY2" fmla="*/ 1358849 h 2611776"/>
                    <a:gd name="connsiteX3" fmla="*/ 682907 w 1216374"/>
                    <a:gd name="connsiteY3" fmla="*/ 231579 h 2611776"/>
                    <a:gd name="connsiteX4" fmla="*/ 792228 w 1216374"/>
                    <a:gd name="connsiteY4" fmla="*/ 575942 h 2611776"/>
                    <a:gd name="connsiteX5" fmla="*/ 766349 w 1216374"/>
                    <a:gd name="connsiteY5" fmla="*/ 1343693 h 2611776"/>
                    <a:gd name="connsiteX6" fmla="*/ 1042394 w 1216374"/>
                    <a:gd name="connsiteY6" fmla="*/ 1024516 h 2611776"/>
                    <a:gd name="connsiteX7" fmla="*/ 1214922 w 1216374"/>
                    <a:gd name="connsiteY7" fmla="*/ 1171165 h 2611776"/>
                    <a:gd name="connsiteX8" fmla="*/ 956130 w 1216374"/>
                    <a:gd name="connsiteY8" fmla="*/ 1835399 h 2611776"/>
                    <a:gd name="connsiteX9" fmla="*/ 705964 w 1216374"/>
                    <a:gd name="connsiteY9" fmla="*/ 2094192 h 2611776"/>
                    <a:gd name="connsiteX10" fmla="*/ 662832 w 1216374"/>
                    <a:gd name="connsiteY10" fmla="*/ 2611776 h 2611776"/>
                    <a:gd name="connsiteX11" fmla="*/ 145247 w 1216374"/>
                    <a:gd name="connsiteY11" fmla="*/ 2577271 h 2611776"/>
                    <a:gd name="connsiteX12" fmla="*/ 162500 w 1216374"/>
                    <a:gd name="connsiteY12" fmla="*/ 2180456 h 2611776"/>
                    <a:gd name="connsiteX13" fmla="*/ 668 w 1216374"/>
                    <a:gd name="connsiteY13" fmla="*/ 1299871 h 2611776"/>
                    <a:gd name="connsiteX14" fmla="*/ 222867 w 1216374"/>
                    <a:gd name="connsiteY14" fmla="*/ 637721 h 2611776"/>
                    <a:gd name="connsiteX15" fmla="*/ 200464 w 1216374"/>
                    <a:gd name="connsiteY15" fmla="*/ 1358849 h 2611776"/>
                    <a:gd name="connsiteX16" fmla="*/ 408310 w 1216374"/>
                    <a:gd name="connsiteY16" fmla="*/ 416838 h 2611776"/>
                    <a:gd name="connsiteX17" fmla="*/ 396723 w 1216374"/>
                    <a:gd name="connsiteY17" fmla="*/ 981942 h 2611776"/>
                    <a:gd name="connsiteX18" fmla="*/ 409415 w 1216374"/>
                    <a:gd name="connsiteY18" fmla="*/ 1358849 h 2611776"/>
                    <a:gd name="connsiteX19" fmla="*/ 659467 w 1216374"/>
                    <a:gd name="connsiteY19" fmla="*/ 5478 h 2611776"/>
                    <a:gd name="connsiteX0" fmla="*/ 659467 w 1216374"/>
                    <a:gd name="connsiteY0" fmla="*/ 5478 h 2611776"/>
                    <a:gd name="connsiteX1" fmla="*/ 578462 w 1216374"/>
                    <a:gd name="connsiteY1" fmla="*/ 703050 h 2611776"/>
                    <a:gd name="connsiteX2" fmla="*/ 618586 w 1216374"/>
                    <a:gd name="connsiteY2" fmla="*/ 1358849 h 2611776"/>
                    <a:gd name="connsiteX3" fmla="*/ 682907 w 1216374"/>
                    <a:gd name="connsiteY3" fmla="*/ 231579 h 2611776"/>
                    <a:gd name="connsiteX4" fmla="*/ 792228 w 1216374"/>
                    <a:gd name="connsiteY4" fmla="*/ 575942 h 2611776"/>
                    <a:gd name="connsiteX5" fmla="*/ 766349 w 1216374"/>
                    <a:gd name="connsiteY5" fmla="*/ 1343693 h 2611776"/>
                    <a:gd name="connsiteX6" fmla="*/ 1042394 w 1216374"/>
                    <a:gd name="connsiteY6" fmla="*/ 1024516 h 2611776"/>
                    <a:gd name="connsiteX7" fmla="*/ 1214922 w 1216374"/>
                    <a:gd name="connsiteY7" fmla="*/ 1171165 h 2611776"/>
                    <a:gd name="connsiteX8" fmla="*/ 956130 w 1216374"/>
                    <a:gd name="connsiteY8" fmla="*/ 1835399 h 2611776"/>
                    <a:gd name="connsiteX9" fmla="*/ 705964 w 1216374"/>
                    <a:gd name="connsiteY9" fmla="*/ 2094192 h 2611776"/>
                    <a:gd name="connsiteX10" fmla="*/ 662832 w 1216374"/>
                    <a:gd name="connsiteY10" fmla="*/ 2611776 h 2611776"/>
                    <a:gd name="connsiteX11" fmla="*/ 145247 w 1216374"/>
                    <a:gd name="connsiteY11" fmla="*/ 2577271 h 2611776"/>
                    <a:gd name="connsiteX12" fmla="*/ 162500 w 1216374"/>
                    <a:gd name="connsiteY12" fmla="*/ 2180456 h 2611776"/>
                    <a:gd name="connsiteX13" fmla="*/ 668 w 1216374"/>
                    <a:gd name="connsiteY13" fmla="*/ 1299871 h 2611776"/>
                    <a:gd name="connsiteX14" fmla="*/ 222867 w 1216374"/>
                    <a:gd name="connsiteY14" fmla="*/ 637721 h 2611776"/>
                    <a:gd name="connsiteX15" fmla="*/ 200464 w 1216374"/>
                    <a:gd name="connsiteY15" fmla="*/ 1358849 h 2611776"/>
                    <a:gd name="connsiteX16" fmla="*/ 408310 w 1216374"/>
                    <a:gd name="connsiteY16" fmla="*/ 416838 h 2611776"/>
                    <a:gd name="connsiteX17" fmla="*/ 396723 w 1216374"/>
                    <a:gd name="connsiteY17" fmla="*/ 981942 h 2611776"/>
                    <a:gd name="connsiteX18" fmla="*/ 409415 w 1216374"/>
                    <a:gd name="connsiteY18" fmla="*/ 1358849 h 2611776"/>
                    <a:gd name="connsiteX19" fmla="*/ 659467 w 1216374"/>
                    <a:gd name="connsiteY19" fmla="*/ 5478 h 2611776"/>
                    <a:gd name="connsiteX0" fmla="*/ 659467 w 1216374"/>
                    <a:gd name="connsiteY0" fmla="*/ 4923 h 2611221"/>
                    <a:gd name="connsiteX1" fmla="*/ 578462 w 1216374"/>
                    <a:gd name="connsiteY1" fmla="*/ 702495 h 2611221"/>
                    <a:gd name="connsiteX2" fmla="*/ 618586 w 1216374"/>
                    <a:gd name="connsiteY2" fmla="*/ 1358294 h 2611221"/>
                    <a:gd name="connsiteX3" fmla="*/ 682907 w 1216374"/>
                    <a:gd name="connsiteY3" fmla="*/ 231024 h 2611221"/>
                    <a:gd name="connsiteX4" fmla="*/ 792228 w 1216374"/>
                    <a:gd name="connsiteY4" fmla="*/ 575387 h 2611221"/>
                    <a:gd name="connsiteX5" fmla="*/ 766349 w 1216374"/>
                    <a:gd name="connsiteY5" fmla="*/ 1343138 h 2611221"/>
                    <a:gd name="connsiteX6" fmla="*/ 1042394 w 1216374"/>
                    <a:gd name="connsiteY6" fmla="*/ 1023961 h 2611221"/>
                    <a:gd name="connsiteX7" fmla="*/ 1214922 w 1216374"/>
                    <a:gd name="connsiteY7" fmla="*/ 1170610 h 2611221"/>
                    <a:gd name="connsiteX8" fmla="*/ 956130 w 1216374"/>
                    <a:gd name="connsiteY8" fmla="*/ 1834844 h 2611221"/>
                    <a:gd name="connsiteX9" fmla="*/ 705964 w 1216374"/>
                    <a:gd name="connsiteY9" fmla="*/ 2093637 h 2611221"/>
                    <a:gd name="connsiteX10" fmla="*/ 662832 w 1216374"/>
                    <a:gd name="connsiteY10" fmla="*/ 2611221 h 2611221"/>
                    <a:gd name="connsiteX11" fmla="*/ 145247 w 1216374"/>
                    <a:gd name="connsiteY11" fmla="*/ 2576716 h 2611221"/>
                    <a:gd name="connsiteX12" fmla="*/ 162500 w 1216374"/>
                    <a:gd name="connsiteY12" fmla="*/ 2179901 h 2611221"/>
                    <a:gd name="connsiteX13" fmla="*/ 668 w 1216374"/>
                    <a:gd name="connsiteY13" fmla="*/ 1299316 h 2611221"/>
                    <a:gd name="connsiteX14" fmla="*/ 222867 w 1216374"/>
                    <a:gd name="connsiteY14" fmla="*/ 637166 h 2611221"/>
                    <a:gd name="connsiteX15" fmla="*/ 200464 w 1216374"/>
                    <a:gd name="connsiteY15" fmla="*/ 1358294 h 2611221"/>
                    <a:gd name="connsiteX16" fmla="*/ 408310 w 1216374"/>
                    <a:gd name="connsiteY16" fmla="*/ 416283 h 2611221"/>
                    <a:gd name="connsiteX17" fmla="*/ 396723 w 1216374"/>
                    <a:gd name="connsiteY17" fmla="*/ 981387 h 2611221"/>
                    <a:gd name="connsiteX18" fmla="*/ 409415 w 1216374"/>
                    <a:gd name="connsiteY18" fmla="*/ 1358294 h 2611221"/>
                    <a:gd name="connsiteX19" fmla="*/ 659467 w 1216374"/>
                    <a:gd name="connsiteY19" fmla="*/ 4923 h 2611221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200464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200464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5409 h 2611707"/>
                    <a:gd name="connsiteX1" fmla="*/ 578462 w 1216374"/>
                    <a:gd name="connsiteY1" fmla="*/ 702981 h 2611707"/>
                    <a:gd name="connsiteX2" fmla="*/ 618586 w 1216374"/>
                    <a:gd name="connsiteY2" fmla="*/ 1358780 h 2611707"/>
                    <a:gd name="connsiteX3" fmla="*/ 682907 w 1216374"/>
                    <a:gd name="connsiteY3" fmla="*/ 231510 h 2611707"/>
                    <a:gd name="connsiteX4" fmla="*/ 792228 w 1216374"/>
                    <a:gd name="connsiteY4" fmla="*/ 575873 h 2611707"/>
                    <a:gd name="connsiteX5" fmla="*/ 766349 w 1216374"/>
                    <a:gd name="connsiteY5" fmla="*/ 1343624 h 2611707"/>
                    <a:gd name="connsiteX6" fmla="*/ 1042394 w 1216374"/>
                    <a:gd name="connsiteY6" fmla="*/ 1024447 h 2611707"/>
                    <a:gd name="connsiteX7" fmla="*/ 1214922 w 1216374"/>
                    <a:gd name="connsiteY7" fmla="*/ 1171096 h 2611707"/>
                    <a:gd name="connsiteX8" fmla="*/ 956130 w 1216374"/>
                    <a:gd name="connsiteY8" fmla="*/ 1835330 h 2611707"/>
                    <a:gd name="connsiteX9" fmla="*/ 705964 w 1216374"/>
                    <a:gd name="connsiteY9" fmla="*/ 2094123 h 2611707"/>
                    <a:gd name="connsiteX10" fmla="*/ 662832 w 1216374"/>
                    <a:gd name="connsiteY10" fmla="*/ 2611707 h 2611707"/>
                    <a:gd name="connsiteX11" fmla="*/ 145247 w 1216374"/>
                    <a:gd name="connsiteY11" fmla="*/ 2577202 h 2611707"/>
                    <a:gd name="connsiteX12" fmla="*/ 162500 w 1216374"/>
                    <a:gd name="connsiteY12" fmla="*/ 2180387 h 2611707"/>
                    <a:gd name="connsiteX13" fmla="*/ 668 w 1216374"/>
                    <a:gd name="connsiteY13" fmla="*/ 1299802 h 2611707"/>
                    <a:gd name="connsiteX14" fmla="*/ 222867 w 1216374"/>
                    <a:gd name="connsiteY14" fmla="*/ 637652 h 2611707"/>
                    <a:gd name="connsiteX15" fmla="*/ 168460 w 1216374"/>
                    <a:gd name="connsiteY15" fmla="*/ 1358780 h 2611707"/>
                    <a:gd name="connsiteX16" fmla="*/ 408310 w 1216374"/>
                    <a:gd name="connsiteY16" fmla="*/ 416769 h 2611707"/>
                    <a:gd name="connsiteX17" fmla="*/ 396723 w 1216374"/>
                    <a:gd name="connsiteY17" fmla="*/ 981873 h 2611707"/>
                    <a:gd name="connsiteX18" fmla="*/ 391127 w 1216374"/>
                    <a:gd name="connsiteY18" fmla="*/ 1340492 h 2611707"/>
                    <a:gd name="connsiteX19" fmla="*/ 659467 w 1216374"/>
                    <a:gd name="connsiteY19" fmla="*/ 5409 h 2611707"/>
                    <a:gd name="connsiteX0" fmla="*/ 650323 w 1216374"/>
                    <a:gd name="connsiteY0" fmla="*/ 6405 h 2516691"/>
                    <a:gd name="connsiteX1" fmla="*/ 578462 w 1216374"/>
                    <a:gd name="connsiteY1" fmla="*/ 607965 h 2516691"/>
                    <a:gd name="connsiteX2" fmla="*/ 618586 w 1216374"/>
                    <a:gd name="connsiteY2" fmla="*/ 1263764 h 2516691"/>
                    <a:gd name="connsiteX3" fmla="*/ 682907 w 1216374"/>
                    <a:gd name="connsiteY3" fmla="*/ 136494 h 2516691"/>
                    <a:gd name="connsiteX4" fmla="*/ 792228 w 1216374"/>
                    <a:gd name="connsiteY4" fmla="*/ 480857 h 2516691"/>
                    <a:gd name="connsiteX5" fmla="*/ 766349 w 1216374"/>
                    <a:gd name="connsiteY5" fmla="*/ 1248608 h 2516691"/>
                    <a:gd name="connsiteX6" fmla="*/ 1042394 w 1216374"/>
                    <a:gd name="connsiteY6" fmla="*/ 929431 h 2516691"/>
                    <a:gd name="connsiteX7" fmla="*/ 1214922 w 1216374"/>
                    <a:gd name="connsiteY7" fmla="*/ 1076080 h 2516691"/>
                    <a:gd name="connsiteX8" fmla="*/ 956130 w 1216374"/>
                    <a:gd name="connsiteY8" fmla="*/ 1740314 h 2516691"/>
                    <a:gd name="connsiteX9" fmla="*/ 705964 w 1216374"/>
                    <a:gd name="connsiteY9" fmla="*/ 1999107 h 2516691"/>
                    <a:gd name="connsiteX10" fmla="*/ 662832 w 1216374"/>
                    <a:gd name="connsiteY10" fmla="*/ 2516691 h 2516691"/>
                    <a:gd name="connsiteX11" fmla="*/ 145247 w 1216374"/>
                    <a:gd name="connsiteY11" fmla="*/ 2482186 h 2516691"/>
                    <a:gd name="connsiteX12" fmla="*/ 162500 w 1216374"/>
                    <a:gd name="connsiteY12" fmla="*/ 2085371 h 2516691"/>
                    <a:gd name="connsiteX13" fmla="*/ 668 w 1216374"/>
                    <a:gd name="connsiteY13" fmla="*/ 1204786 h 2516691"/>
                    <a:gd name="connsiteX14" fmla="*/ 222867 w 1216374"/>
                    <a:gd name="connsiteY14" fmla="*/ 542636 h 2516691"/>
                    <a:gd name="connsiteX15" fmla="*/ 168460 w 1216374"/>
                    <a:gd name="connsiteY15" fmla="*/ 1263764 h 2516691"/>
                    <a:gd name="connsiteX16" fmla="*/ 408310 w 1216374"/>
                    <a:gd name="connsiteY16" fmla="*/ 321753 h 2516691"/>
                    <a:gd name="connsiteX17" fmla="*/ 396723 w 1216374"/>
                    <a:gd name="connsiteY17" fmla="*/ 886857 h 2516691"/>
                    <a:gd name="connsiteX18" fmla="*/ 391127 w 1216374"/>
                    <a:gd name="connsiteY18" fmla="*/ 1245476 h 2516691"/>
                    <a:gd name="connsiteX19" fmla="*/ 650323 w 1216374"/>
                    <a:gd name="connsiteY19" fmla="*/ 6405 h 2516691"/>
                    <a:gd name="connsiteX0" fmla="*/ 618319 w 1216374"/>
                    <a:gd name="connsiteY0" fmla="*/ 6926 h 2402912"/>
                    <a:gd name="connsiteX1" fmla="*/ 578462 w 1216374"/>
                    <a:gd name="connsiteY1" fmla="*/ 494186 h 2402912"/>
                    <a:gd name="connsiteX2" fmla="*/ 618586 w 1216374"/>
                    <a:gd name="connsiteY2" fmla="*/ 1149985 h 2402912"/>
                    <a:gd name="connsiteX3" fmla="*/ 682907 w 1216374"/>
                    <a:gd name="connsiteY3" fmla="*/ 22715 h 2402912"/>
                    <a:gd name="connsiteX4" fmla="*/ 792228 w 1216374"/>
                    <a:gd name="connsiteY4" fmla="*/ 367078 h 2402912"/>
                    <a:gd name="connsiteX5" fmla="*/ 766349 w 1216374"/>
                    <a:gd name="connsiteY5" fmla="*/ 1134829 h 2402912"/>
                    <a:gd name="connsiteX6" fmla="*/ 1042394 w 1216374"/>
                    <a:gd name="connsiteY6" fmla="*/ 815652 h 2402912"/>
                    <a:gd name="connsiteX7" fmla="*/ 1214922 w 1216374"/>
                    <a:gd name="connsiteY7" fmla="*/ 962301 h 2402912"/>
                    <a:gd name="connsiteX8" fmla="*/ 956130 w 1216374"/>
                    <a:gd name="connsiteY8" fmla="*/ 1626535 h 2402912"/>
                    <a:gd name="connsiteX9" fmla="*/ 705964 w 1216374"/>
                    <a:gd name="connsiteY9" fmla="*/ 1885328 h 2402912"/>
                    <a:gd name="connsiteX10" fmla="*/ 662832 w 1216374"/>
                    <a:gd name="connsiteY10" fmla="*/ 2402912 h 2402912"/>
                    <a:gd name="connsiteX11" fmla="*/ 145247 w 1216374"/>
                    <a:gd name="connsiteY11" fmla="*/ 2368407 h 2402912"/>
                    <a:gd name="connsiteX12" fmla="*/ 162500 w 1216374"/>
                    <a:gd name="connsiteY12" fmla="*/ 1971592 h 2402912"/>
                    <a:gd name="connsiteX13" fmla="*/ 668 w 1216374"/>
                    <a:gd name="connsiteY13" fmla="*/ 1091007 h 2402912"/>
                    <a:gd name="connsiteX14" fmla="*/ 222867 w 1216374"/>
                    <a:gd name="connsiteY14" fmla="*/ 428857 h 2402912"/>
                    <a:gd name="connsiteX15" fmla="*/ 168460 w 1216374"/>
                    <a:gd name="connsiteY15" fmla="*/ 1149985 h 2402912"/>
                    <a:gd name="connsiteX16" fmla="*/ 408310 w 1216374"/>
                    <a:gd name="connsiteY16" fmla="*/ 207974 h 2402912"/>
                    <a:gd name="connsiteX17" fmla="*/ 396723 w 1216374"/>
                    <a:gd name="connsiteY17" fmla="*/ 773078 h 2402912"/>
                    <a:gd name="connsiteX18" fmla="*/ 391127 w 1216374"/>
                    <a:gd name="connsiteY18" fmla="*/ 1131697 h 2402912"/>
                    <a:gd name="connsiteX19" fmla="*/ 618319 w 1216374"/>
                    <a:gd name="connsiteY19" fmla="*/ 6926 h 2402912"/>
                    <a:gd name="connsiteX0" fmla="*/ 618319 w 1216374"/>
                    <a:gd name="connsiteY0" fmla="*/ 9542 h 2405528"/>
                    <a:gd name="connsiteX1" fmla="*/ 596750 w 1216374"/>
                    <a:gd name="connsiteY1" fmla="*/ 629390 h 2405528"/>
                    <a:gd name="connsiteX2" fmla="*/ 618586 w 1216374"/>
                    <a:gd name="connsiteY2" fmla="*/ 1152601 h 2405528"/>
                    <a:gd name="connsiteX3" fmla="*/ 682907 w 1216374"/>
                    <a:gd name="connsiteY3" fmla="*/ 25331 h 2405528"/>
                    <a:gd name="connsiteX4" fmla="*/ 792228 w 1216374"/>
                    <a:gd name="connsiteY4" fmla="*/ 369694 h 2405528"/>
                    <a:gd name="connsiteX5" fmla="*/ 766349 w 1216374"/>
                    <a:gd name="connsiteY5" fmla="*/ 1137445 h 2405528"/>
                    <a:gd name="connsiteX6" fmla="*/ 1042394 w 1216374"/>
                    <a:gd name="connsiteY6" fmla="*/ 818268 h 2405528"/>
                    <a:gd name="connsiteX7" fmla="*/ 1214922 w 1216374"/>
                    <a:gd name="connsiteY7" fmla="*/ 964917 h 2405528"/>
                    <a:gd name="connsiteX8" fmla="*/ 956130 w 1216374"/>
                    <a:gd name="connsiteY8" fmla="*/ 1629151 h 2405528"/>
                    <a:gd name="connsiteX9" fmla="*/ 705964 w 1216374"/>
                    <a:gd name="connsiteY9" fmla="*/ 1887944 h 2405528"/>
                    <a:gd name="connsiteX10" fmla="*/ 662832 w 1216374"/>
                    <a:gd name="connsiteY10" fmla="*/ 2405528 h 2405528"/>
                    <a:gd name="connsiteX11" fmla="*/ 145247 w 1216374"/>
                    <a:gd name="connsiteY11" fmla="*/ 2371023 h 2405528"/>
                    <a:gd name="connsiteX12" fmla="*/ 162500 w 1216374"/>
                    <a:gd name="connsiteY12" fmla="*/ 1974208 h 2405528"/>
                    <a:gd name="connsiteX13" fmla="*/ 668 w 1216374"/>
                    <a:gd name="connsiteY13" fmla="*/ 1093623 h 2405528"/>
                    <a:gd name="connsiteX14" fmla="*/ 222867 w 1216374"/>
                    <a:gd name="connsiteY14" fmla="*/ 431473 h 2405528"/>
                    <a:gd name="connsiteX15" fmla="*/ 168460 w 1216374"/>
                    <a:gd name="connsiteY15" fmla="*/ 1152601 h 2405528"/>
                    <a:gd name="connsiteX16" fmla="*/ 408310 w 1216374"/>
                    <a:gd name="connsiteY16" fmla="*/ 210590 h 2405528"/>
                    <a:gd name="connsiteX17" fmla="*/ 396723 w 1216374"/>
                    <a:gd name="connsiteY17" fmla="*/ 775694 h 2405528"/>
                    <a:gd name="connsiteX18" fmla="*/ 391127 w 1216374"/>
                    <a:gd name="connsiteY18" fmla="*/ 1134313 h 2405528"/>
                    <a:gd name="connsiteX19" fmla="*/ 618319 w 1216374"/>
                    <a:gd name="connsiteY19" fmla="*/ 9542 h 2405528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682907 w 1216374"/>
                    <a:gd name="connsiteY3" fmla="*/ 16878 h 2397075"/>
                    <a:gd name="connsiteX4" fmla="*/ 792228 w 1216374"/>
                    <a:gd name="connsiteY4" fmla="*/ 361241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829211 w 1216374"/>
                    <a:gd name="connsiteY3" fmla="*/ 176898 h 2397075"/>
                    <a:gd name="connsiteX4" fmla="*/ 792228 w 1216374"/>
                    <a:gd name="connsiteY4" fmla="*/ 361241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92228 w 1216374"/>
                    <a:gd name="connsiteY3" fmla="*/ 361241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92228 w 1216374"/>
                    <a:gd name="connsiteY3" fmla="*/ 361241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07497 w 1216374"/>
                    <a:gd name="connsiteY5" fmla="*/ 122043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39501 w 1216374"/>
                    <a:gd name="connsiteY5" fmla="*/ 1160996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00298 w 1216374"/>
                    <a:gd name="connsiteY2" fmla="*/ 1084712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39501 w 1216374"/>
                    <a:gd name="connsiteY5" fmla="*/ 1160996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68460 w 1216374"/>
                    <a:gd name="connsiteY15" fmla="*/ 1144039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68460 w 1216374"/>
                    <a:gd name="connsiteY15" fmla="*/ 1144039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91320 w 1216374"/>
                    <a:gd name="connsiteY15" fmla="*/ 1107463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91320 w 1216374"/>
                    <a:gd name="connsiteY15" fmla="*/ 1107463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39357 w 1171094"/>
                    <a:gd name="connsiteY5" fmla="*/ 1211179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39357 w 1171094"/>
                    <a:gd name="connsiteY5" fmla="*/ 1211179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070626"/>
                    <a:gd name="connsiteY0" fmla="*/ 980 h 2396966"/>
                    <a:gd name="connsiteX1" fmla="*/ 551470 w 1070626"/>
                    <a:gd name="connsiteY1" fmla="*/ 620828 h 2396966"/>
                    <a:gd name="connsiteX2" fmla="*/ 555018 w 1070626"/>
                    <a:gd name="connsiteY2" fmla="*/ 1084603 h 2396966"/>
                    <a:gd name="connsiteX3" fmla="*/ 714944 w 1070626"/>
                    <a:gd name="connsiteY3" fmla="*/ 187396 h 2396966"/>
                    <a:gd name="connsiteX4" fmla="*/ 749277 w 1070626"/>
                    <a:gd name="connsiteY4" fmla="*/ 664697 h 2396966"/>
                    <a:gd name="connsiteX5" fmla="*/ 739357 w 1070626"/>
                    <a:gd name="connsiteY5" fmla="*/ 1211179 h 2396966"/>
                    <a:gd name="connsiteX6" fmla="*/ 997114 w 1070626"/>
                    <a:gd name="connsiteY6" fmla="*/ 809706 h 2396966"/>
                    <a:gd name="connsiteX7" fmla="*/ 1059914 w 1070626"/>
                    <a:gd name="connsiteY7" fmla="*/ 1075227 h 2396966"/>
                    <a:gd name="connsiteX8" fmla="*/ 910850 w 1070626"/>
                    <a:gd name="connsiteY8" fmla="*/ 1620589 h 2396966"/>
                    <a:gd name="connsiteX9" fmla="*/ 660684 w 1070626"/>
                    <a:gd name="connsiteY9" fmla="*/ 1879382 h 2396966"/>
                    <a:gd name="connsiteX10" fmla="*/ 617552 w 1070626"/>
                    <a:gd name="connsiteY10" fmla="*/ 2396966 h 2396966"/>
                    <a:gd name="connsiteX11" fmla="*/ 99967 w 1070626"/>
                    <a:gd name="connsiteY11" fmla="*/ 2362461 h 2396966"/>
                    <a:gd name="connsiteX12" fmla="*/ 117220 w 1070626"/>
                    <a:gd name="connsiteY12" fmla="*/ 1965646 h 2396966"/>
                    <a:gd name="connsiteX13" fmla="*/ 1108 w 1070626"/>
                    <a:gd name="connsiteY13" fmla="*/ 1107921 h 2396966"/>
                    <a:gd name="connsiteX14" fmla="*/ 177587 w 1070626"/>
                    <a:gd name="connsiteY14" fmla="*/ 422911 h 2396966"/>
                    <a:gd name="connsiteX15" fmla="*/ 146040 w 1070626"/>
                    <a:gd name="connsiteY15" fmla="*/ 1107463 h 2396966"/>
                    <a:gd name="connsiteX16" fmla="*/ 363030 w 1070626"/>
                    <a:gd name="connsiteY16" fmla="*/ 202028 h 2396966"/>
                    <a:gd name="connsiteX17" fmla="*/ 351443 w 1070626"/>
                    <a:gd name="connsiteY17" fmla="*/ 767132 h 2396966"/>
                    <a:gd name="connsiteX18" fmla="*/ 345847 w 1070626"/>
                    <a:gd name="connsiteY18" fmla="*/ 1125751 h 2396966"/>
                    <a:gd name="connsiteX19" fmla="*/ 573039 w 1070626"/>
                    <a:gd name="connsiteY19" fmla="*/ 980 h 2396966"/>
                    <a:gd name="connsiteX0" fmla="*/ 573039 w 1070626"/>
                    <a:gd name="connsiteY0" fmla="*/ 980 h 2396966"/>
                    <a:gd name="connsiteX1" fmla="*/ 551470 w 1070626"/>
                    <a:gd name="connsiteY1" fmla="*/ 620828 h 2396966"/>
                    <a:gd name="connsiteX2" fmla="*/ 555018 w 1070626"/>
                    <a:gd name="connsiteY2" fmla="*/ 1084603 h 2396966"/>
                    <a:gd name="connsiteX3" fmla="*/ 714944 w 1070626"/>
                    <a:gd name="connsiteY3" fmla="*/ 187396 h 2396966"/>
                    <a:gd name="connsiteX4" fmla="*/ 749277 w 1070626"/>
                    <a:gd name="connsiteY4" fmla="*/ 664697 h 2396966"/>
                    <a:gd name="connsiteX5" fmla="*/ 739357 w 1070626"/>
                    <a:gd name="connsiteY5" fmla="*/ 1211179 h 2396966"/>
                    <a:gd name="connsiteX6" fmla="*/ 997114 w 1070626"/>
                    <a:gd name="connsiteY6" fmla="*/ 809706 h 2396966"/>
                    <a:gd name="connsiteX7" fmla="*/ 1059914 w 1070626"/>
                    <a:gd name="connsiteY7" fmla="*/ 1075227 h 2396966"/>
                    <a:gd name="connsiteX8" fmla="*/ 910850 w 1070626"/>
                    <a:gd name="connsiteY8" fmla="*/ 1620589 h 2396966"/>
                    <a:gd name="connsiteX9" fmla="*/ 660684 w 1070626"/>
                    <a:gd name="connsiteY9" fmla="*/ 1879382 h 2396966"/>
                    <a:gd name="connsiteX10" fmla="*/ 617552 w 1070626"/>
                    <a:gd name="connsiteY10" fmla="*/ 2396966 h 2396966"/>
                    <a:gd name="connsiteX11" fmla="*/ 99967 w 1070626"/>
                    <a:gd name="connsiteY11" fmla="*/ 2362461 h 2396966"/>
                    <a:gd name="connsiteX12" fmla="*/ 117220 w 1070626"/>
                    <a:gd name="connsiteY12" fmla="*/ 1965646 h 2396966"/>
                    <a:gd name="connsiteX13" fmla="*/ 1108 w 1070626"/>
                    <a:gd name="connsiteY13" fmla="*/ 1107921 h 2396966"/>
                    <a:gd name="connsiteX14" fmla="*/ 177587 w 1070626"/>
                    <a:gd name="connsiteY14" fmla="*/ 422911 h 2396966"/>
                    <a:gd name="connsiteX15" fmla="*/ 146040 w 1070626"/>
                    <a:gd name="connsiteY15" fmla="*/ 1107463 h 2396966"/>
                    <a:gd name="connsiteX16" fmla="*/ 363030 w 1070626"/>
                    <a:gd name="connsiteY16" fmla="*/ 202028 h 2396966"/>
                    <a:gd name="connsiteX17" fmla="*/ 351443 w 1070626"/>
                    <a:gd name="connsiteY17" fmla="*/ 767132 h 2396966"/>
                    <a:gd name="connsiteX18" fmla="*/ 345847 w 1070626"/>
                    <a:gd name="connsiteY18" fmla="*/ 1125751 h 2396966"/>
                    <a:gd name="connsiteX19" fmla="*/ 573039 w 1070626"/>
                    <a:gd name="connsiteY19" fmla="*/ 980 h 2396966"/>
                    <a:gd name="connsiteX0" fmla="*/ 573039 w 1063469"/>
                    <a:gd name="connsiteY0" fmla="*/ 980 h 2396966"/>
                    <a:gd name="connsiteX1" fmla="*/ 551470 w 1063469"/>
                    <a:gd name="connsiteY1" fmla="*/ 620828 h 2396966"/>
                    <a:gd name="connsiteX2" fmla="*/ 555018 w 1063469"/>
                    <a:gd name="connsiteY2" fmla="*/ 1084603 h 2396966"/>
                    <a:gd name="connsiteX3" fmla="*/ 714944 w 1063469"/>
                    <a:gd name="connsiteY3" fmla="*/ 187396 h 2396966"/>
                    <a:gd name="connsiteX4" fmla="*/ 749277 w 1063469"/>
                    <a:gd name="connsiteY4" fmla="*/ 664697 h 2396966"/>
                    <a:gd name="connsiteX5" fmla="*/ 739357 w 1063469"/>
                    <a:gd name="connsiteY5" fmla="*/ 1211179 h 2396966"/>
                    <a:gd name="connsiteX6" fmla="*/ 997114 w 1063469"/>
                    <a:gd name="connsiteY6" fmla="*/ 809706 h 2396966"/>
                    <a:gd name="connsiteX7" fmla="*/ 1059914 w 1063469"/>
                    <a:gd name="connsiteY7" fmla="*/ 1075227 h 2396966"/>
                    <a:gd name="connsiteX8" fmla="*/ 910850 w 1063469"/>
                    <a:gd name="connsiteY8" fmla="*/ 1620589 h 2396966"/>
                    <a:gd name="connsiteX9" fmla="*/ 660684 w 1063469"/>
                    <a:gd name="connsiteY9" fmla="*/ 1879382 h 2396966"/>
                    <a:gd name="connsiteX10" fmla="*/ 617552 w 1063469"/>
                    <a:gd name="connsiteY10" fmla="*/ 2396966 h 2396966"/>
                    <a:gd name="connsiteX11" fmla="*/ 99967 w 1063469"/>
                    <a:gd name="connsiteY11" fmla="*/ 2362461 h 2396966"/>
                    <a:gd name="connsiteX12" fmla="*/ 117220 w 1063469"/>
                    <a:gd name="connsiteY12" fmla="*/ 1965646 h 2396966"/>
                    <a:gd name="connsiteX13" fmla="*/ 1108 w 1063469"/>
                    <a:gd name="connsiteY13" fmla="*/ 1107921 h 2396966"/>
                    <a:gd name="connsiteX14" fmla="*/ 177587 w 1063469"/>
                    <a:gd name="connsiteY14" fmla="*/ 422911 h 2396966"/>
                    <a:gd name="connsiteX15" fmla="*/ 146040 w 1063469"/>
                    <a:gd name="connsiteY15" fmla="*/ 1107463 h 2396966"/>
                    <a:gd name="connsiteX16" fmla="*/ 363030 w 1063469"/>
                    <a:gd name="connsiteY16" fmla="*/ 202028 h 2396966"/>
                    <a:gd name="connsiteX17" fmla="*/ 351443 w 1063469"/>
                    <a:gd name="connsiteY17" fmla="*/ 767132 h 2396966"/>
                    <a:gd name="connsiteX18" fmla="*/ 345847 w 1063469"/>
                    <a:gd name="connsiteY18" fmla="*/ 1125751 h 2396966"/>
                    <a:gd name="connsiteX19" fmla="*/ 573039 w 1063469"/>
                    <a:gd name="connsiteY19" fmla="*/ 980 h 2396966"/>
                    <a:gd name="connsiteX0" fmla="*/ 573039 w 1107849"/>
                    <a:gd name="connsiteY0" fmla="*/ 980 h 2396966"/>
                    <a:gd name="connsiteX1" fmla="*/ 551470 w 1107849"/>
                    <a:gd name="connsiteY1" fmla="*/ 620828 h 2396966"/>
                    <a:gd name="connsiteX2" fmla="*/ 555018 w 1107849"/>
                    <a:gd name="connsiteY2" fmla="*/ 1084603 h 2396966"/>
                    <a:gd name="connsiteX3" fmla="*/ 714944 w 1107849"/>
                    <a:gd name="connsiteY3" fmla="*/ 187396 h 2396966"/>
                    <a:gd name="connsiteX4" fmla="*/ 749277 w 1107849"/>
                    <a:gd name="connsiteY4" fmla="*/ 664697 h 2396966"/>
                    <a:gd name="connsiteX5" fmla="*/ 739357 w 1107849"/>
                    <a:gd name="connsiteY5" fmla="*/ 1211179 h 2396966"/>
                    <a:gd name="connsiteX6" fmla="*/ 997114 w 1107849"/>
                    <a:gd name="connsiteY6" fmla="*/ 809706 h 2396966"/>
                    <a:gd name="connsiteX7" fmla="*/ 1059914 w 1107849"/>
                    <a:gd name="connsiteY7" fmla="*/ 1075227 h 2396966"/>
                    <a:gd name="connsiteX8" fmla="*/ 910850 w 1107849"/>
                    <a:gd name="connsiteY8" fmla="*/ 1620589 h 2396966"/>
                    <a:gd name="connsiteX9" fmla="*/ 660684 w 1107849"/>
                    <a:gd name="connsiteY9" fmla="*/ 1879382 h 2396966"/>
                    <a:gd name="connsiteX10" fmla="*/ 617552 w 1107849"/>
                    <a:gd name="connsiteY10" fmla="*/ 2396966 h 2396966"/>
                    <a:gd name="connsiteX11" fmla="*/ 99967 w 1107849"/>
                    <a:gd name="connsiteY11" fmla="*/ 2362461 h 2396966"/>
                    <a:gd name="connsiteX12" fmla="*/ 117220 w 1107849"/>
                    <a:gd name="connsiteY12" fmla="*/ 1965646 h 2396966"/>
                    <a:gd name="connsiteX13" fmla="*/ 1108 w 1107849"/>
                    <a:gd name="connsiteY13" fmla="*/ 1107921 h 2396966"/>
                    <a:gd name="connsiteX14" fmla="*/ 177587 w 1107849"/>
                    <a:gd name="connsiteY14" fmla="*/ 422911 h 2396966"/>
                    <a:gd name="connsiteX15" fmla="*/ 146040 w 1107849"/>
                    <a:gd name="connsiteY15" fmla="*/ 1107463 h 2396966"/>
                    <a:gd name="connsiteX16" fmla="*/ 363030 w 1107849"/>
                    <a:gd name="connsiteY16" fmla="*/ 202028 h 2396966"/>
                    <a:gd name="connsiteX17" fmla="*/ 351443 w 1107849"/>
                    <a:gd name="connsiteY17" fmla="*/ 767132 h 2396966"/>
                    <a:gd name="connsiteX18" fmla="*/ 345847 w 1107849"/>
                    <a:gd name="connsiteY18" fmla="*/ 1125751 h 2396966"/>
                    <a:gd name="connsiteX19" fmla="*/ 573039 w 1107849"/>
                    <a:gd name="connsiteY19" fmla="*/ 980 h 2396966"/>
                    <a:gd name="connsiteX0" fmla="*/ 573039 w 1152756"/>
                    <a:gd name="connsiteY0" fmla="*/ 980 h 2396966"/>
                    <a:gd name="connsiteX1" fmla="*/ 551470 w 1152756"/>
                    <a:gd name="connsiteY1" fmla="*/ 620828 h 2396966"/>
                    <a:gd name="connsiteX2" fmla="*/ 555018 w 1152756"/>
                    <a:gd name="connsiteY2" fmla="*/ 1084603 h 2396966"/>
                    <a:gd name="connsiteX3" fmla="*/ 714944 w 1152756"/>
                    <a:gd name="connsiteY3" fmla="*/ 187396 h 2396966"/>
                    <a:gd name="connsiteX4" fmla="*/ 749277 w 1152756"/>
                    <a:gd name="connsiteY4" fmla="*/ 664697 h 2396966"/>
                    <a:gd name="connsiteX5" fmla="*/ 739357 w 1152756"/>
                    <a:gd name="connsiteY5" fmla="*/ 1211179 h 2396966"/>
                    <a:gd name="connsiteX6" fmla="*/ 997114 w 1152756"/>
                    <a:gd name="connsiteY6" fmla="*/ 809706 h 2396966"/>
                    <a:gd name="connsiteX7" fmla="*/ 1059914 w 1152756"/>
                    <a:gd name="connsiteY7" fmla="*/ 1075227 h 2396966"/>
                    <a:gd name="connsiteX8" fmla="*/ 910850 w 1152756"/>
                    <a:gd name="connsiteY8" fmla="*/ 1620589 h 2396966"/>
                    <a:gd name="connsiteX9" fmla="*/ 660684 w 1152756"/>
                    <a:gd name="connsiteY9" fmla="*/ 1879382 h 2396966"/>
                    <a:gd name="connsiteX10" fmla="*/ 617552 w 1152756"/>
                    <a:gd name="connsiteY10" fmla="*/ 2396966 h 2396966"/>
                    <a:gd name="connsiteX11" fmla="*/ 99967 w 1152756"/>
                    <a:gd name="connsiteY11" fmla="*/ 2362461 h 2396966"/>
                    <a:gd name="connsiteX12" fmla="*/ 117220 w 1152756"/>
                    <a:gd name="connsiteY12" fmla="*/ 1965646 h 2396966"/>
                    <a:gd name="connsiteX13" fmla="*/ 1108 w 1152756"/>
                    <a:gd name="connsiteY13" fmla="*/ 1107921 h 2396966"/>
                    <a:gd name="connsiteX14" fmla="*/ 177587 w 1152756"/>
                    <a:gd name="connsiteY14" fmla="*/ 422911 h 2396966"/>
                    <a:gd name="connsiteX15" fmla="*/ 146040 w 1152756"/>
                    <a:gd name="connsiteY15" fmla="*/ 1107463 h 2396966"/>
                    <a:gd name="connsiteX16" fmla="*/ 363030 w 1152756"/>
                    <a:gd name="connsiteY16" fmla="*/ 202028 h 2396966"/>
                    <a:gd name="connsiteX17" fmla="*/ 351443 w 1152756"/>
                    <a:gd name="connsiteY17" fmla="*/ 767132 h 2396966"/>
                    <a:gd name="connsiteX18" fmla="*/ 345847 w 1152756"/>
                    <a:gd name="connsiteY18" fmla="*/ 1125751 h 2396966"/>
                    <a:gd name="connsiteX19" fmla="*/ 573039 w 1152756"/>
                    <a:gd name="connsiteY19" fmla="*/ 980 h 2396966"/>
                    <a:gd name="connsiteX0" fmla="*/ 573039 w 1152756"/>
                    <a:gd name="connsiteY0" fmla="*/ 980 h 2396966"/>
                    <a:gd name="connsiteX1" fmla="*/ 551470 w 1152756"/>
                    <a:gd name="connsiteY1" fmla="*/ 620828 h 2396966"/>
                    <a:gd name="connsiteX2" fmla="*/ 555018 w 1152756"/>
                    <a:gd name="connsiteY2" fmla="*/ 1084603 h 2396966"/>
                    <a:gd name="connsiteX3" fmla="*/ 714944 w 1152756"/>
                    <a:gd name="connsiteY3" fmla="*/ 187396 h 2396966"/>
                    <a:gd name="connsiteX4" fmla="*/ 749277 w 1152756"/>
                    <a:gd name="connsiteY4" fmla="*/ 664697 h 2396966"/>
                    <a:gd name="connsiteX5" fmla="*/ 739357 w 1152756"/>
                    <a:gd name="connsiteY5" fmla="*/ 1211179 h 2396966"/>
                    <a:gd name="connsiteX6" fmla="*/ 997114 w 1152756"/>
                    <a:gd name="connsiteY6" fmla="*/ 809706 h 2396966"/>
                    <a:gd name="connsiteX7" fmla="*/ 1059914 w 1152756"/>
                    <a:gd name="connsiteY7" fmla="*/ 1075227 h 2396966"/>
                    <a:gd name="connsiteX8" fmla="*/ 910850 w 1152756"/>
                    <a:gd name="connsiteY8" fmla="*/ 1620589 h 2396966"/>
                    <a:gd name="connsiteX9" fmla="*/ 660684 w 1152756"/>
                    <a:gd name="connsiteY9" fmla="*/ 1879382 h 2396966"/>
                    <a:gd name="connsiteX10" fmla="*/ 617552 w 1152756"/>
                    <a:gd name="connsiteY10" fmla="*/ 2396966 h 2396966"/>
                    <a:gd name="connsiteX11" fmla="*/ 99967 w 1152756"/>
                    <a:gd name="connsiteY11" fmla="*/ 2362461 h 2396966"/>
                    <a:gd name="connsiteX12" fmla="*/ 117220 w 1152756"/>
                    <a:gd name="connsiteY12" fmla="*/ 1965646 h 2396966"/>
                    <a:gd name="connsiteX13" fmla="*/ 1108 w 1152756"/>
                    <a:gd name="connsiteY13" fmla="*/ 1107921 h 2396966"/>
                    <a:gd name="connsiteX14" fmla="*/ 177587 w 1152756"/>
                    <a:gd name="connsiteY14" fmla="*/ 422911 h 2396966"/>
                    <a:gd name="connsiteX15" fmla="*/ 146040 w 1152756"/>
                    <a:gd name="connsiteY15" fmla="*/ 1107463 h 2396966"/>
                    <a:gd name="connsiteX16" fmla="*/ 363030 w 1152756"/>
                    <a:gd name="connsiteY16" fmla="*/ 202028 h 2396966"/>
                    <a:gd name="connsiteX17" fmla="*/ 351443 w 1152756"/>
                    <a:gd name="connsiteY17" fmla="*/ 767132 h 2396966"/>
                    <a:gd name="connsiteX18" fmla="*/ 345847 w 1152756"/>
                    <a:gd name="connsiteY18" fmla="*/ 1125751 h 2396966"/>
                    <a:gd name="connsiteX19" fmla="*/ 573039 w 1152756"/>
                    <a:gd name="connsiteY19" fmla="*/ 980 h 2396966"/>
                    <a:gd name="connsiteX0" fmla="*/ 573039 w 1219318"/>
                    <a:gd name="connsiteY0" fmla="*/ 980 h 2396966"/>
                    <a:gd name="connsiteX1" fmla="*/ 551470 w 1219318"/>
                    <a:gd name="connsiteY1" fmla="*/ 620828 h 2396966"/>
                    <a:gd name="connsiteX2" fmla="*/ 555018 w 1219318"/>
                    <a:gd name="connsiteY2" fmla="*/ 1084603 h 2396966"/>
                    <a:gd name="connsiteX3" fmla="*/ 714944 w 1219318"/>
                    <a:gd name="connsiteY3" fmla="*/ 187396 h 2396966"/>
                    <a:gd name="connsiteX4" fmla="*/ 749277 w 1219318"/>
                    <a:gd name="connsiteY4" fmla="*/ 664697 h 2396966"/>
                    <a:gd name="connsiteX5" fmla="*/ 739357 w 1219318"/>
                    <a:gd name="connsiteY5" fmla="*/ 1211179 h 2396966"/>
                    <a:gd name="connsiteX6" fmla="*/ 1111414 w 1219318"/>
                    <a:gd name="connsiteY6" fmla="*/ 855426 h 2396966"/>
                    <a:gd name="connsiteX7" fmla="*/ 1059914 w 1219318"/>
                    <a:gd name="connsiteY7" fmla="*/ 1075227 h 2396966"/>
                    <a:gd name="connsiteX8" fmla="*/ 910850 w 1219318"/>
                    <a:gd name="connsiteY8" fmla="*/ 1620589 h 2396966"/>
                    <a:gd name="connsiteX9" fmla="*/ 660684 w 1219318"/>
                    <a:gd name="connsiteY9" fmla="*/ 1879382 h 2396966"/>
                    <a:gd name="connsiteX10" fmla="*/ 617552 w 1219318"/>
                    <a:gd name="connsiteY10" fmla="*/ 2396966 h 2396966"/>
                    <a:gd name="connsiteX11" fmla="*/ 99967 w 1219318"/>
                    <a:gd name="connsiteY11" fmla="*/ 2362461 h 2396966"/>
                    <a:gd name="connsiteX12" fmla="*/ 117220 w 1219318"/>
                    <a:gd name="connsiteY12" fmla="*/ 1965646 h 2396966"/>
                    <a:gd name="connsiteX13" fmla="*/ 1108 w 1219318"/>
                    <a:gd name="connsiteY13" fmla="*/ 1107921 h 2396966"/>
                    <a:gd name="connsiteX14" fmla="*/ 177587 w 1219318"/>
                    <a:gd name="connsiteY14" fmla="*/ 422911 h 2396966"/>
                    <a:gd name="connsiteX15" fmla="*/ 146040 w 1219318"/>
                    <a:gd name="connsiteY15" fmla="*/ 1107463 h 2396966"/>
                    <a:gd name="connsiteX16" fmla="*/ 363030 w 1219318"/>
                    <a:gd name="connsiteY16" fmla="*/ 202028 h 2396966"/>
                    <a:gd name="connsiteX17" fmla="*/ 351443 w 1219318"/>
                    <a:gd name="connsiteY17" fmla="*/ 767132 h 2396966"/>
                    <a:gd name="connsiteX18" fmla="*/ 345847 w 1219318"/>
                    <a:gd name="connsiteY18" fmla="*/ 1125751 h 2396966"/>
                    <a:gd name="connsiteX19" fmla="*/ 573039 w 1219318"/>
                    <a:gd name="connsiteY19" fmla="*/ 980 h 2396966"/>
                    <a:gd name="connsiteX0" fmla="*/ 573039 w 1219318"/>
                    <a:gd name="connsiteY0" fmla="*/ 980 h 2396966"/>
                    <a:gd name="connsiteX1" fmla="*/ 551470 w 1219318"/>
                    <a:gd name="connsiteY1" fmla="*/ 620828 h 2396966"/>
                    <a:gd name="connsiteX2" fmla="*/ 555018 w 1219318"/>
                    <a:gd name="connsiteY2" fmla="*/ 1084603 h 2396966"/>
                    <a:gd name="connsiteX3" fmla="*/ 714944 w 1219318"/>
                    <a:gd name="connsiteY3" fmla="*/ 187396 h 2396966"/>
                    <a:gd name="connsiteX4" fmla="*/ 749277 w 1219318"/>
                    <a:gd name="connsiteY4" fmla="*/ 664697 h 2396966"/>
                    <a:gd name="connsiteX5" fmla="*/ 739357 w 1219318"/>
                    <a:gd name="connsiteY5" fmla="*/ 1211179 h 2396966"/>
                    <a:gd name="connsiteX6" fmla="*/ 1111414 w 1219318"/>
                    <a:gd name="connsiteY6" fmla="*/ 855426 h 2396966"/>
                    <a:gd name="connsiteX7" fmla="*/ 1059914 w 1219318"/>
                    <a:gd name="connsiteY7" fmla="*/ 1075227 h 2396966"/>
                    <a:gd name="connsiteX8" fmla="*/ 910850 w 1219318"/>
                    <a:gd name="connsiteY8" fmla="*/ 1620589 h 2396966"/>
                    <a:gd name="connsiteX9" fmla="*/ 660684 w 1219318"/>
                    <a:gd name="connsiteY9" fmla="*/ 1879382 h 2396966"/>
                    <a:gd name="connsiteX10" fmla="*/ 617552 w 1219318"/>
                    <a:gd name="connsiteY10" fmla="*/ 2396966 h 2396966"/>
                    <a:gd name="connsiteX11" fmla="*/ 99967 w 1219318"/>
                    <a:gd name="connsiteY11" fmla="*/ 2362461 h 2396966"/>
                    <a:gd name="connsiteX12" fmla="*/ 117220 w 1219318"/>
                    <a:gd name="connsiteY12" fmla="*/ 1965646 h 2396966"/>
                    <a:gd name="connsiteX13" fmla="*/ 1108 w 1219318"/>
                    <a:gd name="connsiteY13" fmla="*/ 1107921 h 2396966"/>
                    <a:gd name="connsiteX14" fmla="*/ 177587 w 1219318"/>
                    <a:gd name="connsiteY14" fmla="*/ 422911 h 2396966"/>
                    <a:gd name="connsiteX15" fmla="*/ 146040 w 1219318"/>
                    <a:gd name="connsiteY15" fmla="*/ 1107463 h 2396966"/>
                    <a:gd name="connsiteX16" fmla="*/ 363030 w 1219318"/>
                    <a:gd name="connsiteY16" fmla="*/ 202028 h 2396966"/>
                    <a:gd name="connsiteX17" fmla="*/ 351443 w 1219318"/>
                    <a:gd name="connsiteY17" fmla="*/ 767132 h 2396966"/>
                    <a:gd name="connsiteX18" fmla="*/ 345847 w 1219318"/>
                    <a:gd name="connsiteY18" fmla="*/ 1125751 h 2396966"/>
                    <a:gd name="connsiteX19" fmla="*/ 573039 w 1219318"/>
                    <a:gd name="connsiteY19" fmla="*/ 980 h 2396966"/>
                    <a:gd name="connsiteX0" fmla="*/ 573039 w 1141076"/>
                    <a:gd name="connsiteY0" fmla="*/ 980 h 2396966"/>
                    <a:gd name="connsiteX1" fmla="*/ 551470 w 1141076"/>
                    <a:gd name="connsiteY1" fmla="*/ 620828 h 2396966"/>
                    <a:gd name="connsiteX2" fmla="*/ 555018 w 1141076"/>
                    <a:gd name="connsiteY2" fmla="*/ 1084603 h 2396966"/>
                    <a:gd name="connsiteX3" fmla="*/ 714944 w 1141076"/>
                    <a:gd name="connsiteY3" fmla="*/ 187396 h 2396966"/>
                    <a:gd name="connsiteX4" fmla="*/ 749277 w 1141076"/>
                    <a:gd name="connsiteY4" fmla="*/ 664697 h 2396966"/>
                    <a:gd name="connsiteX5" fmla="*/ 739357 w 1141076"/>
                    <a:gd name="connsiteY5" fmla="*/ 1211179 h 2396966"/>
                    <a:gd name="connsiteX6" fmla="*/ 1111414 w 1141076"/>
                    <a:gd name="connsiteY6" fmla="*/ 855426 h 2396966"/>
                    <a:gd name="connsiteX7" fmla="*/ 1059914 w 1141076"/>
                    <a:gd name="connsiteY7" fmla="*/ 1075227 h 2396966"/>
                    <a:gd name="connsiteX8" fmla="*/ 910850 w 1141076"/>
                    <a:gd name="connsiteY8" fmla="*/ 1620589 h 2396966"/>
                    <a:gd name="connsiteX9" fmla="*/ 660684 w 1141076"/>
                    <a:gd name="connsiteY9" fmla="*/ 1879382 h 2396966"/>
                    <a:gd name="connsiteX10" fmla="*/ 617552 w 1141076"/>
                    <a:gd name="connsiteY10" fmla="*/ 2396966 h 2396966"/>
                    <a:gd name="connsiteX11" fmla="*/ 99967 w 1141076"/>
                    <a:gd name="connsiteY11" fmla="*/ 2362461 h 2396966"/>
                    <a:gd name="connsiteX12" fmla="*/ 117220 w 1141076"/>
                    <a:gd name="connsiteY12" fmla="*/ 1965646 h 2396966"/>
                    <a:gd name="connsiteX13" fmla="*/ 1108 w 1141076"/>
                    <a:gd name="connsiteY13" fmla="*/ 1107921 h 2396966"/>
                    <a:gd name="connsiteX14" fmla="*/ 177587 w 1141076"/>
                    <a:gd name="connsiteY14" fmla="*/ 422911 h 2396966"/>
                    <a:gd name="connsiteX15" fmla="*/ 146040 w 1141076"/>
                    <a:gd name="connsiteY15" fmla="*/ 1107463 h 2396966"/>
                    <a:gd name="connsiteX16" fmla="*/ 363030 w 1141076"/>
                    <a:gd name="connsiteY16" fmla="*/ 202028 h 2396966"/>
                    <a:gd name="connsiteX17" fmla="*/ 351443 w 1141076"/>
                    <a:gd name="connsiteY17" fmla="*/ 767132 h 2396966"/>
                    <a:gd name="connsiteX18" fmla="*/ 345847 w 1141076"/>
                    <a:gd name="connsiteY18" fmla="*/ 1125751 h 2396966"/>
                    <a:gd name="connsiteX19" fmla="*/ 573039 w 1141076"/>
                    <a:gd name="connsiteY19" fmla="*/ 980 h 2396966"/>
                    <a:gd name="connsiteX0" fmla="*/ 573039 w 1120753"/>
                    <a:gd name="connsiteY0" fmla="*/ 980 h 2396966"/>
                    <a:gd name="connsiteX1" fmla="*/ 551470 w 1120753"/>
                    <a:gd name="connsiteY1" fmla="*/ 620828 h 2396966"/>
                    <a:gd name="connsiteX2" fmla="*/ 555018 w 1120753"/>
                    <a:gd name="connsiteY2" fmla="*/ 1084603 h 2396966"/>
                    <a:gd name="connsiteX3" fmla="*/ 714944 w 1120753"/>
                    <a:gd name="connsiteY3" fmla="*/ 187396 h 2396966"/>
                    <a:gd name="connsiteX4" fmla="*/ 749277 w 1120753"/>
                    <a:gd name="connsiteY4" fmla="*/ 664697 h 2396966"/>
                    <a:gd name="connsiteX5" fmla="*/ 739357 w 1120753"/>
                    <a:gd name="connsiteY5" fmla="*/ 1211179 h 2396966"/>
                    <a:gd name="connsiteX6" fmla="*/ 1111414 w 1120753"/>
                    <a:gd name="connsiteY6" fmla="*/ 855426 h 2396966"/>
                    <a:gd name="connsiteX7" fmla="*/ 986762 w 1120753"/>
                    <a:gd name="connsiteY7" fmla="*/ 1290111 h 2396966"/>
                    <a:gd name="connsiteX8" fmla="*/ 910850 w 1120753"/>
                    <a:gd name="connsiteY8" fmla="*/ 1620589 h 2396966"/>
                    <a:gd name="connsiteX9" fmla="*/ 660684 w 1120753"/>
                    <a:gd name="connsiteY9" fmla="*/ 1879382 h 2396966"/>
                    <a:gd name="connsiteX10" fmla="*/ 617552 w 1120753"/>
                    <a:gd name="connsiteY10" fmla="*/ 2396966 h 2396966"/>
                    <a:gd name="connsiteX11" fmla="*/ 99967 w 1120753"/>
                    <a:gd name="connsiteY11" fmla="*/ 2362461 h 2396966"/>
                    <a:gd name="connsiteX12" fmla="*/ 117220 w 1120753"/>
                    <a:gd name="connsiteY12" fmla="*/ 1965646 h 2396966"/>
                    <a:gd name="connsiteX13" fmla="*/ 1108 w 1120753"/>
                    <a:gd name="connsiteY13" fmla="*/ 1107921 h 2396966"/>
                    <a:gd name="connsiteX14" fmla="*/ 177587 w 1120753"/>
                    <a:gd name="connsiteY14" fmla="*/ 422911 h 2396966"/>
                    <a:gd name="connsiteX15" fmla="*/ 146040 w 1120753"/>
                    <a:gd name="connsiteY15" fmla="*/ 1107463 h 2396966"/>
                    <a:gd name="connsiteX16" fmla="*/ 363030 w 1120753"/>
                    <a:gd name="connsiteY16" fmla="*/ 202028 h 2396966"/>
                    <a:gd name="connsiteX17" fmla="*/ 351443 w 1120753"/>
                    <a:gd name="connsiteY17" fmla="*/ 767132 h 2396966"/>
                    <a:gd name="connsiteX18" fmla="*/ 345847 w 1120753"/>
                    <a:gd name="connsiteY18" fmla="*/ 1125751 h 2396966"/>
                    <a:gd name="connsiteX19" fmla="*/ 573039 w 1120753"/>
                    <a:gd name="connsiteY19" fmla="*/ 980 h 2396966"/>
                    <a:gd name="connsiteX0" fmla="*/ 573039 w 1111414"/>
                    <a:gd name="connsiteY0" fmla="*/ 980 h 2396966"/>
                    <a:gd name="connsiteX1" fmla="*/ 551470 w 1111414"/>
                    <a:gd name="connsiteY1" fmla="*/ 620828 h 2396966"/>
                    <a:gd name="connsiteX2" fmla="*/ 555018 w 1111414"/>
                    <a:gd name="connsiteY2" fmla="*/ 1084603 h 2396966"/>
                    <a:gd name="connsiteX3" fmla="*/ 714944 w 1111414"/>
                    <a:gd name="connsiteY3" fmla="*/ 187396 h 2396966"/>
                    <a:gd name="connsiteX4" fmla="*/ 749277 w 1111414"/>
                    <a:gd name="connsiteY4" fmla="*/ 664697 h 2396966"/>
                    <a:gd name="connsiteX5" fmla="*/ 739357 w 1111414"/>
                    <a:gd name="connsiteY5" fmla="*/ 1211179 h 2396966"/>
                    <a:gd name="connsiteX6" fmla="*/ 1111414 w 1111414"/>
                    <a:gd name="connsiteY6" fmla="*/ 855426 h 2396966"/>
                    <a:gd name="connsiteX7" fmla="*/ 986762 w 1111414"/>
                    <a:gd name="connsiteY7" fmla="*/ 1290111 h 2396966"/>
                    <a:gd name="connsiteX8" fmla="*/ 910850 w 1111414"/>
                    <a:gd name="connsiteY8" fmla="*/ 1620589 h 2396966"/>
                    <a:gd name="connsiteX9" fmla="*/ 660684 w 1111414"/>
                    <a:gd name="connsiteY9" fmla="*/ 1879382 h 2396966"/>
                    <a:gd name="connsiteX10" fmla="*/ 617552 w 1111414"/>
                    <a:gd name="connsiteY10" fmla="*/ 2396966 h 2396966"/>
                    <a:gd name="connsiteX11" fmla="*/ 99967 w 1111414"/>
                    <a:gd name="connsiteY11" fmla="*/ 2362461 h 2396966"/>
                    <a:gd name="connsiteX12" fmla="*/ 117220 w 1111414"/>
                    <a:gd name="connsiteY12" fmla="*/ 1965646 h 2396966"/>
                    <a:gd name="connsiteX13" fmla="*/ 1108 w 1111414"/>
                    <a:gd name="connsiteY13" fmla="*/ 1107921 h 2396966"/>
                    <a:gd name="connsiteX14" fmla="*/ 177587 w 1111414"/>
                    <a:gd name="connsiteY14" fmla="*/ 422911 h 2396966"/>
                    <a:gd name="connsiteX15" fmla="*/ 146040 w 1111414"/>
                    <a:gd name="connsiteY15" fmla="*/ 1107463 h 2396966"/>
                    <a:gd name="connsiteX16" fmla="*/ 363030 w 1111414"/>
                    <a:gd name="connsiteY16" fmla="*/ 202028 h 2396966"/>
                    <a:gd name="connsiteX17" fmla="*/ 351443 w 1111414"/>
                    <a:gd name="connsiteY17" fmla="*/ 767132 h 2396966"/>
                    <a:gd name="connsiteX18" fmla="*/ 345847 w 1111414"/>
                    <a:gd name="connsiteY18" fmla="*/ 1125751 h 2396966"/>
                    <a:gd name="connsiteX19" fmla="*/ 573039 w 1111414"/>
                    <a:gd name="connsiteY19" fmla="*/ 980 h 2396966"/>
                    <a:gd name="connsiteX0" fmla="*/ 573039 w 1111414"/>
                    <a:gd name="connsiteY0" fmla="*/ 980 h 2396966"/>
                    <a:gd name="connsiteX1" fmla="*/ 551470 w 1111414"/>
                    <a:gd name="connsiteY1" fmla="*/ 620828 h 2396966"/>
                    <a:gd name="connsiteX2" fmla="*/ 555018 w 1111414"/>
                    <a:gd name="connsiteY2" fmla="*/ 1084603 h 2396966"/>
                    <a:gd name="connsiteX3" fmla="*/ 714944 w 1111414"/>
                    <a:gd name="connsiteY3" fmla="*/ 187396 h 2396966"/>
                    <a:gd name="connsiteX4" fmla="*/ 749277 w 1111414"/>
                    <a:gd name="connsiteY4" fmla="*/ 664697 h 2396966"/>
                    <a:gd name="connsiteX5" fmla="*/ 739357 w 1111414"/>
                    <a:gd name="connsiteY5" fmla="*/ 1211179 h 2396966"/>
                    <a:gd name="connsiteX6" fmla="*/ 1111414 w 1111414"/>
                    <a:gd name="connsiteY6" fmla="*/ 855426 h 2396966"/>
                    <a:gd name="connsiteX7" fmla="*/ 986762 w 1111414"/>
                    <a:gd name="connsiteY7" fmla="*/ 1290111 h 2396966"/>
                    <a:gd name="connsiteX8" fmla="*/ 910850 w 1111414"/>
                    <a:gd name="connsiteY8" fmla="*/ 1620589 h 2396966"/>
                    <a:gd name="connsiteX9" fmla="*/ 660684 w 1111414"/>
                    <a:gd name="connsiteY9" fmla="*/ 1879382 h 2396966"/>
                    <a:gd name="connsiteX10" fmla="*/ 617552 w 1111414"/>
                    <a:gd name="connsiteY10" fmla="*/ 2396966 h 2396966"/>
                    <a:gd name="connsiteX11" fmla="*/ 99967 w 1111414"/>
                    <a:gd name="connsiteY11" fmla="*/ 2362461 h 2396966"/>
                    <a:gd name="connsiteX12" fmla="*/ 117220 w 1111414"/>
                    <a:gd name="connsiteY12" fmla="*/ 1965646 h 2396966"/>
                    <a:gd name="connsiteX13" fmla="*/ 1108 w 1111414"/>
                    <a:gd name="connsiteY13" fmla="*/ 1107921 h 2396966"/>
                    <a:gd name="connsiteX14" fmla="*/ 177587 w 1111414"/>
                    <a:gd name="connsiteY14" fmla="*/ 422911 h 2396966"/>
                    <a:gd name="connsiteX15" fmla="*/ 146040 w 1111414"/>
                    <a:gd name="connsiteY15" fmla="*/ 1107463 h 2396966"/>
                    <a:gd name="connsiteX16" fmla="*/ 363030 w 1111414"/>
                    <a:gd name="connsiteY16" fmla="*/ 202028 h 2396966"/>
                    <a:gd name="connsiteX17" fmla="*/ 351443 w 1111414"/>
                    <a:gd name="connsiteY17" fmla="*/ 767132 h 2396966"/>
                    <a:gd name="connsiteX18" fmla="*/ 345847 w 1111414"/>
                    <a:gd name="connsiteY18" fmla="*/ 1125751 h 2396966"/>
                    <a:gd name="connsiteX19" fmla="*/ 573039 w 1111414"/>
                    <a:gd name="connsiteY19" fmla="*/ 980 h 2396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11414" h="2396966">
                      <a:moveTo>
                        <a:pt x="573039" y="980"/>
                      </a:moveTo>
                      <a:cubicBezTo>
                        <a:pt x="675890" y="40270"/>
                        <a:pt x="530090" y="411268"/>
                        <a:pt x="551470" y="620828"/>
                      </a:cubicBezTo>
                      <a:cubicBezTo>
                        <a:pt x="558749" y="795232"/>
                        <a:pt x="491196" y="1088262"/>
                        <a:pt x="555018" y="1084603"/>
                      </a:cubicBezTo>
                      <a:cubicBezTo>
                        <a:pt x="618840" y="1080944"/>
                        <a:pt x="649118" y="147234"/>
                        <a:pt x="714944" y="187396"/>
                      </a:cubicBezTo>
                      <a:cubicBezTo>
                        <a:pt x="825045" y="254572"/>
                        <a:pt x="748256" y="507783"/>
                        <a:pt x="749277" y="664697"/>
                      </a:cubicBezTo>
                      <a:cubicBezTo>
                        <a:pt x="750298" y="821611"/>
                        <a:pt x="679001" y="1179391"/>
                        <a:pt x="739357" y="1211179"/>
                      </a:cubicBezTo>
                      <a:cubicBezTo>
                        <a:pt x="799713" y="1242967"/>
                        <a:pt x="1019399" y="641778"/>
                        <a:pt x="1111414" y="855426"/>
                      </a:cubicBezTo>
                      <a:cubicBezTo>
                        <a:pt x="1061697" y="973062"/>
                        <a:pt x="996567" y="1077240"/>
                        <a:pt x="986762" y="1290111"/>
                      </a:cubicBezTo>
                      <a:cubicBezTo>
                        <a:pt x="937074" y="1471898"/>
                        <a:pt x="965196" y="1522377"/>
                        <a:pt x="910850" y="1620589"/>
                      </a:cubicBezTo>
                      <a:cubicBezTo>
                        <a:pt x="856504" y="1718801"/>
                        <a:pt x="709567" y="1749986"/>
                        <a:pt x="660684" y="1879382"/>
                      </a:cubicBezTo>
                      <a:lnTo>
                        <a:pt x="617552" y="2396966"/>
                      </a:lnTo>
                      <a:lnTo>
                        <a:pt x="99967" y="2362461"/>
                      </a:lnTo>
                      <a:lnTo>
                        <a:pt x="117220" y="1965646"/>
                      </a:lnTo>
                      <a:cubicBezTo>
                        <a:pt x="51084" y="1726982"/>
                        <a:pt x="-8953" y="1365043"/>
                        <a:pt x="1108" y="1107921"/>
                      </a:cubicBezTo>
                      <a:cubicBezTo>
                        <a:pt x="11169" y="850799"/>
                        <a:pt x="112284" y="354407"/>
                        <a:pt x="177587" y="422911"/>
                      </a:cubicBezTo>
                      <a:cubicBezTo>
                        <a:pt x="242890" y="491415"/>
                        <a:pt x="51125" y="975113"/>
                        <a:pt x="146040" y="1107463"/>
                      </a:cubicBezTo>
                      <a:cubicBezTo>
                        <a:pt x="240955" y="1239813"/>
                        <a:pt x="264788" y="149022"/>
                        <a:pt x="363030" y="202028"/>
                      </a:cubicBezTo>
                      <a:cubicBezTo>
                        <a:pt x="461272" y="255034"/>
                        <a:pt x="361165" y="559076"/>
                        <a:pt x="351443" y="767132"/>
                      </a:cubicBezTo>
                      <a:cubicBezTo>
                        <a:pt x="355674" y="892768"/>
                        <a:pt x="263194" y="1134571"/>
                        <a:pt x="345847" y="1125751"/>
                      </a:cubicBezTo>
                      <a:cubicBezTo>
                        <a:pt x="428500" y="1116931"/>
                        <a:pt x="470188" y="-38310"/>
                        <a:pt x="573039" y="980"/>
                      </a:cubicBez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450" name="Rounded Rectangle 1449"/>
                <p:cNvSpPr/>
                <p:nvPr/>
              </p:nvSpPr>
              <p:spPr>
                <a:xfrm rot="15102188">
                  <a:off x="6366776" y="2517960"/>
                  <a:ext cx="834013" cy="244948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30" name="Freeform 1429"/>
              <p:cNvSpPr/>
              <p:nvPr/>
            </p:nvSpPr>
            <p:spPr>
              <a:xfrm>
                <a:off x="7529611" y="1967345"/>
                <a:ext cx="20441" cy="1107468"/>
              </a:xfrm>
              <a:custGeom>
                <a:avLst/>
                <a:gdLst>
                  <a:gd name="connsiteX0" fmla="*/ 0 w 0"/>
                  <a:gd name="connsiteY0" fmla="*/ 0 h 1219200"/>
                  <a:gd name="connsiteX1" fmla="*/ 0 w 0"/>
                  <a:gd name="connsiteY1" fmla="*/ 1219200 h 1219200"/>
                  <a:gd name="connsiteX0" fmla="*/ 0 w 37176"/>
                  <a:gd name="connsiteY0" fmla="*/ 0 h 8355"/>
                  <a:gd name="connsiteX1" fmla="*/ 37176 w 37176"/>
                  <a:gd name="connsiteY1" fmla="*/ 8355 h 8355"/>
                  <a:gd name="connsiteX0" fmla="*/ 0 w 400"/>
                  <a:gd name="connsiteY0" fmla="*/ 0 h 11869"/>
                  <a:gd name="connsiteX1" fmla="*/ 400 w 400"/>
                  <a:gd name="connsiteY1" fmla="*/ 11869 h 11869"/>
                  <a:gd name="connsiteX0" fmla="*/ 0 w 35680"/>
                  <a:gd name="connsiteY0" fmla="*/ 0 h 10000"/>
                  <a:gd name="connsiteX1" fmla="*/ 10000 w 35680"/>
                  <a:gd name="connsiteY1" fmla="*/ 10000 h 10000"/>
                  <a:gd name="connsiteX0" fmla="*/ 2136 w 34306"/>
                  <a:gd name="connsiteY0" fmla="*/ 0 h 10000"/>
                  <a:gd name="connsiteX1" fmla="*/ 12136 w 34306"/>
                  <a:gd name="connsiteY1" fmla="*/ 10000 h 10000"/>
                  <a:gd name="connsiteX0" fmla="*/ 2262 w 30064"/>
                  <a:gd name="connsiteY0" fmla="*/ 0 h 9160"/>
                  <a:gd name="connsiteX1" fmla="*/ 6924 w 30064"/>
                  <a:gd name="connsiteY1" fmla="*/ 9160 h 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64" h="9160">
                    <a:moveTo>
                      <a:pt x="2262" y="0"/>
                    </a:moveTo>
                    <a:cubicBezTo>
                      <a:pt x="-14411" y="4851"/>
                      <a:pt x="68595" y="5124"/>
                      <a:pt x="6924" y="916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34" name="Group 1433"/>
              <p:cNvGrpSpPr/>
              <p:nvPr/>
            </p:nvGrpSpPr>
            <p:grpSpPr>
              <a:xfrm>
                <a:off x="7116811" y="5518621"/>
                <a:ext cx="306003" cy="739038"/>
                <a:chOff x="800100" y="2269403"/>
                <a:chExt cx="717603" cy="1733106"/>
              </a:xfrm>
            </p:grpSpPr>
            <p:sp>
              <p:nvSpPr>
                <p:cNvPr id="1445" name="Freeform 1444"/>
                <p:cNvSpPr/>
                <p:nvPr/>
              </p:nvSpPr>
              <p:spPr>
                <a:xfrm>
                  <a:off x="800100" y="2538330"/>
                  <a:ext cx="712924" cy="1428749"/>
                </a:xfrm>
                <a:custGeom>
                  <a:avLst/>
                  <a:gdLst>
                    <a:gd name="connsiteX0" fmla="*/ 594360 w 685800"/>
                    <a:gd name="connsiteY0" fmla="*/ 1405890 h 1466850"/>
                    <a:gd name="connsiteX1" fmla="*/ 57150 w 685800"/>
                    <a:gd name="connsiteY1" fmla="*/ 1440180 h 1466850"/>
                    <a:gd name="connsiteX2" fmla="*/ 0 w 685800"/>
                    <a:gd name="connsiteY2" fmla="*/ 369570 h 1466850"/>
                    <a:gd name="connsiteX3" fmla="*/ 228600 w 685800"/>
                    <a:gd name="connsiteY3" fmla="*/ 0 h 1466850"/>
                    <a:gd name="connsiteX4" fmla="*/ 544830 w 685800"/>
                    <a:gd name="connsiteY4" fmla="*/ 548640 h 1466850"/>
                    <a:gd name="connsiteX5" fmla="*/ 666750 w 685800"/>
                    <a:gd name="connsiteY5" fmla="*/ 1101090 h 1466850"/>
                    <a:gd name="connsiteX6" fmla="*/ 681990 w 685800"/>
                    <a:gd name="connsiteY6" fmla="*/ 1245870 h 1466850"/>
                    <a:gd name="connsiteX7" fmla="*/ 685800 w 685800"/>
                    <a:gd name="connsiteY7" fmla="*/ 1466850 h 1466850"/>
                    <a:gd name="connsiteX8" fmla="*/ 594360 w 685800"/>
                    <a:gd name="connsiteY8" fmla="*/ 1405890 h 1466850"/>
                    <a:gd name="connsiteX0" fmla="*/ 594360 w 685800"/>
                    <a:gd name="connsiteY0" fmla="*/ 1409475 h 1470435"/>
                    <a:gd name="connsiteX1" fmla="*/ 57150 w 685800"/>
                    <a:gd name="connsiteY1" fmla="*/ 1443765 h 1470435"/>
                    <a:gd name="connsiteX2" fmla="*/ 0 w 685800"/>
                    <a:gd name="connsiteY2" fmla="*/ 373155 h 1470435"/>
                    <a:gd name="connsiteX3" fmla="*/ 228600 w 685800"/>
                    <a:gd name="connsiteY3" fmla="*/ 3585 h 1470435"/>
                    <a:gd name="connsiteX4" fmla="*/ 544830 w 685800"/>
                    <a:gd name="connsiteY4" fmla="*/ 552225 h 1470435"/>
                    <a:gd name="connsiteX5" fmla="*/ 666750 w 685800"/>
                    <a:gd name="connsiteY5" fmla="*/ 1104675 h 1470435"/>
                    <a:gd name="connsiteX6" fmla="*/ 681990 w 685800"/>
                    <a:gd name="connsiteY6" fmla="*/ 1249455 h 1470435"/>
                    <a:gd name="connsiteX7" fmla="*/ 685800 w 685800"/>
                    <a:gd name="connsiteY7" fmla="*/ 1470435 h 1470435"/>
                    <a:gd name="connsiteX8" fmla="*/ 594360 w 685800"/>
                    <a:gd name="connsiteY8" fmla="*/ 1409475 h 1470435"/>
                    <a:gd name="connsiteX0" fmla="*/ 594360 w 685800"/>
                    <a:gd name="connsiteY0" fmla="*/ 1346452 h 1407412"/>
                    <a:gd name="connsiteX1" fmla="*/ 57150 w 685800"/>
                    <a:gd name="connsiteY1" fmla="*/ 1380742 h 1407412"/>
                    <a:gd name="connsiteX2" fmla="*/ 0 w 685800"/>
                    <a:gd name="connsiteY2" fmla="*/ 310132 h 1407412"/>
                    <a:gd name="connsiteX3" fmla="*/ 320040 w 685800"/>
                    <a:gd name="connsiteY3" fmla="*/ 5332 h 1407412"/>
                    <a:gd name="connsiteX4" fmla="*/ 544830 w 685800"/>
                    <a:gd name="connsiteY4" fmla="*/ 489202 h 1407412"/>
                    <a:gd name="connsiteX5" fmla="*/ 666750 w 685800"/>
                    <a:gd name="connsiteY5" fmla="*/ 1041652 h 1407412"/>
                    <a:gd name="connsiteX6" fmla="*/ 681990 w 685800"/>
                    <a:gd name="connsiteY6" fmla="*/ 1186432 h 1407412"/>
                    <a:gd name="connsiteX7" fmla="*/ 685800 w 685800"/>
                    <a:gd name="connsiteY7" fmla="*/ 1407412 h 1407412"/>
                    <a:gd name="connsiteX8" fmla="*/ 594360 w 685800"/>
                    <a:gd name="connsiteY8" fmla="*/ 1346452 h 1407412"/>
                    <a:gd name="connsiteX0" fmla="*/ 594360 w 685800"/>
                    <a:gd name="connsiteY0" fmla="*/ 1348660 h 1409620"/>
                    <a:gd name="connsiteX1" fmla="*/ 57150 w 685800"/>
                    <a:gd name="connsiteY1" fmla="*/ 1382950 h 1409620"/>
                    <a:gd name="connsiteX2" fmla="*/ 0 w 685800"/>
                    <a:gd name="connsiteY2" fmla="*/ 312340 h 1409620"/>
                    <a:gd name="connsiteX3" fmla="*/ 320040 w 685800"/>
                    <a:gd name="connsiteY3" fmla="*/ 7540 h 1409620"/>
                    <a:gd name="connsiteX4" fmla="*/ 544830 w 685800"/>
                    <a:gd name="connsiteY4" fmla="*/ 491410 h 1409620"/>
                    <a:gd name="connsiteX5" fmla="*/ 666750 w 685800"/>
                    <a:gd name="connsiteY5" fmla="*/ 1043860 h 1409620"/>
                    <a:gd name="connsiteX6" fmla="*/ 681990 w 685800"/>
                    <a:gd name="connsiteY6" fmla="*/ 1188640 h 1409620"/>
                    <a:gd name="connsiteX7" fmla="*/ 685800 w 685800"/>
                    <a:gd name="connsiteY7" fmla="*/ 1409620 h 1409620"/>
                    <a:gd name="connsiteX8" fmla="*/ 594360 w 685800"/>
                    <a:gd name="connsiteY8" fmla="*/ 1348660 h 1409620"/>
                    <a:gd name="connsiteX0" fmla="*/ 621711 w 713151"/>
                    <a:gd name="connsiteY0" fmla="*/ 1348660 h 1450924"/>
                    <a:gd name="connsiteX1" fmla="*/ 84501 w 713151"/>
                    <a:gd name="connsiteY1" fmla="*/ 1382950 h 1450924"/>
                    <a:gd name="connsiteX2" fmla="*/ 27351 w 713151"/>
                    <a:gd name="connsiteY2" fmla="*/ 312340 h 1450924"/>
                    <a:gd name="connsiteX3" fmla="*/ 347391 w 713151"/>
                    <a:gd name="connsiteY3" fmla="*/ 7540 h 1450924"/>
                    <a:gd name="connsiteX4" fmla="*/ 572181 w 713151"/>
                    <a:gd name="connsiteY4" fmla="*/ 491410 h 1450924"/>
                    <a:gd name="connsiteX5" fmla="*/ 694101 w 713151"/>
                    <a:gd name="connsiteY5" fmla="*/ 1043860 h 1450924"/>
                    <a:gd name="connsiteX6" fmla="*/ 709341 w 713151"/>
                    <a:gd name="connsiteY6" fmla="*/ 1188640 h 1450924"/>
                    <a:gd name="connsiteX7" fmla="*/ 713151 w 713151"/>
                    <a:gd name="connsiteY7" fmla="*/ 1409620 h 1450924"/>
                    <a:gd name="connsiteX8" fmla="*/ 621711 w 713151"/>
                    <a:gd name="connsiteY8" fmla="*/ 1348660 h 1450924"/>
                    <a:gd name="connsiteX0" fmla="*/ 619643 w 711083"/>
                    <a:gd name="connsiteY0" fmla="*/ 1348660 h 1411263"/>
                    <a:gd name="connsiteX1" fmla="*/ 82433 w 711083"/>
                    <a:gd name="connsiteY1" fmla="*/ 1382950 h 1411263"/>
                    <a:gd name="connsiteX2" fmla="*/ 25283 w 711083"/>
                    <a:gd name="connsiteY2" fmla="*/ 312340 h 1411263"/>
                    <a:gd name="connsiteX3" fmla="*/ 345323 w 711083"/>
                    <a:gd name="connsiteY3" fmla="*/ 7540 h 1411263"/>
                    <a:gd name="connsiteX4" fmla="*/ 570113 w 711083"/>
                    <a:gd name="connsiteY4" fmla="*/ 491410 h 1411263"/>
                    <a:gd name="connsiteX5" fmla="*/ 692033 w 711083"/>
                    <a:gd name="connsiteY5" fmla="*/ 1043860 h 1411263"/>
                    <a:gd name="connsiteX6" fmla="*/ 707273 w 711083"/>
                    <a:gd name="connsiteY6" fmla="*/ 1188640 h 1411263"/>
                    <a:gd name="connsiteX7" fmla="*/ 711083 w 711083"/>
                    <a:gd name="connsiteY7" fmla="*/ 1409620 h 1411263"/>
                    <a:gd name="connsiteX8" fmla="*/ 619643 w 711083"/>
                    <a:gd name="connsiteY8" fmla="*/ 1348660 h 1411263"/>
                    <a:gd name="connsiteX0" fmla="*/ 594360 w 685800"/>
                    <a:gd name="connsiteY0" fmla="*/ 1348660 h 1411263"/>
                    <a:gd name="connsiteX1" fmla="*/ 57150 w 685800"/>
                    <a:gd name="connsiteY1" fmla="*/ 1382950 h 1411263"/>
                    <a:gd name="connsiteX2" fmla="*/ 0 w 685800"/>
                    <a:gd name="connsiteY2" fmla="*/ 312340 h 1411263"/>
                    <a:gd name="connsiteX3" fmla="*/ 320040 w 685800"/>
                    <a:gd name="connsiteY3" fmla="*/ 7540 h 1411263"/>
                    <a:gd name="connsiteX4" fmla="*/ 544830 w 685800"/>
                    <a:gd name="connsiteY4" fmla="*/ 491410 h 1411263"/>
                    <a:gd name="connsiteX5" fmla="*/ 666750 w 685800"/>
                    <a:gd name="connsiteY5" fmla="*/ 1043860 h 1411263"/>
                    <a:gd name="connsiteX6" fmla="*/ 681990 w 685800"/>
                    <a:gd name="connsiteY6" fmla="*/ 1188640 h 1411263"/>
                    <a:gd name="connsiteX7" fmla="*/ 685800 w 685800"/>
                    <a:gd name="connsiteY7" fmla="*/ 1409620 h 1411263"/>
                    <a:gd name="connsiteX8" fmla="*/ 594360 w 685800"/>
                    <a:gd name="connsiteY8" fmla="*/ 1348660 h 1411263"/>
                    <a:gd name="connsiteX0" fmla="*/ 605790 w 697230"/>
                    <a:gd name="connsiteY0" fmla="*/ 1342081 h 1437943"/>
                    <a:gd name="connsiteX1" fmla="*/ 68580 w 697230"/>
                    <a:gd name="connsiteY1" fmla="*/ 1376371 h 1437943"/>
                    <a:gd name="connsiteX2" fmla="*/ 0 w 697230"/>
                    <a:gd name="connsiteY2" fmla="*/ 393391 h 1437943"/>
                    <a:gd name="connsiteX3" fmla="*/ 331470 w 697230"/>
                    <a:gd name="connsiteY3" fmla="*/ 961 h 1437943"/>
                    <a:gd name="connsiteX4" fmla="*/ 556260 w 697230"/>
                    <a:gd name="connsiteY4" fmla="*/ 484831 h 1437943"/>
                    <a:gd name="connsiteX5" fmla="*/ 678180 w 697230"/>
                    <a:gd name="connsiteY5" fmla="*/ 1037281 h 1437943"/>
                    <a:gd name="connsiteX6" fmla="*/ 693420 w 697230"/>
                    <a:gd name="connsiteY6" fmla="*/ 1182061 h 1437943"/>
                    <a:gd name="connsiteX7" fmla="*/ 697230 w 697230"/>
                    <a:gd name="connsiteY7" fmla="*/ 1403041 h 1437943"/>
                    <a:gd name="connsiteX8" fmla="*/ 605790 w 697230"/>
                    <a:gd name="connsiteY8" fmla="*/ 1342081 h 1437943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54629 h 1435508"/>
                    <a:gd name="connsiteX1" fmla="*/ 45720 w 697230"/>
                    <a:gd name="connsiteY1" fmla="*/ 1369869 h 1435508"/>
                    <a:gd name="connsiteX2" fmla="*/ 0 w 697230"/>
                    <a:gd name="connsiteY2" fmla="*/ 405939 h 1435508"/>
                    <a:gd name="connsiteX3" fmla="*/ 331470 w 697230"/>
                    <a:gd name="connsiteY3" fmla="*/ 13509 h 1435508"/>
                    <a:gd name="connsiteX4" fmla="*/ 556260 w 697230"/>
                    <a:gd name="connsiteY4" fmla="*/ 497379 h 1435508"/>
                    <a:gd name="connsiteX5" fmla="*/ 678180 w 697230"/>
                    <a:gd name="connsiteY5" fmla="*/ 1049829 h 1435508"/>
                    <a:gd name="connsiteX6" fmla="*/ 693420 w 697230"/>
                    <a:gd name="connsiteY6" fmla="*/ 1194609 h 1435508"/>
                    <a:gd name="connsiteX7" fmla="*/ 697230 w 697230"/>
                    <a:gd name="connsiteY7" fmla="*/ 1415589 h 1435508"/>
                    <a:gd name="connsiteX8" fmla="*/ 605790 w 697230"/>
                    <a:gd name="connsiteY8" fmla="*/ 1354629 h 1435508"/>
                    <a:gd name="connsiteX0" fmla="*/ 605790 w 697230"/>
                    <a:gd name="connsiteY0" fmla="*/ 1369662 h 1450541"/>
                    <a:gd name="connsiteX1" fmla="*/ 45720 w 697230"/>
                    <a:gd name="connsiteY1" fmla="*/ 1384902 h 1450541"/>
                    <a:gd name="connsiteX2" fmla="*/ 0 w 697230"/>
                    <a:gd name="connsiteY2" fmla="*/ 420972 h 1450541"/>
                    <a:gd name="connsiteX3" fmla="*/ 331470 w 697230"/>
                    <a:gd name="connsiteY3" fmla="*/ 28542 h 1450541"/>
                    <a:gd name="connsiteX4" fmla="*/ 556260 w 697230"/>
                    <a:gd name="connsiteY4" fmla="*/ 512412 h 1450541"/>
                    <a:gd name="connsiteX5" fmla="*/ 678180 w 697230"/>
                    <a:gd name="connsiteY5" fmla="*/ 1064862 h 1450541"/>
                    <a:gd name="connsiteX6" fmla="*/ 693420 w 697230"/>
                    <a:gd name="connsiteY6" fmla="*/ 1209642 h 1450541"/>
                    <a:gd name="connsiteX7" fmla="*/ 697230 w 697230"/>
                    <a:gd name="connsiteY7" fmla="*/ 1430622 h 1450541"/>
                    <a:gd name="connsiteX8" fmla="*/ 605790 w 697230"/>
                    <a:gd name="connsiteY8" fmla="*/ 1369662 h 1450541"/>
                    <a:gd name="connsiteX0" fmla="*/ 605790 w 697230"/>
                    <a:gd name="connsiteY0" fmla="*/ 1349171 h 1430050"/>
                    <a:gd name="connsiteX1" fmla="*/ 45720 w 697230"/>
                    <a:gd name="connsiteY1" fmla="*/ 1364411 h 1430050"/>
                    <a:gd name="connsiteX2" fmla="*/ 0 w 697230"/>
                    <a:gd name="connsiteY2" fmla="*/ 400481 h 1430050"/>
                    <a:gd name="connsiteX3" fmla="*/ 381000 w 697230"/>
                    <a:gd name="connsiteY3" fmla="*/ 34721 h 1430050"/>
                    <a:gd name="connsiteX4" fmla="*/ 556260 w 697230"/>
                    <a:gd name="connsiteY4" fmla="*/ 491921 h 1430050"/>
                    <a:gd name="connsiteX5" fmla="*/ 678180 w 697230"/>
                    <a:gd name="connsiteY5" fmla="*/ 1044371 h 1430050"/>
                    <a:gd name="connsiteX6" fmla="*/ 693420 w 697230"/>
                    <a:gd name="connsiteY6" fmla="*/ 1189151 h 1430050"/>
                    <a:gd name="connsiteX7" fmla="*/ 697230 w 697230"/>
                    <a:gd name="connsiteY7" fmla="*/ 1410131 h 1430050"/>
                    <a:gd name="connsiteX8" fmla="*/ 605790 w 697230"/>
                    <a:gd name="connsiteY8" fmla="*/ 1349171 h 1430050"/>
                    <a:gd name="connsiteX0" fmla="*/ 605790 w 698748"/>
                    <a:gd name="connsiteY0" fmla="*/ 1349171 h 1433022"/>
                    <a:gd name="connsiteX1" fmla="*/ 45720 w 698748"/>
                    <a:gd name="connsiteY1" fmla="*/ 1364411 h 1433022"/>
                    <a:gd name="connsiteX2" fmla="*/ 0 w 698748"/>
                    <a:gd name="connsiteY2" fmla="*/ 400481 h 1433022"/>
                    <a:gd name="connsiteX3" fmla="*/ 381000 w 698748"/>
                    <a:gd name="connsiteY3" fmla="*/ 34721 h 1433022"/>
                    <a:gd name="connsiteX4" fmla="*/ 556260 w 698748"/>
                    <a:gd name="connsiteY4" fmla="*/ 491921 h 1433022"/>
                    <a:gd name="connsiteX5" fmla="*/ 678180 w 698748"/>
                    <a:gd name="connsiteY5" fmla="*/ 1044371 h 1433022"/>
                    <a:gd name="connsiteX6" fmla="*/ 693420 w 698748"/>
                    <a:gd name="connsiteY6" fmla="*/ 1189151 h 1433022"/>
                    <a:gd name="connsiteX7" fmla="*/ 697230 w 698748"/>
                    <a:gd name="connsiteY7" fmla="*/ 1410131 h 1433022"/>
                    <a:gd name="connsiteX8" fmla="*/ 605790 w 698748"/>
                    <a:gd name="connsiteY8" fmla="*/ 1349171 h 1433022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78180 w 712924"/>
                    <a:gd name="connsiteY5" fmla="*/ 104437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449580 w 712924"/>
                    <a:gd name="connsiteY5" fmla="*/ 86530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7870 h 1428749"/>
                    <a:gd name="connsiteX1" fmla="*/ 45720 w 712924"/>
                    <a:gd name="connsiteY1" fmla="*/ 1363110 h 1428749"/>
                    <a:gd name="connsiteX2" fmla="*/ 0 w 712924"/>
                    <a:gd name="connsiteY2" fmla="*/ 399180 h 1428749"/>
                    <a:gd name="connsiteX3" fmla="*/ 381000 w 712924"/>
                    <a:gd name="connsiteY3" fmla="*/ 33420 h 1428749"/>
                    <a:gd name="connsiteX4" fmla="*/ 556260 w 712924"/>
                    <a:gd name="connsiteY4" fmla="*/ 490620 h 1428749"/>
                    <a:gd name="connsiteX5" fmla="*/ 693420 w 712924"/>
                    <a:gd name="connsiteY5" fmla="*/ 1187850 h 1428749"/>
                    <a:gd name="connsiteX6" fmla="*/ 697230 w 712924"/>
                    <a:gd name="connsiteY6" fmla="*/ 1408830 h 1428749"/>
                    <a:gd name="connsiteX7" fmla="*/ 605790 w 712924"/>
                    <a:gd name="connsiteY7" fmla="*/ 1347870 h 1428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2924" h="1428749">
                      <a:moveTo>
                        <a:pt x="605790" y="1347870"/>
                      </a:moveTo>
                      <a:cubicBezTo>
                        <a:pt x="501015" y="1343425"/>
                        <a:pt x="146685" y="1521225"/>
                        <a:pt x="45720" y="1363110"/>
                      </a:cubicBezTo>
                      <a:cubicBezTo>
                        <a:pt x="-55245" y="1204995"/>
                        <a:pt x="100965" y="681755"/>
                        <a:pt x="0" y="399180"/>
                      </a:cubicBezTo>
                      <a:cubicBezTo>
                        <a:pt x="106661" y="-78654"/>
                        <a:pt x="276860" y="-16110"/>
                        <a:pt x="381000" y="33420"/>
                      </a:cubicBezTo>
                      <a:cubicBezTo>
                        <a:pt x="485140" y="82950"/>
                        <a:pt x="490855" y="249955"/>
                        <a:pt x="556260" y="490620"/>
                      </a:cubicBezTo>
                      <a:cubicBezTo>
                        <a:pt x="601980" y="723030"/>
                        <a:pt x="518160" y="791610"/>
                        <a:pt x="693420" y="1187850"/>
                      </a:cubicBezTo>
                      <a:cubicBezTo>
                        <a:pt x="694690" y="1261510"/>
                        <a:pt x="734060" y="1377080"/>
                        <a:pt x="697230" y="1408830"/>
                      </a:cubicBezTo>
                      <a:cubicBezTo>
                        <a:pt x="660400" y="1440580"/>
                        <a:pt x="714375" y="1355490"/>
                        <a:pt x="605790" y="134787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6" name="Freeform 1445"/>
                <p:cNvSpPr/>
                <p:nvPr/>
              </p:nvSpPr>
              <p:spPr>
                <a:xfrm>
                  <a:off x="881031" y="2269403"/>
                  <a:ext cx="567523" cy="1353636"/>
                </a:xfrm>
                <a:custGeom>
                  <a:avLst/>
                  <a:gdLst>
                    <a:gd name="connsiteX0" fmla="*/ 39232 w 555279"/>
                    <a:gd name="connsiteY0" fmla="*/ 292729 h 1297663"/>
                    <a:gd name="connsiteX1" fmla="*/ 0 w 555279"/>
                    <a:gd name="connsiteY1" fmla="*/ 1297663 h 1297663"/>
                    <a:gd name="connsiteX2" fmla="*/ 555279 w 555279"/>
                    <a:gd name="connsiteY2" fmla="*/ 1288610 h 1297663"/>
                    <a:gd name="connsiteX3" fmla="*/ 350068 w 555279"/>
                    <a:gd name="connsiteY3" fmla="*/ 205212 h 1297663"/>
                    <a:gd name="connsiteX4" fmla="*/ 344032 w 555279"/>
                    <a:gd name="connsiteY4" fmla="*/ 0 h 1297663"/>
                    <a:gd name="connsiteX5" fmla="*/ 39232 w 555279"/>
                    <a:gd name="connsiteY5" fmla="*/ 0 h 1297663"/>
                    <a:gd name="connsiteX6" fmla="*/ 39232 w 555279"/>
                    <a:gd name="connsiteY6" fmla="*/ 292729 h 1297663"/>
                    <a:gd name="connsiteX0" fmla="*/ 70378 w 586425"/>
                    <a:gd name="connsiteY0" fmla="*/ 292729 h 1423658"/>
                    <a:gd name="connsiteX1" fmla="*/ 31146 w 586425"/>
                    <a:gd name="connsiteY1" fmla="*/ 1297663 h 1423658"/>
                    <a:gd name="connsiteX2" fmla="*/ 586425 w 586425"/>
                    <a:gd name="connsiteY2" fmla="*/ 1288610 h 1423658"/>
                    <a:gd name="connsiteX3" fmla="*/ 381214 w 586425"/>
                    <a:gd name="connsiteY3" fmla="*/ 205212 h 1423658"/>
                    <a:gd name="connsiteX4" fmla="*/ 375178 w 586425"/>
                    <a:gd name="connsiteY4" fmla="*/ 0 h 1423658"/>
                    <a:gd name="connsiteX5" fmla="*/ 70378 w 586425"/>
                    <a:gd name="connsiteY5" fmla="*/ 0 h 1423658"/>
                    <a:gd name="connsiteX6" fmla="*/ 70378 w 586425"/>
                    <a:gd name="connsiteY6" fmla="*/ 292729 h 1423658"/>
                    <a:gd name="connsiteX0" fmla="*/ 51476 w 567523"/>
                    <a:gd name="connsiteY0" fmla="*/ 292729 h 1376338"/>
                    <a:gd name="connsiteX1" fmla="*/ 12244 w 567523"/>
                    <a:gd name="connsiteY1" fmla="*/ 1297663 h 1376338"/>
                    <a:gd name="connsiteX2" fmla="*/ 567523 w 567523"/>
                    <a:gd name="connsiteY2" fmla="*/ 1288610 h 1376338"/>
                    <a:gd name="connsiteX3" fmla="*/ 362312 w 567523"/>
                    <a:gd name="connsiteY3" fmla="*/ 205212 h 1376338"/>
                    <a:gd name="connsiteX4" fmla="*/ 356276 w 567523"/>
                    <a:gd name="connsiteY4" fmla="*/ 0 h 1376338"/>
                    <a:gd name="connsiteX5" fmla="*/ 51476 w 567523"/>
                    <a:gd name="connsiteY5" fmla="*/ 0 h 1376338"/>
                    <a:gd name="connsiteX6" fmla="*/ 51476 w 567523"/>
                    <a:gd name="connsiteY6" fmla="*/ 292729 h 1376338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422668 w 567523"/>
                    <a:gd name="connsiteY3" fmla="*/ 214265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7523" h="1353636">
                      <a:moveTo>
                        <a:pt x="51476" y="328943"/>
                      </a:moveTo>
                      <a:cubicBezTo>
                        <a:pt x="44937" y="545220"/>
                        <a:pt x="-28496" y="1315770"/>
                        <a:pt x="12244" y="1333877"/>
                      </a:cubicBezTo>
                      <a:cubicBezTo>
                        <a:pt x="52984" y="1351984"/>
                        <a:pt x="433732" y="1371097"/>
                        <a:pt x="567523" y="1324824"/>
                      </a:cubicBezTo>
                      <a:cubicBezTo>
                        <a:pt x="499119" y="963691"/>
                        <a:pt x="424679" y="356606"/>
                        <a:pt x="422668" y="250479"/>
                      </a:cubicBezTo>
                      <a:cubicBezTo>
                        <a:pt x="420657" y="144352"/>
                        <a:pt x="426692" y="83493"/>
                        <a:pt x="428704" y="0"/>
                      </a:cubicBezTo>
                      <a:lnTo>
                        <a:pt x="51476" y="36214"/>
                      </a:lnTo>
                      <a:lnTo>
                        <a:pt x="51476" y="328943"/>
                      </a:ln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447" name="Freeform 1446"/>
                <p:cNvSpPr/>
                <p:nvPr/>
              </p:nvSpPr>
              <p:spPr>
                <a:xfrm>
                  <a:off x="830273" y="3832860"/>
                  <a:ext cx="687430" cy="169649"/>
                </a:xfrm>
                <a:custGeom>
                  <a:avLst/>
                  <a:gdLst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25730"/>
                    <a:gd name="connsiteX1" fmla="*/ 567690 w 678180"/>
                    <a:gd name="connsiteY1" fmla="*/ 0 h 125730"/>
                    <a:gd name="connsiteX2" fmla="*/ 678180 w 678180"/>
                    <a:gd name="connsiteY2" fmla="*/ 57150 h 125730"/>
                    <a:gd name="connsiteX3" fmla="*/ 651510 w 678180"/>
                    <a:gd name="connsiteY3" fmla="*/ 125730 h 125730"/>
                    <a:gd name="connsiteX4" fmla="*/ 0 w 678180"/>
                    <a:gd name="connsiteY4" fmla="*/ 26670 h 125730"/>
                    <a:gd name="connsiteX0" fmla="*/ 0 w 678180"/>
                    <a:gd name="connsiteY0" fmla="*/ 26670 h 139710"/>
                    <a:gd name="connsiteX1" fmla="*/ 567690 w 678180"/>
                    <a:gd name="connsiteY1" fmla="*/ 0 h 139710"/>
                    <a:gd name="connsiteX2" fmla="*/ 678180 w 678180"/>
                    <a:gd name="connsiteY2" fmla="*/ 57150 h 139710"/>
                    <a:gd name="connsiteX3" fmla="*/ 651510 w 678180"/>
                    <a:gd name="connsiteY3" fmla="*/ 125730 h 139710"/>
                    <a:gd name="connsiteX4" fmla="*/ 0 w 678180"/>
                    <a:gd name="connsiteY4" fmla="*/ 26670 h 139710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505"/>
                    <a:gd name="connsiteY0" fmla="*/ 26670 h 150507"/>
                    <a:gd name="connsiteX1" fmla="*/ 567690 w 678505"/>
                    <a:gd name="connsiteY1" fmla="*/ 0 h 150507"/>
                    <a:gd name="connsiteX2" fmla="*/ 678180 w 678505"/>
                    <a:gd name="connsiteY2" fmla="*/ 57150 h 150507"/>
                    <a:gd name="connsiteX3" fmla="*/ 651510 w 678505"/>
                    <a:gd name="connsiteY3" fmla="*/ 125730 h 150507"/>
                    <a:gd name="connsiteX4" fmla="*/ 0 w 678505"/>
                    <a:gd name="connsiteY4" fmla="*/ 26670 h 150507"/>
                    <a:gd name="connsiteX0" fmla="*/ 0 w 678180"/>
                    <a:gd name="connsiteY0" fmla="*/ 26670 h 97874"/>
                    <a:gd name="connsiteX1" fmla="*/ 567690 w 678180"/>
                    <a:gd name="connsiteY1" fmla="*/ 0 h 97874"/>
                    <a:gd name="connsiteX2" fmla="*/ 678180 w 678180"/>
                    <a:gd name="connsiteY2" fmla="*/ 57150 h 97874"/>
                    <a:gd name="connsiteX3" fmla="*/ 0 w 678180"/>
                    <a:gd name="connsiteY3" fmla="*/ 26670 h 97874"/>
                    <a:gd name="connsiteX0" fmla="*/ 0 w 678395"/>
                    <a:gd name="connsiteY0" fmla="*/ 26670 h 124875"/>
                    <a:gd name="connsiteX1" fmla="*/ 567690 w 678395"/>
                    <a:gd name="connsiteY1" fmla="*/ 0 h 124875"/>
                    <a:gd name="connsiteX2" fmla="*/ 678180 w 678395"/>
                    <a:gd name="connsiteY2" fmla="*/ 57150 h 124875"/>
                    <a:gd name="connsiteX3" fmla="*/ 0 w 678395"/>
                    <a:gd name="connsiteY3" fmla="*/ 26670 h 124875"/>
                    <a:gd name="connsiteX0" fmla="*/ 6385 w 684752"/>
                    <a:gd name="connsiteY0" fmla="*/ 26670 h 159961"/>
                    <a:gd name="connsiteX1" fmla="*/ 574075 w 684752"/>
                    <a:gd name="connsiteY1" fmla="*/ 0 h 159961"/>
                    <a:gd name="connsiteX2" fmla="*/ 684565 w 684752"/>
                    <a:gd name="connsiteY2" fmla="*/ 57150 h 159961"/>
                    <a:gd name="connsiteX3" fmla="*/ 6385 w 684752"/>
                    <a:gd name="connsiteY3" fmla="*/ 26670 h 159961"/>
                    <a:gd name="connsiteX0" fmla="*/ 5941 w 689167"/>
                    <a:gd name="connsiteY0" fmla="*/ 26670 h 156211"/>
                    <a:gd name="connsiteX1" fmla="*/ 573631 w 689167"/>
                    <a:gd name="connsiteY1" fmla="*/ 0 h 156211"/>
                    <a:gd name="connsiteX2" fmla="*/ 684121 w 689167"/>
                    <a:gd name="connsiteY2" fmla="*/ 57150 h 156211"/>
                    <a:gd name="connsiteX3" fmla="*/ 5941 w 689167"/>
                    <a:gd name="connsiteY3" fmla="*/ 26670 h 156211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30" h="169649">
                      <a:moveTo>
                        <a:pt x="4118" y="26670"/>
                      </a:moveTo>
                      <a:cubicBezTo>
                        <a:pt x="64562" y="172746"/>
                        <a:pt x="454968" y="127000"/>
                        <a:pt x="571808" y="0"/>
                      </a:cubicBezTo>
                      <a:cubicBezTo>
                        <a:pt x="611656" y="43193"/>
                        <a:pt x="607368" y="68580"/>
                        <a:pt x="682298" y="57150"/>
                      </a:cubicBezTo>
                      <a:cubicBezTo>
                        <a:pt x="759699" y="212487"/>
                        <a:pt x="-64984" y="211229"/>
                        <a:pt x="4118" y="2667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35" name="Group 1434"/>
              <p:cNvGrpSpPr/>
              <p:nvPr/>
            </p:nvGrpSpPr>
            <p:grpSpPr>
              <a:xfrm flipH="1">
                <a:off x="7651330" y="5518621"/>
                <a:ext cx="306003" cy="739038"/>
                <a:chOff x="800100" y="2269403"/>
                <a:chExt cx="717603" cy="1733106"/>
              </a:xfrm>
            </p:grpSpPr>
            <p:sp>
              <p:nvSpPr>
                <p:cNvPr id="1442" name="Freeform 1441"/>
                <p:cNvSpPr/>
                <p:nvPr/>
              </p:nvSpPr>
              <p:spPr>
                <a:xfrm>
                  <a:off x="800100" y="2538330"/>
                  <a:ext cx="712924" cy="1428749"/>
                </a:xfrm>
                <a:custGeom>
                  <a:avLst/>
                  <a:gdLst>
                    <a:gd name="connsiteX0" fmla="*/ 594360 w 685800"/>
                    <a:gd name="connsiteY0" fmla="*/ 1405890 h 1466850"/>
                    <a:gd name="connsiteX1" fmla="*/ 57150 w 685800"/>
                    <a:gd name="connsiteY1" fmla="*/ 1440180 h 1466850"/>
                    <a:gd name="connsiteX2" fmla="*/ 0 w 685800"/>
                    <a:gd name="connsiteY2" fmla="*/ 369570 h 1466850"/>
                    <a:gd name="connsiteX3" fmla="*/ 228600 w 685800"/>
                    <a:gd name="connsiteY3" fmla="*/ 0 h 1466850"/>
                    <a:gd name="connsiteX4" fmla="*/ 544830 w 685800"/>
                    <a:gd name="connsiteY4" fmla="*/ 548640 h 1466850"/>
                    <a:gd name="connsiteX5" fmla="*/ 666750 w 685800"/>
                    <a:gd name="connsiteY5" fmla="*/ 1101090 h 1466850"/>
                    <a:gd name="connsiteX6" fmla="*/ 681990 w 685800"/>
                    <a:gd name="connsiteY6" fmla="*/ 1245870 h 1466850"/>
                    <a:gd name="connsiteX7" fmla="*/ 685800 w 685800"/>
                    <a:gd name="connsiteY7" fmla="*/ 1466850 h 1466850"/>
                    <a:gd name="connsiteX8" fmla="*/ 594360 w 685800"/>
                    <a:gd name="connsiteY8" fmla="*/ 1405890 h 1466850"/>
                    <a:gd name="connsiteX0" fmla="*/ 594360 w 685800"/>
                    <a:gd name="connsiteY0" fmla="*/ 1409475 h 1470435"/>
                    <a:gd name="connsiteX1" fmla="*/ 57150 w 685800"/>
                    <a:gd name="connsiteY1" fmla="*/ 1443765 h 1470435"/>
                    <a:gd name="connsiteX2" fmla="*/ 0 w 685800"/>
                    <a:gd name="connsiteY2" fmla="*/ 373155 h 1470435"/>
                    <a:gd name="connsiteX3" fmla="*/ 228600 w 685800"/>
                    <a:gd name="connsiteY3" fmla="*/ 3585 h 1470435"/>
                    <a:gd name="connsiteX4" fmla="*/ 544830 w 685800"/>
                    <a:gd name="connsiteY4" fmla="*/ 552225 h 1470435"/>
                    <a:gd name="connsiteX5" fmla="*/ 666750 w 685800"/>
                    <a:gd name="connsiteY5" fmla="*/ 1104675 h 1470435"/>
                    <a:gd name="connsiteX6" fmla="*/ 681990 w 685800"/>
                    <a:gd name="connsiteY6" fmla="*/ 1249455 h 1470435"/>
                    <a:gd name="connsiteX7" fmla="*/ 685800 w 685800"/>
                    <a:gd name="connsiteY7" fmla="*/ 1470435 h 1470435"/>
                    <a:gd name="connsiteX8" fmla="*/ 594360 w 685800"/>
                    <a:gd name="connsiteY8" fmla="*/ 1409475 h 1470435"/>
                    <a:gd name="connsiteX0" fmla="*/ 594360 w 685800"/>
                    <a:gd name="connsiteY0" fmla="*/ 1346452 h 1407412"/>
                    <a:gd name="connsiteX1" fmla="*/ 57150 w 685800"/>
                    <a:gd name="connsiteY1" fmla="*/ 1380742 h 1407412"/>
                    <a:gd name="connsiteX2" fmla="*/ 0 w 685800"/>
                    <a:gd name="connsiteY2" fmla="*/ 310132 h 1407412"/>
                    <a:gd name="connsiteX3" fmla="*/ 320040 w 685800"/>
                    <a:gd name="connsiteY3" fmla="*/ 5332 h 1407412"/>
                    <a:gd name="connsiteX4" fmla="*/ 544830 w 685800"/>
                    <a:gd name="connsiteY4" fmla="*/ 489202 h 1407412"/>
                    <a:gd name="connsiteX5" fmla="*/ 666750 w 685800"/>
                    <a:gd name="connsiteY5" fmla="*/ 1041652 h 1407412"/>
                    <a:gd name="connsiteX6" fmla="*/ 681990 w 685800"/>
                    <a:gd name="connsiteY6" fmla="*/ 1186432 h 1407412"/>
                    <a:gd name="connsiteX7" fmla="*/ 685800 w 685800"/>
                    <a:gd name="connsiteY7" fmla="*/ 1407412 h 1407412"/>
                    <a:gd name="connsiteX8" fmla="*/ 594360 w 685800"/>
                    <a:gd name="connsiteY8" fmla="*/ 1346452 h 1407412"/>
                    <a:gd name="connsiteX0" fmla="*/ 594360 w 685800"/>
                    <a:gd name="connsiteY0" fmla="*/ 1348660 h 1409620"/>
                    <a:gd name="connsiteX1" fmla="*/ 57150 w 685800"/>
                    <a:gd name="connsiteY1" fmla="*/ 1382950 h 1409620"/>
                    <a:gd name="connsiteX2" fmla="*/ 0 w 685800"/>
                    <a:gd name="connsiteY2" fmla="*/ 312340 h 1409620"/>
                    <a:gd name="connsiteX3" fmla="*/ 320040 w 685800"/>
                    <a:gd name="connsiteY3" fmla="*/ 7540 h 1409620"/>
                    <a:gd name="connsiteX4" fmla="*/ 544830 w 685800"/>
                    <a:gd name="connsiteY4" fmla="*/ 491410 h 1409620"/>
                    <a:gd name="connsiteX5" fmla="*/ 666750 w 685800"/>
                    <a:gd name="connsiteY5" fmla="*/ 1043860 h 1409620"/>
                    <a:gd name="connsiteX6" fmla="*/ 681990 w 685800"/>
                    <a:gd name="connsiteY6" fmla="*/ 1188640 h 1409620"/>
                    <a:gd name="connsiteX7" fmla="*/ 685800 w 685800"/>
                    <a:gd name="connsiteY7" fmla="*/ 1409620 h 1409620"/>
                    <a:gd name="connsiteX8" fmla="*/ 594360 w 685800"/>
                    <a:gd name="connsiteY8" fmla="*/ 1348660 h 1409620"/>
                    <a:gd name="connsiteX0" fmla="*/ 621711 w 713151"/>
                    <a:gd name="connsiteY0" fmla="*/ 1348660 h 1450924"/>
                    <a:gd name="connsiteX1" fmla="*/ 84501 w 713151"/>
                    <a:gd name="connsiteY1" fmla="*/ 1382950 h 1450924"/>
                    <a:gd name="connsiteX2" fmla="*/ 27351 w 713151"/>
                    <a:gd name="connsiteY2" fmla="*/ 312340 h 1450924"/>
                    <a:gd name="connsiteX3" fmla="*/ 347391 w 713151"/>
                    <a:gd name="connsiteY3" fmla="*/ 7540 h 1450924"/>
                    <a:gd name="connsiteX4" fmla="*/ 572181 w 713151"/>
                    <a:gd name="connsiteY4" fmla="*/ 491410 h 1450924"/>
                    <a:gd name="connsiteX5" fmla="*/ 694101 w 713151"/>
                    <a:gd name="connsiteY5" fmla="*/ 1043860 h 1450924"/>
                    <a:gd name="connsiteX6" fmla="*/ 709341 w 713151"/>
                    <a:gd name="connsiteY6" fmla="*/ 1188640 h 1450924"/>
                    <a:gd name="connsiteX7" fmla="*/ 713151 w 713151"/>
                    <a:gd name="connsiteY7" fmla="*/ 1409620 h 1450924"/>
                    <a:gd name="connsiteX8" fmla="*/ 621711 w 713151"/>
                    <a:gd name="connsiteY8" fmla="*/ 1348660 h 1450924"/>
                    <a:gd name="connsiteX0" fmla="*/ 619643 w 711083"/>
                    <a:gd name="connsiteY0" fmla="*/ 1348660 h 1411263"/>
                    <a:gd name="connsiteX1" fmla="*/ 82433 w 711083"/>
                    <a:gd name="connsiteY1" fmla="*/ 1382950 h 1411263"/>
                    <a:gd name="connsiteX2" fmla="*/ 25283 w 711083"/>
                    <a:gd name="connsiteY2" fmla="*/ 312340 h 1411263"/>
                    <a:gd name="connsiteX3" fmla="*/ 345323 w 711083"/>
                    <a:gd name="connsiteY3" fmla="*/ 7540 h 1411263"/>
                    <a:gd name="connsiteX4" fmla="*/ 570113 w 711083"/>
                    <a:gd name="connsiteY4" fmla="*/ 491410 h 1411263"/>
                    <a:gd name="connsiteX5" fmla="*/ 692033 w 711083"/>
                    <a:gd name="connsiteY5" fmla="*/ 1043860 h 1411263"/>
                    <a:gd name="connsiteX6" fmla="*/ 707273 w 711083"/>
                    <a:gd name="connsiteY6" fmla="*/ 1188640 h 1411263"/>
                    <a:gd name="connsiteX7" fmla="*/ 711083 w 711083"/>
                    <a:gd name="connsiteY7" fmla="*/ 1409620 h 1411263"/>
                    <a:gd name="connsiteX8" fmla="*/ 619643 w 711083"/>
                    <a:gd name="connsiteY8" fmla="*/ 1348660 h 1411263"/>
                    <a:gd name="connsiteX0" fmla="*/ 594360 w 685800"/>
                    <a:gd name="connsiteY0" fmla="*/ 1348660 h 1411263"/>
                    <a:gd name="connsiteX1" fmla="*/ 57150 w 685800"/>
                    <a:gd name="connsiteY1" fmla="*/ 1382950 h 1411263"/>
                    <a:gd name="connsiteX2" fmla="*/ 0 w 685800"/>
                    <a:gd name="connsiteY2" fmla="*/ 312340 h 1411263"/>
                    <a:gd name="connsiteX3" fmla="*/ 320040 w 685800"/>
                    <a:gd name="connsiteY3" fmla="*/ 7540 h 1411263"/>
                    <a:gd name="connsiteX4" fmla="*/ 544830 w 685800"/>
                    <a:gd name="connsiteY4" fmla="*/ 491410 h 1411263"/>
                    <a:gd name="connsiteX5" fmla="*/ 666750 w 685800"/>
                    <a:gd name="connsiteY5" fmla="*/ 1043860 h 1411263"/>
                    <a:gd name="connsiteX6" fmla="*/ 681990 w 685800"/>
                    <a:gd name="connsiteY6" fmla="*/ 1188640 h 1411263"/>
                    <a:gd name="connsiteX7" fmla="*/ 685800 w 685800"/>
                    <a:gd name="connsiteY7" fmla="*/ 1409620 h 1411263"/>
                    <a:gd name="connsiteX8" fmla="*/ 594360 w 685800"/>
                    <a:gd name="connsiteY8" fmla="*/ 1348660 h 1411263"/>
                    <a:gd name="connsiteX0" fmla="*/ 605790 w 697230"/>
                    <a:gd name="connsiteY0" fmla="*/ 1342081 h 1437943"/>
                    <a:gd name="connsiteX1" fmla="*/ 68580 w 697230"/>
                    <a:gd name="connsiteY1" fmla="*/ 1376371 h 1437943"/>
                    <a:gd name="connsiteX2" fmla="*/ 0 w 697230"/>
                    <a:gd name="connsiteY2" fmla="*/ 393391 h 1437943"/>
                    <a:gd name="connsiteX3" fmla="*/ 331470 w 697230"/>
                    <a:gd name="connsiteY3" fmla="*/ 961 h 1437943"/>
                    <a:gd name="connsiteX4" fmla="*/ 556260 w 697230"/>
                    <a:gd name="connsiteY4" fmla="*/ 484831 h 1437943"/>
                    <a:gd name="connsiteX5" fmla="*/ 678180 w 697230"/>
                    <a:gd name="connsiteY5" fmla="*/ 1037281 h 1437943"/>
                    <a:gd name="connsiteX6" fmla="*/ 693420 w 697230"/>
                    <a:gd name="connsiteY6" fmla="*/ 1182061 h 1437943"/>
                    <a:gd name="connsiteX7" fmla="*/ 697230 w 697230"/>
                    <a:gd name="connsiteY7" fmla="*/ 1403041 h 1437943"/>
                    <a:gd name="connsiteX8" fmla="*/ 605790 w 697230"/>
                    <a:gd name="connsiteY8" fmla="*/ 1342081 h 1437943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54629 h 1435508"/>
                    <a:gd name="connsiteX1" fmla="*/ 45720 w 697230"/>
                    <a:gd name="connsiteY1" fmla="*/ 1369869 h 1435508"/>
                    <a:gd name="connsiteX2" fmla="*/ 0 w 697230"/>
                    <a:gd name="connsiteY2" fmla="*/ 405939 h 1435508"/>
                    <a:gd name="connsiteX3" fmla="*/ 331470 w 697230"/>
                    <a:gd name="connsiteY3" fmla="*/ 13509 h 1435508"/>
                    <a:gd name="connsiteX4" fmla="*/ 556260 w 697230"/>
                    <a:gd name="connsiteY4" fmla="*/ 497379 h 1435508"/>
                    <a:gd name="connsiteX5" fmla="*/ 678180 w 697230"/>
                    <a:gd name="connsiteY5" fmla="*/ 1049829 h 1435508"/>
                    <a:gd name="connsiteX6" fmla="*/ 693420 w 697230"/>
                    <a:gd name="connsiteY6" fmla="*/ 1194609 h 1435508"/>
                    <a:gd name="connsiteX7" fmla="*/ 697230 w 697230"/>
                    <a:gd name="connsiteY7" fmla="*/ 1415589 h 1435508"/>
                    <a:gd name="connsiteX8" fmla="*/ 605790 w 697230"/>
                    <a:gd name="connsiteY8" fmla="*/ 1354629 h 1435508"/>
                    <a:gd name="connsiteX0" fmla="*/ 605790 w 697230"/>
                    <a:gd name="connsiteY0" fmla="*/ 1369662 h 1450541"/>
                    <a:gd name="connsiteX1" fmla="*/ 45720 w 697230"/>
                    <a:gd name="connsiteY1" fmla="*/ 1384902 h 1450541"/>
                    <a:gd name="connsiteX2" fmla="*/ 0 w 697230"/>
                    <a:gd name="connsiteY2" fmla="*/ 420972 h 1450541"/>
                    <a:gd name="connsiteX3" fmla="*/ 331470 w 697230"/>
                    <a:gd name="connsiteY3" fmla="*/ 28542 h 1450541"/>
                    <a:gd name="connsiteX4" fmla="*/ 556260 w 697230"/>
                    <a:gd name="connsiteY4" fmla="*/ 512412 h 1450541"/>
                    <a:gd name="connsiteX5" fmla="*/ 678180 w 697230"/>
                    <a:gd name="connsiteY5" fmla="*/ 1064862 h 1450541"/>
                    <a:gd name="connsiteX6" fmla="*/ 693420 w 697230"/>
                    <a:gd name="connsiteY6" fmla="*/ 1209642 h 1450541"/>
                    <a:gd name="connsiteX7" fmla="*/ 697230 w 697230"/>
                    <a:gd name="connsiteY7" fmla="*/ 1430622 h 1450541"/>
                    <a:gd name="connsiteX8" fmla="*/ 605790 w 697230"/>
                    <a:gd name="connsiteY8" fmla="*/ 1369662 h 1450541"/>
                    <a:gd name="connsiteX0" fmla="*/ 605790 w 697230"/>
                    <a:gd name="connsiteY0" fmla="*/ 1349171 h 1430050"/>
                    <a:gd name="connsiteX1" fmla="*/ 45720 w 697230"/>
                    <a:gd name="connsiteY1" fmla="*/ 1364411 h 1430050"/>
                    <a:gd name="connsiteX2" fmla="*/ 0 w 697230"/>
                    <a:gd name="connsiteY2" fmla="*/ 400481 h 1430050"/>
                    <a:gd name="connsiteX3" fmla="*/ 381000 w 697230"/>
                    <a:gd name="connsiteY3" fmla="*/ 34721 h 1430050"/>
                    <a:gd name="connsiteX4" fmla="*/ 556260 w 697230"/>
                    <a:gd name="connsiteY4" fmla="*/ 491921 h 1430050"/>
                    <a:gd name="connsiteX5" fmla="*/ 678180 w 697230"/>
                    <a:gd name="connsiteY5" fmla="*/ 1044371 h 1430050"/>
                    <a:gd name="connsiteX6" fmla="*/ 693420 w 697230"/>
                    <a:gd name="connsiteY6" fmla="*/ 1189151 h 1430050"/>
                    <a:gd name="connsiteX7" fmla="*/ 697230 w 697230"/>
                    <a:gd name="connsiteY7" fmla="*/ 1410131 h 1430050"/>
                    <a:gd name="connsiteX8" fmla="*/ 605790 w 697230"/>
                    <a:gd name="connsiteY8" fmla="*/ 1349171 h 1430050"/>
                    <a:gd name="connsiteX0" fmla="*/ 605790 w 698748"/>
                    <a:gd name="connsiteY0" fmla="*/ 1349171 h 1433022"/>
                    <a:gd name="connsiteX1" fmla="*/ 45720 w 698748"/>
                    <a:gd name="connsiteY1" fmla="*/ 1364411 h 1433022"/>
                    <a:gd name="connsiteX2" fmla="*/ 0 w 698748"/>
                    <a:gd name="connsiteY2" fmla="*/ 400481 h 1433022"/>
                    <a:gd name="connsiteX3" fmla="*/ 381000 w 698748"/>
                    <a:gd name="connsiteY3" fmla="*/ 34721 h 1433022"/>
                    <a:gd name="connsiteX4" fmla="*/ 556260 w 698748"/>
                    <a:gd name="connsiteY4" fmla="*/ 491921 h 1433022"/>
                    <a:gd name="connsiteX5" fmla="*/ 678180 w 698748"/>
                    <a:gd name="connsiteY5" fmla="*/ 1044371 h 1433022"/>
                    <a:gd name="connsiteX6" fmla="*/ 693420 w 698748"/>
                    <a:gd name="connsiteY6" fmla="*/ 1189151 h 1433022"/>
                    <a:gd name="connsiteX7" fmla="*/ 697230 w 698748"/>
                    <a:gd name="connsiteY7" fmla="*/ 1410131 h 1433022"/>
                    <a:gd name="connsiteX8" fmla="*/ 605790 w 698748"/>
                    <a:gd name="connsiteY8" fmla="*/ 1349171 h 1433022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78180 w 712924"/>
                    <a:gd name="connsiteY5" fmla="*/ 104437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449580 w 712924"/>
                    <a:gd name="connsiteY5" fmla="*/ 86530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7870 h 1428749"/>
                    <a:gd name="connsiteX1" fmla="*/ 45720 w 712924"/>
                    <a:gd name="connsiteY1" fmla="*/ 1363110 h 1428749"/>
                    <a:gd name="connsiteX2" fmla="*/ 0 w 712924"/>
                    <a:gd name="connsiteY2" fmla="*/ 399180 h 1428749"/>
                    <a:gd name="connsiteX3" fmla="*/ 381000 w 712924"/>
                    <a:gd name="connsiteY3" fmla="*/ 33420 h 1428749"/>
                    <a:gd name="connsiteX4" fmla="*/ 556260 w 712924"/>
                    <a:gd name="connsiteY4" fmla="*/ 490620 h 1428749"/>
                    <a:gd name="connsiteX5" fmla="*/ 693420 w 712924"/>
                    <a:gd name="connsiteY5" fmla="*/ 1187850 h 1428749"/>
                    <a:gd name="connsiteX6" fmla="*/ 697230 w 712924"/>
                    <a:gd name="connsiteY6" fmla="*/ 1408830 h 1428749"/>
                    <a:gd name="connsiteX7" fmla="*/ 605790 w 712924"/>
                    <a:gd name="connsiteY7" fmla="*/ 1347870 h 1428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2924" h="1428749">
                      <a:moveTo>
                        <a:pt x="605790" y="1347870"/>
                      </a:moveTo>
                      <a:cubicBezTo>
                        <a:pt x="501015" y="1343425"/>
                        <a:pt x="146685" y="1521225"/>
                        <a:pt x="45720" y="1363110"/>
                      </a:cubicBezTo>
                      <a:cubicBezTo>
                        <a:pt x="-55245" y="1204995"/>
                        <a:pt x="100965" y="681755"/>
                        <a:pt x="0" y="399180"/>
                      </a:cubicBezTo>
                      <a:cubicBezTo>
                        <a:pt x="106661" y="-78654"/>
                        <a:pt x="276860" y="-16110"/>
                        <a:pt x="381000" y="33420"/>
                      </a:cubicBezTo>
                      <a:cubicBezTo>
                        <a:pt x="485140" y="82950"/>
                        <a:pt x="490855" y="249955"/>
                        <a:pt x="556260" y="490620"/>
                      </a:cubicBezTo>
                      <a:cubicBezTo>
                        <a:pt x="601980" y="723030"/>
                        <a:pt x="518160" y="791610"/>
                        <a:pt x="693420" y="1187850"/>
                      </a:cubicBezTo>
                      <a:cubicBezTo>
                        <a:pt x="694690" y="1261510"/>
                        <a:pt x="734060" y="1377080"/>
                        <a:pt x="697230" y="1408830"/>
                      </a:cubicBezTo>
                      <a:cubicBezTo>
                        <a:pt x="660400" y="1440580"/>
                        <a:pt x="714375" y="1355490"/>
                        <a:pt x="605790" y="134787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3" name="Freeform 1442"/>
                <p:cNvSpPr/>
                <p:nvPr/>
              </p:nvSpPr>
              <p:spPr>
                <a:xfrm>
                  <a:off x="881031" y="2269403"/>
                  <a:ext cx="567523" cy="1353636"/>
                </a:xfrm>
                <a:custGeom>
                  <a:avLst/>
                  <a:gdLst>
                    <a:gd name="connsiteX0" fmla="*/ 39232 w 555279"/>
                    <a:gd name="connsiteY0" fmla="*/ 292729 h 1297663"/>
                    <a:gd name="connsiteX1" fmla="*/ 0 w 555279"/>
                    <a:gd name="connsiteY1" fmla="*/ 1297663 h 1297663"/>
                    <a:gd name="connsiteX2" fmla="*/ 555279 w 555279"/>
                    <a:gd name="connsiteY2" fmla="*/ 1288610 h 1297663"/>
                    <a:gd name="connsiteX3" fmla="*/ 350068 w 555279"/>
                    <a:gd name="connsiteY3" fmla="*/ 205212 h 1297663"/>
                    <a:gd name="connsiteX4" fmla="*/ 344032 w 555279"/>
                    <a:gd name="connsiteY4" fmla="*/ 0 h 1297663"/>
                    <a:gd name="connsiteX5" fmla="*/ 39232 w 555279"/>
                    <a:gd name="connsiteY5" fmla="*/ 0 h 1297663"/>
                    <a:gd name="connsiteX6" fmla="*/ 39232 w 555279"/>
                    <a:gd name="connsiteY6" fmla="*/ 292729 h 1297663"/>
                    <a:gd name="connsiteX0" fmla="*/ 70378 w 586425"/>
                    <a:gd name="connsiteY0" fmla="*/ 292729 h 1423658"/>
                    <a:gd name="connsiteX1" fmla="*/ 31146 w 586425"/>
                    <a:gd name="connsiteY1" fmla="*/ 1297663 h 1423658"/>
                    <a:gd name="connsiteX2" fmla="*/ 586425 w 586425"/>
                    <a:gd name="connsiteY2" fmla="*/ 1288610 h 1423658"/>
                    <a:gd name="connsiteX3" fmla="*/ 381214 w 586425"/>
                    <a:gd name="connsiteY3" fmla="*/ 205212 h 1423658"/>
                    <a:gd name="connsiteX4" fmla="*/ 375178 w 586425"/>
                    <a:gd name="connsiteY4" fmla="*/ 0 h 1423658"/>
                    <a:gd name="connsiteX5" fmla="*/ 70378 w 586425"/>
                    <a:gd name="connsiteY5" fmla="*/ 0 h 1423658"/>
                    <a:gd name="connsiteX6" fmla="*/ 70378 w 586425"/>
                    <a:gd name="connsiteY6" fmla="*/ 292729 h 1423658"/>
                    <a:gd name="connsiteX0" fmla="*/ 51476 w 567523"/>
                    <a:gd name="connsiteY0" fmla="*/ 292729 h 1376338"/>
                    <a:gd name="connsiteX1" fmla="*/ 12244 w 567523"/>
                    <a:gd name="connsiteY1" fmla="*/ 1297663 h 1376338"/>
                    <a:gd name="connsiteX2" fmla="*/ 567523 w 567523"/>
                    <a:gd name="connsiteY2" fmla="*/ 1288610 h 1376338"/>
                    <a:gd name="connsiteX3" fmla="*/ 362312 w 567523"/>
                    <a:gd name="connsiteY3" fmla="*/ 205212 h 1376338"/>
                    <a:gd name="connsiteX4" fmla="*/ 356276 w 567523"/>
                    <a:gd name="connsiteY4" fmla="*/ 0 h 1376338"/>
                    <a:gd name="connsiteX5" fmla="*/ 51476 w 567523"/>
                    <a:gd name="connsiteY5" fmla="*/ 0 h 1376338"/>
                    <a:gd name="connsiteX6" fmla="*/ 51476 w 567523"/>
                    <a:gd name="connsiteY6" fmla="*/ 292729 h 1376338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422668 w 567523"/>
                    <a:gd name="connsiteY3" fmla="*/ 214265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7523" h="1353636">
                      <a:moveTo>
                        <a:pt x="51476" y="328943"/>
                      </a:moveTo>
                      <a:cubicBezTo>
                        <a:pt x="44937" y="545220"/>
                        <a:pt x="-28496" y="1315770"/>
                        <a:pt x="12244" y="1333877"/>
                      </a:cubicBezTo>
                      <a:cubicBezTo>
                        <a:pt x="52984" y="1351984"/>
                        <a:pt x="433732" y="1371097"/>
                        <a:pt x="567523" y="1324824"/>
                      </a:cubicBezTo>
                      <a:cubicBezTo>
                        <a:pt x="499119" y="963691"/>
                        <a:pt x="424679" y="356606"/>
                        <a:pt x="422668" y="250479"/>
                      </a:cubicBezTo>
                      <a:cubicBezTo>
                        <a:pt x="420657" y="144352"/>
                        <a:pt x="426692" y="83493"/>
                        <a:pt x="428704" y="0"/>
                      </a:cubicBezTo>
                      <a:lnTo>
                        <a:pt x="51476" y="36214"/>
                      </a:lnTo>
                      <a:lnTo>
                        <a:pt x="51476" y="328943"/>
                      </a:ln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444" name="Freeform 1443"/>
                <p:cNvSpPr/>
                <p:nvPr/>
              </p:nvSpPr>
              <p:spPr>
                <a:xfrm>
                  <a:off x="830273" y="3832860"/>
                  <a:ext cx="687430" cy="169649"/>
                </a:xfrm>
                <a:custGeom>
                  <a:avLst/>
                  <a:gdLst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25730"/>
                    <a:gd name="connsiteX1" fmla="*/ 567690 w 678180"/>
                    <a:gd name="connsiteY1" fmla="*/ 0 h 125730"/>
                    <a:gd name="connsiteX2" fmla="*/ 678180 w 678180"/>
                    <a:gd name="connsiteY2" fmla="*/ 57150 h 125730"/>
                    <a:gd name="connsiteX3" fmla="*/ 651510 w 678180"/>
                    <a:gd name="connsiteY3" fmla="*/ 125730 h 125730"/>
                    <a:gd name="connsiteX4" fmla="*/ 0 w 678180"/>
                    <a:gd name="connsiteY4" fmla="*/ 26670 h 125730"/>
                    <a:gd name="connsiteX0" fmla="*/ 0 w 678180"/>
                    <a:gd name="connsiteY0" fmla="*/ 26670 h 139710"/>
                    <a:gd name="connsiteX1" fmla="*/ 567690 w 678180"/>
                    <a:gd name="connsiteY1" fmla="*/ 0 h 139710"/>
                    <a:gd name="connsiteX2" fmla="*/ 678180 w 678180"/>
                    <a:gd name="connsiteY2" fmla="*/ 57150 h 139710"/>
                    <a:gd name="connsiteX3" fmla="*/ 651510 w 678180"/>
                    <a:gd name="connsiteY3" fmla="*/ 125730 h 139710"/>
                    <a:gd name="connsiteX4" fmla="*/ 0 w 678180"/>
                    <a:gd name="connsiteY4" fmla="*/ 26670 h 139710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505"/>
                    <a:gd name="connsiteY0" fmla="*/ 26670 h 150507"/>
                    <a:gd name="connsiteX1" fmla="*/ 567690 w 678505"/>
                    <a:gd name="connsiteY1" fmla="*/ 0 h 150507"/>
                    <a:gd name="connsiteX2" fmla="*/ 678180 w 678505"/>
                    <a:gd name="connsiteY2" fmla="*/ 57150 h 150507"/>
                    <a:gd name="connsiteX3" fmla="*/ 651510 w 678505"/>
                    <a:gd name="connsiteY3" fmla="*/ 125730 h 150507"/>
                    <a:gd name="connsiteX4" fmla="*/ 0 w 678505"/>
                    <a:gd name="connsiteY4" fmla="*/ 26670 h 150507"/>
                    <a:gd name="connsiteX0" fmla="*/ 0 w 678180"/>
                    <a:gd name="connsiteY0" fmla="*/ 26670 h 97874"/>
                    <a:gd name="connsiteX1" fmla="*/ 567690 w 678180"/>
                    <a:gd name="connsiteY1" fmla="*/ 0 h 97874"/>
                    <a:gd name="connsiteX2" fmla="*/ 678180 w 678180"/>
                    <a:gd name="connsiteY2" fmla="*/ 57150 h 97874"/>
                    <a:gd name="connsiteX3" fmla="*/ 0 w 678180"/>
                    <a:gd name="connsiteY3" fmla="*/ 26670 h 97874"/>
                    <a:gd name="connsiteX0" fmla="*/ 0 w 678395"/>
                    <a:gd name="connsiteY0" fmla="*/ 26670 h 124875"/>
                    <a:gd name="connsiteX1" fmla="*/ 567690 w 678395"/>
                    <a:gd name="connsiteY1" fmla="*/ 0 h 124875"/>
                    <a:gd name="connsiteX2" fmla="*/ 678180 w 678395"/>
                    <a:gd name="connsiteY2" fmla="*/ 57150 h 124875"/>
                    <a:gd name="connsiteX3" fmla="*/ 0 w 678395"/>
                    <a:gd name="connsiteY3" fmla="*/ 26670 h 124875"/>
                    <a:gd name="connsiteX0" fmla="*/ 6385 w 684752"/>
                    <a:gd name="connsiteY0" fmla="*/ 26670 h 159961"/>
                    <a:gd name="connsiteX1" fmla="*/ 574075 w 684752"/>
                    <a:gd name="connsiteY1" fmla="*/ 0 h 159961"/>
                    <a:gd name="connsiteX2" fmla="*/ 684565 w 684752"/>
                    <a:gd name="connsiteY2" fmla="*/ 57150 h 159961"/>
                    <a:gd name="connsiteX3" fmla="*/ 6385 w 684752"/>
                    <a:gd name="connsiteY3" fmla="*/ 26670 h 159961"/>
                    <a:gd name="connsiteX0" fmla="*/ 5941 w 689167"/>
                    <a:gd name="connsiteY0" fmla="*/ 26670 h 156211"/>
                    <a:gd name="connsiteX1" fmla="*/ 573631 w 689167"/>
                    <a:gd name="connsiteY1" fmla="*/ 0 h 156211"/>
                    <a:gd name="connsiteX2" fmla="*/ 684121 w 689167"/>
                    <a:gd name="connsiteY2" fmla="*/ 57150 h 156211"/>
                    <a:gd name="connsiteX3" fmla="*/ 5941 w 689167"/>
                    <a:gd name="connsiteY3" fmla="*/ 26670 h 156211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30" h="169649">
                      <a:moveTo>
                        <a:pt x="4118" y="26670"/>
                      </a:moveTo>
                      <a:cubicBezTo>
                        <a:pt x="64562" y="172746"/>
                        <a:pt x="454968" y="127000"/>
                        <a:pt x="571808" y="0"/>
                      </a:cubicBezTo>
                      <a:cubicBezTo>
                        <a:pt x="611656" y="43193"/>
                        <a:pt x="607368" y="68580"/>
                        <a:pt x="682298" y="57150"/>
                      </a:cubicBezTo>
                      <a:cubicBezTo>
                        <a:pt x="759699" y="212487"/>
                        <a:pt x="-64984" y="211229"/>
                        <a:pt x="4118" y="2667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36" name="Oval 1435"/>
              <p:cNvSpPr/>
              <p:nvPr/>
            </p:nvSpPr>
            <p:spPr>
              <a:xfrm>
                <a:off x="7507126" y="1972023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37" name="Oval 1436"/>
              <p:cNvSpPr/>
              <p:nvPr/>
            </p:nvSpPr>
            <p:spPr>
              <a:xfrm>
                <a:off x="7503706" y="2236069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38" name="Oval 1437"/>
              <p:cNvSpPr/>
              <p:nvPr/>
            </p:nvSpPr>
            <p:spPr>
              <a:xfrm>
                <a:off x="7515727" y="2500115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39" name="Oval 1438"/>
              <p:cNvSpPr/>
              <p:nvPr/>
            </p:nvSpPr>
            <p:spPr>
              <a:xfrm>
                <a:off x="7522994" y="2764161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40" name="Oval 1439"/>
              <p:cNvSpPr/>
              <p:nvPr/>
            </p:nvSpPr>
            <p:spPr>
              <a:xfrm>
                <a:off x="7504030" y="3028207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474" name="Group 1473"/>
          <p:cNvGrpSpPr/>
          <p:nvPr/>
        </p:nvGrpSpPr>
        <p:grpSpPr>
          <a:xfrm>
            <a:off x="7803476" y="2527404"/>
            <a:ext cx="136453" cy="467863"/>
            <a:chOff x="6591918" y="414370"/>
            <a:chExt cx="1704205" cy="5843289"/>
          </a:xfrm>
        </p:grpSpPr>
        <p:grpSp>
          <p:nvGrpSpPr>
            <p:cNvPr id="1475" name="Group 1474"/>
            <p:cNvGrpSpPr/>
            <p:nvPr/>
          </p:nvGrpSpPr>
          <p:grpSpPr>
            <a:xfrm>
              <a:off x="7787210" y="1531724"/>
              <a:ext cx="508913" cy="2274503"/>
              <a:chOff x="7787210" y="1531724"/>
              <a:chExt cx="508913" cy="2274503"/>
            </a:xfrm>
          </p:grpSpPr>
          <p:grpSp>
            <p:nvGrpSpPr>
              <p:cNvPr id="1554" name="Group 1553"/>
              <p:cNvGrpSpPr/>
              <p:nvPr/>
            </p:nvGrpSpPr>
            <p:grpSpPr>
              <a:xfrm>
                <a:off x="8075157" y="3223482"/>
                <a:ext cx="181509" cy="582745"/>
                <a:chOff x="5449248" y="2817190"/>
                <a:chExt cx="419780" cy="1347728"/>
              </a:xfrm>
            </p:grpSpPr>
            <p:sp>
              <p:nvSpPr>
                <p:cNvPr id="1557" name="Freeform 1556"/>
                <p:cNvSpPr/>
                <p:nvPr/>
              </p:nvSpPr>
              <p:spPr>
                <a:xfrm>
                  <a:off x="5464897" y="3250445"/>
                  <a:ext cx="368964" cy="9144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964" h="914473">
                      <a:moveTo>
                        <a:pt x="114881" y="0"/>
                      </a:moveTo>
                      <a:lnTo>
                        <a:pt x="351950" y="0"/>
                      </a:lnTo>
                      <a:lnTo>
                        <a:pt x="368964" y="203885"/>
                      </a:lnTo>
                      <a:lnTo>
                        <a:pt x="243643" y="626006"/>
                      </a:lnTo>
                      <a:lnTo>
                        <a:pt x="27674" y="906459"/>
                      </a:lnTo>
                      <a:cubicBezTo>
                        <a:pt x="-15256" y="938656"/>
                        <a:pt x="-801" y="867005"/>
                        <a:pt x="21234" y="812795"/>
                      </a:cubicBezTo>
                      <a:cubicBezTo>
                        <a:pt x="43269" y="758585"/>
                        <a:pt x="119103" y="669206"/>
                        <a:pt x="159886" y="581200"/>
                      </a:cubicBezTo>
                      <a:lnTo>
                        <a:pt x="214778" y="316733"/>
                      </a:lnTo>
                      <a:cubicBezTo>
                        <a:pt x="214778" y="243753"/>
                        <a:pt x="183024" y="174142"/>
                        <a:pt x="153491" y="181685"/>
                      </a:cubicBezTo>
                      <a:cubicBezTo>
                        <a:pt x="143798" y="184161"/>
                        <a:pt x="129485" y="198075"/>
                        <a:pt x="114881" y="218323"/>
                      </a:cubicBezTo>
                      <a:close/>
                    </a:path>
                  </a:pathLst>
                </a:custGeom>
                <a:solidFill>
                  <a:srgbClr val="EABC9A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8" name="Freeform 1557"/>
                <p:cNvSpPr/>
                <p:nvPr/>
              </p:nvSpPr>
              <p:spPr>
                <a:xfrm>
                  <a:off x="5449248" y="2817190"/>
                  <a:ext cx="419780" cy="1334940"/>
                </a:xfrm>
                <a:custGeom>
                  <a:avLst/>
                  <a:gdLst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48107 w 412124"/>
                    <a:gd name="connsiteY9" fmla="*/ 759854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45076 w 412124"/>
                    <a:gd name="connsiteY10" fmla="*/ 75985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2124 w 412124"/>
                    <a:gd name="connsiteY0" fmla="*/ 6440 h 1178417"/>
                    <a:gd name="connsiteX1" fmla="*/ 412124 w 412124"/>
                    <a:gd name="connsiteY1" fmla="*/ 379927 h 1178417"/>
                    <a:gd name="connsiteX2" fmla="*/ 321972 w 412124"/>
                    <a:gd name="connsiteY2" fmla="*/ 850006 h 1178417"/>
                    <a:gd name="connsiteX3" fmla="*/ 70834 w 412124"/>
                    <a:gd name="connsiteY3" fmla="*/ 1178417 h 1178417"/>
                    <a:gd name="connsiteX4" fmla="*/ 64394 w 412124"/>
                    <a:gd name="connsiteY4" fmla="*/ 1043189 h 1178417"/>
                    <a:gd name="connsiteX5" fmla="*/ 231820 w 412124"/>
                    <a:gd name="connsiteY5" fmla="*/ 843567 h 1178417"/>
                    <a:gd name="connsiteX6" fmla="*/ 309093 w 412124"/>
                    <a:gd name="connsiteY6" fmla="*/ 515155 h 1178417"/>
                    <a:gd name="connsiteX7" fmla="*/ 231820 w 412124"/>
                    <a:gd name="connsiteY7" fmla="*/ 405685 h 1178417"/>
                    <a:gd name="connsiteX8" fmla="*/ 115910 w 412124"/>
                    <a:gd name="connsiteY8" fmla="*/ 585989 h 1178417"/>
                    <a:gd name="connsiteX9" fmla="*/ 135319 w 412124"/>
                    <a:gd name="connsiteY9" fmla="*/ 705502 h 1178417"/>
                    <a:gd name="connsiteX10" fmla="*/ 29090 w 412124"/>
                    <a:gd name="connsiteY10" fmla="*/ 657544 h 1178417"/>
                    <a:gd name="connsiteX11" fmla="*/ 0 w 412124"/>
                    <a:gd name="connsiteY11" fmla="*/ 457200 h 1178417"/>
                    <a:gd name="connsiteX12" fmla="*/ 77273 w 412124"/>
                    <a:gd name="connsiteY12" fmla="*/ 225381 h 1178417"/>
                    <a:gd name="connsiteX13" fmla="*/ 218941 w 412124"/>
                    <a:gd name="connsiteY13" fmla="*/ 160986 h 1178417"/>
                    <a:gd name="connsiteX14" fmla="*/ 218941 w 412124"/>
                    <a:gd name="connsiteY14" fmla="*/ 160986 h 1178417"/>
                    <a:gd name="connsiteX15" fmla="*/ 193183 w 412124"/>
                    <a:gd name="connsiteY15" fmla="*/ 0 h 1178417"/>
                    <a:gd name="connsiteX16" fmla="*/ 412124 w 412124"/>
                    <a:gd name="connsiteY16" fmla="*/ 6440 h 1178417"/>
                    <a:gd name="connsiteX0" fmla="*/ 419962 w 419962"/>
                    <a:gd name="connsiteY0" fmla="*/ 6440 h 1178417"/>
                    <a:gd name="connsiteX1" fmla="*/ 419962 w 419962"/>
                    <a:gd name="connsiteY1" fmla="*/ 379927 h 1178417"/>
                    <a:gd name="connsiteX2" fmla="*/ 329810 w 419962"/>
                    <a:gd name="connsiteY2" fmla="*/ 850006 h 1178417"/>
                    <a:gd name="connsiteX3" fmla="*/ 78672 w 419962"/>
                    <a:gd name="connsiteY3" fmla="*/ 1178417 h 1178417"/>
                    <a:gd name="connsiteX4" fmla="*/ 72232 w 419962"/>
                    <a:gd name="connsiteY4" fmla="*/ 1043189 h 1178417"/>
                    <a:gd name="connsiteX5" fmla="*/ 239658 w 419962"/>
                    <a:gd name="connsiteY5" fmla="*/ 843567 h 1178417"/>
                    <a:gd name="connsiteX6" fmla="*/ 316931 w 419962"/>
                    <a:gd name="connsiteY6" fmla="*/ 515155 h 1178417"/>
                    <a:gd name="connsiteX7" fmla="*/ 239658 w 419962"/>
                    <a:gd name="connsiteY7" fmla="*/ 405685 h 1178417"/>
                    <a:gd name="connsiteX8" fmla="*/ 123748 w 419962"/>
                    <a:gd name="connsiteY8" fmla="*/ 585989 h 1178417"/>
                    <a:gd name="connsiteX9" fmla="*/ 143157 w 419962"/>
                    <a:gd name="connsiteY9" fmla="*/ 705502 h 1178417"/>
                    <a:gd name="connsiteX10" fmla="*/ 36928 w 419962"/>
                    <a:gd name="connsiteY10" fmla="*/ 657544 h 1178417"/>
                    <a:gd name="connsiteX11" fmla="*/ 7838 w 419962"/>
                    <a:gd name="connsiteY11" fmla="*/ 457200 h 1178417"/>
                    <a:gd name="connsiteX12" fmla="*/ 85111 w 419962"/>
                    <a:gd name="connsiteY12" fmla="*/ 225381 h 1178417"/>
                    <a:gd name="connsiteX13" fmla="*/ 226779 w 419962"/>
                    <a:gd name="connsiteY13" fmla="*/ 160986 h 1178417"/>
                    <a:gd name="connsiteX14" fmla="*/ 226779 w 419962"/>
                    <a:gd name="connsiteY14" fmla="*/ 160986 h 1178417"/>
                    <a:gd name="connsiteX15" fmla="*/ 201021 w 419962"/>
                    <a:gd name="connsiteY15" fmla="*/ 0 h 1178417"/>
                    <a:gd name="connsiteX16" fmla="*/ 419962 w 419962"/>
                    <a:gd name="connsiteY16" fmla="*/ 6440 h 1178417"/>
                    <a:gd name="connsiteX0" fmla="*/ 414499 w 414499"/>
                    <a:gd name="connsiteY0" fmla="*/ 6440 h 1178417"/>
                    <a:gd name="connsiteX1" fmla="*/ 414499 w 414499"/>
                    <a:gd name="connsiteY1" fmla="*/ 379927 h 1178417"/>
                    <a:gd name="connsiteX2" fmla="*/ 324347 w 414499"/>
                    <a:gd name="connsiteY2" fmla="*/ 850006 h 1178417"/>
                    <a:gd name="connsiteX3" fmla="*/ 73209 w 414499"/>
                    <a:gd name="connsiteY3" fmla="*/ 1178417 h 1178417"/>
                    <a:gd name="connsiteX4" fmla="*/ 66769 w 414499"/>
                    <a:gd name="connsiteY4" fmla="*/ 1043189 h 1178417"/>
                    <a:gd name="connsiteX5" fmla="*/ 234195 w 414499"/>
                    <a:gd name="connsiteY5" fmla="*/ 843567 h 1178417"/>
                    <a:gd name="connsiteX6" fmla="*/ 311468 w 414499"/>
                    <a:gd name="connsiteY6" fmla="*/ 515155 h 1178417"/>
                    <a:gd name="connsiteX7" fmla="*/ 234195 w 414499"/>
                    <a:gd name="connsiteY7" fmla="*/ 405685 h 1178417"/>
                    <a:gd name="connsiteX8" fmla="*/ 118285 w 414499"/>
                    <a:gd name="connsiteY8" fmla="*/ 585989 h 1178417"/>
                    <a:gd name="connsiteX9" fmla="*/ 137694 w 414499"/>
                    <a:gd name="connsiteY9" fmla="*/ 705502 h 1178417"/>
                    <a:gd name="connsiteX10" fmla="*/ 31465 w 414499"/>
                    <a:gd name="connsiteY10" fmla="*/ 657544 h 1178417"/>
                    <a:gd name="connsiteX11" fmla="*/ 2375 w 414499"/>
                    <a:gd name="connsiteY11" fmla="*/ 457200 h 1178417"/>
                    <a:gd name="connsiteX12" fmla="*/ 79648 w 414499"/>
                    <a:gd name="connsiteY12" fmla="*/ 225381 h 1178417"/>
                    <a:gd name="connsiteX13" fmla="*/ 221316 w 414499"/>
                    <a:gd name="connsiteY13" fmla="*/ 160986 h 1178417"/>
                    <a:gd name="connsiteX14" fmla="*/ 221316 w 414499"/>
                    <a:gd name="connsiteY14" fmla="*/ 160986 h 1178417"/>
                    <a:gd name="connsiteX15" fmla="*/ 195558 w 414499"/>
                    <a:gd name="connsiteY15" fmla="*/ 0 h 1178417"/>
                    <a:gd name="connsiteX16" fmla="*/ 414499 w 414499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222120 w 415303"/>
                    <a:gd name="connsiteY14" fmla="*/ 16098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97429 w 415303"/>
                    <a:gd name="connsiteY14" fmla="*/ 103436 h 1178417"/>
                    <a:gd name="connsiteX15" fmla="*/ 196362 w 415303"/>
                    <a:gd name="connsiteY15" fmla="*/ 0 h 1178417"/>
                    <a:gd name="connsiteX16" fmla="*/ 415303 w 415303"/>
                    <a:gd name="connsiteY16" fmla="*/ 6440 h 1178417"/>
                    <a:gd name="connsiteX0" fmla="*/ 415303 w 415303"/>
                    <a:gd name="connsiteY0" fmla="*/ 6440 h 1178417"/>
                    <a:gd name="connsiteX1" fmla="*/ 415303 w 415303"/>
                    <a:gd name="connsiteY1" fmla="*/ 379927 h 1178417"/>
                    <a:gd name="connsiteX2" fmla="*/ 325151 w 415303"/>
                    <a:gd name="connsiteY2" fmla="*/ 850006 h 1178417"/>
                    <a:gd name="connsiteX3" fmla="*/ 74013 w 415303"/>
                    <a:gd name="connsiteY3" fmla="*/ 1178417 h 1178417"/>
                    <a:gd name="connsiteX4" fmla="*/ 67573 w 415303"/>
                    <a:gd name="connsiteY4" fmla="*/ 1043189 h 1178417"/>
                    <a:gd name="connsiteX5" fmla="*/ 234999 w 415303"/>
                    <a:gd name="connsiteY5" fmla="*/ 843567 h 1178417"/>
                    <a:gd name="connsiteX6" fmla="*/ 312272 w 415303"/>
                    <a:gd name="connsiteY6" fmla="*/ 515155 h 1178417"/>
                    <a:gd name="connsiteX7" fmla="*/ 234999 w 415303"/>
                    <a:gd name="connsiteY7" fmla="*/ 405685 h 1178417"/>
                    <a:gd name="connsiteX8" fmla="*/ 119089 w 415303"/>
                    <a:gd name="connsiteY8" fmla="*/ 585989 h 1178417"/>
                    <a:gd name="connsiteX9" fmla="*/ 138498 w 415303"/>
                    <a:gd name="connsiteY9" fmla="*/ 705502 h 1178417"/>
                    <a:gd name="connsiteX10" fmla="*/ 32269 w 415303"/>
                    <a:gd name="connsiteY10" fmla="*/ 657544 h 1178417"/>
                    <a:gd name="connsiteX11" fmla="*/ 3179 w 415303"/>
                    <a:gd name="connsiteY11" fmla="*/ 457200 h 1178417"/>
                    <a:gd name="connsiteX12" fmla="*/ 80452 w 415303"/>
                    <a:gd name="connsiteY12" fmla="*/ 225381 h 1178417"/>
                    <a:gd name="connsiteX13" fmla="*/ 222120 w 415303"/>
                    <a:gd name="connsiteY13" fmla="*/ 160986 h 1178417"/>
                    <a:gd name="connsiteX14" fmla="*/ 196362 w 415303"/>
                    <a:gd name="connsiteY14" fmla="*/ 0 h 1178417"/>
                    <a:gd name="connsiteX15" fmla="*/ 415303 w 415303"/>
                    <a:gd name="connsiteY15" fmla="*/ 6440 h 1178417"/>
                    <a:gd name="connsiteX0" fmla="*/ 414629 w 414629"/>
                    <a:gd name="connsiteY0" fmla="*/ 6440 h 1178417"/>
                    <a:gd name="connsiteX1" fmla="*/ 414629 w 414629"/>
                    <a:gd name="connsiteY1" fmla="*/ 379927 h 1178417"/>
                    <a:gd name="connsiteX2" fmla="*/ 324477 w 414629"/>
                    <a:gd name="connsiteY2" fmla="*/ 850006 h 1178417"/>
                    <a:gd name="connsiteX3" fmla="*/ 73339 w 414629"/>
                    <a:gd name="connsiteY3" fmla="*/ 1178417 h 1178417"/>
                    <a:gd name="connsiteX4" fmla="*/ 66899 w 414629"/>
                    <a:gd name="connsiteY4" fmla="*/ 1043189 h 1178417"/>
                    <a:gd name="connsiteX5" fmla="*/ 234325 w 414629"/>
                    <a:gd name="connsiteY5" fmla="*/ 843567 h 1178417"/>
                    <a:gd name="connsiteX6" fmla="*/ 311598 w 414629"/>
                    <a:gd name="connsiteY6" fmla="*/ 515155 h 1178417"/>
                    <a:gd name="connsiteX7" fmla="*/ 234325 w 414629"/>
                    <a:gd name="connsiteY7" fmla="*/ 405685 h 1178417"/>
                    <a:gd name="connsiteX8" fmla="*/ 118415 w 414629"/>
                    <a:gd name="connsiteY8" fmla="*/ 585989 h 1178417"/>
                    <a:gd name="connsiteX9" fmla="*/ 137824 w 414629"/>
                    <a:gd name="connsiteY9" fmla="*/ 705502 h 1178417"/>
                    <a:gd name="connsiteX10" fmla="*/ 31595 w 414629"/>
                    <a:gd name="connsiteY10" fmla="*/ 657544 h 1178417"/>
                    <a:gd name="connsiteX11" fmla="*/ 2505 w 414629"/>
                    <a:gd name="connsiteY11" fmla="*/ 457200 h 1178417"/>
                    <a:gd name="connsiteX12" fmla="*/ 79778 w 414629"/>
                    <a:gd name="connsiteY12" fmla="*/ 225381 h 1178417"/>
                    <a:gd name="connsiteX13" fmla="*/ 183079 w 414629"/>
                    <a:gd name="connsiteY13" fmla="*/ 148198 h 1178417"/>
                    <a:gd name="connsiteX14" fmla="*/ 195688 w 414629"/>
                    <a:gd name="connsiteY14" fmla="*/ 0 h 1178417"/>
                    <a:gd name="connsiteX15" fmla="*/ 414629 w 414629"/>
                    <a:gd name="connsiteY15" fmla="*/ 6440 h 1178417"/>
                    <a:gd name="connsiteX0" fmla="*/ 413006 w 413006"/>
                    <a:gd name="connsiteY0" fmla="*/ 6440 h 1178417"/>
                    <a:gd name="connsiteX1" fmla="*/ 413006 w 413006"/>
                    <a:gd name="connsiteY1" fmla="*/ 379927 h 1178417"/>
                    <a:gd name="connsiteX2" fmla="*/ 322854 w 413006"/>
                    <a:gd name="connsiteY2" fmla="*/ 850006 h 1178417"/>
                    <a:gd name="connsiteX3" fmla="*/ 71716 w 413006"/>
                    <a:gd name="connsiteY3" fmla="*/ 1178417 h 1178417"/>
                    <a:gd name="connsiteX4" fmla="*/ 65276 w 413006"/>
                    <a:gd name="connsiteY4" fmla="*/ 1043189 h 1178417"/>
                    <a:gd name="connsiteX5" fmla="*/ 232702 w 413006"/>
                    <a:gd name="connsiteY5" fmla="*/ 843567 h 1178417"/>
                    <a:gd name="connsiteX6" fmla="*/ 309975 w 413006"/>
                    <a:gd name="connsiteY6" fmla="*/ 515155 h 1178417"/>
                    <a:gd name="connsiteX7" fmla="*/ 232702 w 413006"/>
                    <a:gd name="connsiteY7" fmla="*/ 405685 h 1178417"/>
                    <a:gd name="connsiteX8" fmla="*/ 116792 w 413006"/>
                    <a:gd name="connsiteY8" fmla="*/ 585989 h 1178417"/>
                    <a:gd name="connsiteX9" fmla="*/ 136201 w 413006"/>
                    <a:gd name="connsiteY9" fmla="*/ 705502 h 1178417"/>
                    <a:gd name="connsiteX10" fmla="*/ 29972 w 413006"/>
                    <a:gd name="connsiteY10" fmla="*/ 657544 h 1178417"/>
                    <a:gd name="connsiteX11" fmla="*/ 882 w 413006"/>
                    <a:gd name="connsiteY11" fmla="*/ 457200 h 1178417"/>
                    <a:gd name="connsiteX12" fmla="*/ 65366 w 413006"/>
                    <a:gd name="connsiteY12" fmla="*/ 257353 h 1178417"/>
                    <a:gd name="connsiteX13" fmla="*/ 181456 w 413006"/>
                    <a:gd name="connsiteY13" fmla="*/ 148198 h 1178417"/>
                    <a:gd name="connsiteX14" fmla="*/ 194065 w 413006"/>
                    <a:gd name="connsiteY14" fmla="*/ 0 h 1178417"/>
                    <a:gd name="connsiteX15" fmla="*/ 413006 w 413006"/>
                    <a:gd name="connsiteY15" fmla="*/ 6440 h 1178417"/>
                    <a:gd name="connsiteX0" fmla="*/ 387113 w 387113"/>
                    <a:gd name="connsiteY0" fmla="*/ 6440 h 1178417"/>
                    <a:gd name="connsiteX1" fmla="*/ 387113 w 387113"/>
                    <a:gd name="connsiteY1" fmla="*/ 379927 h 1178417"/>
                    <a:gd name="connsiteX2" fmla="*/ 296961 w 387113"/>
                    <a:gd name="connsiteY2" fmla="*/ 850006 h 1178417"/>
                    <a:gd name="connsiteX3" fmla="*/ 45823 w 387113"/>
                    <a:gd name="connsiteY3" fmla="*/ 1178417 h 1178417"/>
                    <a:gd name="connsiteX4" fmla="*/ 39383 w 387113"/>
                    <a:gd name="connsiteY4" fmla="*/ 1043189 h 1178417"/>
                    <a:gd name="connsiteX5" fmla="*/ 206809 w 387113"/>
                    <a:gd name="connsiteY5" fmla="*/ 843567 h 1178417"/>
                    <a:gd name="connsiteX6" fmla="*/ 284082 w 387113"/>
                    <a:gd name="connsiteY6" fmla="*/ 515155 h 1178417"/>
                    <a:gd name="connsiteX7" fmla="*/ 206809 w 387113"/>
                    <a:gd name="connsiteY7" fmla="*/ 405685 h 1178417"/>
                    <a:gd name="connsiteX8" fmla="*/ 90899 w 387113"/>
                    <a:gd name="connsiteY8" fmla="*/ 585989 h 1178417"/>
                    <a:gd name="connsiteX9" fmla="*/ 110308 w 387113"/>
                    <a:gd name="connsiteY9" fmla="*/ 705502 h 1178417"/>
                    <a:gd name="connsiteX10" fmla="*/ 4079 w 387113"/>
                    <a:gd name="connsiteY10" fmla="*/ 657544 h 1178417"/>
                    <a:gd name="connsiteX11" fmla="*/ 10159 w 387113"/>
                    <a:gd name="connsiteY11" fmla="*/ 431622 h 1178417"/>
                    <a:gd name="connsiteX12" fmla="*/ 39473 w 387113"/>
                    <a:gd name="connsiteY12" fmla="*/ 257353 h 1178417"/>
                    <a:gd name="connsiteX13" fmla="*/ 155563 w 387113"/>
                    <a:gd name="connsiteY13" fmla="*/ 148198 h 1178417"/>
                    <a:gd name="connsiteX14" fmla="*/ 168172 w 387113"/>
                    <a:gd name="connsiteY14" fmla="*/ 0 h 1178417"/>
                    <a:gd name="connsiteX15" fmla="*/ 387113 w 387113"/>
                    <a:gd name="connsiteY15" fmla="*/ 6440 h 1178417"/>
                    <a:gd name="connsiteX0" fmla="*/ 387113 w 387113"/>
                    <a:gd name="connsiteY0" fmla="*/ 6440 h 1184142"/>
                    <a:gd name="connsiteX1" fmla="*/ 387113 w 387113"/>
                    <a:gd name="connsiteY1" fmla="*/ 379927 h 1184142"/>
                    <a:gd name="connsiteX2" fmla="*/ 296961 w 387113"/>
                    <a:gd name="connsiteY2" fmla="*/ 850006 h 1184142"/>
                    <a:gd name="connsiteX3" fmla="*/ 45823 w 387113"/>
                    <a:gd name="connsiteY3" fmla="*/ 1178417 h 1184142"/>
                    <a:gd name="connsiteX4" fmla="*/ 39383 w 387113"/>
                    <a:gd name="connsiteY4" fmla="*/ 1043189 h 1184142"/>
                    <a:gd name="connsiteX5" fmla="*/ 206809 w 387113"/>
                    <a:gd name="connsiteY5" fmla="*/ 843567 h 1184142"/>
                    <a:gd name="connsiteX6" fmla="*/ 284082 w 387113"/>
                    <a:gd name="connsiteY6" fmla="*/ 515155 h 1184142"/>
                    <a:gd name="connsiteX7" fmla="*/ 206809 w 387113"/>
                    <a:gd name="connsiteY7" fmla="*/ 405685 h 1184142"/>
                    <a:gd name="connsiteX8" fmla="*/ 90899 w 387113"/>
                    <a:gd name="connsiteY8" fmla="*/ 585989 h 1184142"/>
                    <a:gd name="connsiteX9" fmla="*/ 110308 w 387113"/>
                    <a:gd name="connsiteY9" fmla="*/ 705502 h 1184142"/>
                    <a:gd name="connsiteX10" fmla="*/ 4079 w 387113"/>
                    <a:gd name="connsiteY10" fmla="*/ 657544 h 1184142"/>
                    <a:gd name="connsiteX11" fmla="*/ 10159 w 387113"/>
                    <a:gd name="connsiteY11" fmla="*/ 431622 h 1184142"/>
                    <a:gd name="connsiteX12" fmla="*/ 39473 w 387113"/>
                    <a:gd name="connsiteY12" fmla="*/ 257353 h 1184142"/>
                    <a:gd name="connsiteX13" fmla="*/ 155563 w 387113"/>
                    <a:gd name="connsiteY13" fmla="*/ 148198 h 1184142"/>
                    <a:gd name="connsiteX14" fmla="*/ 168172 w 387113"/>
                    <a:gd name="connsiteY14" fmla="*/ 0 h 1184142"/>
                    <a:gd name="connsiteX15" fmla="*/ 387113 w 387113"/>
                    <a:gd name="connsiteY15" fmla="*/ 6440 h 1184142"/>
                    <a:gd name="connsiteX0" fmla="*/ 387113 w 387113"/>
                    <a:gd name="connsiteY0" fmla="*/ 6440 h 1138506"/>
                    <a:gd name="connsiteX1" fmla="*/ 387113 w 387113"/>
                    <a:gd name="connsiteY1" fmla="*/ 379927 h 1138506"/>
                    <a:gd name="connsiteX2" fmla="*/ 296961 w 387113"/>
                    <a:gd name="connsiteY2" fmla="*/ 850006 h 1138506"/>
                    <a:gd name="connsiteX3" fmla="*/ 80992 w 387113"/>
                    <a:gd name="connsiteY3" fmla="*/ 1130459 h 1138506"/>
                    <a:gd name="connsiteX4" fmla="*/ 39383 w 387113"/>
                    <a:gd name="connsiteY4" fmla="*/ 1043189 h 1138506"/>
                    <a:gd name="connsiteX5" fmla="*/ 206809 w 387113"/>
                    <a:gd name="connsiteY5" fmla="*/ 843567 h 1138506"/>
                    <a:gd name="connsiteX6" fmla="*/ 284082 w 387113"/>
                    <a:gd name="connsiteY6" fmla="*/ 515155 h 1138506"/>
                    <a:gd name="connsiteX7" fmla="*/ 206809 w 387113"/>
                    <a:gd name="connsiteY7" fmla="*/ 405685 h 1138506"/>
                    <a:gd name="connsiteX8" fmla="*/ 90899 w 387113"/>
                    <a:gd name="connsiteY8" fmla="*/ 585989 h 1138506"/>
                    <a:gd name="connsiteX9" fmla="*/ 110308 w 387113"/>
                    <a:gd name="connsiteY9" fmla="*/ 705502 h 1138506"/>
                    <a:gd name="connsiteX10" fmla="*/ 4079 w 387113"/>
                    <a:gd name="connsiteY10" fmla="*/ 657544 h 1138506"/>
                    <a:gd name="connsiteX11" fmla="*/ 10159 w 387113"/>
                    <a:gd name="connsiteY11" fmla="*/ 431622 h 1138506"/>
                    <a:gd name="connsiteX12" fmla="*/ 39473 w 387113"/>
                    <a:gd name="connsiteY12" fmla="*/ 257353 h 1138506"/>
                    <a:gd name="connsiteX13" fmla="*/ 155563 w 387113"/>
                    <a:gd name="connsiteY13" fmla="*/ 148198 h 1138506"/>
                    <a:gd name="connsiteX14" fmla="*/ 168172 w 387113"/>
                    <a:gd name="connsiteY14" fmla="*/ 0 h 1138506"/>
                    <a:gd name="connsiteX15" fmla="*/ 387113 w 387113"/>
                    <a:gd name="connsiteY15" fmla="*/ 6440 h 1138506"/>
                    <a:gd name="connsiteX0" fmla="*/ 387113 w 387113"/>
                    <a:gd name="connsiteY0" fmla="*/ 6440 h 1139009"/>
                    <a:gd name="connsiteX1" fmla="*/ 387113 w 387113"/>
                    <a:gd name="connsiteY1" fmla="*/ 379927 h 1139009"/>
                    <a:gd name="connsiteX2" fmla="*/ 296961 w 387113"/>
                    <a:gd name="connsiteY2" fmla="*/ 850006 h 1139009"/>
                    <a:gd name="connsiteX3" fmla="*/ 80992 w 387113"/>
                    <a:gd name="connsiteY3" fmla="*/ 1130459 h 1139009"/>
                    <a:gd name="connsiteX4" fmla="*/ 39383 w 387113"/>
                    <a:gd name="connsiteY4" fmla="*/ 1043189 h 1139009"/>
                    <a:gd name="connsiteX5" fmla="*/ 213204 w 387113"/>
                    <a:gd name="connsiteY5" fmla="*/ 805200 h 1139009"/>
                    <a:gd name="connsiteX6" fmla="*/ 284082 w 387113"/>
                    <a:gd name="connsiteY6" fmla="*/ 515155 h 1139009"/>
                    <a:gd name="connsiteX7" fmla="*/ 206809 w 387113"/>
                    <a:gd name="connsiteY7" fmla="*/ 405685 h 1139009"/>
                    <a:gd name="connsiteX8" fmla="*/ 90899 w 387113"/>
                    <a:gd name="connsiteY8" fmla="*/ 585989 h 1139009"/>
                    <a:gd name="connsiteX9" fmla="*/ 110308 w 387113"/>
                    <a:gd name="connsiteY9" fmla="*/ 705502 h 1139009"/>
                    <a:gd name="connsiteX10" fmla="*/ 4079 w 387113"/>
                    <a:gd name="connsiteY10" fmla="*/ 657544 h 1139009"/>
                    <a:gd name="connsiteX11" fmla="*/ 10159 w 387113"/>
                    <a:gd name="connsiteY11" fmla="*/ 431622 h 1139009"/>
                    <a:gd name="connsiteX12" fmla="*/ 39473 w 387113"/>
                    <a:gd name="connsiteY12" fmla="*/ 257353 h 1139009"/>
                    <a:gd name="connsiteX13" fmla="*/ 155563 w 387113"/>
                    <a:gd name="connsiteY13" fmla="*/ 148198 h 1139009"/>
                    <a:gd name="connsiteX14" fmla="*/ 168172 w 387113"/>
                    <a:gd name="connsiteY14" fmla="*/ 0 h 1139009"/>
                    <a:gd name="connsiteX15" fmla="*/ 387113 w 387113"/>
                    <a:gd name="connsiteY15" fmla="*/ 6440 h 1139009"/>
                    <a:gd name="connsiteX0" fmla="*/ 387113 w 387113"/>
                    <a:gd name="connsiteY0" fmla="*/ 6440 h 1139009"/>
                    <a:gd name="connsiteX1" fmla="*/ 387113 w 387113"/>
                    <a:gd name="connsiteY1" fmla="*/ 379927 h 1139009"/>
                    <a:gd name="connsiteX2" fmla="*/ 296961 w 387113"/>
                    <a:gd name="connsiteY2" fmla="*/ 850006 h 1139009"/>
                    <a:gd name="connsiteX3" fmla="*/ 80992 w 387113"/>
                    <a:gd name="connsiteY3" fmla="*/ 1130459 h 1139009"/>
                    <a:gd name="connsiteX4" fmla="*/ 80947 w 387113"/>
                    <a:gd name="connsiteY4" fmla="*/ 1043189 h 1139009"/>
                    <a:gd name="connsiteX5" fmla="*/ 213204 w 387113"/>
                    <a:gd name="connsiteY5" fmla="*/ 805200 h 1139009"/>
                    <a:gd name="connsiteX6" fmla="*/ 284082 w 387113"/>
                    <a:gd name="connsiteY6" fmla="*/ 515155 h 1139009"/>
                    <a:gd name="connsiteX7" fmla="*/ 206809 w 387113"/>
                    <a:gd name="connsiteY7" fmla="*/ 405685 h 1139009"/>
                    <a:gd name="connsiteX8" fmla="*/ 90899 w 387113"/>
                    <a:gd name="connsiteY8" fmla="*/ 585989 h 1139009"/>
                    <a:gd name="connsiteX9" fmla="*/ 110308 w 387113"/>
                    <a:gd name="connsiteY9" fmla="*/ 705502 h 1139009"/>
                    <a:gd name="connsiteX10" fmla="*/ 4079 w 387113"/>
                    <a:gd name="connsiteY10" fmla="*/ 657544 h 1139009"/>
                    <a:gd name="connsiteX11" fmla="*/ 10159 w 387113"/>
                    <a:gd name="connsiteY11" fmla="*/ 431622 h 1139009"/>
                    <a:gd name="connsiteX12" fmla="*/ 39473 w 387113"/>
                    <a:gd name="connsiteY12" fmla="*/ 257353 h 1139009"/>
                    <a:gd name="connsiteX13" fmla="*/ 155563 w 387113"/>
                    <a:gd name="connsiteY13" fmla="*/ 148198 h 1139009"/>
                    <a:gd name="connsiteX14" fmla="*/ 168172 w 387113"/>
                    <a:gd name="connsiteY14" fmla="*/ 0 h 1139009"/>
                    <a:gd name="connsiteX15" fmla="*/ 387113 w 387113"/>
                    <a:gd name="connsiteY15" fmla="*/ 6440 h 1139009"/>
                    <a:gd name="connsiteX0" fmla="*/ 387113 w 387113"/>
                    <a:gd name="connsiteY0" fmla="*/ 6440 h 1138473"/>
                    <a:gd name="connsiteX1" fmla="*/ 387113 w 387113"/>
                    <a:gd name="connsiteY1" fmla="*/ 379927 h 1138473"/>
                    <a:gd name="connsiteX2" fmla="*/ 296961 w 387113"/>
                    <a:gd name="connsiteY2" fmla="*/ 850006 h 1138473"/>
                    <a:gd name="connsiteX3" fmla="*/ 80992 w 387113"/>
                    <a:gd name="connsiteY3" fmla="*/ 1130459 h 1138473"/>
                    <a:gd name="connsiteX4" fmla="*/ 74552 w 387113"/>
                    <a:gd name="connsiteY4" fmla="*/ 1036795 h 1138473"/>
                    <a:gd name="connsiteX5" fmla="*/ 213204 w 387113"/>
                    <a:gd name="connsiteY5" fmla="*/ 805200 h 1138473"/>
                    <a:gd name="connsiteX6" fmla="*/ 284082 w 387113"/>
                    <a:gd name="connsiteY6" fmla="*/ 515155 h 1138473"/>
                    <a:gd name="connsiteX7" fmla="*/ 206809 w 387113"/>
                    <a:gd name="connsiteY7" fmla="*/ 405685 h 1138473"/>
                    <a:gd name="connsiteX8" fmla="*/ 90899 w 387113"/>
                    <a:gd name="connsiteY8" fmla="*/ 585989 h 1138473"/>
                    <a:gd name="connsiteX9" fmla="*/ 110308 w 387113"/>
                    <a:gd name="connsiteY9" fmla="*/ 705502 h 1138473"/>
                    <a:gd name="connsiteX10" fmla="*/ 4079 w 387113"/>
                    <a:gd name="connsiteY10" fmla="*/ 657544 h 1138473"/>
                    <a:gd name="connsiteX11" fmla="*/ 10159 w 387113"/>
                    <a:gd name="connsiteY11" fmla="*/ 431622 h 1138473"/>
                    <a:gd name="connsiteX12" fmla="*/ 39473 w 387113"/>
                    <a:gd name="connsiteY12" fmla="*/ 257353 h 1138473"/>
                    <a:gd name="connsiteX13" fmla="*/ 155563 w 387113"/>
                    <a:gd name="connsiteY13" fmla="*/ 148198 h 1138473"/>
                    <a:gd name="connsiteX14" fmla="*/ 168172 w 387113"/>
                    <a:gd name="connsiteY14" fmla="*/ 0 h 1138473"/>
                    <a:gd name="connsiteX15" fmla="*/ 387113 w 387113"/>
                    <a:gd name="connsiteY15" fmla="*/ 6440 h 1138473"/>
                    <a:gd name="connsiteX0" fmla="*/ 387113 w 387113"/>
                    <a:gd name="connsiteY0" fmla="*/ 6440 h 1138473"/>
                    <a:gd name="connsiteX1" fmla="*/ 387113 w 387113"/>
                    <a:gd name="connsiteY1" fmla="*/ 379927 h 1138473"/>
                    <a:gd name="connsiteX2" fmla="*/ 296961 w 387113"/>
                    <a:gd name="connsiteY2" fmla="*/ 850006 h 1138473"/>
                    <a:gd name="connsiteX3" fmla="*/ 80992 w 387113"/>
                    <a:gd name="connsiteY3" fmla="*/ 1130459 h 1138473"/>
                    <a:gd name="connsiteX4" fmla="*/ 74552 w 387113"/>
                    <a:gd name="connsiteY4" fmla="*/ 1036795 h 1138473"/>
                    <a:gd name="connsiteX5" fmla="*/ 213204 w 387113"/>
                    <a:gd name="connsiteY5" fmla="*/ 805200 h 1138473"/>
                    <a:gd name="connsiteX6" fmla="*/ 268096 w 387113"/>
                    <a:gd name="connsiteY6" fmla="*/ 540733 h 1138473"/>
                    <a:gd name="connsiteX7" fmla="*/ 206809 w 387113"/>
                    <a:gd name="connsiteY7" fmla="*/ 405685 h 1138473"/>
                    <a:gd name="connsiteX8" fmla="*/ 90899 w 387113"/>
                    <a:gd name="connsiteY8" fmla="*/ 585989 h 1138473"/>
                    <a:gd name="connsiteX9" fmla="*/ 110308 w 387113"/>
                    <a:gd name="connsiteY9" fmla="*/ 705502 h 1138473"/>
                    <a:gd name="connsiteX10" fmla="*/ 4079 w 387113"/>
                    <a:gd name="connsiteY10" fmla="*/ 657544 h 1138473"/>
                    <a:gd name="connsiteX11" fmla="*/ 10159 w 387113"/>
                    <a:gd name="connsiteY11" fmla="*/ 431622 h 1138473"/>
                    <a:gd name="connsiteX12" fmla="*/ 39473 w 387113"/>
                    <a:gd name="connsiteY12" fmla="*/ 257353 h 1138473"/>
                    <a:gd name="connsiteX13" fmla="*/ 155563 w 387113"/>
                    <a:gd name="connsiteY13" fmla="*/ 148198 h 1138473"/>
                    <a:gd name="connsiteX14" fmla="*/ 168172 w 387113"/>
                    <a:gd name="connsiteY14" fmla="*/ 0 h 1138473"/>
                    <a:gd name="connsiteX15" fmla="*/ 387113 w 387113"/>
                    <a:gd name="connsiteY15" fmla="*/ 6440 h 1138473"/>
                    <a:gd name="connsiteX0" fmla="*/ 387113 w 422282"/>
                    <a:gd name="connsiteY0" fmla="*/ 6440 h 1138473"/>
                    <a:gd name="connsiteX1" fmla="*/ 422282 w 422282"/>
                    <a:gd name="connsiteY1" fmla="*/ 427885 h 1138473"/>
                    <a:gd name="connsiteX2" fmla="*/ 296961 w 422282"/>
                    <a:gd name="connsiteY2" fmla="*/ 850006 h 1138473"/>
                    <a:gd name="connsiteX3" fmla="*/ 80992 w 422282"/>
                    <a:gd name="connsiteY3" fmla="*/ 1130459 h 1138473"/>
                    <a:gd name="connsiteX4" fmla="*/ 74552 w 422282"/>
                    <a:gd name="connsiteY4" fmla="*/ 1036795 h 1138473"/>
                    <a:gd name="connsiteX5" fmla="*/ 213204 w 422282"/>
                    <a:gd name="connsiteY5" fmla="*/ 805200 h 1138473"/>
                    <a:gd name="connsiteX6" fmla="*/ 268096 w 422282"/>
                    <a:gd name="connsiteY6" fmla="*/ 540733 h 1138473"/>
                    <a:gd name="connsiteX7" fmla="*/ 206809 w 422282"/>
                    <a:gd name="connsiteY7" fmla="*/ 405685 h 1138473"/>
                    <a:gd name="connsiteX8" fmla="*/ 90899 w 422282"/>
                    <a:gd name="connsiteY8" fmla="*/ 585989 h 1138473"/>
                    <a:gd name="connsiteX9" fmla="*/ 110308 w 422282"/>
                    <a:gd name="connsiteY9" fmla="*/ 705502 h 1138473"/>
                    <a:gd name="connsiteX10" fmla="*/ 4079 w 422282"/>
                    <a:gd name="connsiteY10" fmla="*/ 657544 h 1138473"/>
                    <a:gd name="connsiteX11" fmla="*/ 10159 w 422282"/>
                    <a:gd name="connsiteY11" fmla="*/ 431622 h 1138473"/>
                    <a:gd name="connsiteX12" fmla="*/ 39473 w 422282"/>
                    <a:gd name="connsiteY12" fmla="*/ 257353 h 1138473"/>
                    <a:gd name="connsiteX13" fmla="*/ 155563 w 422282"/>
                    <a:gd name="connsiteY13" fmla="*/ 148198 h 1138473"/>
                    <a:gd name="connsiteX14" fmla="*/ 168172 w 422282"/>
                    <a:gd name="connsiteY14" fmla="*/ 0 h 1138473"/>
                    <a:gd name="connsiteX15" fmla="*/ 387113 w 422282"/>
                    <a:gd name="connsiteY15" fmla="*/ 6440 h 1138473"/>
                    <a:gd name="connsiteX0" fmla="*/ 387113 w 422282"/>
                    <a:gd name="connsiteY0" fmla="*/ 6440 h 1138473"/>
                    <a:gd name="connsiteX1" fmla="*/ 422282 w 422282"/>
                    <a:gd name="connsiteY1" fmla="*/ 427885 h 1138473"/>
                    <a:gd name="connsiteX2" fmla="*/ 296961 w 422282"/>
                    <a:gd name="connsiteY2" fmla="*/ 850006 h 1138473"/>
                    <a:gd name="connsiteX3" fmla="*/ 80992 w 422282"/>
                    <a:gd name="connsiteY3" fmla="*/ 1130459 h 1138473"/>
                    <a:gd name="connsiteX4" fmla="*/ 74552 w 422282"/>
                    <a:gd name="connsiteY4" fmla="*/ 1036795 h 1138473"/>
                    <a:gd name="connsiteX5" fmla="*/ 213204 w 422282"/>
                    <a:gd name="connsiteY5" fmla="*/ 805200 h 1138473"/>
                    <a:gd name="connsiteX6" fmla="*/ 268096 w 422282"/>
                    <a:gd name="connsiteY6" fmla="*/ 540733 h 1138473"/>
                    <a:gd name="connsiteX7" fmla="*/ 206809 w 422282"/>
                    <a:gd name="connsiteY7" fmla="*/ 405685 h 1138473"/>
                    <a:gd name="connsiteX8" fmla="*/ 90899 w 422282"/>
                    <a:gd name="connsiteY8" fmla="*/ 585989 h 1138473"/>
                    <a:gd name="connsiteX9" fmla="*/ 87927 w 422282"/>
                    <a:gd name="connsiteY9" fmla="*/ 657544 h 1138473"/>
                    <a:gd name="connsiteX10" fmla="*/ 4079 w 422282"/>
                    <a:gd name="connsiteY10" fmla="*/ 657544 h 1138473"/>
                    <a:gd name="connsiteX11" fmla="*/ 10159 w 422282"/>
                    <a:gd name="connsiteY11" fmla="*/ 431622 h 1138473"/>
                    <a:gd name="connsiteX12" fmla="*/ 39473 w 422282"/>
                    <a:gd name="connsiteY12" fmla="*/ 257353 h 1138473"/>
                    <a:gd name="connsiteX13" fmla="*/ 155563 w 422282"/>
                    <a:gd name="connsiteY13" fmla="*/ 148198 h 1138473"/>
                    <a:gd name="connsiteX14" fmla="*/ 168172 w 422282"/>
                    <a:gd name="connsiteY14" fmla="*/ 0 h 1138473"/>
                    <a:gd name="connsiteX15" fmla="*/ 387113 w 422282"/>
                    <a:gd name="connsiteY15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85425 w 419780"/>
                    <a:gd name="connsiteY9" fmla="*/ 657544 h 1138473"/>
                    <a:gd name="connsiteX10" fmla="*/ 4774 w 419780"/>
                    <a:gd name="connsiteY10" fmla="*/ 619178 h 1138473"/>
                    <a:gd name="connsiteX11" fmla="*/ 7657 w 419780"/>
                    <a:gd name="connsiteY11" fmla="*/ 431622 h 1138473"/>
                    <a:gd name="connsiteX12" fmla="*/ 36971 w 419780"/>
                    <a:gd name="connsiteY12" fmla="*/ 257353 h 1138473"/>
                    <a:gd name="connsiteX13" fmla="*/ 153061 w 419780"/>
                    <a:gd name="connsiteY13" fmla="*/ 148198 h 1138473"/>
                    <a:gd name="connsiteX14" fmla="*/ 165670 w 419780"/>
                    <a:gd name="connsiteY14" fmla="*/ 0 h 1138473"/>
                    <a:gd name="connsiteX15" fmla="*/ 384611 w 419780"/>
                    <a:gd name="connsiteY15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84611 w 419780"/>
                    <a:gd name="connsiteY0" fmla="*/ 6440 h 1138473"/>
                    <a:gd name="connsiteX1" fmla="*/ 419780 w 419780"/>
                    <a:gd name="connsiteY1" fmla="*/ 427885 h 1138473"/>
                    <a:gd name="connsiteX2" fmla="*/ 294459 w 419780"/>
                    <a:gd name="connsiteY2" fmla="*/ 850006 h 1138473"/>
                    <a:gd name="connsiteX3" fmla="*/ 78490 w 419780"/>
                    <a:gd name="connsiteY3" fmla="*/ 1130459 h 1138473"/>
                    <a:gd name="connsiteX4" fmla="*/ 72050 w 419780"/>
                    <a:gd name="connsiteY4" fmla="*/ 1036795 h 1138473"/>
                    <a:gd name="connsiteX5" fmla="*/ 210702 w 419780"/>
                    <a:gd name="connsiteY5" fmla="*/ 805200 h 1138473"/>
                    <a:gd name="connsiteX6" fmla="*/ 265594 w 419780"/>
                    <a:gd name="connsiteY6" fmla="*/ 540733 h 1138473"/>
                    <a:gd name="connsiteX7" fmla="*/ 204307 w 419780"/>
                    <a:gd name="connsiteY7" fmla="*/ 405685 h 1138473"/>
                    <a:gd name="connsiteX8" fmla="*/ 88397 w 419780"/>
                    <a:gd name="connsiteY8" fmla="*/ 585989 h 1138473"/>
                    <a:gd name="connsiteX9" fmla="*/ 4774 w 419780"/>
                    <a:gd name="connsiteY9" fmla="*/ 619178 h 1138473"/>
                    <a:gd name="connsiteX10" fmla="*/ 7657 w 419780"/>
                    <a:gd name="connsiteY10" fmla="*/ 431622 h 1138473"/>
                    <a:gd name="connsiteX11" fmla="*/ 36971 w 419780"/>
                    <a:gd name="connsiteY11" fmla="*/ 257353 h 1138473"/>
                    <a:gd name="connsiteX12" fmla="*/ 153061 w 419780"/>
                    <a:gd name="connsiteY12" fmla="*/ 148198 h 1138473"/>
                    <a:gd name="connsiteX13" fmla="*/ 165670 w 419780"/>
                    <a:gd name="connsiteY13" fmla="*/ 0 h 1138473"/>
                    <a:gd name="connsiteX14" fmla="*/ 384611 w 419780"/>
                    <a:gd name="connsiteY14" fmla="*/ 6440 h 1138473"/>
                    <a:gd name="connsiteX0" fmla="*/ 362231 w 419780"/>
                    <a:gd name="connsiteY0" fmla="*/ 0 h 1279104"/>
                    <a:gd name="connsiteX1" fmla="*/ 419780 w 419780"/>
                    <a:gd name="connsiteY1" fmla="*/ 568516 h 1279104"/>
                    <a:gd name="connsiteX2" fmla="*/ 294459 w 419780"/>
                    <a:gd name="connsiteY2" fmla="*/ 990637 h 1279104"/>
                    <a:gd name="connsiteX3" fmla="*/ 78490 w 419780"/>
                    <a:gd name="connsiteY3" fmla="*/ 1271090 h 1279104"/>
                    <a:gd name="connsiteX4" fmla="*/ 72050 w 419780"/>
                    <a:gd name="connsiteY4" fmla="*/ 1177426 h 1279104"/>
                    <a:gd name="connsiteX5" fmla="*/ 210702 w 419780"/>
                    <a:gd name="connsiteY5" fmla="*/ 945831 h 1279104"/>
                    <a:gd name="connsiteX6" fmla="*/ 265594 w 419780"/>
                    <a:gd name="connsiteY6" fmla="*/ 681364 h 1279104"/>
                    <a:gd name="connsiteX7" fmla="*/ 204307 w 419780"/>
                    <a:gd name="connsiteY7" fmla="*/ 546316 h 1279104"/>
                    <a:gd name="connsiteX8" fmla="*/ 88397 w 419780"/>
                    <a:gd name="connsiteY8" fmla="*/ 726620 h 1279104"/>
                    <a:gd name="connsiteX9" fmla="*/ 4774 w 419780"/>
                    <a:gd name="connsiteY9" fmla="*/ 759809 h 1279104"/>
                    <a:gd name="connsiteX10" fmla="*/ 7657 w 419780"/>
                    <a:gd name="connsiteY10" fmla="*/ 572253 h 1279104"/>
                    <a:gd name="connsiteX11" fmla="*/ 36971 w 419780"/>
                    <a:gd name="connsiteY11" fmla="*/ 397984 h 1279104"/>
                    <a:gd name="connsiteX12" fmla="*/ 153061 w 419780"/>
                    <a:gd name="connsiteY12" fmla="*/ 288829 h 1279104"/>
                    <a:gd name="connsiteX13" fmla="*/ 165670 w 419780"/>
                    <a:gd name="connsiteY13" fmla="*/ 140631 h 1279104"/>
                    <a:gd name="connsiteX14" fmla="*/ 362231 w 419780"/>
                    <a:gd name="connsiteY14" fmla="*/ 0 h 1279104"/>
                    <a:gd name="connsiteX0" fmla="*/ 362231 w 419780"/>
                    <a:gd name="connsiteY0" fmla="*/ 5392 h 1284496"/>
                    <a:gd name="connsiteX1" fmla="*/ 419780 w 419780"/>
                    <a:gd name="connsiteY1" fmla="*/ 573908 h 1284496"/>
                    <a:gd name="connsiteX2" fmla="*/ 294459 w 419780"/>
                    <a:gd name="connsiteY2" fmla="*/ 996029 h 1284496"/>
                    <a:gd name="connsiteX3" fmla="*/ 78490 w 419780"/>
                    <a:gd name="connsiteY3" fmla="*/ 1276482 h 1284496"/>
                    <a:gd name="connsiteX4" fmla="*/ 72050 w 419780"/>
                    <a:gd name="connsiteY4" fmla="*/ 1182818 h 1284496"/>
                    <a:gd name="connsiteX5" fmla="*/ 210702 w 419780"/>
                    <a:gd name="connsiteY5" fmla="*/ 951223 h 1284496"/>
                    <a:gd name="connsiteX6" fmla="*/ 265594 w 419780"/>
                    <a:gd name="connsiteY6" fmla="*/ 686756 h 1284496"/>
                    <a:gd name="connsiteX7" fmla="*/ 204307 w 419780"/>
                    <a:gd name="connsiteY7" fmla="*/ 551708 h 1284496"/>
                    <a:gd name="connsiteX8" fmla="*/ 88397 w 419780"/>
                    <a:gd name="connsiteY8" fmla="*/ 732012 h 1284496"/>
                    <a:gd name="connsiteX9" fmla="*/ 4774 w 419780"/>
                    <a:gd name="connsiteY9" fmla="*/ 765201 h 1284496"/>
                    <a:gd name="connsiteX10" fmla="*/ 7657 w 419780"/>
                    <a:gd name="connsiteY10" fmla="*/ 577645 h 1284496"/>
                    <a:gd name="connsiteX11" fmla="*/ 36971 w 419780"/>
                    <a:gd name="connsiteY11" fmla="*/ 403376 h 1284496"/>
                    <a:gd name="connsiteX12" fmla="*/ 153061 w 419780"/>
                    <a:gd name="connsiteY12" fmla="*/ 294221 h 1284496"/>
                    <a:gd name="connsiteX13" fmla="*/ 362231 w 419780"/>
                    <a:gd name="connsiteY13" fmla="*/ 5392 h 1284496"/>
                    <a:gd name="connsiteX0" fmla="*/ 362231 w 419780"/>
                    <a:gd name="connsiteY0" fmla="*/ 13954 h 1293058"/>
                    <a:gd name="connsiteX1" fmla="*/ 419780 w 419780"/>
                    <a:gd name="connsiteY1" fmla="*/ 582470 h 1293058"/>
                    <a:gd name="connsiteX2" fmla="*/ 294459 w 419780"/>
                    <a:gd name="connsiteY2" fmla="*/ 1004591 h 1293058"/>
                    <a:gd name="connsiteX3" fmla="*/ 78490 w 419780"/>
                    <a:gd name="connsiteY3" fmla="*/ 1285044 h 1293058"/>
                    <a:gd name="connsiteX4" fmla="*/ 72050 w 419780"/>
                    <a:gd name="connsiteY4" fmla="*/ 1191380 h 1293058"/>
                    <a:gd name="connsiteX5" fmla="*/ 210702 w 419780"/>
                    <a:gd name="connsiteY5" fmla="*/ 959785 h 1293058"/>
                    <a:gd name="connsiteX6" fmla="*/ 265594 w 419780"/>
                    <a:gd name="connsiteY6" fmla="*/ 695318 h 1293058"/>
                    <a:gd name="connsiteX7" fmla="*/ 204307 w 419780"/>
                    <a:gd name="connsiteY7" fmla="*/ 560270 h 1293058"/>
                    <a:gd name="connsiteX8" fmla="*/ 88397 w 419780"/>
                    <a:gd name="connsiteY8" fmla="*/ 740574 h 1293058"/>
                    <a:gd name="connsiteX9" fmla="*/ 4774 w 419780"/>
                    <a:gd name="connsiteY9" fmla="*/ 773763 h 1293058"/>
                    <a:gd name="connsiteX10" fmla="*/ 7657 w 419780"/>
                    <a:gd name="connsiteY10" fmla="*/ 586207 h 1293058"/>
                    <a:gd name="connsiteX11" fmla="*/ 36971 w 419780"/>
                    <a:gd name="connsiteY11" fmla="*/ 411938 h 1293058"/>
                    <a:gd name="connsiteX12" fmla="*/ 153061 w 419780"/>
                    <a:gd name="connsiteY12" fmla="*/ 302783 h 1293058"/>
                    <a:gd name="connsiteX13" fmla="*/ 225787 w 419780"/>
                    <a:gd name="connsiteY13" fmla="*/ 184665 h 1293058"/>
                    <a:gd name="connsiteX14" fmla="*/ 362231 w 419780"/>
                    <a:gd name="connsiteY14" fmla="*/ 13954 h 1293058"/>
                    <a:gd name="connsiteX0" fmla="*/ 362231 w 419780"/>
                    <a:gd name="connsiteY0" fmla="*/ 55836 h 1334940"/>
                    <a:gd name="connsiteX1" fmla="*/ 419780 w 419780"/>
                    <a:gd name="connsiteY1" fmla="*/ 624352 h 1334940"/>
                    <a:gd name="connsiteX2" fmla="*/ 294459 w 419780"/>
                    <a:gd name="connsiteY2" fmla="*/ 1046473 h 1334940"/>
                    <a:gd name="connsiteX3" fmla="*/ 78490 w 419780"/>
                    <a:gd name="connsiteY3" fmla="*/ 1326926 h 1334940"/>
                    <a:gd name="connsiteX4" fmla="*/ 72050 w 419780"/>
                    <a:gd name="connsiteY4" fmla="*/ 1233262 h 1334940"/>
                    <a:gd name="connsiteX5" fmla="*/ 210702 w 419780"/>
                    <a:gd name="connsiteY5" fmla="*/ 1001667 h 1334940"/>
                    <a:gd name="connsiteX6" fmla="*/ 265594 w 419780"/>
                    <a:gd name="connsiteY6" fmla="*/ 737200 h 1334940"/>
                    <a:gd name="connsiteX7" fmla="*/ 204307 w 419780"/>
                    <a:gd name="connsiteY7" fmla="*/ 602152 h 1334940"/>
                    <a:gd name="connsiteX8" fmla="*/ 88397 w 419780"/>
                    <a:gd name="connsiteY8" fmla="*/ 782456 h 1334940"/>
                    <a:gd name="connsiteX9" fmla="*/ 4774 w 419780"/>
                    <a:gd name="connsiteY9" fmla="*/ 815645 h 1334940"/>
                    <a:gd name="connsiteX10" fmla="*/ 7657 w 419780"/>
                    <a:gd name="connsiteY10" fmla="*/ 628089 h 1334940"/>
                    <a:gd name="connsiteX11" fmla="*/ 36971 w 419780"/>
                    <a:gd name="connsiteY11" fmla="*/ 453820 h 1334940"/>
                    <a:gd name="connsiteX12" fmla="*/ 153061 w 419780"/>
                    <a:gd name="connsiteY12" fmla="*/ 344665 h 1334940"/>
                    <a:gd name="connsiteX13" fmla="*/ 126673 w 419780"/>
                    <a:gd name="connsiteY13" fmla="*/ 31517 h 1334940"/>
                    <a:gd name="connsiteX14" fmla="*/ 362231 w 419780"/>
                    <a:gd name="connsiteY14" fmla="*/ 55836 h 1334940"/>
                    <a:gd name="connsiteX0" fmla="*/ 362231 w 419780"/>
                    <a:gd name="connsiteY0" fmla="*/ 55836 h 1334940"/>
                    <a:gd name="connsiteX1" fmla="*/ 419780 w 419780"/>
                    <a:gd name="connsiteY1" fmla="*/ 624352 h 1334940"/>
                    <a:gd name="connsiteX2" fmla="*/ 294459 w 419780"/>
                    <a:gd name="connsiteY2" fmla="*/ 1046473 h 1334940"/>
                    <a:gd name="connsiteX3" fmla="*/ 78490 w 419780"/>
                    <a:gd name="connsiteY3" fmla="*/ 1326926 h 1334940"/>
                    <a:gd name="connsiteX4" fmla="*/ 72050 w 419780"/>
                    <a:gd name="connsiteY4" fmla="*/ 1233262 h 1334940"/>
                    <a:gd name="connsiteX5" fmla="*/ 210702 w 419780"/>
                    <a:gd name="connsiteY5" fmla="*/ 1001667 h 1334940"/>
                    <a:gd name="connsiteX6" fmla="*/ 265594 w 419780"/>
                    <a:gd name="connsiteY6" fmla="*/ 737200 h 1334940"/>
                    <a:gd name="connsiteX7" fmla="*/ 204307 w 419780"/>
                    <a:gd name="connsiteY7" fmla="*/ 602152 h 1334940"/>
                    <a:gd name="connsiteX8" fmla="*/ 88397 w 419780"/>
                    <a:gd name="connsiteY8" fmla="*/ 782456 h 1334940"/>
                    <a:gd name="connsiteX9" fmla="*/ 4774 w 419780"/>
                    <a:gd name="connsiteY9" fmla="*/ 815645 h 1334940"/>
                    <a:gd name="connsiteX10" fmla="*/ 7657 w 419780"/>
                    <a:gd name="connsiteY10" fmla="*/ 628089 h 1334940"/>
                    <a:gd name="connsiteX11" fmla="*/ 36971 w 419780"/>
                    <a:gd name="connsiteY11" fmla="*/ 453820 h 1334940"/>
                    <a:gd name="connsiteX12" fmla="*/ 146667 w 419780"/>
                    <a:gd name="connsiteY12" fmla="*/ 325482 h 1334940"/>
                    <a:gd name="connsiteX13" fmla="*/ 126673 w 419780"/>
                    <a:gd name="connsiteY13" fmla="*/ 31517 h 1334940"/>
                    <a:gd name="connsiteX14" fmla="*/ 362231 w 419780"/>
                    <a:gd name="connsiteY14" fmla="*/ 55836 h 13349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19780" h="1334940">
                      <a:moveTo>
                        <a:pt x="362231" y="55836"/>
                      </a:moveTo>
                      <a:lnTo>
                        <a:pt x="419780" y="624352"/>
                      </a:lnTo>
                      <a:lnTo>
                        <a:pt x="294459" y="1046473"/>
                      </a:lnTo>
                      <a:lnTo>
                        <a:pt x="78490" y="1326926"/>
                      </a:lnTo>
                      <a:cubicBezTo>
                        <a:pt x="35560" y="1359123"/>
                        <a:pt x="50015" y="1287472"/>
                        <a:pt x="72050" y="1233262"/>
                      </a:cubicBezTo>
                      <a:cubicBezTo>
                        <a:pt x="94085" y="1179052"/>
                        <a:pt x="169919" y="1089673"/>
                        <a:pt x="210702" y="1001667"/>
                      </a:cubicBezTo>
                      <a:lnTo>
                        <a:pt x="265594" y="737200"/>
                      </a:lnTo>
                      <a:cubicBezTo>
                        <a:pt x="265594" y="664220"/>
                        <a:pt x="233840" y="594609"/>
                        <a:pt x="204307" y="602152"/>
                      </a:cubicBezTo>
                      <a:cubicBezTo>
                        <a:pt x="174774" y="609695"/>
                        <a:pt x="102349" y="723428"/>
                        <a:pt x="88397" y="782456"/>
                      </a:cubicBezTo>
                      <a:cubicBezTo>
                        <a:pt x="54129" y="921407"/>
                        <a:pt x="13465" y="865329"/>
                        <a:pt x="4774" y="815645"/>
                      </a:cubicBezTo>
                      <a:cubicBezTo>
                        <a:pt x="-4923" y="748864"/>
                        <a:pt x="2291" y="688393"/>
                        <a:pt x="7657" y="628089"/>
                      </a:cubicBezTo>
                      <a:cubicBezTo>
                        <a:pt x="13023" y="567785"/>
                        <a:pt x="13803" y="504254"/>
                        <a:pt x="36971" y="453820"/>
                      </a:cubicBezTo>
                      <a:cubicBezTo>
                        <a:pt x="60139" y="403386"/>
                        <a:pt x="131717" y="395866"/>
                        <a:pt x="146667" y="325482"/>
                      </a:cubicBezTo>
                      <a:cubicBezTo>
                        <a:pt x="161617" y="255098"/>
                        <a:pt x="91811" y="79655"/>
                        <a:pt x="126673" y="31517"/>
                      </a:cubicBezTo>
                      <a:cubicBezTo>
                        <a:pt x="161535" y="-16621"/>
                        <a:pt x="329899" y="-10465"/>
                        <a:pt x="362231" y="55836"/>
                      </a:cubicBez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</p:grpSp>
          <p:sp>
            <p:nvSpPr>
              <p:cNvPr id="1555" name="Freeform 1554"/>
              <p:cNvSpPr/>
              <p:nvPr/>
            </p:nvSpPr>
            <p:spPr>
              <a:xfrm rot="853149" flipH="1">
                <a:off x="7787210" y="1531724"/>
                <a:ext cx="508913" cy="1026057"/>
              </a:xfrm>
              <a:custGeom>
                <a:avLst/>
                <a:gdLst>
                  <a:gd name="connsiteX0" fmla="*/ 328773 w 585627"/>
                  <a:gd name="connsiteY0" fmla="*/ 0 h 1089061"/>
                  <a:gd name="connsiteX1" fmla="*/ 0 w 585627"/>
                  <a:gd name="connsiteY1" fmla="*/ 976045 h 1089061"/>
                  <a:gd name="connsiteX2" fmla="*/ 256854 w 585627"/>
                  <a:gd name="connsiteY2" fmla="*/ 1089061 h 1089061"/>
                  <a:gd name="connsiteX3" fmla="*/ 585627 w 585627"/>
                  <a:gd name="connsiteY3" fmla="*/ 472612 h 1089061"/>
                  <a:gd name="connsiteX4" fmla="*/ 328773 w 585627"/>
                  <a:gd name="connsiteY4" fmla="*/ 0 h 1089061"/>
                  <a:gd name="connsiteX0" fmla="*/ 328773 w 586224"/>
                  <a:gd name="connsiteY0" fmla="*/ 12060 h 1101121"/>
                  <a:gd name="connsiteX1" fmla="*/ 0 w 586224"/>
                  <a:gd name="connsiteY1" fmla="*/ 988105 h 1101121"/>
                  <a:gd name="connsiteX2" fmla="*/ 256854 w 586224"/>
                  <a:gd name="connsiteY2" fmla="*/ 1101121 h 1101121"/>
                  <a:gd name="connsiteX3" fmla="*/ 585627 w 586224"/>
                  <a:gd name="connsiteY3" fmla="*/ 484672 h 1101121"/>
                  <a:gd name="connsiteX4" fmla="*/ 328773 w 586224"/>
                  <a:gd name="connsiteY4" fmla="*/ 12060 h 1101121"/>
                  <a:gd name="connsiteX0" fmla="*/ 328773 w 586224"/>
                  <a:gd name="connsiteY0" fmla="*/ 12060 h 1101121"/>
                  <a:gd name="connsiteX1" fmla="*/ 0 w 586224"/>
                  <a:gd name="connsiteY1" fmla="*/ 988105 h 1101121"/>
                  <a:gd name="connsiteX2" fmla="*/ 113015 w 586224"/>
                  <a:gd name="connsiteY2" fmla="*/ 1050422 h 1101121"/>
                  <a:gd name="connsiteX3" fmla="*/ 256854 w 586224"/>
                  <a:gd name="connsiteY3" fmla="*/ 1101121 h 1101121"/>
                  <a:gd name="connsiteX4" fmla="*/ 585627 w 586224"/>
                  <a:gd name="connsiteY4" fmla="*/ 484672 h 1101121"/>
                  <a:gd name="connsiteX5" fmla="*/ 328773 w 586224"/>
                  <a:gd name="connsiteY5" fmla="*/ 12060 h 1101121"/>
                  <a:gd name="connsiteX0" fmla="*/ 329370 w 586821"/>
                  <a:gd name="connsiteY0" fmla="*/ 12060 h 1150093"/>
                  <a:gd name="connsiteX1" fmla="*/ 597 w 586821"/>
                  <a:gd name="connsiteY1" fmla="*/ 988105 h 1150093"/>
                  <a:gd name="connsiteX2" fmla="*/ 257451 w 586821"/>
                  <a:gd name="connsiteY2" fmla="*/ 1101121 h 1150093"/>
                  <a:gd name="connsiteX3" fmla="*/ 586224 w 586821"/>
                  <a:gd name="connsiteY3" fmla="*/ 484672 h 1150093"/>
                  <a:gd name="connsiteX4" fmla="*/ 329370 w 586821"/>
                  <a:gd name="connsiteY4" fmla="*/ 12060 h 1150093"/>
                  <a:gd name="connsiteX0" fmla="*/ 329370 w 621664"/>
                  <a:gd name="connsiteY0" fmla="*/ 13433 h 1151466"/>
                  <a:gd name="connsiteX1" fmla="*/ 597 w 621664"/>
                  <a:gd name="connsiteY1" fmla="*/ 989478 h 1151466"/>
                  <a:gd name="connsiteX2" fmla="*/ 257451 w 621664"/>
                  <a:gd name="connsiteY2" fmla="*/ 1102494 h 1151466"/>
                  <a:gd name="connsiteX3" fmla="*/ 586224 w 621664"/>
                  <a:gd name="connsiteY3" fmla="*/ 486045 h 1151466"/>
                  <a:gd name="connsiteX4" fmla="*/ 329370 w 621664"/>
                  <a:gd name="connsiteY4" fmla="*/ 13433 h 1151466"/>
                  <a:gd name="connsiteX0" fmla="*/ 269994 w 617120"/>
                  <a:gd name="connsiteY0" fmla="*/ 21041 h 1010632"/>
                  <a:gd name="connsiteX1" fmla="*/ 597 w 617120"/>
                  <a:gd name="connsiteY1" fmla="*/ 848644 h 1010632"/>
                  <a:gd name="connsiteX2" fmla="*/ 257451 w 617120"/>
                  <a:gd name="connsiteY2" fmla="*/ 961660 h 1010632"/>
                  <a:gd name="connsiteX3" fmla="*/ 586224 w 617120"/>
                  <a:gd name="connsiteY3" fmla="*/ 345211 h 1010632"/>
                  <a:gd name="connsiteX4" fmla="*/ 269994 w 617120"/>
                  <a:gd name="connsiteY4" fmla="*/ 21041 h 1010632"/>
                  <a:gd name="connsiteX0" fmla="*/ 269994 w 619954"/>
                  <a:gd name="connsiteY0" fmla="*/ 99624 h 1089215"/>
                  <a:gd name="connsiteX1" fmla="*/ 597 w 619954"/>
                  <a:gd name="connsiteY1" fmla="*/ 927227 h 1089215"/>
                  <a:gd name="connsiteX2" fmla="*/ 257451 w 619954"/>
                  <a:gd name="connsiteY2" fmla="*/ 1040243 h 1089215"/>
                  <a:gd name="connsiteX3" fmla="*/ 586224 w 619954"/>
                  <a:gd name="connsiteY3" fmla="*/ 423794 h 1089215"/>
                  <a:gd name="connsiteX4" fmla="*/ 269994 w 619954"/>
                  <a:gd name="connsiteY4" fmla="*/ 99624 h 1089215"/>
                  <a:gd name="connsiteX0" fmla="*/ 269994 w 513364"/>
                  <a:gd name="connsiteY0" fmla="*/ 91146 h 1080737"/>
                  <a:gd name="connsiteX1" fmla="*/ 597 w 513364"/>
                  <a:gd name="connsiteY1" fmla="*/ 918749 h 1080737"/>
                  <a:gd name="connsiteX2" fmla="*/ 257451 w 513364"/>
                  <a:gd name="connsiteY2" fmla="*/ 1031765 h 1080737"/>
                  <a:gd name="connsiteX3" fmla="*/ 466817 w 513364"/>
                  <a:gd name="connsiteY3" fmla="*/ 473133 h 1080737"/>
                  <a:gd name="connsiteX4" fmla="*/ 269994 w 513364"/>
                  <a:gd name="connsiteY4" fmla="*/ 91146 h 1080737"/>
                  <a:gd name="connsiteX0" fmla="*/ 270128 w 513498"/>
                  <a:gd name="connsiteY0" fmla="*/ 91146 h 1154890"/>
                  <a:gd name="connsiteX1" fmla="*/ 731 w 513498"/>
                  <a:gd name="connsiteY1" fmla="*/ 918749 h 1154890"/>
                  <a:gd name="connsiteX2" fmla="*/ 224250 w 513498"/>
                  <a:gd name="connsiteY2" fmla="*/ 1126262 h 1154890"/>
                  <a:gd name="connsiteX3" fmla="*/ 466951 w 513498"/>
                  <a:gd name="connsiteY3" fmla="*/ 473133 h 1154890"/>
                  <a:gd name="connsiteX4" fmla="*/ 270128 w 513498"/>
                  <a:gd name="connsiteY4" fmla="*/ 91146 h 1154890"/>
                  <a:gd name="connsiteX0" fmla="*/ 265543 w 508913"/>
                  <a:gd name="connsiteY0" fmla="*/ 91146 h 1174234"/>
                  <a:gd name="connsiteX1" fmla="*/ 755 w 508913"/>
                  <a:gd name="connsiteY1" fmla="*/ 1010046 h 1174234"/>
                  <a:gd name="connsiteX2" fmla="*/ 219665 w 508913"/>
                  <a:gd name="connsiteY2" fmla="*/ 1126262 h 1174234"/>
                  <a:gd name="connsiteX3" fmla="*/ 462366 w 508913"/>
                  <a:gd name="connsiteY3" fmla="*/ 473133 h 1174234"/>
                  <a:gd name="connsiteX4" fmla="*/ 265543 w 508913"/>
                  <a:gd name="connsiteY4" fmla="*/ 91146 h 11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913" h="1174234">
                    <a:moveTo>
                      <a:pt x="265543" y="91146"/>
                    </a:moveTo>
                    <a:lnTo>
                      <a:pt x="755" y="1010046"/>
                    </a:lnTo>
                    <a:cubicBezTo>
                      <a:pt x="-11231" y="1191556"/>
                      <a:pt x="122061" y="1210167"/>
                      <a:pt x="219665" y="1126262"/>
                    </a:cubicBezTo>
                    <a:cubicBezTo>
                      <a:pt x="289454" y="940051"/>
                      <a:pt x="392577" y="659344"/>
                      <a:pt x="462366" y="473133"/>
                    </a:cubicBezTo>
                    <a:cubicBezTo>
                      <a:pt x="599043" y="244121"/>
                      <a:pt x="404711" y="-188702"/>
                      <a:pt x="265543" y="9114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56" name="Rounded Rectangle 136"/>
              <p:cNvSpPr/>
              <p:nvPr/>
            </p:nvSpPr>
            <p:spPr>
              <a:xfrm rot="15983424">
                <a:off x="7641858" y="2670690"/>
                <a:ext cx="926680" cy="258802"/>
              </a:xfrm>
              <a:custGeom>
                <a:avLst/>
                <a:gdLst>
                  <a:gd name="connsiteX0" fmla="*/ 0 w 834013"/>
                  <a:gd name="connsiteY0" fmla="*/ 122474 h 244948"/>
                  <a:gd name="connsiteX1" fmla="*/ 122474 w 834013"/>
                  <a:gd name="connsiteY1" fmla="*/ 0 h 244948"/>
                  <a:gd name="connsiteX2" fmla="*/ 711539 w 834013"/>
                  <a:gd name="connsiteY2" fmla="*/ 0 h 244948"/>
                  <a:gd name="connsiteX3" fmla="*/ 834013 w 834013"/>
                  <a:gd name="connsiteY3" fmla="*/ 122474 h 244948"/>
                  <a:gd name="connsiteX4" fmla="*/ 834013 w 834013"/>
                  <a:gd name="connsiteY4" fmla="*/ 122474 h 244948"/>
                  <a:gd name="connsiteX5" fmla="*/ 711539 w 834013"/>
                  <a:gd name="connsiteY5" fmla="*/ 244948 h 244948"/>
                  <a:gd name="connsiteX6" fmla="*/ 122474 w 834013"/>
                  <a:gd name="connsiteY6" fmla="*/ 244948 h 244948"/>
                  <a:gd name="connsiteX7" fmla="*/ 0 w 834013"/>
                  <a:gd name="connsiteY7" fmla="*/ 122474 h 244948"/>
                  <a:gd name="connsiteX0" fmla="*/ 3 w 834016"/>
                  <a:gd name="connsiteY0" fmla="*/ 122474 h 244948"/>
                  <a:gd name="connsiteX1" fmla="*/ 119402 w 834016"/>
                  <a:gd name="connsiteY1" fmla="*/ 71930 h 244948"/>
                  <a:gd name="connsiteX2" fmla="*/ 711542 w 834016"/>
                  <a:gd name="connsiteY2" fmla="*/ 0 h 244948"/>
                  <a:gd name="connsiteX3" fmla="*/ 834016 w 834016"/>
                  <a:gd name="connsiteY3" fmla="*/ 122474 h 244948"/>
                  <a:gd name="connsiteX4" fmla="*/ 834016 w 834016"/>
                  <a:gd name="connsiteY4" fmla="*/ 122474 h 244948"/>
                  <a:gd name="connsiteX5" fmla="*/ 711542 w 834016"/>
                  <a:gd name="connsiteY5" fmla="*/ 244948 h 244948"/>
                  <a:gd name="connsiteX6" fmla="*/ 122477 w 834016"/>
                  <a:gd name="connsiteY6" fmla="*/ 244948 h 244948"/>
                  <a:gd name="connsiteX7" fmla="*/ 3 w 834016"/>
                  <a:gd name="connsiteY7" fmla="*/ 122474 h 244948"/>
                  <a:gd name="connsiteX0" fmla="*/ 75378 w 786917"/>
                  <a:gd name="connsiteY0" fmla="*/ 244948 h 244948"/>
                  <a:gd name="connsiteX1" fmla="*/ 72303 w 786917"/>
                  <a:gd name="connsiteY1" fmla="*/ 71930 h 244948"/>
                  <a:gd name="connsiteX2" fmla="*/ 664443 w 786917"/>
                  <a:gd name="connsiteY2" fmla="*/ 0 h 244948"/>
                  <a:gd name="connsiteX3" fmla="*/ 786917 w 786917"/>
                  <a:gd name="connsiteY3" fmla="*/ 122474 h 244948"/>
                  <a:gd name="connsiteX4" fmla="*/ 786917 w 786917"/>
                  <a:gd name="connsiteY4" fmla="*/ 122474 h 244948"/>
                  <a:gd name="connsiteX5" fmla="*/ 664443 w 786917"/>
                  <a:gd name="connsiteY5" fmla="*/ 244948 h 244948"/>
                  <a:gd name="connsiteX6" fmla="*/ 75378 w 786917"/>
                  <a:gd name="connsiteY6" fmla="*/ 244948 h 244948"/>
                  <a:gd name="connsiteX0" fmla="*/ 62588 w 774127"/>
                  <a:gd name="connsiteY0" fmla="*/ 244948 h 244948"/>
                  <a:gd name="connsiteX1" fmla="*/ 59513 w 774127"/>
                  <a:gd name="connsiteY1" fmla="*/ 71930 h 244948"/>
                  <a:gd name="connsiteX2" fmla="*/ 651653 w 774127"/>
                  <a:gd name="connsiteY2" fmla="*/ 0 h 244948"/>
                  <a:gd name="connsiteX3" fmla="*/ 774127 w 774127"/>
                  <a:gd name="connsiteY3" fmla="*/ 122474 h 244948"/>
                  <a:gd name="connsiteX4" fmla="*/ 774127 w 774127"/>
                  <a:gd name="connsiteY4" fmla="*/ 122474 h 244948"/>
                  <a:gd name="connsiteX5" fmla="*/ 651653 w 774127"/>
                  <a:gd name="connsiteY5" fmla="*/ 244948 h 244948"/>
                  <a:gd name="connsiteX6" fmla="*/ 62588 w 774127"/>
                  <a:gd name="connsiteY6" fmla="*/ 244948 h 244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127" h="244948">
                    <a:moveTo>
                      <a:pt x="62588" y="244948"/>
                    </a:moveTo>
                    <a:cubicBezTo>
                      <a:pt x="-36102" y="216112"/>
                      <a:pt x="-3249" y="133869"/>
                      <a:pt x="59513" y="71930"/>
                    </a:cubicBezTo>
                    <a:cubicBezTo>
                      <a:pt x="255868" y="71930"/>
                      <a:pt x="455298" y="0"/>
                      <a:pt x="651653" y="0"/>
                    </a:cubicBezTo>
                    <a:cubicBezTo>
                      <a:pt x="719294" y="0"/>
                      <a:pt x="774127" y="54833"/>
                      <a:pt x="774127" y="122474"/>
                    </a:cubicBezTo>
                    <a:lnTo>
                      <a:pt x="774127" y="122474"/>
                    </a:lnTo>
                    <a:cubicBezTo>
                      <a:pt x="774127" y="190115"/>
                      <a:pt x="719294" y="244948"/>
                      <a:pt x="651653" y="244948"/>
                    </a:cubicBezTo>
                    <a:lnTo>
                      <a:pt x="62588" y="244948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76" name="Group 1475"/>
            <p:cNvGrpSpPr/>
            <p:nvPr/>
          </p:nvGrpSpPr>
          <p:grpSpPr>
            <a:xfrm>
              <a:off x="6591918" y="414370"/>
              <a:ext cx="1520479" cy="5843289"/>
              <a:chOff x="6591918" y="414370"/>
              <a:chExt cx="1520479" cy="5843289"/>
            </a:xfrm>
          </p:grpSpPr>
          <p:sp>
            <p:nvSpPr>
              <p:cNvPr id="1477" name="Freeform 1476"/>
              <p:cNvSpPr/>
              <p:nvPr/>
            </p:nvSpPr>
            <p:spPr>
              <a:xfrm>
                <a:off x="7252474" y="1294377"/>
                <a:ext cx="550962" cy="247392"/>
              </a:xfrm>
              <a:custGeom>
                <a:avLst/>
                <a:gdLst>
                  <a:gd name="connsiteX0" fmla="*/ 0 w 549460"/>
                  <a:gd name="connsiteY0" fmla="*/ 0 h 196822"/>
                  <a:gd name="connsiteX1" fmla="*/ 549460 w 549460"/>
                  <a:gd name="connsiteY1" fmla="*/ 4101 h 196822"/>
                  <a:gd name="connsiteX2" fmla="*/ 512556 w 549460"/>
                  <a:gd name="connsiteY2" fmla="*/ 196822 h 196822"/>
                  <a:gd name="connsiteX3" fmla="*/ 45105 w 549460"/>
                  <a:gd name="connsiteY3" fmla="*/ 196822 h 196822"/>
                  <a:gd name="connsiteX4" fmla="*/ 0 w 549460"/>
                  <a:gd name="connsiteY4" fmla="*/ 0 h 196822"/>
                  <a:gd name="connsiteX0" fmla="*/ 1785 w 551245"/>
                  <a:gd name="connsiteY0" fmla="*/ 36596 h 233418"/>
                  <a:gd name="connsiteX1" fmla="*/ 551245 w 551245"/>
                  <a:gd name="connsiteY1" fmla="*/ 40697 h 233418"/>
                  <a:gd name="connsiteX2" fmla="*/ 514341 w 551245"/>
                  <a:gd name="connsiteY2" fmla="*/ 233418 h 233418"/>
                  <a:gd name="connsiteX3" fmla="*/ 46890 w 551245"/>
                  <a:gd name="connsiteY3" fmla="*/ 233418 h 233418"/>
                  <a:gd name="connsiteX4" fmla="*/ 1785 w 551245"/>
                  <a:gd name="connsiteY4" fmla="*/ 36596 h 233418"/>
                  <a:gd name="connsiteX0" fmla="*/ 1193 w 551650"/>
                  <a:gd name="connsiteY0" fmla="*/ 58995 h 255817"/>
                  <a:gd name="connsiteX1" fmla="*/ 550653 w 551650"/>
                  <a:gd name="connsiteY1" fmla="*/ 63096 h 255817"/>
                  <a:gd name="connsiteX2" fmla="*/ 513749 w 551650"/>
                  <a:gd name="connsiteY2" fmla="*/ 255817 h 255817"/>
                  <a:gd name="connsiteX3" fmla="*/ 46298 w 551650"/>
                  <a:gd name="connsiteY3" fmla="*/ 255817 h 255817"/>
                  <a:gd name="connsiteX4" fmla="*/ 1193 w 551650"/>
                  <a:gd name="connsiteY4" fmla="*/ 58995 h 255817"/>
                  <a:gd name="connsiteX0" fmla="*/ 1219 w 550962"/>
                  <a:gd name="connsiteY0" fmla="*/ 50570 h 247392"/>
                  <a:gd name="connsiteX1" fmla="*/ 550679 w 550962"/>
                  <a:gd name="connsiteY1" fmla="*/ 54671 h 247392"/>
                  <a:gd name="connsiteX2" fmla="*/ 513775 w 550962"/>
                  <a:gd name="connsiteY2" fmla="*/ 247392 h 247392"/>
                  <a:gd name="connsiteX3" fmla="*/ 46324 w 550962"/>
                  <a:gd name="connsiteY3" fmla="*/ 247392 h 247392"/>
                  <a:gd name="connsiteX4" fmla="*/ 1219 w 550962"/>
                  <a:gd name="connsiteY4" fmla="*/ 50570 h 247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0962" h="247392">
                    <a:moveTo>
                      <a:pt x="1219" y="50570"/>
                    </a:moveTo>
                    <a:cubicBezTo>
                      <a:pt x="-30457" y="-33444"/>
                      <a:pt x="565829" y="974"/>
                      <a:pt x="550679" y="54671"/>
                    </a:cubicBezTo>
                    <a:cubicBezTo>
                      <a:pt x="532918" y="117621"/>
                      <a:pt x="526076" y="183152"/>
                      <a:pt x="513775" y="247392"/>
                    </a:cubicBezTo>
                    <a:lnTo>
                      <a:pt x="46324" y="247392"/>
                    </a:lnTo>
                    <a:lnTo>
                      <a:pt x="1219" y="5057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8" name="Freeform 1477"/>
              <p:cNvSpPr/>
              <p:nvPr/>
            </p:nvSpPr>
            <p:spPr>
              <a:xfrm>
                <a:off x="7098393" y="4114800"/>
                <a:ext cx="975253" cy="465221"/>
              </a:xfrm>
              <a:custGeom>
                <a:avLst/>
                <a:gdLst>
                  <a:gd name="connsiteX0" fmla="*/ 974557 w 974557"/>
                  <a:gd name="connsiteY0" fmla="*/ 465221 h 465221"/>
                  <a:gd name="connsiteX1" fmla="*/ 0 w 974557"/>
                  <a:gd name="connsiteY1" fmla="*/ 232611 h 465221"/>
                  <a:gd name="connsiteX2" fmla="*/ 649705 w 974557"/>
                  <a:gd name="connsiteY2" fmla="*/ 0 h 465221"/>
                  <a:gd name="connsiteX3" fmla="*/ 974557 w 974557"/>
                  <a:gd name="connsiteY3" fmla="*/ 465221 h 465221"/>
                  <a:gd name="connsiteX0" fmla="*/ 974557 w 975014"/>
                  <a:gd name="connsiteY0" fmla="*/ 465221 h 465221"/>
                  <a:gd name="connsiteX1" fmla="*/ 0 w 975014"/>
                  <a:gd name="connsiteY1" fmla="*/ 232611 h 465221"/>
                  <a:gd name="connsiteX2" fmla="*/ 649705 w 975014"/>
                  <a:gd name="connsiteY2" fmla="*/ 0 h 465221"/>
                  <a:gd name="connsiteX3" fmla="*/ 974557 w 975014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  <a:gd name="connsiteX0" fmla="*/ 974796 w 975253"/>
                  <a:gd name="connsiteY0" fmla="*/ 465221 h 465221"/>
                  <a:gd name="connsiteX1" fmla="*/ 239 w 975253"/>
                  <a:gd name="connsiteY1" fmla="*/ 232611 h 465221"/>
                  <a:gd name="connsiteX2" fmla="*/ 649944 w 975253"/>
                  <a:gd name="connsiteY2" fmla="*/ 0 h 465221"/>
                  <a:gd name="connsiteX3" fmla="*/ 974796 w 975253"/>
                  <a:gd name="connsiteY3" fmla="*/ 465221 h 465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5253" h="465221">
                    <a:moveTo>
                      <a:pt x="974796" y="465221"/>
                    </a:moveTo>
                    <a:cubicBezTo>
                      <a:pt x="710102" y="455863"/>
                      <a:pt x="734165" y="334211"/>
                      <a:pt x="239" y="232611"/>
                    </a:cubicBezTo>
                    <a:cubicBezTo>
                      <a:pt x="-11793" y="10696"/>
                      <a:pt x="433376" y="77537"/>
                      <a:pt x="649944" y="0"/>
                    </a:cubicBezTo>
                    <a:cubicBezTo>
                      <a:pt x="758228" y="155074"/>
                      <a:pt x="986828" y="161757"/>
                      <a:pt x="974796" y="465221"/>
                    </a:cubicBezTo>
                    <a:close/>
                  </a:path>
                </a:pathLst>
              </a:custGeom>
              <a:solidFill>
                <a:srgbClr val="00206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9" name="Trapezoid 116"/>
              <p:cNvSpPr/>
              <p:nvPr/>
            </p:nvSpPr>
            <p:spPr>
              <a:xfrm flipV="1">
                <a:off x="7014348" y="1301300"/>
                <a:ext cx="1023668" cy="1809523"/>
              </a:xfrm>
              <a:custGeom>
                <a:avLst/>
                <a:gdLst>
                  <a:gd name="connsiteX0" fmla="*/ 0 w 1023668"/>
                  <a:gd name="connsiteY0" fmla="*/ 1782576 h 1782576"/>
                  <a:gd name="connsiteX1" fmla="*/ 255917 w 1023668"/>
                  <a:gd name="connsiteY1" fmla="*/ 0 h 1782576"/>
                  <a:gd name="connsiteX2" fmla="*/ 767751 w 1023668"/>
                  <a:gd name="connsiteY2" fmla="*/ 0 h 1782576"/>
                  <a:gd name="connsiteX3" fmla="*/ 1023668 w 1023668"/>
                  <a:gd name="connsiteY3" fmla="*/ 1782576 h 1782576"/>
                  <a:gd name="connsiteX4" fmla="*/ 0 w 1023668"/>
                  <a:gd name="connsiteY4" fmla="*/ 1782576 h 1782576"/>
                  <a:gd name="connsiteX0" fmla="*/ 0 w 1023668"/>
                  <a:gd name="connsiteY0" fmla="*/ 1782576 h 1782576"/>
                  <a:gd name="connsiteX1" fmla="*/ 255917 w 1023668"/>
                  <a:gd name="connsiteY1" fmla="*/ 0 h 1782576"/>
                  <a:gd name="connsiteX2" fmla="*/ 767751 w 1023668"/>
                  <a:gd name="connsiteY2" fmla="*/ 0 h 1782576"/>
                  <a:gd name="connsiteX3" fmla="*/ 1023668 w 1023668"/>
                  <a:gd name="connsiteY3" fmla="*/ 1782576 h 1782576"/>
                  <a:gd name="connsiteX4" fmla="*/ 0 w 1023668"/>
                  <a:gd name="connsiteY4" fmla="*/ 1782576 h 1782576"/>
                  <a:gd name="connsiteX0" fmla="*/ 0 w 1023668"/>
                  <a:gd name="connsiteY0" fmla="*/ 1782576 h 1926399"/>
                  <a:gd name="connsiteX1" fmla="*/ 255917 w 1023668"/>
                  <a:gd name="connsiteY1" fmla="*/ 0 h 1926399"/>
                  <a:gd name="connsiteX2" fmla="*/ 767751 w 1023668"/>
                  <a:gd name="connsiteY2" fmla="*/ 0 h 1926399"/>
                  <a:gd name="connsiteX3" fmla="*/ 1023668 w 1023668"/>
                  <a:gd name="connsiteY3" fmla="*/ 1782576 h 1926399"/>
                  <a:gd name="connsiteX4" fmla="*/ 0 w 1023668"/>
                  <a:gd name="connsiteY4" fmla="*/ 1782576 h 1926399"/>
                  <a:gd name="connsiteX0" fmla="*/ 0 w 1023668"/>
                  <a:gd name="connsiteY0" fmla="*/ 1782576 h 1848269"/>
                  <a:gd name="connsiteX1" fmla="*/ 255917 w 1023668"/>
                  <a:gd name="connsiteY1" fmla="*/ 0 h 1848269"/>
                  <a:gd name="connsiteX2" fmla="*/ 767751 w 1023668"/>
                  <a:gd name="connsiteY2" fmla="*/ 0 h 1848269"/>
                  <a:gd name="connsiteX3" fmla="*/ 1023668 w 1023668"/>
                  <a:gd name="connsiteY3" fmla="*/ 1782576 h 1848269"/>
                  <a:gd name="connsiteX4" fmla="*/ 0 w 1023668"/>
                  <a:gd name="connsiteY4" fmla="*/ 1782576 h 1848269"/>
                  <a:gd name="connsiteX0" fmla="*/ 0 w 1023668"/>
                  <a:gd name="connsiteY0" fmla="*/ 1782576 h 1863292"/>
                  <a:gd name="connsiteX1" fmla="*/ 255917 w 1023668"/>
                  <a:gd name="connsiteY1" fmla="*/ 0 h 1863292"/>
                  <a:gd name="connsiteX2" fmla="*/ 767751 w 1023668"/>
                  <a:gd name="connsiteY2" fmla="*/ 0 h 1863292"/>
                  <a:gd name="connsiteX3" fmla="*/ 1023668 w 1023668"/>
                  <a:gd name="connsiteY3" fmla="*/ 1782576 h 1863292"/>
                  <a:gd name="connsiteX4" fmla="*/ 0 w 1023668"/>
                  <a:gd name="connsiteY4" fmla="*/ 1782576 h 1863292"/>
                  <a:gd name="connsiteX0" fmla="*/ 0 w 1023668"/>
                  <a:gd name="connsiteY0" fmla="*/ 1782576 h 1939418"/>
                  <a:gd name="connsiteX1" fmla="*/ 255917 w 1023668"/>
                  <a:gd name="connsiteY1" fmla="*/ 0 h 1939418"/>
                  <a:gd name="connsiteX2" fmla="*/ 767751 w 1023668"/>
                  <a:gd name="connsiteY2" fmla="*/ 0 h 1939418"/>
                  <a:gd name="connsiteX3" fmla="*/ 1023668 w 1023668"/>
                  <a:gd name="connsiteY3" fmla="*/ 1782576 h 1939418"/>
                  <a:gd name="connsiteX4" fmla="*/ 354053 w 1023668"/>
                  <a:gd name="connsiteY4" fmla="*/ 1849612 h 1939418"/>
                  <a:gd name="connsiteX5" fmla="*/ 0 w 1023668"/>
                  <a:gd name="connsiteY5" fmla="*/ 1782576 h 1939418"/>
                  <a:gd name="connsiteX0" fmla="*/ 0 w 1023668"/>
                  <a:gd name="connsiteY0" fmla="*/ 1782576 h 1979745"/>
                  <a:gd name="connsiteX1" fmla="*/ 255917 w 1023668"/>
                  <a:gd name="connsiteY1" fmla="*/ 0 h 1979745"/>
                  <a:gd name="connsiteX2" fmla="*/ 767751 w 1023668"/>
                  <a:gd name="connsiteY2" fmla="*/ 0 h 1979745"/>
                  <a:gd name="connsiteX3" fmla="*/ 1023668 w 1023668"/>
                  <a:gd name="connsiteY3" fmla="*/ 1782576 h 1979745"/>
                  <a:gd name="connsiteX4" fmla="*/ 769690 w 1023668"/>
                  <a:gd name="connsiteY4" fmla="*/ 1942360 h 1979745"/>
                  <a:gd name="connsiteX5" fmla="*/ 354053 w 1023668"/>
                  <a:gd name="connsiteY5" fmla="*/ 1849612 h 1979745"/>
                  <a:gd name="connsiteX6" fmla="*/ 0 w 1023668"/>
                  <a:gd name="connsiteY6" fmla="*/ 1782576 h 1979745"/>
                  <a:gd name="connsiteX0" fmla="*/ 0 w 1023668"/>
                  <a:gd name="connsiteY0" fmla="*/ 1782576 h 1979745"/>
                  <a:gd name="connsiteX1" fmla="*/ 255917 w 1023668"/>
                  <a:gd name="connsiteY1" fmla="*/ 0 h 1979745"/>
                  <a:gd name="connsiteX2" fmla="*/ 767751 w 1023668"/>
                  <a:gd name="connsiteY2" fmla="*/ 0 h 1979745"/>
                  <a:gd name="connsiteX3" fmla="*/ 1023668 w 1023668"/>
                  <a:gd name="connsiteY3" fmla="*/ 1782576 h 1979745"/>
                  <a:gd name="connsiteX4" fmla="*/ 769690 w 1023668"/>
                  <a:gd name="connsiteY4" fmla="*/ 1942360 h 1979745"/>
                  <a:gd name="connsiteX5" fmla="*/ 354053 w 1023668"/>
                  <a:gd name="connsiteY5" fmla="*/ 1849612 h 1979745"/>
                  <a:gd name="connsiteX6" fmla="*/ 0 w 1023668"/>
                  <a:gd name="connsiteY6" fmla="*/ 1782576 h 1979745"/>
                  <a:gd name="connsiteX0" fmla="*/ 0 w 1023668"/>
                  <a:gd name="connsiteY0" fmla="*/ 1782576 h 2000477"/>
                  <a:gd name="connsiteX1" fmla="*/ 255917 w 1023668"/>
                  <a:gd name="connsiteY1" fmla="*/ 0 h 2000477"/>
                  <a:gd name="connsiteX2" fmla="*/ 767751 w 1023668"/>
                  <a:gd name="connsiteY2" fmla="*/ 0 h 2000477"/>
                  <a:gd name="connsiteX3" fmla="*/ 1023668 w 1023668"/>
                  <a:gd name="connsiteY3" fmla="*/ 1782576 h 2000477"/>
                  <a:gd name="connsiteX4" fmla="*/ 769690 w 1023668"/>
                  <a:gd name="connsiteY4" fmla="*/ 1942360 h 2000477"/>
                  <a:gd name="connsiteX5" fmla="*/ 357378 w 1023668"/>
                  <a:gd name="connsiteY5" fmla="*/ 1994299 h 2000477"/>
                  <a:gd name="connsiteX6" fmla="*/ 0 w 1023668"/>
                  <a:gd name="connsiteY6" fmla="*/ 1782576 h 2000477"/>
                  <a:gd name="connsiteX0" fmla="*/ 0 w 1023668"/>
                  <a:gd name="connsiteY0" fmla="*/ 1782576 h 2000477"/>
                  <a:gd name="connsiteX1" fmla="*/ 255917 w 1023668"/>
                  <a:gd name="connsiteY1" fmla="*/ 0 h 2000477"/>
                  <a:gd name="connsiteX2" fmla="*/ 767751 w 1023668"/>
                  <a:gd name="connsiteY2" fmla="*/ 0 h 2000477"/>
                  <a:gd name="connsiteX3" fmla="*/ 1023668 w 1023668"/>
                  <a:gd name="connsiteY3" fmla="*/ 1782576 h 2000477"/>
                  <a:gd name="connsiteX4" fmla="*/ 769690 w 1023668"/>
                  <a:gd name="connsiteY4" fmla="*/ 1942360 h 2000477"/>
                  <a:gd name="connsiteX5" fmla="*/ 357378 w 1023668"/>
                  <a:gd name="connsiteY5" fmla="*/ 1994299 h 2000477"/>
                  <a:gd name="connsiteX6" fmla="*/ 0 w 1023668"/>
                  <a:gd name="connsiteY6" fmla="*/ 1782576 h 2000477"/>
                  <a:gd name="connsiteX0" fmla="*/ 0 w 1023668"/>
                  <a:gd name="connsiteY0" fmla="*/ 1782576 h 2020441"/>
                  <a:gd name="connsiteX1" fmla="*/ 255917 w 1023668"/>
                  <a:gd name="connsiteY1" fmla="*/ 0 h 2020441"/>
                  <a:gd name="connsiteX2" fmla="*/ 767751 w 1023668"/>
                  <a:gd name="connsiteY2" fmla="*/ 0 h 2020441"/>
                  <a:gd name="connsiteX3" fmla="*/ 1023668 w 1023668"/>
                  <a:gd name="connsiteY3" fmla="*/ 1782576 h 2020441"/>
                  <a:gd name="connsiteX4" fmla="*/ 669937 w 1023668"/>
                  <a:gd name="connsiteY4" fmla="*/ 2012847 h 2020441"/>
                  <a:gd name="connsiteX5" fmla="*/ 357378 w 1023668"/>
                  <a:gd name="connsiteY5" fmla="*/ 1994299 h 2020441"/>
                  <a:gd name="connsiteX6" fmla="*/ 0 w 1023668"/>
                  <a:gd name="connsiteY6" fmla="*/ 1782576 h 2020441"/>
                  <a:gd name="connsiteX0" fmla="*/ 0 w 1023668"/>
                  <a:gd name="connsiteY0" fmla="*/ 1782576 h 2018939"/>
                  <a:gd name="connsiteX1" fmla="*/ 255917 w 1023668"/>
                  <a:gd name="connsiteY1" fmla="*/ 0 h 2018939"/>
                  <a:gd name="connsiteX2" fmla="*/ 767751 w 1023668"/>
                  <a:gd name="connsiteY2" fmla="*/ 0 h 2018939"/>
                  <a:gd name="connsiteX3" fmla="*/ 1023668 w 1023668"/>
                  <a:gd name="connsiteY3" fmla="*/ 1782576 h 2018939"/>
                  <a:gd name="connsiteX4" fmla="*/ 669937 w 1023668"/>
                  <a:gd name="connsiteY4" fmla="*/ 2012847 h 2018939"/>
                  <a:gd name="connsiteX5" fmla="*/ 357378 w 1023668"/>
                  <a:gd name="connsiteY5" fmla="*/ 1994299 h 2018939"/>
                  <a:gd name="connsiteX6" fmla="*/ 0 w 1023668"/>
                  <a:gd name="connsiteY6" fmla="*/ 1782576 h 2018939"/>
                  <a:gd name="connsiteX0" fmla="*/ 0 w 1023668"/>
                  <a:gd name="connsiteY0" fmla="*/ 1782576 h 2018939"/>
                  <a:gd name="connsiteX1" fmla="*/ 255917 w 1023668"/>
                  <a:gd name="connsiteY1" fmla="*/ 0 h 2018939"/>
                  <a:gd name="connsiteX2" fmla="*/ 767751 w 1023668"/>
                  <a:gd name="connsiteY2" fmla="*/ 0 h 2018939"/>
                  <a:gd name="connsiteX3" fmla="*/ 1023668 w 1023668"/>
                  <a:gd name="connsiteY3" fmla="*/ 1782576 h 2018939"/>
                  <a:gd name="connsiteX4" fmla="*/ 669937 w 1023668"/>
                  <a:gd name="connsiteY4" fmla="*/ 2012847 h 2018939"/>
                  <a:gd name="connsiteX5" fmla="*/ 357378 w 1023668"/>
                  <a:gd name="connsiteY5" fmla="*/ 1994299 h 2018939"/>
                  <a:gd name="connsiteX6" fmla="*/ 0 w 1023668"/>
                  <a:gd name="connsiteY6" fmla="*/ 1782576 h 2018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3668" h="2018939">
                    <a:moveTo>
                      <a:pt x="0" y="1782576"/>
                    </a:moveTo>
                    <a:lnTo>
                      <a:pt x="255917" y="0"/>
                    </a:lnTo>
                    <a:lnTo>
                      <a:pt x="767751" y="0"/>
                    </a:lnTo>
                    <a:lnTo>
                      <a:pt x="1023668" y="1782576"/>
                    </a:lnTo>
                    <a:cubicBezTo>
                      <a:pt x="827811" y="1828060"/>
                      <a:pt x="685112" y="1856988"/>
                      <a:pt x="669937" y="2012847"/>
                    </a:cubicBezTo>
                    <a:cubicBezTo>
                      <a:pt x="558334" y="2024020"/>
                      <a:pt x="485660" y="2020930"/>
                      <a:pt x="357378" y="1994299"/>
                    </a:cubicBezTo>
                    <a:cubicBezTo>
                      <a:pt x="366322" y="1834773"/>
                      <a:pt x="142709" y="1805182"/>
                      <a:pt x="0" y="1782576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Trapezoid 630"/>
              <p:cNvSpPr/>
              <p:nvPr/>
            </p:nvSpPr>
            <p:spPr>
              <a:xfrm>
                <a:off x="7360378" y="1152417"/>
                <a:ext cx="333212" cy="372583"/>
              </a:xfrm>
              <a:custGeom>
                <a:avLst/>
                <a:gdLst>
                  <a:gd name="connsiteX0" fmla="*/ 0 w 1009834"/>
                  <a:gd name="connsiteY0" fmla="*/ 836387 h 836387"/>
                  <a:gd name="connsiteX1" fmla="*/ 25326 w 1009834"/>
                  <a:gd name="connsiteY1" fmla="*/ 0 h 836387"/>
                  <a:gd name="connsiteX2" fmla="*/ 984508 w 1009834"/>
                  <a:gd name="connsiteY2" fmla="*/ 0 h 836387"/>
                  <a:gd name="connsiteX3" fmla="*/ 1009834 w 1009834"/>
                  <a:gd name="connsiteY3" fmla="*/ 836387 h 836387"/>
                  <a:gd name="connsiteX4" fmla="*/ 0 w 1009834"/>
                  <a:gd name="connsiteY4" fmla="*/ 836387 h 836387"/>
                  <a:gd name="connsiteX0" fmla="*/ 0 w 1009834"/>
                  <a:gd name="connsiteY0" fmla="*/ 836387 h 836387"/>
                  <a:gd name="connsiteX1" fmla="*/ 25326 w 1009834"/>
                  <a:gd name="connsiteY1" fmla="*/ 0 h 836387"/>
                  <a:gd name="connsiteX2" fmla="*/ 984508 w 1009834"/>
                  <a:gd name="connsiteY2" fmla="*/ 0 h 836387"/>
                  <a:gd name="connsiteX3" fmla="*/ 1009834 w 1009834"/>
                  <a:gd name="connsiteY3" fmla="*/ 836387 h 836387"/>
                  <a:gd name="connsiteX4" fmla="*/ 0 w 1009834"/>
                  <a:gd name="connsiteY4" fmla="*/ 836387 h 83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9834" h="836387">
                    <a:moveTo>
                      <a:pt x="0" y="836387"/>
                    </a:moveTo>
                    <a:lnTo>
                      <a:pt x="25326" y="0"/>
                    </a:lnTo>
                    <a:lnTo>
                      <a:pt x="984508" y="0"/>
                    </a:lnTo>
                    <a:lnTo>
                      <a:pt x="1009834" y="836387"/>
                    </a:lnTo>
                    <a:cubicBezTo>
                      <a:pt x="845749" y="975785"/>
                      <a:pt x="164085" y="975785"/>
                      <a:pt x="0" y="836387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Trapezoid 630"/>
              <p:cNvSpPr/>
              <p:nvPr/>
            </p:nvSpPr>
            <p:spPr>
              <a:xfrm>
                <a:off x="7371590" y="1152417"/>
                <a:ext cx="322000" cy="247623"/>
              </a:xfrm>
              <a:custGeom>
                <a:avLst/>
                <a:gdLst/>
                <a:ahLst/>
                <a:cxnLst/>
                <a:rect l="l" t="t" r="r" b="b"/>
                <a:pathLst>
                  <a:path w="322000" h="247623">
                    <a:moveTo>
                      <a:pt x="2751" y="0"/>
                    </a:moveTo>
                    <a:lnTo>
                      <a:pt x="319249" y="0"/>
                    </a:lnTo>
                    <a:lnTo>
                      <a:pt x="322000" y="122636"/>
                    </a:lnTo>
                    <a:cubicBezTo>
                      <a:pt x="284277" y="199227"/>
                      <a:pt x="226078" y="247623"/>
                      <a:pt x="161001" y="247623"/>
                    </a:cubicBezTo>
                    <a:cubicBezTo>
                      <a:pt x="95923" y="247623"/>
                      <a:pt x="37724" y="199225"/>
                      <a:pt x="0" y="12263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482" name="Group 1481"/>
              <p:cNvGrpSpPr/>
              <p:nvPr/>
            </p:nvGrpSpPr>
            <p:grpSpPr>
              <a:xfrm>
                <a:off x="7038493" y="3186996"/>
                <a:ext cx="1073904" cy="2607663"/>
                <a:chOff x="7038493" y="3186996"/>
                <a:chExt cx="1073904" cy="2857670"/>
              </a:xfrm>
            </p:grpSpPr>
            <p:grpSp>
              <p:nvGrpSpPr>
                <p:cNvPr id="1548" name="Group 1547"/>
                <p:cNvGrpSpPr/>
                <p:nvPr/>
              </p:nvGrpSpPr>
              <p:grpSpPr>
                <a:xfrm>
                  <a:off x="7038493" y="3190523"/>
                  <a:ext cx="527376" cy="2853242"/>
                  <a:chOff x="7038493" y="3190523"/>
                  <a:chExt cx="527376" cy="2853242"/>
                </a:xfrm>
              </p:grpSpPr>
              <p:sp>
                <p:nvSpPr>
                  <p:cNvPr id="1552" name="Freeform 1551"/>
                  <p:cNvSpPr/>
                  <p:nvPr/>
                </p:nvSpPr>
                <p:spPr>
                  <a:xfrm rot="776983">
                    <a:off x="7038493" y="3190523"/>
                    <a:ext cx="527376" cy="1441052"/>
                  </a:xfrm>
                  <a:custGeom>
                    <a:avLst/>
                    <a:gdLst>
                      <a:gd name="connsiteX0" fmla="*/ 0 w 485775"/>
                      <a:gd name="connsiteY0" fmla="*/ 819150 h 1428750"/>
                      <a:gd name="connsiteX1" fmla="*/ 276225 w 485775"/>
                      <a:gd name="connsiteY1" fmla="*/ 1428750 h 1428750"/>
                      <a:gd name="connsiteX2" fmla="*/ 485775 w 485775"/>
                      <a:gd name="connsiteY2" fmla="*/ 1428750 h 1428750"/>
                      <a:gd name="connsiteX3" fmla="*/ 485775 w 485775"/>
                      <a:gd name="connsiteY3" fmla="*/ 0 h 1428750"/>
                      <a:gd name="connsiteX4" fmla="*/ 9525 w 485775"/>
                      <a:gd name="connsiteY4" fmla="*/ 0 h 1428750"/>
                      <a:gd name="connsiteX5" fmla="*/ 0 w 485775"/>
                      <a:gd name="connsiteY5" fmla="*/ 819150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06277 w 514478"/>
                      <a:gd name="connsiteY2" fmla="*/ 14328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27376"/>
                      <a:gd name="connsiteY0" fmla="*/ 569023 h 1441052"/>
                      <a:gd name="connsiteX1" fmla="*/ 284426 w 527376"/>
                      <a:gd name="connsiteY1" fmla="*/ 1441052 h 1441052"/>
                      <a:gd name="connsiteX2" fmla="*/ 506277 w 527376"/>
                      <a:gd name="connsiteY2" fmla="*/ 1432850 h 1441052"/>
                      <a:gd name="connsiteX3" fmla="*/ 514478 w 527376"/>
                      <a:gd name="connsiteY3" fmla="*/ 0 h 1441052"/>
                      <a:gd name="connsiteX4" fmla="*/ 38228 w 527376"/>
                      <a:gd name="connsiteY4" fmla="*/ 0 h 1441052"/>
                      <a:gd name="connsiteX5" fmla="*/ 0 w 527376"/>
                      <a:gd name="connsiteY5" fmla="*/ 569023 h 14410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7376" h="1441052">
                        <a:moveTo>
                          <a:pt x="0" y="569023"/>
                        </a:moveTo>
                        <a:cubicBezTo>
                          <a:pt x="15533" y="937608"/>
                          <a:pt x="129477" y="1060166"/>
                          <a:pt x="284426" y="1441052"/>
                        </a:cubicBezTo>
                        <a:lnTo>
                          <a:pt x="506277" y="1432850"/>
                        </a:lnTo>
                        <a:cubicBezTo>
                          <a:pt x="550015" y="840421"/>
                          <a:pt x="511744" y="477617"/>
                          <a:pt x="514478" y="0"/>
                        </a:cubicBezTo>
                        <a:lnTo>
                          <a:pt x="38228" y="0"/>
                        </a:lnTo>
                        <a:lnTo>
                          <a:pt x="0" y="569023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553" name="Freeform 1552"/>
                  <p:cNvSpPr/>
                  <p:nvPr/>
                </p:nvSpPr>
                <p:spPr>
                  <a:xfrm>
                    <a:off x="7083356" y="4416133"/>
                    <a:ext cx="309669" cy="1627632"/>
                  </a:xfrm>
                  <a:custGeom>
                    <a:avLst/>
                    <a:gdLst>
                      <a:gd name="connsiteX0" fmla="*/ 82296 w 342900"/>
                      <a:gd name="connsiteY0" fmla="*/ 0 h 1627632"/>
                      <a:gd name="connsiteX1" fmla="*/ 91440 w 342900"/>
                      <a:gd name="connsiteY1" fmla="*/ 219456 h 1627632"/>
                      <a:gd name="connsiteX2" fmla="*/ 0 w 342900"/>
                      <a:gd name="connsiteY2" fmla="*/ 534924 h 1627632"/>
                      <a:gd name="connsiteX3" fmla="*/ 150876 w 342900"/>
                      <a:gd name="connsiteY3" fmla="*/ 1627632 h 1627632"/>
                      <a:gd name="connsiteX4" fmla="*/ 251460 w 342900"/>
                      <a:gd name="connsiteY4" fmla="*/ 1623060 h 1627632"/>
                      <a:gd name="connsiteX5" fmla="*/ 342900 w 342900"/>
                      <a:gd name="connsiteY5" fmla="*/ 699516 h 1627632"/>
                      <a:gd name="connsiteX6" fmla="*/ 292608 w 342900"/>
                      <a:gd name="connsiteY6" fmla="*/ 13716 h 1627632"/>
                      <a:gd name="connsiteX7" fmla="*/ 82296 w 342900"/>
                      <a:gd name="connsiteY7" fmla="*/ 0 h 1627632"/>
                      <a:gd name="connsiteX0" fmla="*/ 83074 w 343678"/>
                      <a:gd name="connsiteY0" fmla="*/ 0 h 1627632"/>
                      <a:gd name="connsiteX1" fmla="*/ 92218 w 343678"/>
                      <a:gd name="connsiteY1" fmla="*/ 219456 h 1627632"/>
                      <a:gd name="connsiteX2" fmla="*/ 778 w 343678"/>
                      <a:gd name="connsiteY2" fmla="*/ 534924 h 1627632"/>
                      <a:gd name="connsiteX3" fmla="*/ 151654 w 343678"/>
                      <a:gd name="connsiteY3" fmla="*/ 1627632 h 1627632"/>
                      <a:gd name="connsiteX4" fmla="*/ 252238 w 343678"/>
                      <a:gd name="connsiteY4" fmla="*/ 1623060 h 1627632"/>
                      <a:gd name="connsiteX5" fmla="*/ 343678 w 343678"/>
                      <a:gd name="connsiteY5" fmla="*/ 699516 h 1627632"/>
                      <a:gd name="connsiteX6" fmla="*/ 293386 w 343678"/>
                      <a:gd name="connsiteY6" fmla="*/ 13716 h 1627632"/>
                      <a:gd name="connsiteX7" fmla="*/ 83074 w 343678"/>
                      <a:gd name="connsiteY7" fmla="*/ 0 h 1627632"/>
                      <a:gd name="connsiteX0" fmla="*/ 47391 w 307995"/>
                      <a:gd name="connsiteY0" fmla="*/ 0 h 1627632"/>
                      <a:gd name="connsiteX1" fmla="*/ 56535 w 307995"/>
                      <a:gd name="connsiteY1" fmla="*/ 219456 h 1627632"/>
                      <a:gd name="connsiteX2" fmla="*/ 1258 w 307995"/>
                      <a:gd name="connsiteY2" fmla="*/ 731235 h 1627632"/>
                      <a:gd name="connsiteX3" fmla="*/ 115971 w 307995"/>
                      <a:gd name="connsiteY3" fmla="*/ 1627632 h 1627632"/>
                      <a:gd name="connsiteX4" fmla="*/ 216555 w 307995"/>
                      <a:gd name="connsiteY4" fmla="*/ 1623060 h 1627632"/>
                      <a:gd name="connsiteX5" fmla="*/ 307995 w 307995"/>
                      <a:gd name="connsiteY5" fmla="*/ 699516 h 1627632"/>
                      <a:gd name="connsiteX6" fmla="*/ 257703 w 307995"/>
                      <a:gd name="connsiteY6" fmla="*/ 13716 h 1627632"/>
                      <a:gd name="connsiteX7" fmla="*/ 47391 w 307995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9669" h="1627632">
                        <a:moveTo>
                          <a:pt x="47391" y="0"/>
                        </a:moveTo>
                        <a:lnTo>
                          <a:pt x="56535" y="219456"/>
                        </a:lnTo>
                        <a:cubicBezTo>
                          <a:pt x="42819" y="308610"/>
                          <a:pt x="-8648" y="496539"/>
                          <a:pt x="1258" y="731235"/>
                        </a:cubicBezTo>
                        <a:cubicBezTo>
                          <a:pt x="11164" y="965931"/>
                          <a:pt x="74061" y="1239632"/>
                          <a:pt x="115971" y="1627632"/>
                        </a:cubicBezTo>
                        <a:lnTo>
                          <a:pt x="216555" y="1623060"/>
                        </a:lnTo>
                        <a:cubicBezTo>
                          <a:pt x="248559" y="1468374"/>
                          <a:pt x="301137" y="967740"/>
                          <a:pt x="307995" y="699516"/>
                        </a:cubicBezTo>
                        <a:cubicBezTo>
                          <a:pt x="314853" y="431292"/>
                          <a:pt x="301137" y="130302"/>
                          <a:pt x="257703" y="13716"/>
                        </a:cubicBezTo>
                        <a:lnTo>
                          <a:pt x="47391" y="0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  <p:grpSp>
              <p:nvGrpSpPr>
                <p:cNvPr id="1549" name="Group 1548"/>
                <p:cNvGrpSpPr/>
                <p:nvPr/>
              </p:nvGrpSpPr>
              <p:grpSpPr>
                <a:xfrm>
                  <a:off x="7585021" y="3186996"/>
                  <a:ext cx="527376" cy="2857670"/>
                  <a:chOff x="7585021" y="3186996"/>
                  <a:chExt cx="527376" cy="2857670"/>
                </a:xfrm>
              </p:grpSpPr>
              <p:sp>
                <p:nvSpPr>
                  <p:cNvPr id="1550" name="Freeform 1549"/>
                  <p:cNvSpPr/>
                  <p:nvPr/>
                </p:nvSpPr>
                <p:spPr>
                  <a:xfrm flipH="1">
                    <a:off x="7683390" y="4417034"/>
                    <a:ext cx="309669" cy="1627632"/>
                  </a:xfrm>
                  <a:custGeom>
                    <a:avLst/>
                    <a:gdLst>
                      <a:gd name="connsiteX0" fmla="*/ 82296 w 342900"/>
                      <a:gd name="connsiteY0" fmla="*/ 0 h 1627632"/>
                      <a:gd name="connsiteX1" fmla="*/ 91440 w 342900"/>
                      <a:gd name="connsiteY1" fmla="*/ 219456 h 1627632"/>
                      <a:gd name="connsiteX2" fmla="*/ 0 w 342900"/>
                      <a:gd name="connsiteY2" fmla="*/ 534924 h 1627632"/>
                      <a:gd name="connsiteX3" fmla="*/ 150876 w 342900"/>
                      <a:gd name="connsiteY3" fmla="*/ 1627632 h 1627632"/>
                      <a:gd name="connsiteX4" fmla="*/ 251460 w 342900"/>
                      <a:gd name="connsiteY4" fmla="*/ 1623060 h 1627632"/>
                      <a:gd name="connsiteX5" fmla="*/ 342900 w 342900"/>
                      <a:gd name="connsiteY5" fmla="*/ 699516 h 1627632"/>
                      <a:gd name="connsiteX6" fmla="*/ 292608 w 342900"/>
                      <a:gd name="connsiteY6" fmla="*/ 13716 h 1627632"/>
                      <a:gd name="connsiteX7" fmla="*/ 82296 w 342900"/>
                      <a:gd name="connsiteY7" fmla="*/ 0 h 1627632"/>
                      <a:gd name="connsiteX0" fmla="*/ 83074 w 343678"/>
                      <a:gd name="connsiteY0" fmla="*/ 0 h 1627632"/>
                      <a:gd name="connsiteX1" fmla="*/ 92218 w 343678"/>
                      <a:gd name="connsiteY1" fmla="*/ 219456 h 1627632"/>
                      <a:gd name="connsiteX2" fmla="*/ 778 w 343678"/>
                      <a:gd name="connsiteY2" fmla="*/ 534924 h 1627632"/>
                      <a:gd name="connsiteX3" fmla="*/ 151654 w 343678"/>
                      <a:gd name="connsiteY3" fmla="*/ 1627632 h 1627632"/>
                      <a:gd name="connsiteX4" fmla="*/ 252238 w 343678"/>
                      <a:gd name="connsiteY4" fmla="*/ 1623060 h 1627632"/>
                      <a:gd name="connsiteX5" fmla="*/ 343678 w 343678"/>
                      <a:gd name="connsiteY5" fmla="*/ 699516 h 1627632"/>
                      <a:gd name="connsiteX6" fmla="*/ 293386 w 343678"/>
                      <a:gd name="connsiteY6" fmla="*/ 13716 h 1627632"/>
                      <a:gd name="connsiteX7" fmla="*/ 83074 w 343678"/>
                      <a:gd name="connsiteY7" fmla="*/ 0 h 1627632"/>
                      <a:gd name="connsiteX0" fmla="*/ 47391 w 307995"/>
                      <a:gd name="connsiteY0" fmla="*/ 0 h 1627632"/>
                      <a:gd name="connsiteX1" fmla="*/ 56535 w 307995"/>
                      <a:gd name="connsiteY1" fmla="*/ 219456 h 1627632"/>
                      <a:gd name="connsiteX2" fmla="*/ 1258 w 307995"/>
                      <a:gd name="connsiteY2" fmla="*/ 731235 h 1627632"/>
                      <a:gd name="connsiteX3" fmla="*/ 115971 w 307995"/>
                      <a:gd name="connsiteY3" fmla="*/ 1627632 h 1627632"/>
                      <a:gd name="connsiteX4" fmla="*/ 216555 w 307995"/>
                      <a:gd name="connsiteY4" fmla="*/ 1623060 h 1627632"/>
                      <a:gd name="connsiteX5" fmla="*/ 307995 w 307995"/>
                      <a:gd name="connsiteY5" fmla="*/ 699516 h 1627632"/>
                      <a:gd name="connsiteX6" fmla="*/ 257703 w 307995"/>
                      <a:gd name="connsiteY6" fmla="*/ 13716 h 1627632"/>
                      <a:gd name="connsiteX7" fmla="*/ 47391 w 307995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  <a:gd name="connsiteX0" fmla="*/ 47391 w 309669"/>
                      <a:gd name="connsiteY0" fmla="*/ 0 h 1627632"/>
                      <a:gd name="connsiteX1" fmla="*/ 56535 w 309669"/>
                      <a:gd name="connsiteY1" fmla="*/ 219456 h 1627632"/>
                      <a:gd name="connsiteX2" fmla="*/ 1258 w 309669"/>
                      <a:gd name="connsiteY2" fmla="*/ 731235 h 1627632"/>
                      <a:gd name="connsiteX3" fmla="*/ 115971 w 309669"/>
                      <a:gd name="connsiteY3" fmla="*/ 1627632 h 1627632"/>
                      <a:gd name="connsiteX4" fmla="*/ 216555 w 309669"/>
                      <a:gd name="connsiteY4" fmla="*/ 1623060 h 1627632"/>
                      <a:gd name="connsiteX5" fmla="*/ 307995 w 309669"/>
                      <a:gd name="connsiteY5" fmla="*/ 699516 h 1627632"/>
                      <a:gd name="connsiteX6" fmla="*/ 257703 w 309669"/>
                      <a:gd name="connsiteY6" fmla="*/ 13716 h 1627632"/>
                      <a:gd name="connsiteX7" fmla="*/ 47391 w 309669"/>
                      <a:gd name="connsiteY7" fmla="*/ 0 h 1627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9669" h="1627632">
                        <a:moveTo>
                          <a:pt x="47391" y="0"/>
                        </a:moveTo>
                        <a:lnTo>
                          <a:pt x="56535" y="219456"/>
                        </a:lnTo>
                        <a:cubicBezTo>
                          <a:pt x="42819" y="308610"/>
                          <a:pt x="-8648" y="496539"/>
                          <a:pt x="1258" y="731235"/>
                        </a:cubicBezTo>
                        <a:cubicBezTo>
                          <a:pt x="11164" y="965931"/>
                          <a:pt x="74061" y="1239632"/>
                          <a:pt x="115971" y="1627632"/>
                        </a:cubicBezTo>
                        <a:lnTo>
                          <a:pt x="216555" y="1623060"/>
                        </a:lnTo>
                        <a:cubicBezTo>
                          <a:pt x="248559" y="1468374"/>
                          <a:pt x="301137" y="967740"/>
                          <a:pt x="307995" y="699516"/>
                        </a:cubicBezTo>
                        <a:cubicBezTo>
                          <a:pt x="314853" y="431292"/>
                          <a:pt x="301137" y="130302"/>
                          <a:pt x="257703" y="13716"/>
                        </a:cubicBezTo>
                        <a:lnTo>
                          <a:pt x="47391" y="0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1551" name="Freeform 1550"/>
                  <p:cNvSpPr/>
                  <p:nvPr/>
                </p:nvSpPr>
                <p:spPr>
                  <a:xfrm rot="21132868" flipH="1">
                    <a:off x="7585021" y="3186996"/>
                    <a:ext cx="527376" cy="1582523"/>
                  </a:xfrm>
                  <a:custGeom>
                    <a:avLst/>
                    <a:gdLst>
                      <a:gd name="connsiteX0" fmla="*/ 0 w 485775"/>
                      <a:gd name="connsiteY0" fmla="*/ 819150 h 1428750"/>
                      <a:gd name="connsiteX1" fmla="*/ 276225 w 485775"/>
                      <a:gd name="connsiteY1" fmla="*/ 1428750 h 1428750"/>
                      <a:gd name="connsiteX2" fmla="*/ 485775 w 485775"/>
                      <a:gd name="connsiteY2" fmla="*/ 1428750 h 1428750"/>
                      <a:gd name="connsiteX3" fmla="*/ 485775 w 485775"/>
                      <a:gd name="connsiteY3" fmla="*/ 0 h 1428750"/>
                      <a:gd name="connsiteX4" fmla="*/ 9525 w 485775"/>
                      <a:gd name="connsiteY4" fmla="*/ 0 h 1428750"/>
                      <a:gd name="connsiteX5" fmla="*/ 0 w 485775"/>
                      <a:gd name="connsiteY5" fmla="*/ 819150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28750"/>
                      <a:gd name="connsiteX1" fmla="*/ 304928 w 514478"/>
                      <a:gd name="connsiteY1" fmla="*/ 1428750 h 1428750"/>
                      <a:gd name="connsiteX2" fmla="*/ 514478 w 514478"/>
                      <a:gd name="connsiteY2" fmla="*/ 1428750 h 1428750"/>
                      <a:gd name="connsiteX3" fmla="*/ 514478 w 514478"/>
                      <a:gd name="connsiteY3" fmla="*/ 0 h 1428750"/>
                      <a:gd name="connsiteX4" fmla="*/ 38228 w 514478"/>
                      <a:gd name="connsiteY4" fmla="*/ 0 h 1428750"/>
                      <a:gd name="connsiteX5" fmla="*/ 0 w 514478"/>
                      <a:gd name="connsiteY5" fmla="*/ 569023 h 1428750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14478 w 514478"/>
                      <a:gd name="connsiteY2" fmla="*/ 14287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14478"/>
                      <a:gd name="connsiteY0" fmla="*/ 569023 h 1441052"/>
                      <a:gd name="connsiteX1" fmla="*/ 284426 w 514478"/>
                      <a:gd name="connsiteY1" fmla="*/ 1441052 h 1441052"/>
                      <a:gd name="connsiteX2" fmla="*/ 506277 w 514478"/>
                      <a:gd name="connsiteY2" fmla="*/ 1432850 h 1441052"/>
                      <a:gd name="connsiteX3" fmla="*/ 514478 w 514478"/>
                      <a:gd name="connsiteY3" fmla="*/ 0 h 1441052"/>
                      <a:gd name="connsiteX4" fmla="*/ 38228 w 514478"/>
                      <a:gd name="connsiteY4" fmla="*/ 0 h 1441052"/>
                      <a:gd name="connsiteX5" fmla="*/ 0 w 514478"/>
                      <a:gd name="connsiteY5" fmla="*/ 569023 h 1441052"/>
                      <a:gd name="connsiteX0" fmla="*/ 0 w 527376"/>
                      <a:gd name="connsiteY0" fmla="*/ 569023 h 1441052"/>
                      <a:gd name="connsiteX1" fmla="*/ 284426 w 527376"/>
                      <a:gd name="connsiteY1" fmla="*/ 1441052 h 1441052"/>
                      <a:gd name="connsiteX2" fmla="*/ 506277 w 527376"/>
                      <a:gd name="connsiteY2" fmla="*/ 1432850 h 1441052"/>
                      <a:gd name="connsiteX3" fmla="*/ 514478 w 527376"/>
                      <a:gd name="connsiteY3" fmla="*/ 0 h 1441052"/>
                      <a:gd name="connsiteX4" fmla="*/ 38228 w 527376"/>
                      <a:gd name="connsiteY4" fmla="*/ 0 h 1441052"/>
                      <a:gd name="connsiteX5" fmla="*/ 0 w 527376"/>
                      <a:gd name="connsiteY5" fmla="*/ 569023 h 1441052"/>
                      <a:gd name="connsiteX0" fmla="*/ 0 w 527376"/>
                      <a:gd name="connsiteY0" fmla="*/ 569023 h 1582523"/>
                      <a:gd name="connsiteX1" fmla="*/ 284426 w 527376"/>
                      <a:gd name="connsiteY1" fmla="*/ 1441052 h 1582523"/>
                      <a:gd name="connsiteX2" fmla="*/ 506277 w 527376"/>
                      <a:gd name="connsiteY2" fmla="*/ 1432850 h 1582523"/>
                      <a:gd name="connsiteX3" fmla="*/ 514478 w 527376"/>
                      <a:gd name="connsiteY3" fmla="*/ 0 h 1582523"/>
                      <a:gd name="connsiteX4" fmla="*/ 38228 w 527376"/>
                      <a:gd name="connsiteY4" fmla="*/ 0 h 1582523"/>
                      <a:gd name="connsiteX5" fmla="*/ 0 w 527376"/>
                      <a:gd name="connsiteY5" fmla="*/ 569023 h 1582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7376" h="1582523">
                        <a:moveTo>
                          <a:pt x="0" y="569023"/>
                        </a:moveTo>
                        <a:cubicBezTo>
                          <a:pt x="15533" y="937608"/>
                          <a:pt x="129477" y="1060166"/>
                          <a:pt x="284426" y="1441052"/>
                        </a:cubicBezTo>
                        <a:cubicBezTo>
                          <a:pt x="368805" y="1585023"/>
                          <a:pt x="467935" y="1673025"/>
                          <a:pt x="506277" y="1432850"/>
                        </a:cubicBezTo>
                        <a:cubicBezTo>
                          <a:pt x="550015" y="840421"/>
                          <a:pt x="511744" y="477617"/>
                          <a:pt x="514478" y="0"/>
                        </a:cubicBezTo>
                        <a:lnTo>
                          <a:pt x="38228" y="0"/>
                        </a:lnTo>
                        <a:lnTo>
                          <a:pt x="0" y="569023"/>
                        </a:lnTo>
                        <a:close/>
                      </a:path>
                    </a:pathLst>
                  </a:custGeom>
                  <a:solidFill>
                    <a:srgbClr val="F3DAB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</p:grpSp>
          <p:sp>
            <p:nvSpPr>
              <p:cNvPr id="1483" name="Trapezoid 121"/>
              <p:cNvSpPr/>
              <p:nvPr/>
            </p:nvSpPr>
            <p:spPr>
              <a:xfrm>
                <a:off x="7030980" y="3040485"/>
                <a:ext cx="1062896" cy="1531484"/>
              </a:xfrm>
              <a:custGeom>
                <a:avLst/>
                <a:gdLst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58802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58802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2809"/>
                  <a:gd name="connsiteY0" fmla="*/ 1083809 h 1083809"/>
                  <a:gd name="connsiteX1" fmla="*/ 64007 w 1022809"/>
                  <a:gd name="connsiteY1" fmla="*/ 0 h 1083809"/>
                  <a:gd name="connsiteX2" fmla="*/ 945086 w 1022809"/>
                  <a:gd name="connsiteY2" fmla="*/ 0 h 1083809"/>
                  <a:gd name="connsiteX3" fmla="*/ 1022809 w 1022809"/>
                  <a:gd name="connsiteY3" fmla="*/ 1083809 h 1083809"/>
                  <a:gd name="connsiteX4" fmla="*/ 0 w 1022809"/>
                  <a:gd name="connsiteY4" fmla="*/ 1083809 h 1083809"/>
                  <a:gd name="connsiteX0" fmla="*/ 0 w 1026899"/>
                  <a:gd name="connsiteY0" fmla="*/ 1083809 h 1083809"/>
                  <a:gd name="connsiteX1" fmla="*/ 64007 w 1026899"/>
                  <a:gd name="connsiteY1" fmla="*/ 0 h 1083809"/>
                  <a:gd name="connsiteX2" fmla="*/ 945086 w 1026899"/>
                  <a:gd name="connsiteY2" fmla="*/ 0 h 1083809"/>
                  <a:gd name="connsiteX3" fmla="*/ 1022809 w 1026899"/>
                  <a:gd name="connsiteY3" fmla="*/ 1083809 h 1083809"/>
                  <a:gd name="connsiteX4" fmla="*/ 0 w 1026899"/>
                  <a:gd name="connsiteY4" fmla="*/ 1083809 h 1083809"/>
                  <a:gd name="connsiteX0" fmla="*/ 24627 w 1051526"/>
                  <a:gd name="connsiteY0" fmla="*/ 1083809 h 1083809"/>
                  <a:gd name="connsiteX1" fmla="*/ 88634 w 1051526"/>
                  <a:gd name="connsiteY1" fmla="*/ 0 h 1083809"/>
                  <a:gd name="connsiteX2" fmla="*/ 969713 w 1051526"/>
                  <a:gd name="connsiteY2" fmla="*/ 0 h 1083809"/>
                  <a:gd name="connsiteX3" fmla="*/ 1047436 w 1051526"/>
                  <a:gd name="connsiteY3" fmla="*/ 1083809 h 1083809"/>
                  <a:gd name="connsiteX4" fmla="*/ 24627 w 1051526"/>
                  <a:gd name="connsiteY4" fmla="*/ 1083809 h 1083809"/>
                  <a:gd name="connsiteX0" fmla="*/ 24627 w 1075072"/>
                  <a:gd name="connsiteY0" fmla="*/ 1083809 h 1083809"/>
                  <a:gd name="connsiteX1" fmla="*/ 88634 w 1075072"/>
                  <a:gd name="connsiteY1" fmla="*/ 0 h 1083809"/>
                  <a:gd name="connsiteX2" fmla="*/ 969713 w 1075072"/>
                  <a:gd name="connsiteY2" fmla="*/ 0 h 1083809"/>
                  <a:gd name="connsiteX3" fmla="*/ 1047436 w 1075072"/>
                  <a:gd name="connsiteY3" fmla="*/ 1083809 h 1083809"/>
                  <a:gd name="connsiteX4" fmla="*/ 24627 w 1075072"/>
                  <a:gd name="connsiteY4" fmla="*/ 1083809 h 1083809"/>
                  <a:gd name="connsiteX0" fmla="*/ 24627 w 1075072"/>
                  <a:gd name="connsiteY0" fmla="*/ 979034 h 1083809"/>
                  <a:gd name="connsiteX1" fmla="*/ 88634 w 1075072"/>
                  <a:gd name="connsiteY1" fmla="*/ 0 h 1083809"/>
                  <a:gd name="connsiteX2" fmla="*/ 969713 w 1075072"/>
                  <a:gd name="connsiteY2" fmla="*/ 0 h 1083809"/>
                  <a:gd name="connsiteX3" fmla="*/ 1047436 w 1075072"/>
                  <a:gd name="connsiteY3" fmla="*/ 1083809 h 1083809"/>
                  <a:gd name="connsiteX4" fmla="*/ 24627 w 1075072"/>
                  <a:gd name="connsiteY4" fmla="*/ 979034 h 1083809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1803"/>
                  <a:gd name="connsiteY0" fmla="*/ 979034 h 1531484"/>
                  <a:gd name="connsiteX1" fmla="*/ 88634 w 1101803"/>
                  <a:gd name="connsiteY1" fmla="*/ 0 h 1531484"/>
                  <a:gd name="connsiteX2" fmla="*/ 969713 w 1101803"/>
                  <a:gd name="connsiteY2" fmla="*/ 0 h 1531484"/>
                  <a:gd name="connsiteX3" fmla="*/ 1085536 w 1101803"/>
                  <a:gd name="connsiteY3" fmla="*/ 1531484 h 1531484"/>
                  <a:gd name="connsiteX4" fmla="*/ 24627 w 1101803"/>
                  <a:gd name="connsiteY4" fmla="*/ 979034 h 1531484"/>
                  <a:gd name="connsiteX0" fmla="*/ 24627 w 1109832"/>
                  <a:gd name="connsiteY0" fmla="*/ 979034 h 1531484"/>
                  <a:gd name="connsiteX1" fmla="*/ 88634 w 1109832"/>
                  <a:gd name="connsiteY1" fmla="*/ 0 h 1531484"/>
                  <a:gd name="connsiteX2" fmla="*/ 998676 w 1109832"/>
                  <a:gd name="connsiteY2" fmla="*/ 8275 h 1531484"/>
                  <a:gd name="connsiteX3" fmla="*/ 1085536 w 1109832"/>
                  <a:gd name="connsiteY3" fmla="*/ 1531484 h 1531484"/>
                  <a:gd name="connsiteX4" fmla="*/ 24627 w 1109832"/>
                  <a:gd name="connsiteY4" fmla="*/ 979034 h 1531484"/>
                  <a:gd name="connsiteX0" fmla="*/ 24627 w 1103724"/>
                  <a:gd name="connsiteY0" fmla="*/ 979034 h 1531484"/>
                  <a:gd name="connsiteX1" fmla="*/ 88634 w 1103724"/>
                  <a:gd name="connsiteY1" fmla="*/ 0 h 1531484"/>
                  <a:gd name="connsiteX2" fmla="*/ 977988 w 1103724"/>
                  <a:gd name="connsiteY2" fmla="*/ 12412 h 1531484"/>
                  <a:gd name="connsiteX3" fmla="*/ 1085536 w 1103724"/>
                  <a:gd name="connsiteY3" fmla="*/ 1531484 h 1531484"/>
                  <a:gd name="connsiteX4" fmla="*/ 24627 w 1103724"/>
                  <a:gd name="connsiteY4" fmla="*/ 979034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  <a:gd name="connsiteX0" fmla="*/ 70297 w 1062896"/>
                  <a:gd name="connsiteY0" fmla="*/ 1300310 h 1531484"/>
                  <a:gd name="connsiteX1" fmla="*/ 47806 w 1062896"/>
                  <a:gd name="connsiteY1" fmla="*/ 0 h 1531484"/>
                  <a:gd name="connsiteX2" fmla="*/ 937160 w 1062896"/>
                  <a:gd name="connsiteY2" fmla="*/ 12412 h 1531484"/>
                  <a:gd name="connsiteX3" fmla="*/ 1044708 w 1062896"/>
                  <a:gd name="connsiteY3" fmla="*/ 1531484 h 1531484"/>
                  <a:gd name="connsiteX4" fmla="*/ 70297 w 1062896"/>
                  <a:gd name="connsiteY4" fmla="*/ 1300310 h 1531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2896" h="1531484">
                    <a:moveTo>
                      <a:pt x="70297" y="1300310"/>
                    </a:moveTo>
                    <a:cubicBezTo>
                      <a:pt x="27625" y="1039624"/>
                      <a:pt x="-51254" y="342982"/>
                      <a:pt x="47806" y="0"/>
                    </a:cubicBezTo>
                    <a:lnTo>
                      <a:pt x="937160" y="12412"/>
                    </a:lnTo>
                    <a:cubicBezTo>
                      <a:pt x="1077368" y="273098"/>
                      <a:pt x="1078236" y="1133638"/>
                      <a:pt x="1044708" y="1531484"/>
                    </a:cubicBezTo>
                    <a:cubicBezTo>
                      <a:pt x="953762" y="1331292"/>
                      <a:pt x="514170" y="1337575"/>
                      <a:pt x="70297" y="130031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4" name="Freeform 1483"/>
              <p:cNvSpPr/>
              <p:nvPr/>
            </p:nvSpPr>
            <p:spPr>
              <a:xfrm flipH="1">
                <a:off x="7507514" y="1458045"/>
                <a:ext cx="575519" cy="1784686"/>
              </a:xfrm>
              <a:custGeom>
                <a:avLst/>
                <a:gdLst>
                  <a:gd name="connsiteX0" fmla="*/ 271107 w 575907"/>
                  <a:gd name="connsiteY0" fmla="*/ 0 h 1755983"/>
                  <a:gd name="connsiteX1" fmla="*/ 812 w 575907"/>
                  <a:gd name="connsiteY1" fmla="*/ 69175 h 1755983"/>
                  <a:gd name="connsiteX2" fmla="*/ 88888 w 575907"/>
                  <a:gd name="connsiteY2" fmla="*/ 555241 h 1755983"/>
                  <a:gd name="connsiteX3" fmla="*/ 150172 w 575907"/>
                  <a:gd name="connsiteY3" fmla="*/ 830472 h 1755983"/>
                  <a:gd name="connsiteX4" fmla="*/ 179092 w 575907"/>
                  <a:gd name="connsiteY4" fmla="*/ 1042948 h 1755983"/>
                  <a:gd name="connsiteX5" fmla="*/ 69824 w 575907"/>
                  <a:gd name="connsiteY5" fmla="*/ 1755983 h 1755983"/>
                  <a:gd name="connsiteX6" fmla="*/ 575907 w 575907"/>
                  <a:gd name="connsiteY6" fmla="*/ 1718736 h 1755983"/>
                  <a:gd name="connsiteX7" fmla="*/ 547152 w 575907"/>
                  <a:gd name="connsiteY7" fmla="*/ 521473 h 1755983"/>
                  <a:gd name="connsiteX8" fmla="*/ 271107 w 575907"/>
                  <a:gd name="connsiteY8" fmla="*/ 0 h 1755983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50172 w 575907"/>
                  <a:gd name="connsiteY3" fmla="*/ 830472 h 1784686"/>
                  <a:gd name="connsiteX4" fmla="*/ 179092 w 575907"/>
                  <a:gd name="connsiteY4" fmla="*/ 1042948 h 1784686"/>
                  <a:gd name="connsiteX5" fmla="*/ 24719 w 575907"/>
                  <a:gd name="connsiteY5" fmla="*/ 1784686 h 1784686"/>
                  <a:gd name="connsiteX6" fmla="*/ 575907 w 575907"/>
                  <a:gd name="connsiteY6" fmla="*/ 1718736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50172 w 575907"/>
                  <a:gd name="connsiteY3" fmla="*/ 830472 h 1784686"/>
                  <a:gd name="connsiteX4" fmla="*/ 183192 w 575907"/>
                  <a:gd name="connsiteY4" fmla="*/ 1079852 h 1784686"/>
                  <a:gd name="connsiteX5" fmla="*/ 24719 w 575907"/>
                  <a:gd name="connsiteY5" fmla="*/ 1784686 h 1784686"/>
                  <a:gd name="connsiteX6" fmla="*/ 575907 w 575907"/>
                  <a:gd name="connsiteY6" fmla="*/ 1718736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83192 w 575907"/>
                  <a:gd name="connsiteY3" fmla="*/ 1079852 h 1784686"/>
                  <a:gd name="connsiteX4" fmla="*/ 24719 w 575907"/>
                  <a:gd name="connsiteY4" fmla="*/ 1784686 h 1784686"/>
                  <a:gd name="connsiteX5" fmla="*/ 575907 w 575907"/>
                  <a:gd name="connsiteY5" fmla="*/ 1718736 h 1784686"/>
                  <a:gd name="connsiteX6" fmla="*/ 547152 w 575907"/>
                  <a:gd name="connsiteY6" fmla="*/ 521473 h 1784686"/>
                  <a:gd name="connsiteX7" fmla="*/ 271107 w 575907"/>
                  <a:gd name="connsiteY7" fmla="*/ 0 h 1784686"/>
                  <a:gd name="connsiteX0" fmla="*/ 271107 w 575907"/>
                  <a:gd name="connsiteY0" fmla="*/ 0 h 1784686"/>
                  <a:gd name="connsiteX1" fmla="*/ 812 w 575907"/>
                  <a:gd name="connsiteY1" fmla="*/ 69175 h 1784686"/>
                  <a:gd name="connsiteX2" fmla="*/ 88888 w 575907"/>
                  <a:gd name="connsiteY2" fmla="*/ 555241 h 1784686"/>
                  <a:gd name="connsiteX3" fmla="*/ 183192 w 575907"/>
                  <a:gd name="connsiteY3" fmla="*/ 1079852 h 1784686"/>
                  <a:gd name="connsiteX4" fmla="*/ 24719 w 575907"/>
                  <a:gd name="connsiteY4" fmla="*/ 1784686 h 1784686"/>
                  <a:gd name="connsiteX5" fmla="*/ 575907 w 575907"/>
                  <a:gd name="connsiteY5" fmla="*/ 1718736 h 1784686"/>
                  <a:gd name="connsiteX6" fmla="*/ 575519 w 575907"/>
                  <a:gd name="connsiteY6" fmla="*/ 1513755 h 1784686"/>
                  <a:gd name="connsiteX7" fmla="*/ 547152 w 575907"/>
                  <a:gd name="connsiteY7" fmla="*/ 521473 h 1784686"/>
                  <a:gd name="connsiteX8" fmla="*/ 271107 w 575907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  <a:gd name="connsiteX0" fmla="*/ 271107 w 575519"/>
                  <a:gd name="connsiteY0" fmla="*/ 0 h 1784686"/>
                  <a:gd name="connsiteX1" fmla="*/ 812 w 575519"/>
                  <a:gd name="connsiteY1" fmla="*/ 69175 h 1784686"/>
                  <a:gd name="connsiteX2" fmla="*/ 88888 w 575519"/>
                  <a:gd name="connsiteY2" fmla="*/ 555241 h 1784686"/>
                  <a:gd name="connsiteX3" fmla="*/ 183192 w 575519"/>
                  <a:gd name="connsiteY3" fmla="*/ 1079852 h 1784686"/>
                  <a:gd name="connsiteX4" fmla="*/ 24719 w 575519"/>
                  <a:gd name="connsiteY4" fmla="*/ 1784686 h 1784686"/>
                  <a:gd name="connsiteX5" fmla="*/ 481564 w 575519"/>
                  <a:gd name="connsiteY5" fmla="*/ 1751393 h 1784686"/>
                  <a:gd name="connsiteX6" fmla="*/ 575519 w 575519"/>
                  <a:gd name="connsiteY6" fmla="*/ 1513755 h 1784686"/>
                  <a:gd name="connsiteX7" fmla="*/ 547152 w 575519"/>
                  <a:gd name="connsiteY7" fmla="*/ 521473 h 1784686"/>
                  <a:gd name="connsiteX8" fmla="*/ 271107 w 575519"/>
                  <a:gd name="connsiteY8" fmla="*/ 0 h 1784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519" h="1784686">
                    <a:moveTo>
                      <a:pt x="271107" y="0"/>
                    </a:moveTo>
                    <a:lnTo>
                      <a:pt x="812" y="69175"/>
                    </a:lnTo>
                    <a:cubicBezTo>
                      <a:pt x="-6841" y="166422"/>
                      <a:pt x="40908" y="356391"/>
                      <a:pt x="88888" y="555241"/>
                    </a:cubicBezTo>
                    <a:cubicBezTo>
                      <a:pt x="119285" y="723687"/>
                      <a:pt x="193887" y="874945"/>
                      <a:pt x="183192" y="1079852"/>
                    </a:cubicBezTo>
                    <a:cubicBezTo>
                      <a:pt x="172497" y="1284760"/>
                      <a:pt x="51557" y="1425507"/>
                      <a:pt x="24719" y="1784686"/>
                    </a:cubicBezTo>
                    <a:cubicBezTo>
                      <a:pt x="273926" y="1729701"/>
                      <a:pt x="320127" y="1745667"/>
                      <a:pt x="481564" y="1751393"/>
                    </a:cubicBezTo>
                    <a:cubicBezTo>
                      <a:pt x="524978" y="1650409"/>
                      <a:pt x="575648" y="1582082"/>
                      <a:pt x="575519" y="1513755"/>
                    </a:cubicBezTo>
                    <a:lnTo>
                      <a:pt x="547152" y="521473"/>
                    </a:lnTo>
                    <a:lnTo>
                      <a:pt x="27110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5" name="Freeform 1484"/>
              <p:cNvSpPr/>
              <p:nvPr/>
            </p:nvSpPr>
            <p:spPr>
              <a:xfrm>
                <a:off x="6960411" y="1458044"/>
                <a:ext cx="589639" cy="1772385"/>
              </a:xfrm>
              <a:custGeom>
                <a:avLst/>
                <a:gdLst>
                  <a:gd name="connsiteX0" fmla="*/ 271107 w 575907"/>
                  <a:gd name="connsiteY0" fmla="*/ 0 h 1755983"/>
                  <a:gd name="connsiteX1" fmla="*/ 547152 w 575907"/>
                  <a:gd name="connsiteY1" fmla="*/ 521473 h 1755983"/>
                  <a:gd name="connsiteX2" fmla="*/ 575907 w 575907"/>
                  <a:gd name="connsiteY2" fmla="*/ 1718736 h 1755983"/>
                  <a:gd name="connsiteX3" fmla="*/ 69824 w 575907"/>
                  <a:gd name="connsiteY3" fmla="*/ 1755983 h 1755983"/>
                  <a:gd name="connsiteX4" fmla="*/ 199594 w 575907"/>
                  <a:gd name="connsiteY4" fmla="*/ 1055249 h 1755983"/>
                  <a:gd name="connsiteX5" fmla="*/ 147138 w 575907"/>
                  <a:gd name="connsiteY5" fmla="*/ 813452 h 1755983"/>
                  <a:gd name="connsiteX6" fmla="*/ 95901 w 575907"/>
                  <a:gd name="connsiteY6" fmla="*/ 584535 h 1755983"/>
                  <a:gd name="connsiteX7" fmla="*/ 812 w 575907"/>
                  <a:gd name="connsiteY7" fmla="*/ 69175 h 1755983"/>
                  <a:gd name="connsiteX8" fmla="*/ 271107 w 575907"/>
                  <a:gd name="connsiteY8" fmla="*/ 0 h 1755983"/>
                  <a:gd name="connsiteX0" fmla="*/ 271107 w 575907"/>
                  <a:gd name="connsiteY0" fmla="*/ 0 h 1772385"/>
                  <a:gd name="connsiteX1" fmla="*/ 547152 w 575907"/>
                  <a:gd name="connsiteY1" fmla="*/ 521473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147138 w 575907"/>
                  <a:gd name="connsiteY5" fmla="*/ 813452 h 1772385"/>
                  <a:gd name="connsiteX6" fmla="*/ 95901 w 575907"/>
                  <a:gd name="connsiteY6" fmla="*/ 584535 h 1772385"/>
                  <a:gd name="connsiteX7" fmla="*/ 812 w 575907"/>
                  <a:gd name="connsiteY7" fmla="*/ 69175 h 1772385"/>
                  <a:gd name="connsiteX8" fmla="*/ 271107 w 575907"/>
                  <a:gd name="connsiteY8" fmla="*/ 0 h 1772385"/>
                  <a:gd name="connsiteX0" fmla="*/ 271107 w 575907"/>
                  <a:gd name="connsiteY0" fmla="*/ 0 h 1772385"/>
                  <a:gd name="connsiteX1" fmla="*/ 567548 w 575907"/>
                  <a:gd name="connsiteY1" fmla="*/ 514674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147138 w 575907"/>
                  <a:gd name="connsiteY5" fmla="*/ 813452 h 1772385"/>
                  <a:gd name="connsiteX6" fmla="*/ 95901 w 575907"/>
                  <a:gd name="connsiteY6" fmla="*/ 584535 h 1772385"/>
                  <a:gd name="connsiteX7" fmla="*/ 812 w 575907"/>
                  <a:gd name="connsiteY7" fmla="*/ 69175 h 1772385"/>
                  <a:gd name="connsiteX8" fmla="*/ 271107 w 575907"/>
                  <a:gd name="connsiteY8" fmla="*/ 0 h 1772385"/>
                  <a:gd name="connsiteX0" fmla="*/ 271107 w 575907"/>
                  <a:gd name="connsiteY0" fmla="*/ 0 h 1772385"/>
                  <a:gd name="connsiteX1" fmla="*/ 567548 w 575907"/>
                  <a:gd name="connsiteY1" fmla="*/ 514674 h 1772385"/>
                  <a:gd name="connsiteX2" fmla="*/ 575907 w 575907"/>
                  <a:gd name="connsiteY2" fmla="*/ 1718736 h 1772385"/>
                  <a:gd name="connsiteX3" fmla="*/ 45221 w 575907"/>
                  <a:gd name="connsiteY3" fmla="*/ 1772385 h 1772385"/>
                  <a:gd name="connsiteX4" fmla="*/ 199594 w 575907"/>
                  <a:gd name="connsiteY4" fmla="*/ 1055249 h 1772385"/>
                  <a:gd name="connsiteX5" fmla="*/ 95901 w 575907"/>
                  <a:gd name="connsiteY5" fmla="*/ 584535 h 1772385"/>
                  <a:gd name="connsiteX6" fmla="*/ 812 w 575907"/>
                  <a:gd name="connsiteY6" fmla="*/ 69175 h 1772385"/>
                  <a:gd name="connsiteX7" fmla="*/ 271107 w 575907"/>
                  <a:gd name="connsiteY7" fmla="*/ 0 h 1772385"/>
                  <a:gd name="connsiteX0" fmla="*/ 271107 w 613241"/>
                  <a:gd name="connsiteY0" fmla="*/ 0 h 1772385"/>
                  <a:gd name="connsiteX1" fmla="*/ 567548 w 613241"/>
                  <a:gd name="connsiteY1" fmla="*/ 514674 h 1772385"/>
                  <a:gd name="connsiteX2" fmla="*/ 568875 w 613241"/>
                  <a:gd name="connsiteY2" fmla="*/ 1459327 h 1772385"/>
                  <a:gd name="connsiteX3" fmla="*/ 575907 w 613241"/>
                  <a:gd name="connsiteY3" fmla="*/ 1718736 h 1772385"/>
                  <a:gd name="connsiteX4" fmla="*/ 45221 w 613241"/>
                  <a:gd name="connsiteY4" fmla="*/ 1772385 h 1772385"/>
                  <a:gd name="connsiteX5" fmla="*/ 199594 w 613241"/>
                  <a:gd name="connsiteY5" fmla="*/ 1055249 h 1772385"/>
                  <a:gd name="connsiteX6" fmla="*/ 95901 w 613241"/>
                  <a:gd name="connsiteY6" fmla="*/ 584535 h 1772385"/>
                  <a:gd name="connsiteX7" fmla="*/ 812 w 613241"/>
                  <a:gd name="connsiteY7" fmla="*/ 69175 h 1772385"/>
                  <a:gd name="connsiteX8" fmla="*/ 271107 w 613241"/>
                  <a:gd name="connsiteY8" fmla="*/ 0 h 1772385"/>
                  <a:gd name="connsiteX0" fmla="*/ 271107 w 589639"/>
                  <a:gd name="connsiteY0" fmla="*/ 0 h 1772385"/>
                  <a:gd name="connsiteX1" fmla="*/ 567548 w 589639"/>
                  <a:gd name="connsiteY1" fmla="*/ 514674 h 1772385"/>
                  <a:gd name="connsiteX2" fmla="*/ 568875 w 589639"/>
                  <a:gd name="connsiteY2" fmla="*/ 1459327 h 1772385"/>
                  <a:gd name="connsiteX3" fmla="*/ 470679 w 589639"/>
                  <a:gd name="connsiteY3" fmla="*/ 1740507 h 1772385"/>
                  <a:gd name="connsiteX4" fmla="*/ 45221 w 589639"/>
                  <a:gd name="connsiteY4" fmla="*/ 1772385 h 1772385"/>
                  <a:gd name="connsiteX5" fmla="*/ 199594 w 589639"/>
                  <a:gd name="connsiteY5" fmla="*/ 1055249 h 1772385"/>
                  <a:gd name="connsiteX6" fmla="*/ 95901 w 589639"/>
                  <a:gd name="connsiteY6" fmla="*/ 584535 h 1772385"/>
                  <a:gd name="connsiteX7" fmla="*/ 812 w 589639"/>
                  <a:gd name="connsiteY7" fmla="*/ 69175 h 1772385"/>
                  <a:gd name="connsiteX8" fmla="*/ 271107 w 589639"/>
                  <a:gd name="connsiteY8" fmla="*/ 0 h 1772385"/>
                  <a:gd name="connsiteX0" fmla="*/ 271107 w 589639"/>
                  <a:gd name="connsiteY0" fmla="*/ 0 h 1772385"/>
                  <a:gd name="connsiteX1" fmla="*/ 567548 w 589639"/>
                  <a:gd name="connsiteY1" fmla="*/ 514674 h 1772385"/>
                  <a:gd name="connsiteX2" fmla="*/ 568875 w 589639"/>
                  <a:gd name="connsiteY2" fmla="*/ 1459327 h 1772385"/>
                  <a:gd name="connsiteX3" fmla="*/ 470679 w 589639"/>
                  <a:gd name="connsiteY3" fmla="*/ 1740507 h 1772385"/>
                  <a:gd name="connsiteX4" fmla="*/ 45221 w 589639"/>
                  <a:gd name="connsiteY4" fmla="*/ 1772385 h 1772385"/>
                  <a:gd name="connsiteX5" fmla="*/ 199594 w 589639"/>
                  <a:gd name="connsiteY5" fmla="*/ 1055249 h 1772385"/>
                  <a:gd name="connsiteX6" fmla="*/ 95901 w 589639"/>
                  <a:gd name="connsiteY6" fmla="*/ 584535 h 1772385"/>
                  <a:gd name="connsiteX7" fmla="*/ 812 w 589639"/>
                  <a:gd name="connsiteY7" fmla="*/ 69175 h 1772385"/>
                  <a:gd name="connsiteX8" fmla="*/ 271107 w 589639"/>
                  <a:gd name="connsiteY8" fmla="*/ 0 h 177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9639" h="1772385">
                    <a:moveTo>
                      <a:pt x="271107" y="0"/>
                    </a:moveTo>
                    <a:lnTo>
                      <a:pt x="567548" y="514674"/>
                    </a:lnTo>
                    <a:cubicBezTo>
                      <a:pt x="617176" y="757895"/>
                      <a:pt x="567482" y="1258650"/>
                      <a:pt x="568875" y="1459327"/>
                    </a:cubicBezTo>
                    <a:cubicBezTo>
                      <a:pt x="570268" y="1660004"/>
                      <a:pt x="572469" y="1655674"/>
                      <a:pt x="470679" y="1740507"/>
                    </a:cubicBezTo>
                    <a:lnTo>
                      <a:pt x="45221" y="1772385"/>
                    </a:lnTo>
                    <a:cubicBezTo>
                      <a:pt x="72059" y="1413206"/>
                      <a:pt x="191147" y="1253224"/>
                      <a:pt x="199594" y="1055249"/>
                    </a:cubicBezTo>
                    <a:cubicBezTo>
                      <a:pt x="208041" y="857274"/>
                      <a:pt x="129031" y="748881"/>
                      <a:pt x="95901" y="584535"/>
                    </a:cubicBezTo>
                    <a:cubicBezTo>
                      <a:pt x="45721" y="375231"/>
                      <a:pt x="-7216" y="171187"/>
                      <a:pt x="812" y="69175"/>
                    </a:cubicBezTo>
                    <a:lnTo>
                      <a:pt x="27110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6" name="Freeform 1485"/>
              <p:cNvSpPr/>
              <p:nvPr/>
            </p:nvSpPr>
            <p:spPr>
              <a:xfrm>
                <a:off x="7161838" y="414370"/>
                <a:ext cx="728689" cy="804913"/>
              </a:xfrm>
              <a:custGeom>
                <a:avLst/>
                <a:gdLst>
                  <a:gd name="connsiteX0" fmla="*/ 1026694 w 2042694"/>
                  <a:gd name="connsiteY0" fmla="*/ 0 h 2593474"/>
                  <a:gd name="connsiteX1" fmla="*/ 0 w 2042694"/>
                  <a:gd name="connsiteY1" fmla="*/ 2593474 h 2593474"/>
                  <a:gd name="connsiteX2" fmla="*/ 2042694 w 2042694"/>
                  <a:gd name="connsiteY2" fmla="*/ 2593474 h 2593474"/>
                  <a:gd name="connsiteX3" fmla="*/ 1026694 w 2042694"/>
                  <a:gd name="connsiteY3" fmla="*/ 0 h 2593474"/>
                  <a:gd name="connsiteX0" fmla="*/ 1048637 w 2087217"/>
                  <a:gd name="connsiteY0" fmla="*/ 0 h 2593474"/>
                  <a:gd name="connsiteX1" fmla="*/ 21943 w 2087217"/>
                  <a:gd name="connsiteY1" fmla="*/ 2593474 h 2593474"/>
                  <a:gd name="connsiteX2" fmla="*/ 2064637 w 2087217"/>
                  <a:gd name="connsiteY2" fmla="*/ 2593474 h 2593474"/>
                  <a:gd name="connsiteX3" fmla="*/ 1048637 w 2087217"/>
                  <a:gd name="connsiteY3" fmla="*/ 0 h 2593474"/>
                  <a:gd name="connsiteX0" fmla="*/ 1126045 w 2244682"/>
                  <a:gd name="connsiteY0" fmla="*/ 0 h 2593474"/>
                  <a:gd name="connsiteX1" fmla="*/ 99351 w 2244682"/>
                  <a:gd name="connsiteY1" fmla="*/ 2593474 h 2593474"/>
                  <a:gd name="connsiteX2" fmla="*/ 2142045 w 2244682"/>
                  <a:gd name="connsiteY2" fmla="*/ 2593474 h 2593474"/>
                  <a:gd name="connsiteX3" fmla="*/ 1126045 w 2244682"/>
                  <a:gd name="connsiteY3" fmla="*/ 0 h 2593474"/>
                  <a:gd name="connsiteX0" fmla="*/ 838573 w 1876384"/>
                  <a:gd name="connsiteY0" fmla="*/ 2743 h 2596217"/>
                  <a:gd name="connsiteX1" fmla="*/ 26802 w 1876384"/>
                  <a:gd name="connsiteY1" fmla="*/ 2107755 h 2596217"/>
                  <a:gd name="connsiteX2" fmla="*/ 1854573 w 1876384"/>
                  <a:gd name="connsiteY2" fmla="*/ 2596217 h 2596217"/>
                  <a:gd name="connsiteX3" fmla="*/ 838573 w 1876384"/>
                  <a:gd name="connsiteY3" fmla="*/ 2743 h 2596217"/>
                  <a:gd name="connsiteX0" fmla="*/ 837911 w 1749358"/>
                  <a:gd name="connsiteY0" fmla="*/ 2 h 2116737"/>
                  <a:gd name="connsiteX1" fmla="*/ 26140 w 1749358"/>
                  <a:gd name="connsiteY1" fmla="*/ 2105014 h 2116737"/>
                  <a:gd name="connsiteX2" fmla="*/ 1724957 w 1749358"/>
                  <a:gd name="connsiteY2" fmla="*/ 2116737 h 2116737"/>
                  <a:gd name="connsiteX3" fmla="*/ 837911 w 1749358"/>
                  <a:gd name="connsiteY3" fmla="*/ 2 h 2116737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6821" h="2117330">
                    <a:moveTo>
                      <a:pt x="930258" y="595"/>
                    </a:moveTo>
                    <a:cubicBezTo>
                      <a:pt x="-208662" y="-36528"/>
                      <a:pt x="-50846" y="1673361"/>
                      <a:pt x="118487" y="2105607"/>
                    </a:cubicBezTo>
                    <a:cubicBezTo>
                      <a:pt x="403405" y="1890684"/>
                      <a:pt x="1559740" y="1933668"/>
                      <a:pt x="1817304" y="2117330"/>
                    </a:cubicBezTo>
                    <a:cubicBezTo>
                      <a:pt x="1988420" y="1685084"/>
                      <a:pt x="2069178" y="37718"/>
                      <a:pt x="930258" y="595"/>
                    </a:cubicBez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7" name="Freeform 1486"/>
              <p:cNvSpPr/>
              <p:nvPr/>
            </p:nvSpPr>
            <p:spPr>
              <a:xfrm>
                <a:off x="7179291" y="462995"/>
                <a:ext cx="696904" cy="756266"/>
              </a:xfrm>
              <a:custGeom>
                <a:avLst/>
                <a:gdLst>
                  <a:gd name="connsiteX0" fmla="*/ 1026694 w 2042694"/>
                  <a:gd name="connsiteY0" fmla="*/ 0 h 2593474"/>
                  <a:gd name="connsiteX1" fmla="*/ 0 w 2042694"/>
                  <a:gd name="connsiteY1" fmla="*/ 2593474 h 2593474"/>
                  <a:gd name="connsiteX2" fmla="*/ 2042694 w 2042694"/>
                  <a:gd name="connsiteY2" fmla="*/ 2593474 h 2593474"/>
                  <a:gd name="connsiteX3" fmla="*/ 1026694 w 2042694"/>
                  <a:gd name="connsiteY3" fmla="*/ 0 h 2593474"/>
                  <a:gd name="connsiteX0" fmla="*/ 1048637 w 2087217"/>
                  <a:gd name="connsiteY0" fmla="*/ 0 h 2593474"/>
                  <a:gd name="connsiteX1" fmla="*/ 21943 w 2087217"/>
                  <a:gd name="connsiteY1" fmla="*/ 2593474 h 2593474"/>
                  <a:gd name="connsiteX2" fmla="*/ 2064637 w 2087217"/>
                  <a:gd name="connsiteY2" fmla="*/ 2593474 h 2593474"/>
                  <a:gd name="connsiteX3" fmla="*/ 1048637 w 2087217"/>
                  <a:gd name="connsiteY3" fmla="*/ 0 h 2593474"/>
                  <a:gd name="connsiteX0" fmla="*/ 1126045 w 2244682"/>
                  <a:gd name="connsiteY0" fmla="*/ 0 h 2593474"/>
                  <a:gd name="connsiteX1" fmla="*/ 99351 w 2244682"/>
                  <a:gd name="connsiteY1" fmla="*/ 2593474 h 2593474"/>
                  <a:gd name="connsiteX2" fmla="*/ 2142045 w 2244682"/>
                  <a:gd name="connsiteY2" fmla="*/ 2593474 h 2593474"/>
                  <a:gd name="connsiteX3" fmla="*/ 1126045 w 2244682"/>
                  <a:gd name="connsiteY3" fmla="*/ 0 h 2593474"/>
                  <a:gd name="connsiteX0" fmla="*/ 838573 w 1876384"/>
                  <a:gd name="connsiteY0" fmla="*/ 2743 h 2596217"/>
                  <a:gd name="connsiteX1" fmla="*/ 26802 w 1876384"/>
                  <a:gd name="connsiteY1" fmla="*/ 2107755 h 2596217"/>
                  <a:gd name="connsiteX2" fmla="*/ 1854573 w 1876384"/>
                  <a:gd name="connsiteY2" fmla="*/ 2596217 h 2596217"/>
                  <a:gd name="connsiteX3" fmla="*/ 838573 w 1876384"/>
                  <a:gd name="connsiteY3" fmla="*/ 2743 h 2596217"/>
                  <a:gd name="connsiteX0" fmla="*/ 837911 w 1749358"/>
                  <a:gd name="connsiteY0" fmla="*/ 2 h 2116737"/>
                  <a:gd name="connsiteX1" fmla="*/ 26140 w 1749358"/>
                  <a:gd name="connsiteY1" fmla="*/ 2105014 h 2116737"/>
                  <a:gd name="connsiteX2" fmla="*/ 1724957 w 1749358"/>
                  <a:gd name="connsiteY2" fmla="*/ 2116737 h 2116737"/>
                  <a:gd name="connsiteX3" fmla="*/ 837911 w 1749358"/>
                  <a:gd name="connsiteY3" fmla="*/ 2 h 2116737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930258 w 1916821"/>
                  <a:gd name="connsiteY0" fmla="*/ 595 h 2117330"/>
                  <a:gd name="connsiteX1" fmla="*/ 118487 w 1916821"/>
                  <a:gd name="connsiteY1" fmla="*/ 2105607 h 2117330"/>
                  <a:gd name="connsiteX2" fmla="*/ 1817304 w 1916821"/>
                  <a:gd name="connsiteY2" fmla="*/ 2117330 h 2117330"/>
                  <a:gd name="connsiteX3" fmla="*/ 930258 w 1916821"/>
                  <a:gd name="connsiteY3" fmla="*/ 595 h 2117330"/>
                  <a:gd name="connsiteX0" fmla="*/ 884348 w 1833210"/>
                  <a:gd name="connsiteY0" fmla="*/ 1 h 2116736"/>
                  <a:gd name="connsiteX1" fmla="*/ 72577 w 1833210"/>
                  <a:gd name="connsiteY1" fmla="*/ 2105013 h 2116736"/>
                  <a:gd name="connsiteX2" fmla="*/ 1771394 w 1833210"/>
                  <a:gd name="connsiteY2" fmla="*/ 2116736 h 2116736"/>
                  <a:gd name="connsiteX3" fmla="*/ 884348 w 1833210"/>
                  <a:gd name="connsiteY3" fmla="*/ 1 h 2116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3210" h="2116736">
                    <a:moveTo>
                      <a:pt x="884348" y="1"/>
                    </a:moveTo>
                    <a:cubicBezTo>
                      <a:pt x="-24018" y="299"/>
                      <a:pt x="-96756" y="1672767"/>
                      <a:pt x="72577" y="2105013"/>
                    </a:cubicBezTo>
                    <a:cubicBezTo>
                      <a:pt x="357495" y="1890090"/>
                      <a:pt x="1513830" y="1933074"/>
                      <a:pt x="1771394" y="2116736"/>
                    </a:cubicBezTo>
                    <a:cubicBezTo>
                      <a:pt x="1942510" y="1684490"/>
                      <a:pt x="1792714" y="-297"/>
                      <a:pt x="884348" y="1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8" name="Rectangle 1487"/>
              <p:cNvSpPr/>
              <p:nvPr/>
            </p:nvSpPr>
            <p:spPr>
              <a:xfrm>
                <a:off x="7259344" y="777662"/>
                <a:ext cx="533492" cy="17585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89" name="Group 1488"/>
              <p:cNvGrpSpPr/>
              <p:nvPr/>
            </p:nvGrpSpPr>
            <p:grpSpPr>
              <a:xfrm>
                <a:off x="7609183" y="811799"/>
                <a:ext cx="74012" cy="79800"/>
                <a:chOff x="3924944" y="2994541"/>
                <a:chExt cx="293463" cy="293463"/>
              </a:xfrm>
            </p:grpSpPr>
            <p:sp>
              <p:nvSpPr>
                <p:cNvPr id="1545" name="Oval 1544"/>
                <p:cNvSpPr/>
                <p:nvPr/>
              </p:nvSpPr>
              <p:spPr>
                <a:xfrm>
                  <a:off x="3924944" y="2994541"/>
                  <a:ext cx="293463" cy="2934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6" name="Oval 1545"/>
                <p:cNvSpPr/>
                <p:nvPr/>
              </p:nvSpPr>
              <p:spPr>
                <a:xfrm>
                  <a:off x="4001711" y="3071308"/>
                  <a:ext cx="139929" cy="139929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7" name="Oval 1546"/>
                <p:cNvSpPr/>
                <p:nvPr/>
              </p:nvSpPr>
              <p:spPr>
                <a:xfrm>
                  <a:off x="3936996" y="3053464"/>
                  <a:ext cx="152400" cy="106566"/>
                </a:xfrm>
                <a:prstGeom prst="ellipse">
                  <a:avLst/>
                </a:prstGeom>
                <a:gradFill>
                  <a:gsLst>
                    <a:gs pos="19000">
                      <a:schemeClr val="bg1"/>
                    </a:gs>
                    <a:gs pos="100000">
                      <a:schemeClr val="accent2">
                        <a:alpha val="38000"/>
                      </a:schemeClr>
                    </a:gs>
                  </a:gsLst>
                  <a:lin ang="2700000" scaled="1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90" name="Group 1489"/>
              <p:cNvGrpSpPr/>
              <p:nvPr/>
            </p:nvGrpSpPr>
            <p:grpSpPr>
              <a:xfrm>
                <a:off x="7343574" y="811799"/>
                <a:ext cx="74012" cy="79800"/>
                <a:chOff x="3924944" y="2994541"/>
                <a:chExt cx="293463" cy="293463"/>
              </a:xfrm>
            </p:grpSpPr>
            <p:sp>
              <p:nvSpPr>
                <p:cNvPr id="1542" name="Oval 1541"/>
                <p:cNvSpPr/>
                <p:nvPr/>
              </p:nvSpPr>
              <p:spPr>
                <a:xfrm>
                  <a:off x="3924944" y="2994541"/>
                  <a:ext cx="293463" cy="2934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3" name="Oval 1542"/>
                <p:cNvSpPr/>
                <p:nvPr/>
              </p:nvSpPr>
              <p:spPr>
                <a:xfrm>
                  <a:off x="4001711" y="3071308"/>
                  <a:ext cx="139929" cy="139929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4" name="Oval 1543"/>
                <p:cNvSpPr/>
                <p:nvPr/>
              </p:nvSpPr>
              <p:spPr>
                <a:xfrm>
                  <a:off x="3936996" y="3053464"/>
                  <a:ext cx="152400" cy="106566"/>
                </a:xfrm>
                <a:prstGeom prst="ellipse">
                  <a:avLst/>
                </a:prstGeom>
                <a:gradFill>
                  <a:gsLst>
                    <a:gs pos="19000">
                      <a:schemeClr val="bg1"/>
                    </a:gs>
                    <a:gs pos="100000">
                      <a:schemeClr val="accent2">
                        <a:alpha val="38000"/>
                      </a:schemeClr>
                    </a:gs>
                  </a:gsLst>
                  <a:lin ang="2700000" scaled="1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91" name="Oval 8"/>
              <p:cNvSpPr/>
              <p:nvPr/>
            </p:nvSpPr>
            <p:spPr>
              <a:xfrm>
                <a:off x="7222236" y="462783"/>
                <a:ext cx="594691" cy="842016"/>
              </a:xfrm>
              <a:custGeom>
                <a:avLst/>
                <a:gdLst>
                  <a:gd name="connsiteX0" fmla="*/ 1354723 w 1948722"/>
                  <a:gd name="connsiteY0" fmla="*/ 1130928 h 2717715"/>
                  <a:gd name="connsiteX1" fmla="*/ 1121124 w 1948722"/>
                  <a:gd name="connsiteY1" fmla="*/ 1259959 h 2717715"/>
                  <a:gd name="connsiteX2" fmla="*/ 1354723 w 1948722"/>
                  <a:gd name="connsiteY2" fmla="*/ 1388990 h 2717715"/>
                  <a:gd name="connsiteX3" fmla="*/ 1588322 w 1948722"/>
                  <a:gd name="connsiteY3" fmla="*/ 1259959 h 2717715"/>
                  <a:gd name="connsiteX4" fmla="*/ 1354723 w 1948722"/>
                  <a:gd name="connsiteY4" fmla="*/ 1130928 h 2717715"/>
                  <a:gd name="connsiteX5" fmla="*/ 547961 w 1948722"/>
                  <a:gd name="connsiteY5" fmla="*/ 1130928 h 2717715"/>
                  <a:gd name="connsiteX6" fmla="*/ 314362 w 1948722"/>
                  <a:gd name="connsiteY6" fmla="*/ 1259959 h 2717715"/>
                  <a:gd name="connsiteX7" fmla="*/ 547961 w 1948722"/>
                  <a:gd name="connsiteY7" fmla="*/ 1388990 h 2717715"/>
                  <a:gd name="connsiteX8" fmla="*/ 781560 w 1948722"/>
                  <a:gd name="connsiteY8" fmla="*/ 1259959 h 2717715"/>
                  <a:gd name="connsiteX9" fmla="*/ 547961 w 1948722"/>
                  <a:gd name="connsiteY9" fmla="*/ 1130928 h 2717715"/>
                  <a:gd name="connsiteX10" fmla="*/ 974361 w 1948722"/>
                  <a:gd name="connsiteY10" fmla="*/ 0 h 2717715"/>
                  <a:gd name="connsiteX11" fmla="*/ 1948722 w 1948722"/>
                  <a:gd name="connsiteY11" fmla="*/ 1431589 h 2717715"/>
                  <a:gd name="connsiteX12" fmla="*/ 1946848 w 1948722"/>
                  <a:gd name="connsiteY12" fmla="*/ 1486136 h 2717715"/>
                  <a:gd name="connsiteX13" fmla="*/ 974737 w 1948722"/>
                  <a:gd name="connsiteY13" fmla="*/ 2717715 h 2717715"/>
                  <a:gd name="connsiteX14" fmla="*/ 3526 w 1948722"/>
                  <a:gd name="connsiteY14" fmla="*/ 1534189 h 2717715"/>
                  <a:gd name="connsiteX15" fmla="*/ 0 w 1948722"/>
                  <a:gd name="connsiteY15" fmla="*/ 1431589 h 2717715"/>
                  <a:gd name="connsiteX16" fmla="*/ 974361 w 1948722"/>
                  <a:gd name="connsiteY16" fmla="*/ 0 h 2717715"/>
                  <a:gd name="connsiteX0" fmla="*/ 1354723 w 1948722"/>
                  <a:gd name="connsiteY0" fmla="*/ 1130928 h 2718406"/>
                  <a:gd name="connsiteX1" fmla="*/ 1121124 w 1948722"/>
                  <a:gd name="connsiteY1" fmla="*/ 1259959 h 2718406"/>
                  <a:gd name="connsiteX2" fmla="*/ 1354723 w 1948722"/>
                  <a:gd name="connsiteY2" fmla="*/ 1388990 h 2718406"/>
                  <a:gd name="connsiteX3" fmla="*/ 1588322 w 1948722"/>
                  <a:gd name="connsiteY3" fmla="*/ 1259959 h 2718406"/>
                  <a:gd name="connsiteX4" fmla="*/ 1354723 w 1948722"/>
                  <a:gd name="connsiteY4" fmla="*/ 1130928 h 2718406"/>
                  <a:gd name="connsiteX5" fmla="*/ 547961 w 1948722"/>
                  <a:gd name="connsiteY5" fmla="*/ 1130928 h 2718406"/>
                  <a:gd name="connsiteX6" fmla="*/ 314362 w 1948722"/>
                  <a:gd name="connsiteY6" fmla="*/ 1259959 h 2718406"/>
                  <a:gd name="connsiteX7" fmla="*/ 547961 w 1948722"/>
                  <a:gd name="connsiteY7" fmla="*/ 1388990 h 2718406"/>
                  <a:gd name="connsiteX8" fmla="*/ 781560 w 1948722"/>
                  <a:gd name="connsiteY8" fmla="*/ 1259959 h 2718406"/>
                  <a:gd name="connsiteX9" fmla="*/ 547961 w 1948722"/>
                  <a:gd name="connsiteY9" fmla="*/ 1130928 h 2718406"/>
                  <a:gd name="connsiteX10" fmla="*/ 974361 w 1948722"/>
                  <a:gd name="connsiteY10" fmla="*/ 0 h 2718406"/>
                  <a:gd name="connsiteX11" fmla="*/ 1948722 w 1948722"/>
                  <a:gd name="connsiteY11" fmla="*/ 1431589 h 2718406"/>
                  <a:gd name="connsiteX12" fmla="*/ 1946848 w 1948722"/>
                  <a:gd name="connsiteY12" fmla="*/ 1486136 h 2718406"/>
                  <a:gd name="connsiteX13" fmla="*/ 974737 w 1948722"/>
                  <a:gd name="connsiteY13" fmla="*/ 2717715 h 2718406"/>
                  <a:gd name="connsiteX14" fmla="*/ 106848 w 1948722"/>
                  <a:gd name="connsiteY14" fmla="*/ 1653009 h 2718406"/>
                  <a:gd name="connsiteX15" fmla="*/ 0 w 1948722"/>
                  <a:gd name="connsiteY15" fmla="*/ 1431589 h 2718406"/>
                  <a:gd name="connsiteX16" fmla="*/ 974361 w 1948722"/>
                  <a:gd name="connsiteY16" fmla="*/ 0 h 2718406"/>
                  <a:gd name="connsiteX0" fmla="*/ 1354723 w 1948722"/>
                  <a:gd name="connsiteY0" fmla="*/ 1130928 h 2718581"/>
                  <a:gd name="connsiteX1" fmla="*/ 1121124 w 1948722"/>
                  <a:gd name="connsiteY1" fmla="*/ 1259959 h 2718581"/>
                  <a:gd name="connsiteX2" fmla="*/ 1354723 w 1948722"/>
                  <a:gd name="connsiteY2" fmla="*/ 1388990 h 2718581"/>
                  <a:gd name="connsiteX3" fmla="*/ 1588322 w 1948722"/>
                  <a:gd name="connsiteY3" fmla="*/ 1259959 h 2718581"/>
                  <a:gd name="connsiteX4" fmla="*/ 1354723 w 1948722"/>
                  <a:gd name="connsiteY4" fmla="*/ 1130928 h 2718581"/>
                  <a:gd name="connsiteX5" fmla="*/ 547961 w 1948722"/>
                  <a:gd name="connsiteY5" fmla="*/ 1130928 h 2718581"/>
                  <a:gd name="connsiteX6" fmla="*/ 314362 w 1948722"/>
                  <a:gd name="connsiteY6" fmla="*/ 1259959 h 2718581"/>
                  <a:gd name="connsiteX7" fmla="*/ 547961 w 1948722"/>
                  <a:gd name="connsiteY7" fmla="*/ 1388990 h 2718581"/>
                  <a:gd name="connsiteX8" fmla="*/ 781560 w 1948722"/>
                  <a:gd name="connsiteY8" fmla="*/ 1259959 h 2718581"/>
                  <a:gd name="connsiteX9" fmla="*/ 547961 w 1948722"/>
                  <a:gd name="connsiteY9" fmla="*/ 1130928 h 2718581"/>
                  <a:gd name="connsiteX10" fmla="*/ 974361 w 1948722"/>
                  <a:gd name="connsiteY10" fmla="*/ 0 h 2718581"/>
                  <a:gd name="connsiteX11" fmla="*/ 1948722 w 1948722"/>
                  <a:gd name="connsiteY11" fmla="*/ 1431589 h 2718581"/>
                  <a:gd name="connsiteX12" fmla="*/ 1946848 w 1948722"/>
                  <a:gd name="connsiteY12" fmla="*/ 1486136 h 2718581"/>
                  <a:gd name="connsiteX13" fmla="*/ 974737 w 1948722"/>
                  <a:gd name="connsiteY13" fmla="*/ 2717715 h 2718581"/>
                  <a:gd name="connsiteX14" fmla="*/ 106848 w 1948722"/>
                  <a:gd name="connsiteY14" fmla="*/ 1653009 h 2718581"/>
                  <a:gd name="connsiteX15" fmla="*/ 0 w 1948722"/>
                  <a:gd name="connsiteY15" fmla="*/ 1431589 h 2718581"/>
                  <a:gd name="connsiteX16" fmla="*/ 974361 w 1948722"/>
                  <a:gd name="connsiteY16" fmla="*/ 0 h 2718581"/>
                  <a:gd name="connsiteX0" fmla="*/ 1354723 w 1948722"/>
                  <a:gd name="connsiteY0" fmla="*/ 1130928 h 2717775"/>
                  <a:gd name="connsiteX1" fmla="*/ 1121124 w 1948722"/>
                  <a:gd name="connsiteY1" fmla="*/ 1259959 h 2717775"/>
                  <a:gd name="connsiteX2" fmla="*/ 1354723 w 1948722"/>
                  <a:gd name="connsiteY2" fmla="*/ 1388990 h 2717775"/>
                  <a:gd name="connsiteX3" fmla="*/ 1588322 w 1948722"/>
                  <a:gd name="connsiteY3" fmla="*/ 1259959 h 2717775"/>
                  <a:gd name="connsiteX4" fmla="*/ 1354723 w 1948722"/>
                  <a:gd name="connsiteY4" fmla="*/ 1130928 h 2717775"/>
                  <a:gd name="connsiteX5" fmla="*/ 547961 w 1948722"/>
                  <a:gd name="connsiteY5" fmla="*/ 1130928 h 2717775"/>
                  <a:gd name="connsiteX6" fmla="*/ 314362 w 1948722"/>
                  <a:gd name="connsiteY6" fmla="*/ 1259959 h 2717775"/>
                  <a:gd name="connsiteX7" fmla="*/ 547961 w 1948722"/>
                  <a:gd name="connsiteY7" fmla="*/ 1388990 h 2717775"/>
                  <a:gd name="connsiteX8" fmla="*/ 781560 w 1948722"/>
                  <a:gd name="connsiteY8" fmla="*/ 1259959 h 2717775"/>
                  <a:gd name="connsiteX9" fmla="*/ 547961 w 1948722"/>
                  <a:gd name="connsiteY9" fmla="*/ 1130928 h 2717775"/>
                  <a:gd name="connsiteX10" fmla="*/ 974361 w 1948722"/>
                  <a:gd name="connsiteY10" fmla="*/ 0 h 2717775"/>
                  <a:gd name="connsiteX11" fmla="*/ 1948722 w 1948722"/>
                  <a:gd name="connsiteY11" fmla="*/ 1431589 h 2717775"/>
                  <a:gd name="connsiteX12" fmla="*/ 1859025 w 1948722"/>
                  <a:gd name="connsiteY12" fmla="*/ 1610122 h 2717775"/>
                  <a:gd name="connsiteX13" fmla="*/ 974737 w 1948722"/>
                  <a:gd name="connsiteY13" fmla="*/ 2717715 h 2717775"/>
                  <a:gd name="connsiteX14" fmla="*/ 106848 w 1948722"/>
                  <a:gd name="connsiteY14" fmla="*/ 1653009 h 2717775"/>
                  <a:gd name="connsiteX15" fmla="*/ 0 w 1948722"/>
                  <a:gd name="connsiteY15" fmla="*/ 1431589 h 2717775"/>
                  <a:gd name="connsiteX16" fmla="*/ 974361 w 1948722"/>
                  <a:gd name="connsiteY16" fmla="*/ 0 h 2717775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47961 w 1948722"/>
                  <a:gd name="connsiteY7" fmla="*/ 1388990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4723 w 1948722"/>
                  <a:gd name="connsiteY2" fmla="*/ 1388990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57409 w 1948722"/>
                  <a:gd name="connsiteY7" fmla="*/ 1351197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717716"/>
                  <a:gd name="connsiteX1" fmla="*/ 1121124 w 1948722"/>
                  <a:gd name="connsiteY1" fmla="*/ 1259959 h 2717716"/>
                  <a:gd name="connsiteX2" fmla="*/ 1359448 w 1948722"/>
                  <a:gd name="connsiteY2" fmla="*/ 1346473 h 2717716"/>
                  <a:gd name="connsiteX3" fmla="*/ 1588322 w 1948722"/>
                  <a:gd name="connsiteY3" fmla="*/ 1259959 h 2717716"/>
                  <a:gd name="connsiteX4" fmla="*/ 1354723 w 1948722"/>
                  <a:gd name="connsiteY4" fmla="*/ 1130928 h 2717716"/>
                  <a:gd name="connsiteX5" fmla="*/ 547961 w 1948722"/>
                  <a:gd name="connsiteY5" fmla="*/ 1130928 h 2717716"/>
                  <a:gd name="connsiteX6" fmla="*/ 314362 w 1948722"/>
                  <a:gd name="connsiteY6" fmla="*/ 1259959 h 2717716"/>
                  <a:gd name="connsiteX7" fmla="*/ 557409 w 1948722"/>
                  <a:gd name="connsiteY7" fmla="*/ 1351197 h 2717716"/>
                  <a:gd name="connsiteX8" fmla="*/ 781560 w 1948722"/>
                  <a:gd name="connsiteY8" fmla="*/ 1259959 h 2717716"/>
                  <a:gd name="connsiteX9" fmla="*/ 547961 w 1948722"/>
                  <a:gd name="connsiteY9" fmla="*/ 1130928 h 2717716"/>
                  <a:gd name="connsiteX10" fmla="*/ 974361 w 1948722"/>
                  <a:gd name="connsiteY10" fmla="*/ 0 h 2717716"/>
                  <a:gd name="connsiteX11" fmla="*/ 1948722 w 1948722"/>
                  <a:gd name="connsiteY11" fmla="*/ 1431589 h 2717716"/>
                  <a:gd name="connsiteX12" fmla="*/ 1817696 w 1948722"/>
                  <a:gd name="connsiteY12" fmla="*/ 1646284 h 2717716"/>
                  <a:gd name="connsiteX13" fmla="*/ 974737 w 1948722"/>
                  <a:gd name="connsiteY13" fmla="*/ 2717715 h 2717716"/>
                  <a:gd name="connsiteX14" fmla="*/ 106848 w 1948722"/>
                  <a:gd name="connsiteY14" fmla="*/ 1653009 h 2717716"/>
                  <a:gd name="connsiteX15" fmla="*/ 0 w 1948722"/>
                  <a:gd name="connsiteY15" fmla="*/ 1431589 h 2717716"/>
                  <a:gd name="connsiteX16" fmla="*/ 974361 w 1948722"/>
                  <a:gd name="connsiteY16" fmla="*/ 0 h 2717716"/>
                  <a:gd name="connsiteX0" fmla="*/ 1354723 w 1948722"/>
                  <a:gd name="connsiteY0" fmla="*/ 1130928 h 2656303"/>
                  <a:gd name="connsiteX1" fmla="*/ 1121124 w 1948722"/>
                  <a:gd name="connsiteY1" fmla="*/ 1259959 h 2656303"/>
                  <a:gd name="connsiteX2" fmla="*/ 1359448 w 1948722"/>
                  <a:gd name="connsiteY2" fmla="*/ 1346473 h 2656303"/>
                  <a:gd name="connsiteX3" fmla="*/ 1588322 w 1948722"/>
                  <a:gd name="connsiteY3" fmla="*/ 1259959 h 2656303"/>
                  <a:gd name="connsiteX4" fmla="*/ 1354723 w 1948722"/>
                  <a:gd name="connsiteY4" fmla="*/ 1130928 h 2656303"/>
                  <a:gd name="connsiteX5" fmla="*/ 547961 w 1948722"/>
                  <a:gd name="connsiteY5" fmla="*/ 1130928 h 2656303"/>
                  <a:gd name="connsiteX6" fmla="*/ 314362 w 1948722"/>
                  <a:gd name="connsiteY6" fmla="*/ 1259959 h 2656303"/>
                  <a:gd name="connsiteX7" fmla="*/ 557409 w 1948722"/>
                  <a:gd name="connsiteY7" fmla="*/ 1351197 h 2656303"/>
                  <a:gd name="connsiteX8" fmla="*/ 781560 w 1948722"/>
                  <a:gd name="connsiteY8" fmla="*/ 1259959 h 2656303"/>
                  <a:gd name="connsiteX9" fmla="*/ 547961 w 1948722"/>
                  <a:gd name="connsiteY9" fmla="*/ 1130928 h 2656303"/>
                  <a:gd name="connsiteX10" fmla="*/ 974361 w 1948722"/>
                  <a:gd name="connsiteY10" fmla="*/ 0 h 2656303"/>
                  <a:gd name="connsiteX11" fmla="*/ 1948722 w 1948722"/>
                  <a:gd name="connsiteY11" fmla="*/ 1431589 h 2656303"/>
                  <a:gd name="connsiteX12" fmla="*/ 1817696 w 1948722"/>
                  <a:gd name="connsiteY12" fmla="*/ 1646284 h 2656303"/>
                  <a:gd name="connsiteX13" fmla="*/ 1017254 w 1948722"/>
                  <a:gd name="connsiteY13" fmla="*/ 2656301 h 2656303"/>
                  <a:gd name="connsiteX14" fmla="*/ 106848 w 1948722"/>
                  <a:gd name="connsiteY14" fmla="*/ 1653009 h 2656303"/>
                  <a:gd name="connsiteX15" fmla="*/ 0 w 1948722"/>
                  <a:gd name="connsiteY15" fmla="*/ 1431589 h 2656303"/>
                  <a:gd name="connsiteX16" fmla="*/ 974361 w 1948722"/>
                  <a:gd name="connsiteY16" fmla="*/ 0 h 2656303"/>
                  <a:gd name="connsiteX0" fmla="*/ 1354723 w 1948722"/>
                  <a:gd name="connsiteY0" fmla="*/ 1130928 h 2656318"/>
                  <a:gd name="connsiteX1" fmla="*/ 1121124 w 1948722"/>
                  <a:gd name="connsiteY1" fmla="*/ 1259959 h 2656318"/>
                  <a:gd name="connsiteX2" fmla="*/ 1359448 w 1948722"/>
                  <a:gd name="connsiteY2" fmla="*/ 1346473 h 2656318"/>
                  <a:gd name="connsiteX3" fmla="*/ 1588322 w 1948722"/>
                  <a:gd name="connsiteY3" fmla="*/ 1259959 h 2656318"/>
                  <a:gd name="connsiteX4" fmla="*/ 1354723 w 1948722"/>
                  <a:gd name="connsiteY4" fmla="*/ 1130928 h 2656318"/>
                  <a:gd name="connsiteX5" fmla="*/ 547961 w 1948722"/>
                  <a:gd name="connsiteY5" fmla="*/ 1130928 h 2656318"/>
                  <a:gd name="connsiteX6" fmla="*/ 314362 w 1948722"/>
                  <a:gd name="connsiteY6" fmla="*/ 1259959 h 2656318"/>
                  <a:gd name="connsiteX7" fmla="*/ 557409 w 1948722"/>
                  <a:gd name="connsiteY7" fmla="*/ 1351197 h 2656318"/>
                  <a:gd name="connsiteX8" fmla="*/ 781560 w 1948722"/>
                  <a:gd name="connsiteY8" fmla="*/ 1259959 h 2656318"/>
                  <a:gd name="connsiteX9" fmla="*/ 547961 w 1948722"/>
                  <a:gd name="connsiteY9" fmla="*/ 1130928 h 2656318"/>
                  <a:gd name="connsiteX10" fmla="*/ 974361 w 1948722"/>
                  <a:gd name="connsiteY10" fmla="*/ 0 h 2656318"/>
                  <a:gd name="connsiteX11" fmla="*/ 1948722 w 1948722"/>
                  <a:gd name="connsiteY11" fmla="*/ 1431589 h 2656318"/>
                  <a:gd name="connsiteX12" fmla="*/ 1817696 w 1948722"/>
                  <a:gd name="connsiteY12" fmla="*/ 1646284 h 2656318"/>
                  <a:gd name="connsiteX13" fmla="*/ 1017254 w 1948722"/>
                  <a:gd name="connsiteY13" fmla="*/ 2656301 h 2656318"/>
                  <a:gd name="connsiteX14" fmla="*/ 149365 w 1948722"/>
                  <a:gd name="connsiteY14" fmla="*/ 1629389 h 2656318"/>
                  <a:gd name="connsiteX15" fmla="*/ 0 w 1948722"/>
                  <a:gd name="connsiteY15" fmla="*/ 1431589 h 2656318"/>
                  <a:gd name="connsiteX16" fmla="*/ 974361 w 1948722"/>
                  <a:gd name="connsiteY16" fmla="*/ 0 h 2656318"/>
                  <a:gd name="connsiteX0" fmla="*/ 1354723 w 1948722"/>
                  <a:gd name="connsiteY0" fmla="*/ 1130928 h 2656301"/>
                  <a:gd name="connsiteX1" fmla="*/ 1121124 w 1948722"/>
                  <a:gd name="connsiteY1" fmla="*/ 1259959 h 2656301"/>
                  <a:gd name="connsiteX2" fmla="*/ 1359448 w 1948722"/>
                  <a:gd name="connsiteY2" fmla="*/ 1346473 h 2656301"/>
                  <a:gd name="connsiteX3" fmla="*/ 1588322 w 1948722"/>
                  <a:gd name="connsiteY3" fmla="*/ 1259959 h 2656301"/>
                  <a:gd name="connsiteX4" fmla="*/ 1354723 w 1948722"/>
                  <a:gd name="connsiteY4" fmla="*/ 1130928 h 2656301"/>
                  <a:gd name="connsiteX5" fmla="*/ 547961 w 1948722"/>
                  <a:gd name="connsiteY5" fmla="*/ 1130928 h 2656301"/>
                  <a:gd name="connsiteX6" fmla="*/ 314362 w 1948722"/>
                  <a:gd name="connsiteY6" fmla="*/ 1259959 h 2656301"/>
                  <a:gd name="connsiteX7" fmla="*/ 557409 w 1948722"/>
                  <a:gd name="connsiteY7" fmla="*/ 1351197 h 2656301"/>
                  <a:gd name="connsiteX8" fmla="*/ 781560 w 1948722"/>
                  <a:gd name="connsiteY8" fmla="*/ 1259959 h 2656301"/>
                  <a:gd name="connsiteX9" fmla="*/ 547961 w 1948722"/>
                  <a:gd name="connsiteY9" fmla="*/ 1130928 h 2656301"/>
                  <a:gd name="connsiteX10" fmla="*/ 974361 w 1948722"/>
                  <a:gd name="connsiteY10" fmla="*/ 0 h 2656301"/>
                  <a:gd name="connsiteX11" fmla="*/ 1948722 w 1948722"/>
                  <a:gd name="connsiteY11" fmla="*/ 1431589 h 2656301"/>
                  <a:gd name="connsiteX12" fmla="*/ 1789352 w 1948722"/>
                  <a:gd name="connsiteY12" fmla="*/ 1632111 h 2656301"/>
                  <a:gd name="connsiteX13" fmla="*/ 1017254 w 1948722"/>
                  <a:gd name="connsiteY13" fmla="*/ 2656301 h 2656301"/>
                  <a:gd name="connsiteX14" fmla="*/ 149365 w 1948722"/>
                  <a:gd name="connsiteY14" fmla="*/ 1629389 h 2656301"/>
                  <a:gd name="connsiteX15" fmla="*/ 0 w 1948722"/>
                  <a:gd name="connsiteY15" fmla="*/ 1431589 h 2656301"/>
                  <a:gd name="connsiteX16" fmla="*/ 974361 w 1948722"/>
                  <a:gd name="connsiteY16" fmla="*/ 0 h 2656301"/>
                  <a:gd name="connsiteX0" fmla="*/ 1283861 w 1877860"/>
                  <a:gd name="connsiteY0" fmla="*/ 1134211 h 2659584"/>
                  <a:gd name="connsiteX1" fmla="*/ 1050262 w 1877860"/>
                  <a:gd name="connsiteY1" fmla="*/ 1263242 h 2659584"/>
                  <a:gd name="connsiteX2" fmla="*/ 1288586 w 1877860"/>
                  <a:gd name="connsiteY2" fmla="*/ 1349756 h 2659584"/>
                  <a:gd name="connsiteX3" fmla="*/ 1517460 w 1877860"/>
                  <a:gd name="connsiteY3" fmla="*/ 1263242 h 2659584"/>
                  <a:gd name="connsiteX4" fmla="*/ 1283861 w 1877860"/>
                  <a:gd name="connsiteY4" fmla="*/ 1134211 h 2659584"/>
                  <a:gd name="connsiteX5" fmla="*/ 477099 w 1877860"/>
                  <a:gd name="connsiteY5" fmla="*/ 1134211 h 2659584"/>
                  <a:gd name="connsiteX6" fmla="*/ 243500 w 1877860"/>
                  <a:gd name="connsiteY6" fmla="*/ 1263242 h 2659584"/>
                  <a:gd name="connsiteX7" fmla="*/ 486547 w 1877860"/>
                  <a:gd name="connsiteY7" fmla="*/ 1354480 h 2659584"/>
                  <a:gd name="connsiteX8" fmla="*/ 710698 w 1877860"/>
                  <a:gd name="connsiteY8" fmla="*/ 1263242 h 2659584"/>
                  <a:gd name="connsiteX9" fmla="*/ 477099 w 1877860"/>
                  <a:gd name="connsiteY9" fmla="*/ 1134211 h 2659584"/>
                  <a:gd name="connsiteX10" fmla="*/ 903499 w 1877860"/>
                  <a:gd name="connsiteY10" fmla="*/ 3283 h 2659584"/>
                  <a:gd name="connsiteX11" fmla="*/ 1877860 w 1877860"/>
                  <a:gd name="connsiteY11" fmla="*/ 1434872 h 2659584"/>
                  <a:gd name="connsiteX12" fmla="*/ 1718490 w 1877860"/>
                  <a:gd name="connsiteY12" fmla="*/ 1635394 h 2659584"/>
                  <a:gd name="connsiteX13" fmla="*/ 946392 w 1877860"/>
                  <a:gd name="connsiteY13" fmla="*/ 2659584 h 2659584"/>
                  <a:gd name="connsiteX14" fmla="*/ 78503 w 1877860"/>
                  <a:gd name="connsiteY14" fmla="*/ 1632672 h 2659584"/>
                  <a:gd name="connsiteX15" fmla="*/ 0 w 1877860"/>
                  <a:gd name="connsiteY15" fmla="*/ 1165596 h 2659584"/>
                  <a:gd name="connsiteX16" fmla="*/ 903499 w 1877860"/>
                  <a:gd name="connsiteY16" fmla="*/ 3283 h 2659584"/>
                  <a:gd name="connsiteX0" fmla="*/ 1283861 w 1802274"/>
                  <a:gd name="connsiteY0" fmla="*/ 1131006 h 2656379"/>
                  <a:gd name="connsiteX1" fmla="*/ 1050262 w 1802274"/>
                  <a:gd name="connsiteY1" fmla="*/ 1260037 h 2656379"/>
                  <a:gd name="connsiteX2" fmla="*/ 1288586 w 1802274"/>
                  <a:gd name="connsiteY2" fmla="*/ 1346551 h 2656379"/>
                  <a:gd name="connsiteX3" fmla="*/ 1517460 w 1802274"/>
                  <a:gd name="connsiteY3" fmla="*/ 1260037 h 2656379"/>
                  <a:gd name="connsiteX4" fmla="*/ 1283861 w 1802274"/>
                  <a:gd name="connsiteY4" fmla="*/ 1131006 h 2656379"/>
                  <a:gd name="connsiteX5" fmla="*/ 477099 w 1802274"/>
                  <a:gd name="connsiteY5" fmla="*/ 1131006 h 2656379"/>
                  <a:gd name="connsiteX6" fmla="*/ 243500 w 1802274"/>
                  <a:gd name="connsiteY6" fmla="*/ 1260037 h 2656379"/>
                  <a:gd name="connsiteX7" fmla="*/ 486547 w 1802274"/>
                  <a:gd name="connsiteY7" fmla="*/ 1351275 h 2656379"/>
                  <a:gd name="connsiteX8" fmla="*/ 710698 w 1802274"/>
                  <a:gd name="connsiteY8" fmla="*/ 1260037 h 2656379"/>
                  <a:gd name="connsiteX9" fmla="*/ 477099 w 1802274"/>
                  <a:gd name="connsiteY9" fmla="*/ 1131006 h 2656379"/>
                  <a:gd name="connsiteX10" fmla="*/ 903499 w 1802274"/>
                  <a:gd name="connsiteY10" fmla="*/ 78 h 2656379"/>
                  <a:gd name="connsiteX11" fmla="*/ 1802274 w 1802274"/>
                  <a:gd name="connsiteY11" fmla="*/ 1200185 h 2656379"/>
                  <a:gd name="connsiteX12" fmla="*/ 1718490 w 1802274"/>
                  <a:gd name="connsiteY12" fmla="*/ 1632189 h 2656379"/>
                  <a:gd name="connsiteX13" fmla="*/ 946392 w 1802274"/>
                  <a:gd name="connsiteY13" fmla="*/ 2656379 h 2656379"/>
                  <a:gd name="connsiteX14" fmla="*/ 78503 w 1802274"/>
                  <a:gd name="connsiteY14" fmla="*/ 1629467 h 2656379"/>
                  <a:gd name="connsiteX15" fmla="*/ 0 w 1802274"/>
                  <a:gd name="connsiteY15" fmla="*/ 1162391 h 2656379"/>
                  <a:gd name="connsiteX16" fmla="*/ 903499 w 1802274"/>
                  <a:gd name="connsiteY16" fmla="*/ 78 h 2656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802274" h="2656379">
                    <a:moveTo>
                      <a:pt x="1283861" y="1131006"/>
                    </a:moveTo>
                    <a:cubicBezTo>
                      <a:pt x="1154848" y="1131006"/>
                      <a:pt x="1049475" y="1224113"/>
                      <a:pt x="1050262" y="1260037"/>
                    </a:cubicBezTo>
                    <a:cubicBezTo>
                      <a:pt x="1051050" y="1295961"/>
                      <a:pt x="1159573" y="1346551"/>
                      <a:pt x="1288586" y="1346551"/>
                    </a:cubicBezTo>
                    <a:cubicBezTo>
                      <a:pt x="1417599" y="1346551"/>
                      <a:pt x="1518248" y="1295961"/>
                      <a:pt x="1517460" y="1260037"/>
                    </a:cubicBezTo>
                    <a:cubicBezTo>
                      <a:pt x="1516673" y="1224113"/>
                      <a:pt x="1412874" y="1131006"/>
                      <a:pt x="1283861" y="1131006"/>
                    </a:cubicBezTo>
                    <a:close/>
                    <a:moveTo>
                      <a:pt x="477099" y="1131006"/>
                    </a:moveTo>
                    <a:cubicBezTo>
                      <a:pt x="348086" y="1131006"/>
                      <a:pt x="241925" y="1223326"/>
                      <a:pt x="243500" y="1260037"/>
                    </a:cubicBezTo>
                    <a:cubicBezTo>
                      <a:pt x="245075" y="1296748"/>
                      <a:pt x="357534" y="1351275"/>
                      <a:pt x="486547" y="1351275"/>
                    </a:cubicBezTo>
                    <a:cubicBezTo>
                      <a:pt x="615560" y="1351275"/>
                      <a:pt x="712273" y="1296748"/>
                      <a:pt x="710698" y="1260037"/>
                    </a:cubicBezTo>
                    <a:cubicBezTo>
                      <a:pt x="709123" y="1223326"/>
                      <a:pt x="606112" y="1131006"/>
                      <a:pt x="477099" y="1131006"/>
                    </a:cubicBezTo>
                    <a:close/>
                    <a:moveTo>
                      <a:pt x="903499" y="78"/>
                    </a:moveTo>
                    <a:cubicBezTo>
                      <a:pt x="1203878" y="6377"/>
                      <a:pt x="1802274" y="409540"/>
                      <a:pt x="1802274" y="1200185"/>
                    </a:cubicBezTo>
                    <a:cubicBezTo>
                      <a:pt x="1801649" y="1218367"/>
                      <a:pt x="1719115" y="1614007"/>
                      <a:pt x="1718490" y="1632189"/>
                    </a:cubicBezTo>
                    <a:cubicBezTo>
                      <a:pt x="1577774" y="2311956"/>
                      <a:pt x="1219723" y="2656833"/>
                      <a:pt x="946392" y="2656379"/>
                    </a:cubicBezTo>
                    <a:cubicBezTo>
                      <a:pt x="673061" y="2655925"/>
                      <a:pt x="200884" y="2213500"/>
                      <a:pt x="78503" y="1629467"/>
                    </a:cubicBezTo>
                    <a:cubicBezTo>
                      <a:pt x="75808" y="1595614"/>
                      <a:pt x="0" y="1196907"/>
                      <a:pt x="0" y="1162391"/>
                    </a:cubicBezTo>
                    <a:cubicBezTo>
                      <a:pt x="0" y="371746"/>
                      <a:pt x="603120" y="-6221"/>
                      <a:pt x="903499" y="78"/>
                    </a:cubicBezTo>
                    <a:close/>
                  </a:path>
                </a:pathLst>
              </a:cu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92" name="Oval 1491"/>
              <p:cNvSpPr/>
              <p:nvPr/>
            </p:nvSpPr>
            <p:spPr>
              <a:xfrm>
                <a:off x="7178469" y="822465"/>
                <a:ext cx="80875" cy="161466"/>
              </a:xfrm>
              <a:prstGeom prst="ellipse">
                <a:avLst/>
              </a:pr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93" name="Freeform 1492"/>
              <p:cNvSpPr/>
              <p:nvPr/>
            </p:nvSpPr>
            <p:spPr>
              <a:xfrm>
                <a:off x="7459487" y="785577"/>
                <a:ext cx="124050" cy="304847"/>
              </a:xfrm>
              <a:custGeom>
                <a:avLst/>
                <a:gdLst>
                  <a:gd name="connsiteX0" fmla="*/ 0 w 557784"/>
                  <a:gd name="connsiteY0" fmla="*/ 0 h 877824"/>
                  <a:gd name="connsiteX1" fmla="*/ 169164 w 557784"/>
                  <a:gd name="connsiteY1" fmla="*/ 137160 h 877824"/>
                  <a:gd name="connsiteX2" fmla="*/ 210312 w 557784"/>
                  <a:gd name="connsiteY2" fmla="*/ 676656 h 877824"/>
                  <a:gd name="connsiteX3" fmla="*/ 91440 w 557784"/>
                  <a:gd name="connsiteY3" fmla="*/ 790956 h 877824"/>
                  <a:gd name="connsiteX4" fmla="*/ 288036 w 557784"/>
                  <a:gd name="connsiteY4" fmla="*/ 877824 h 877824"/>
                  <a:gd name="connsiteX5" fmla="*/ 557784 w 557784"/>
                  <a:gd name="connsiteY5" fmla="*/ 763524 h 877824"/>
                  <a:gd name="connsiteX6" fmla="*/ 301752 w 557784"/>
                  <a:gd name="connsiteY6" fmla="*/ 822960 h 877824"/>
                  <a:gd name="connsiteX7" fmla="*/ 228600 w 557784"/>
                  <a:gd name="connsiteY7" fmla="*/ 763524 h 877824"/>
                  <a:gd name="connsiteX8" fmla="*/ 224028 w 557784"/>
                  <a:gd name="connsiteY8" fmla="*/ 164592 h 877824"/>
                  <a:gd name="connsiteX9" fmla="*/ 82296 w 557784"/>
                  <a:gd name="connsiteY9" fmla="*/ 13716 h 877824"/>
                  <a:gd name="connsiteX10" fmla="*/ 0 w 557784"/>
                  <a:gd name="connsiteY10" fmla="*/ 0 h 877824"/>
                  <a:gd name="connsiteX0" fmla="*/ 0 w 557784"/>
                  <a:gd name="connsiteY0" fmla="*/ 91990 h 969814"/>
                  <a:gd name="connsiteX1" fmla="*/ 169164 w 557784"/>
                  <a:gd name="connsiteY1" fmla="*/ 229150 h 969814"/>
                  <a:gd name="connsiteX2" fmla="*/ 210312 w 557784"/>
                  <a:gd name="connsiteY2" fmla="*/ 768646 h 969814"/>
                  <a:gd name="connsiteX3" fmla="*/ 91440 w 557784"/>
                  <a:gd name="connsiteY3" fmla="*/ 882946 h 969814"/>
                  <a:gd name="connsiteX4" fmla="*/ 288036 w 557784"/>
                  <a:gd name="connsiteY4" fmla="*/ 969814 h 969814"/>
                  <a:gd name="connsiteX5" fmla="*/ 557784 w 557784"/>
                  <a:gd name="connsiteY5" fmla="*/ 855514 h 969814"/>
                  <a:gd name="connsiteX6" fmla="*/ 301752 w 557784"/>
                  <a:gd name="connsiteY6" fmla="*/ 914950 h 969814"/>
                  <a:gd name="connsiteX7" fmla="*/ 228600 w 557784"/>
                  <a:gd name="connsiteY7" fmla="*/ 855514 h 969814"/>
                  <a:gd name="connsiteX8" fmla="*/ 224028 w 557784"/>
                  <a:gd name="connsiteY8" fmla="*/ 256582 h 969814"/>
                  <a:gd name="connsiteX9" fmla="*/ 160020 w 557784"/>
                  <a:gd name="connsiteY9" fmla="*/ 0 h 969814"/>
                  <a:gd name="connsiteX10" fmla="*/ 0 w 557784"/>
                  <a:gd name="connsiteY10" fmla="*/ 91990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118872 w 466344"/>
                  <a:gd name="connsiteY2" fmla="*/ 768646 h 969814"/>
                  <a:gd name="connsiteX3" fmla="*/ 0 w 466344"/>
                  <a:gd name="connsiteY3" fmla="*/ 882946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118872 w 466344"/>
                  <a:gd name="connsiteY2" fmla="*/ 768646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82296 w 466344"/>
                  <a:gd name="connsiteY2" fmla="*/ 759454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4864 w 466344"/>
                  <a:gd name="connsiteY0" fmla="*/ 9263 h 969814"/>
                  <a:gd name="connsiteX1" fmla="*/ 77724 w 466344"/>
                  <a:gd name="connsiteY1" fmla="*/ 229150 h 969814"/>
                  <a:gd name="connsiteX2" fmla="*/ 82296 w 466344"/>
                  <a:gd name="connsiteY2" fmla="*/ 759454 h 969814"/>
                  <a:gd name="connsiteX3" fmla="*/ 0 w 466344"/>
                  <a:gd name="connsiteY3" fmla="*/ 887542 h 969814"/>
                  <a:gd name="connsiteX4" fmla="*/ 196596 w 466344"/>
                  <a:gd name="connsiteY4" fmla="*/ 969814 h 969814"/>
                  <a:gd name="connsiteX5" fmla="*/ 466344 w 466344"/>
                  <a:gd name="connsiteY5" fmla="*/ 855514 h 969814"/>
                  <a:gd name="connsiteX6" fmla="*/ 210312 w 466344"/>
                  <a:gd name="connsiteY6" fmla="*/ 914950 h 969814"/>
                  <a:gd name="connsiteX7" fmla="*/ 137160 w 466344"/>
                  <a:gd name="connsiteY7" fmla="*/ 855514 h 969814"/>
                  <a:gd name="connsiteX8" fmla="*/ 132588 w 466344"/>
                  <a:gd name="connsiteY8" fmla="*/ 256582 h 969814"/>
                  <a:gd name="connsiteX9" fmla="*/ 68580 w 466344"/>
                  <a:gd name="connsiteY9" fmla="*/ 0 h 969814"/>
                  <a:gd name="connsiteX10" fmla="*/ 54864 w 466344"/>
                  <a:gd name="connsiteY10" fmla="*/ 9263 h 969814"/>
                  <a:gd name="connsiteX0" fmla="*/ 58242 w 469722"/>
                  <a:gd name="connsiteY0" fmla="*/ 9263 h 970247"/>
                  <a:gd name="connsiteX1" fmla="*/ 81102 w 469722"/>
                  <a:gd name="connsiteY1" fmla="*/ 229150 h 970247"/>
                  <a:gd name="connsiteX2" fmla="*/ 85674 w 469722"/>
                  <a:gd name="connsiteY2" fmla="*/ 759454 h 970247"/>
                  <a:gd name="connsiteX3" fmla="*/ 3378 w 469722"/>
                  <a:gd name="connsiteY3" fmla="*/ 887542 h 970247"/>
                  <a:gd name="connsiteX4" fmla="*/ 199974 w 469722"/>
                  <a:gd name="connsiteY4" fmla="*/ 969814 h 970247"/>
                  <a:gd name="connsiteX5" fmla="*/ 469722 w 469722"/>
                  <a:gd name="connsiteY5" fmla="*/ 855514 h 970247"/>
                  <a:gd name="connsiteX6" fmla="*/ 213690 w 469722"/>
                  <a:gd name="connsiteY6" fmla="*/ 914950 h 970247"/>
                  <a:gd name="connsiteX7" fmla="*/ 140538 w 469722"/>
                  <a:gd name="connsiteY7" fmla="*/ 855514 h 970247"/>
                  <a:gd name="connsiteX8" fmla="*/ 135966 w 469722"/>
                  <a:gd name="connsiteY8" fmla="*/ 256582 h 970247"/>
                  <a:gd name="connsiteX9" fmla="*/ 71958 w 469722"/>
                  <a:gd name="connsiteY9" fmla="*/ 0 h 970247"/>
                  <a:gd name="connsiteX10" fmla="*/ 58242 w 469722"/>
                  <a:gd name="connsiteY10" fmla="*/ 9263 h 970247"/>
                  <a:gd name="connsiteX0" fmla="*/ 54864 w 466344"/>
                  <a:gd name="connsiteY0" fmla="*/ 9263 h 979409"/>
                  <a:gd name="connsiteX1" fmla="*/ 77724 w 466344"/>
                  <a:gd name="connsiteY1" fmla="*/ 229150 h 979409"/>
                  <a:gd name="connsiteX2" fmla="*/ 82296 w 466344"/>
                  <a:gd name="connsiteY2" fmla="*/ 759454 h 979409"/>
                  <a:gd name="connsiteX3" fmla="*/ 0 w 466344"/>
                  <a:gd name="connsiteY3" fmla="*/ 887542 h 979409"/>
                  <a:gd name="connsiteX4" fmla="*/ 196596 w 466344"/>
                  <a:gd name="connsiteY4" fmla="*/ 969814 h 979409"/>
                  <a:gd name="connsiteX5" fmla="*/ 466344 w 466344"/>
                  <a:gd name="connsiteY5" fmla="*/ 855514 h 979409"/>
                  <a:gd name="connsiteX6" fmla="*/ 210312 w 466344"/>
                  <a:gd name="connsiteY6" fmla="*/ 914950 h 979409"/>
                  <a:gd name="connsiteX7" fmla="*/ 137160 w 466344"/>
                  <a:gd name="connsiteY7" fmla="*/ 855514 h 979409"/>
                  <a:gd name="connsiteX8" fmla="*/ 132588 w 466344"/>
                  <a:gd name="connsiteY8" fmla="*/ 256582 h 979409"/>
                  <a:gd name="connsiteX9" fmla="*/ 68580 w 466344"/>
                  <a:gd name="connsiteY9" fmla="*/ 0 h 979409"/>
                  <a:gd name="connsiteX10" fmla="*/ 54864 w 466344"/>
                  <a:gd name="connsiteY10" fmla="*/ 9263 h 979409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210312 w 466344"/>
                  <a:gd name="connsiteY6" fmla="*/ 914950 h 969840"/>
                  <a:gd name="connsiteX7" fmla="*/ 137160 w 466344"/>
                  <a:gd name="connsiteY7" fmla="*/ 855514 h 969840"/>
                  <a:gd name="connsiteX8" fmla="*/ 132588 w 466344"/>
                  <a:gd name="connsiteY8" fmla="*/ 256582 h 969840"/>
                  <a:gd name="connsiteX9" fmla="*/ 68580 w 466344"/>
                  <a:gd name="connsiteY9" fmla="*/ 0 h 969840"/>
                  <a:gd name="connsiteX10" fmla="*/ 54864 w 466344"/>
                  <a:gd name="connsiteY10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210312 w 466344"/>
                  <a:gd name="connsiteY6" fmla="*/ 914950 h 969840"/>
                  <a:gd name="connsiteX7" fmla="*/ 137160 w 466344"/>
                  <a:gd name="connsiteY7" fmla="*/ 855514 h 969840"/>
                  <a:gd name="connsiteX8" fmla="*/ 132588 w 466344"/>
                  <a:gd name="connsiteY8" fmla="*/ 256582 h 969840"/>
                  <a:gd name="connsiteX9" fmla="*/ 68580 w 466344"/>
                  <a:gd name="connsiteY9" fmla="*/ 0 h 969840"/>
                  <a:gd name="connsiteX10" fmla="*/ 54864 w 466344"/>
                  <a:gd name="connsiteY10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466344"/>
                  <a:gd name="connsiteY0" fmla="*/ 9263 h 969840"/>
                  <a:gd name="connsiteX1" fmla="*/ 77724 w 466344"/>
                  <a:gd name="connsiteY1" fmla="*/ 229150 h 969840"/>
                  <a:gd name="connsiteX2" fmla="*/ 82296 w 466344"/>
                  <a:gd name="connsiteY2" fmla="*/ 759454 h 969840"/>
                  <a:gd name="connsiteX3" fmla="*/ 0 w 466344"/>
                  <a:gd name="connsiteY3" fmla="*/ 887542 h 969840"/>
                  <a:gd name="connsiteX4" fmla="*/ 196596 w 466344"/>
                  <a:gd name="connsiteY4" fmla="*/ 969814 h 969840"/>
                  <a:gd name="connsiteX5" fmla="*/ 466344 w 466344"/>
                  <a:gd name="connsiteY5" fmla="*/ 855514 h 969840"/>
                  <a:gd name="connsiteX6" fmla="*/ 137160 w 466344"/>
                  <a:gd name="connsiteY6" fmla="*/ 855514 h 969840"/>
                  <a:gd name="connsiteX7" fmla="*/ 132588 w 466344"/>
                  <a:gd name="connsiteY7" fmla="*/ 256582 h 969840"/>
                  <a:gd name="connsiteX8" fmla="*/ 68580 w 466344"/>
                  <a:gd name="connsiteY8" fmla="*/ 0 h 969840"/>
                  <a:gd name="connsiteX9" fmla="*/ 54864 w 466344"/>
                  <a:gd name="connsiteY9" fmla="*/ 9263 h 969840"/>
                  <a:gd name="connsiteX0" fmla="*/ 54864 w 379073"/>
                  <a:gd name="connsiteY0" fmla="*/ 9263 h 970190"/>
                  <a:gd name="connsiteX1" fmla="*/ 77724 w 379073"/>
                  <a:gd name="connsiteY1" fmla="*/ 229150 h 970190"/>
                  <a:gd name="connsiteX2" fmla="*/ 82296 w 379073"/>
                  <a:gd name="connsiteY2" fmla="*/ 759454 h 970190"/>
                  <a:gd name="connsiteX3" fmla="*/ 0 w 379073"/>
                  <a:gd name="connsiteY3" fmla="*/ 887542 h 970190"/>
                  <a:gd name="connsiteX4" fmla="*/ 196596 w 379073"/>
                  <a:gd name="connsiteY4" fmla="*/ 969814 h 970190"/>
                  <a:gd name="connsiteX5" fmla="*/ 379073 w 379073"/>
                  <a:gd name="connsiteY5" fmla="*/ 855514 h 970190"/>
                  <a:gd name="connsiteX6" fmla="*/ 137160 w 379073"/>
                  <a:gd name="connsiteY6" fmla="*/ 855514 h 970190"/>
                  <a:gd name="connsiteX7" fmla="*/ 132588 w 379073"/>
                  <a:gd name="connsiteY7" fmla="*/ 256582 h 970190"/>
                  <a:gd name="connsiteX8" fmla="*/ 68580 w 379073"/>
                  <a:gd name="connsiteY8" fmla="*/ 0 h 970190"/>
                  <a:gd name="connsiteX9" fmla="*/ 54864 w 379073"/>
                  <a:gd name="connsiteY9" fmla="*/ 9263 h 970190"/>
                  <a:gd name="connsiteX0" fmla="*/ 54864 w 379073"/>
                  <a:gd name="connsiteY0" fmla="*/ 9263 h 970190"/>
                  <a:gd name="connsiteX1" fmla="*/ 77724 w 379073"/>
                  <a:gd name="connsiteY1" fmla="*/ 229150 h 970190"/>
                  <a:gd name="connsiteX2" fmla="*/ 82296 w 379073"/>
                  <a:gd name="connsiteY2" fmla="*/ 759454 h 970190"/>
                  <a:gd name="connsiteX3" fmla="*/ 0 w 379073"/>
                  <a:gd name="connsiteY3" fmla="*/ 887542 h 970190"/>
                  <a:gd name="connsiteX4" fmla="*/ 196596 w 379073"/>
                  <a:gd name="connsiteY4" fmla="*/ 969814 h 970190"/>
                  <a:gd name="connsiteX5" fmla="*/ 379073 w 379073"/>
                  <a:gd name="connsiteY5" fmla="*/ 855514 h 970190"/>
                  <a:gd name="connsiteX6" fmla="*/ 137160 w 379073"/>
                  <a:gd name="connsiteY6" fmla="*/ 855514 h 970190"/>
                  <a:gd name="connsiteX7" fmla="*/ 132588 w 379073"/>
                  <a:gd name="connsiteY7" fmla="*/ 256582 h 970190"/>
                  <a:gd name="connsiteX8" fmla="*/ 68580 w 379073"/>
                  <a:gd name="connsiteY8" fmla="*/ 0 h 970190"/>
                  <a:gd name="connsiteX9" fmla="*/ 54864 w 379073"/>
                  <a:gd name="connsiteY9" fmla="*/ 9263 h 970190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02875 w 344788"/>
                  <a:gd name="connsiteY6" fmla="*/ 855514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02875 w 344788"/>
                  <a:gd name="connsiteY6" fmla="*/ 855514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20579 w 344788"/>
                  <a:gd name="connsiteY0" fmla="*/ 9263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27808 w 344788"/>
                  <a:gd name="connsiteY6" fmla="*/ 886845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9" fmla="*/ 20579 w 344788"/>
                  <a:gd name="connsiteY9" fmla="*/ 9263 h 969896"/>
                  <a:gd name="connsiteX0" fmla="*/ 34295 w 344788"/>
                  <a:gd name="connsiteY0" fmla="*/ 0 h 969896"/>
                  <a:gd name="connsiteX1" fmla="*/ 43439 w 344788"/>
                  <a:gd name="connsiteY1" fmla="*/ 229150 h 969896"/>
                  <a:gd name="connsiteX2" fmla="*/ 48011 w 344788"/>
                  <a:gd name="connsiteY2" fmla="*/ 759454 h 969896"/>
                  <a:gd name="connsiteX3" fmla="*/ 0 w 344788"/>
                  <a:gd name="connsiteY3" fmla="*/ 871876 h 969896"/>
                  <a:gd name="connsiteX4" fmla="*/ 162311 w 344788"/>
                  <a:gd name="connsiteY4" fmla="*/ 969814 h 969896"/>
                  <a:gd name="connsiteX5" fmla="*/ 344788 w 344788"/>
                  <a:gd name="connsiteY5" fmla="*/ 855514 h 969896"/>
                  <a:gd name="connsiteX6" fmla="*/ 127808 w 344788"/>
                  <a:gd name="connsiteY6" fmla="*/ 886845 h 969896"/>
                  <a:gd name="connsiteX7" fmla="*/ 98303 w 344788"/>
                  <a:gd name="connsiteY7" fmla="*/ 256582 h 969896"/>
                  <a:gd name="connsiteX8" fmla="*/ 34295 w 344788"/>
                  <a:gd name="connsiteY8" fmla="*/ 0 h 969896"/>
                  <a:gd name="connsiteX0" fmla="*/ 0 w 375947"/>
                  <a:gd name="connsiteY0" fmla="*/ 0 h 966762"/>
                  <a:gd name="connsiteX1" fmla="*/ 74598 w 375947"/>
                  <a:gd name="connsiteY1" fmla="*/ 226016 h 966762"/>
                  <a:gd name="connsiteX2" fmla="*/ 79170 w 375947"/>
                  <a:gd name="connsiteY2" fmla="*/ 756320 h 966762"/>
                  <a:gd name="connsiteX3" fmla="*/ 31159 w 375947"/>
                  <a:gd name="connsiteY3" fmla="*/ 868742 h 966762"/>
                  <a:gd name="connsiteX4" fmla="*/ 193470 w 375947"/>
                  <a:gd name="connsiteY4" fmla="*/ 966680 h 966762"/>
                  <a:gd name="connsiteX5" fmla="*/ 375947 w 375947"/>
                  <a:gd name="connsiteY5" fmla="*/ 852380 h 966762"/>
                  <a:gd name="connsiteX6" fmla="*/ 158967 w 375947"/>
                  <a:gd name="connsiteY6" fmla="*/ 883711 h 966762"/>
                  <a:gd name="connsiteX7" fmla="*/ 129462 w 375947"/>
                  <a:gd name="connsiteY7" fmla="*/ 253448 h 966762"/>
                  <a:gd name="connsiteX8" fmla="*/ 0 w 375947"/>
                  <a:gd name="connsiteY8" fmla="*/ 0 h 96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5947" h="966762">
                    <a:moveTo>
                      <a:pt x="0" y="0"/>
                    </a:moveTo>
                    <a:cubicBezTo>
                      <a:pt x="24866" y="75339"/>
                      <a:pt x="61403" y="99963"/>
                      <a:pt x="74598" y="226016"/>
                    </a:cubicBezTo>
                    <a:cubicBezTo>
                      <a:pt x="87793" y="352069"/>
                      <a:pt x="106602" y="512145"/>
                      <a:pt x="79170" y="756320"/>
                    </a:cubicBezTo>
                    <a:lnTo>
                      <a:pt x="31159" y="868742"/>
                    </a:lnTo>
                    <a:cubicBezTo>
                      <a:pt x="50209" y="903802"/>
                      <a:pt x="136005" y="969407"/>
                      <a:pt x="193470" y="966680"/>
                    </a:cubicBezTo>
                    <a:cubicBezTo>
                      <a:pt x="250935" y="963953"/>
                      <a:pt x="298498" y="931212"/>
                      <a:pt x="375947" y="852380"/>
                    </a:cubicBezTo>
                    <a:cubicBezTo>
                      <a:pt x="266219" y="852380"/>
                      <a:pt x="228099" y="924004"/>
                      <a:pt x="158967" y="883711"/>
                    </a:cubicBezTo>
                    <a:cubicBezTo>
                      <a:pt x="89835" y="843418"/>
                      <a:pt x="140892" y="396034"/>
                      <a:pt x="129462" y="25344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Moon 1493"/>
              <p:cNvSpPr/>
              <p:nvPr/>
            </p:nvSpPr>
            <p:spPr>
              <a:xfrm rot="5400000">
                <a:off x="7631338" y="742923"/>
                <a:ext cx="47315" cy="163594"/>
              </a:xfrm>
              <a:prstGeom prst="moon">
                <a:avLst>
                  <a:gd name="adj" fmla="val 53541"/>
                </a:avLst>
              </a:prstGeom>
              <a:solidFill>
                <a:srgbClr val="E3A8F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grpSp>
            <p:nvGrpSpPr>
              <p:cNvPr id="1495" name="Group 1494"/>
              <p:cNvGrpSpPr/>
              <p:nvPr/>
            </p:nvGrpSpPr>
            <p:grpSpPr>
              <a:xfrm>
                <a:off x="7426625" y="1103573"/>
                <a:ext cx="202452" cy="80358"/>
                <a:chOff x="7206201" y="2269553"/>
                <a:chExt cx="611134" cy="252515"/>
              </a:xfrm>
            </p:grpSpPr>
            <p:grpSp>
              <p:nvGrpSpPr>
                <p:cNvPr id="1538" name="Group 1537"/>
                <p:cNvGrpSpPr/>
                <p:nvPr/>
              </p:nvGrpSpPr>
              <p:grpSpPr>
                <a:xfrm>
                  <a:off x="7206201" y="2269553"/>
                  <a:ext cx="611134" cy="252515"/>
                  <a:chOff x="7206201" y="2269553"/>
                  <a:chExt cx="611134" cy="252515"/>
                </a:xfrm>
              </p:grpSpPr>
              <p:sp>
                <p:nvSpPr>
                  <p:cNvPr id="1540" name="Freeform 1539"/>
                  <p:cNvSpPr/>
                  <p:nvPr/>
                </p:nvSpPr>
                <p:spPr>
                  <a:xfrm>
                    <a:off x="7206201" y="2269553"/>
                    <a:ext cx="611134" cy="252515"/>
                  </a:xfrm>
                  <a:custGeom>
                    <a:avLst/>
                    <a:gdLst>
                      <a:gd name="connsiteX0" fmla="*/ 0 w 704088"/>
                      <a:gd name="connsiteY0" fmla="*/ 36576 h 539496"/>
                      <a:gd name="connsiteX1" fmla="*/ 704088 w 704088"/>
                      <a:gd name="connsiteY1" fmla="*/ 0 h 539496"/>
                      <a:gd name="connsiteX2" fmla="*/ 347472 w 704088"/>
                      <a:gd name="connsiteY2" fmla="*/ 539496 h 539496"/>
                      <a:gd name="connsiteX3" fmla="*/ 0 w 704088"/>
                      <a:gd name="connsiteY3" fmla="*/ 36576 h 539496"/>
                      <a:gd name="connsiteX0" fmla="*/ 0 w 704088"/>
                      <a:gd name="connsiteY0" fmla="*/ 85818 h 588738"/>
                      <a:gd name="connsiteX1" fmla="*/ 704088 w 704088"/>
                      <a:gd name="connsiteY1" fmla="*/ 49242 h 588738"/>
                      <a:gd name="connsiteX2" fmla="*/ 347472 w 704088"/>
                      <a:gd name="connsiteY2" fmla="*/ 588738 h 588738"/>
                      <a:gd name="connsiteX3" fmla="*/ 0 w 704088"/>
                      <a:gd name="connsiteY3" fmla="*/ 85818 h 588738"/>
                      <a:gd name="connsiteX0" fmla="*/ 0 w 704088"/>
                      <a:gd name="connsiteY0" fmla="*/ 58319 h 561239"/>
                      <a:gd name="connsiteX1" fmla="*/ 704088 w 704088"/>
                      <a:gd name="connsiteY1" fmla="*/ 21743 h 561239"/>
                      <a:gd name="connsiteX2" fmla="*/ 347472 w 704088"/>
                      <a:gd name="connsiteY2" fmla="*/ 561239 h 561239"/>
                      <a:gd name="connsiteX3" fmla="*/ 0 w 704088"/>
                      <a:gd name="connsiteY3" fmla="*/ 58319 h 561239"/>
                      <a:gd name="connsiteX0" fmla="*/ 0 w 704088"/>
                      <a:gd name="connsiteY0" fmla="*/ 36576 h 539496"/>
                      <a:gd name="connsiteX1" fmla="*/ 704088 w 704088"/>
                      <a:gd name="connsiteY1" fmla="*/ 0 h 539496"/>
                      <a:gd name="connsiteX2" fmla="*/ 347472 w 704088"/>
                      <a:gd name="connsiteY2" fmla="*/ 539496 h 539496"/>
                      <a:gd name="connsiteX3" fmla="*/ 0 w 704088"/>
                      <a:gd name="connsiteY3" fmla="*/ 36576 h 539496"/>
                      <a:gd name="connsiteX0" fmla="*/ 7983 w 712071"/>
                      <a:gd name="connsiteY0" fmla="*/ 36576 h 573258"/>
                      <a:gd name="connsiteX1" fmla="*/ 712071 w 712071"/>
                      <a:gd name="connsiteY1" fmla="*/ 0 h 573258"/>
                      <a:gd name="connsiteX2" fmla="*/ 355455 w 712071"/>
                      <a:gd name="connsiteY2" fmla="*/ 539496 h 573258"/>
                      <a:gd name="connsiteX3" fmla="*/ 7983 w 712071"/>
                      <a:gd name="connsiteY3" fmla="*/ 36576 h 573258"/>
                      <a:gd name="connsiteX0" fmla="*/ 8915 w 713003"/>
                      <a:gd name="connsiteY0" fmla="*/ 36576 h 539612"/>
                      <a:gd name="connsiteX1" fmla="*/ 713003 w 713003"/>
                      <a:gd name="connsiteY1" fmla="*/ 0 h 539612"/>
                      <a:gd name="connsiteX2" fmla="*/ 356387 w 713003"/>
                      <a:gd name="connsiteY2" fmla="*/ 539496 h 539612"/>
                      <a:gd name="connsiteX3" fmla="*/ 8915 w 713003"/>
                      <a:gd name="connsiteY3" fmla="*/ 36576 h 539612"/>
                      <a:gd name="connsiteX0" fmla="*/ 7453 w 711541"/>
                      <a:gd name="connsiteY0" fmla="*/ 36576 h 411657"/>
                      <a:gd name="connsiteX1" fmla="*/ 711541 w 711541"/>
                      <a:gd name="connsiteY1" fmla="*/ 0 h 411657"/>
                      <a:gd name="connsiteX2" fmla="*/ 414361 w 711541"/>
                      <a:gd name="connsiteY2" fmla="*/ 411480 h 411657"/>
                      <a:gd name="connsiteX3" fmla="*/ 7453 w 711541"/>
                      <a:gd name="connsiteY3" fmla="*/ 36576 h 411657"/>
                      <a:gd name="connsiteX0" fmla="*/ 8259 w 712347"/>
                      <a:gd name="connsiteY0" fmla="*/ 36576 h 412039"/>
                      <a:gd name="connsiteX1" fmla="*/ 712347 w 712347"/>
                      <a:gd name="connsiteY1" fmla="*/ 0 h 412039"/>
                      <a:gd name="connsiteX2" fmla="*/ 415167 w 712347"/>
                      <a:gd name="connsiteY2" fmla="*/ 411480 h 412039"/>
                      <a:gd name="connsiteX3" fmla="*/ 8259 w 712347"/>
                      <a:gd name="connsiteY3" fmla="*/ 36576 h 412039"/>
                      <a:gd name="connsiteX0" fmla="*/ 0 w 704088"/>
                      <a:gd name="connsiteY0" fmla="*/ 36576 h 412673"/>
                      <a:gd name="connsiteX1" fmla="*/ 704088 w 704088"/>
                      <a:gd name="connsiteY1" fmla="*/ 0 h 412673"/>
                      <a:gd name="connsiteX2" fmla="*/ 406908 w 704088"/>
                      <a:gd name="connsiteY2" fmla="*/ 411480 h 412673"/>
                      <a:gd name="connsiteX3" fmla="*/ 0 w 704088"/>
                      <a:gd name="connsiteY3" fmla="*/ 36576 h 412673"/>
                      <a:gd name="connsiteX0" fmla="*/ 0 w 704088"/>
                      <a:gd name="connsiteY0" fmla="*/ 36576 h 292712"/>
                      <a:gd name="connsiteX1" fmla="*/ 704088 w 704088"/>
                      <a:gd name="connsiteY1" fmla="*/ 0 h 292712"/>
                      <a:gd name="connsiteX2" fmla="*/ 402336 w 704088"/>
                      <a:gd name="connsiteY2" fmla="*/ 288036 h 292712"/>
                      <a:gd name="connsiteX3" fmla="*/ 0 w 704088"/>
                      <a:gd name="connsiteY3" fmla="*/ 36576 h 292712"/>
                      <a:gd name="connsiteX0" fmla="*/ 0 w 704088"/>
                      <a:gd name="connsiteY0" fmla="*/ 36576 h 290923"/>
                      <a:gd name="connsiteX1" fmla="*/ 704088 w 704088"/>
                      <a:gd name="connsiteY1" fmla="*/ 0 h 290923"/>
                      <a:gd name="connsiteX2" fmla="*/ 402336 w 704088"/>
                      <a:gd name="connsiteY2" fmla="*/ 288036 h 290923"/>
                      <a:gd name="connsiteX3" fmla="*/ 0 w 704088"/>
                      <a:gd name="connsiteY3" fmla="*/ 36576 h 290923"/>
                      <a:gd name="connsiteX0" fmla="*/ 0 w 704088"/>
                      <a:gd name="connsiteY0" fmla="*/ 36576 h 290923"/>
                      <a:gd name="connsiteX1" fmla="*/ 704088 w 704088"/>
                      <a:gd name="connsiteY1" fmla="*/ 0 h 290923"/>
                      <a:gd name="connsiteX2" fmla="*/ 402336 w 704088"/>
                      <a:gd name="connsiteY2" fmla="*/ 288036 h 290923"/>
                      <a:gd name="connsiteX3" fmla="*/ 0 w 704088"/>
                      <a:gd name="connsiteY3" fmla="*/ 36576 h 2909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04088" h="290923">
                        <a:moveTo>
                          <a:pt x="0" y="36576"/>
                        </a:moveTo>
                        <a:cubicBezTo>
                          <a:pt x="402336" y="106680"/>
                          <a:pt x="463296" y="62484"/>
                          <a:pt x="704088" y="0"/>
                        </a:cubicBezTo>
                        <a:cubicBezTo>
                          <a:pt x="635508" y="134112"/>
                          <a:pt x="594360" y="272796"/>
                          <a:pt x="402336" y="288036"/>
                        </a:cubicBezTo>
                        <a:cubicBezTo>
                          <a:pt x="210312" y="303276"/>
                          <a:pt x="132588" y="263652"/>
                          <a:pt x="0" y="36576"/>
                        </a:cubicBezTo>
                        <a:close/>
                      </a:path>
                    </a:pathLst>
                  </a:custGeom>
                  <a:solidFill>
                    <a:srgbClr val="D4475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541" name="Oval 492"/>
                  <p:cNvSpPr/>
                  <p:nvPr/>
                </p:nvSpPr>
                <p:spPr>
                  <a:xfrm>
                    <a:off x="7295433" y="2349859"/>
                    <a:ext cx="432668" cy="1722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8477" h="198400">
                        <a:moveTo>
                          <a:pt x="249208" y="0"/>
                        </a:moveTo>
                        <a:cubicBezTo>
                          <a:pt x="353845" y="0"/>
                          <a:pt x="445850" y="36977"/>
                          <a:pt x="498477" y="93170"/>
                        </a:cubicBezTo>
                        <a:cubicBezTo>
                          <a:pt x="455726" y="148132"/>
                          <a:pt x="397103" y="187770"/>
                          <a:pt x="299500" y="195516"/>
                        </a:cubicBezTo>
                        <a:cubicBezTo>
                          <a:pt x="161254" y="206488"/>
                          <a:pt x="82251" y="189023"/>
                          <a:pt x="0" y="93094"/>
                        </a:cubicBezTo>
                        <a:cubicBezTo>
                          <a:pt x="52643" y="36946"/>
                          <a:pt x="144616" y="0"/>
                          <a:pt x="249208" y="0"/>
                        </a:cubicBezTo>
                        <a:close/>
                      </a:path>
                    </a:pathLst>
                  </a:custGeom>
                  <a:solidFill>
                    <a:srgbClr val="EA9E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3297" tIns="46649" rIns="93297" bIns="4664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/>
                      </a:solidFill>
                      <a:latin typeface="Arial" charset="0"/>
                    </a:endParaRPr>
                  </a:p>
                </p:txBody>
              </p:sp>
            </p:grpSp>
            <p:sp>
              <p:nvSpPr>
                <p:cNvPr id="1539" name="Freeform 1538"/>
                <p:cNvSpPr/>
                <p:nvPr/>
              </p:nvSpPr>
              <p:spPr>
                <a:xfrm>
                  <a:off x="7206201" y="2269553"/>
                  <a:ext cx="611134" cy="1138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088" h="131129">
                      <a:moveTo>
                        <a:pt x="704088" y="0"/>
                      </a:moveTo>
                      <a:lnTo>
                        <a:pt x="670585" y="67885"/>
                      </a:lnTo>
                      <a:cubicBezTo>
                        <a:pt x="464424" y="123212"/>
                        <a:pt x="388532" y="159437"/>
                        <a:pt x="40616" y="102125"/>
                      </a:cubicBezTo>
                      <a:cubicBezTo>
                        <a:pt x="27356" y="82387"/>
                        <a:pt x="13983" y="60524"/>
                        <a:pt x="0" y="36576"/>
                      </a:cubicBezTo>
                      <a:cubicBezTo>
                        <a:pt x="402336" y="106680"/>
                        <a:pt x="463296" y="62484"/>
                        <a:pt x="70408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496" name="Freeform 1495"/>
              <p:cNvSpPr/>
              <p:nvPr/>
            </p:nvSpPr>
            <p:spPr>
              <a:xfrm flipH="1">
                <a:off x="7188283" y="836123"/>
                <a:ext cx="41949" cy="117392"/>
              </a:xfrm>
              <a:custGeom>
                <a:avLst/>
                <a:gdLst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52795 w 127117"/>
                  <a:gd name="connsiteY5" fmla="*/ 239070 h 405447"/>
                  <a:gd name="connsiteX6" fmla="*/ 60180 w 127117"/>
                  <a:gd name="connsiteY6" fmla="*/ 335798 h 405447"/>
                  <a:gd name="connsiteX7" fmla="*/ 73074 w 127117"/>
                  <a:gd name="connsiteY7" fmla="*/ 405447 h 405447"/>
                  <a:gd name="connsiteX8" fmla="*/ 127100 w 127117"/>
                  <a:gd name="connsiteY8" fmla="*/ 174710 h 405447"/>
                  <a:gd name="connsiteX9" fmla="*/ 63930 w 127117"/>
                  <a:gd name="connsiteY9" fmla="*/ 7683 h 405447"/>
                  <a:gd name="connsiteX10" fmla="*/ 46290 w 127117"/>
                  <a:gd name="connsiteY10" fmla="*/ 1 h 405447"/>
                  <a:gd name="connsiteX0" fmla="*/ 46290 w 127117"/>
                  <a:gd name="connsiteY0" fmla="*/ 1 h 406048"/>
                  <a:gd name="connsiteX1" fmla="*/ 8038 w 127117"/>
                  <a:gd name="connsiteY1" fmla="*/ 45476 h 406048"/>
                  <a:gd name="connsiteX2" fmla="*/ 86790 w 127117"/>
                  <a:gd name="connsiteY2" fmla="*/ 199707 h 406048"/>
                  <a:gd name="connsiteX3" fmla="*/ 86450 w 127117"/>
                  <a:gd name="connsiteY3" fmla="*/ 204808 h 406048"/>
                  <a:gd name="connsiteX4" fmla="*/ 0 w 127117"/>
                  <a:gd name="connsiteY4" fmla="*/ 157686 h 406048"/>
                  <a:gd name="connsiteX5" fmla="*/ 52795 w 127117"/>
                  <a:gd name="connsiteY5" fmla="*/ 239070 h 406048"/>
                  <a:gd name="connsiteX6" fmla="*/ 73074 w 127117"/>
                  <a:gd name="connsiteY6" fmla="*/ 405447 h 406048"/>
                  <a:gd name="connsiteX7" fmla="*/ 127100 w 127117"/>
                  <a:gd name="connsiteY7" fmla="*/ 174710 h 406048"/>
                  <a:gd name="connsiteX8" fmla="*/ 63930 w 127117"/>
                  <a:gd name="connsiteY8" fmla="*/ 7683 h 406048"/>
                  <a:gd name="connsiteX9" fmla="*/ 46290 w 127117"/>
                  <a:gd name="connsiteY9" fmla="*/ 1 h 406048"/>
                  <a:gd name="connsiteX0" fmla="*/ 46356 w 127183"/>
                  <a:gd name="connsiteY0" fmla="*/ 1 h 405447"/>
                  <a:gd name="connsiteX1" fmla="*/ 8104 w 127183"/>
                  <a:gd name="connsiteY1" fmla="*/ 45476 h 405447"/>
                  <a:gd name="connsiteX2" fmla="*/ 86856 w 127183"/>
                  <a:gd name="connsiteY2" fmla="*/ 199707 h 405447"/>
                  <a:gd name="connsiteX3" fmla="*/ 86516 w 127183"/>
                  <a:gd name="connsiteY3" fmla="*/ 204808 h 405447"/>
                  <a:gd name="connsiteX4" fmla="*/ 66 w 127183"/>
                  <a:gd name="connsiteY4" fmla="*/ 157686 h 405447"/>
                  <a:gd name="connsiteX5" fmla="*/ 73140 w 127183"/>
                  <a:gd name="connsiteY5" fmla="*/ 405447 h 405447"/>
                  <a:gd name="connsiteX6" fmla="*/ 127166 w 127183"/>
                  <a:gd name="connsiteY6" fmla="*/ 174710 h 405447"/>
                  <a:gd name="connsiteX7" fmla="*/ 63996 w 127183"/>
                  <a:gd name="connsiteY7" fmla="*/ 7683 h 405447"/>
                  <a:gd name="connsiteX8" fmla="*/ 46356 w 127183"/>
                  <a:gd name="connsiteY8" fmla="*/ 1 h 405447"/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73074 w 127117"/>
                  <a:gd name="connsiteY5" fmla="*/ 405447 h 405447"/>
                  <a:gd name="connsiteX6" fmla="*/ 127100 w 127117"/>
                  <a:gd name="connsiteY6" fmla="*/ 174710 h 405447"/>
                  <a:gd name="connsiteX7" fmla="*/ 63930 w 127117"/>
                  <a:gd name="connsiteY7" fmla="*/ 7683 h 405447"/>
                  <a:gd name="connsiteX8" fmla="*/ 46290 w 127117"/>
                  <a:gd name="connsiteY8" fmla="*/ 1 h 405447"/>
                  <a:gd name="connsiteX0" fmla="*/ 46290 w 127117"/>
                  <a:gd name="connsiteY0" fmla="*/ 1 h 421977"/>
                  <a:gd name="connsiteX1" fmla="*/ 8038 w 127117"/>
                  <a:gd name="connsiteY1" fmla="*/ 45476 h 421977"/>
                  <a:gd name="connsiteX2" fmla="*/ 86790 w 127117"/>
                  <a:gd name="connsiteY2" fmla="*/ 199707 h 421977"/>
                  <a:gd name="connsiteX3" fmla="*/ 86450 w 127117"/>
                  <a:gd name="connsiteY3" fmla="*/ 204808 h 421977"/>
                  <a:gd name="connsiteX4" fmla="*/ 0 w 127117"/>
                  <a:gd name="connsiteY4" fmla="*/ 157686 h 421977"/>
                  <a:gd name="connsiteX5" fmla="*/ 73074 w 127117"/>
                  <a:gd name="connsiteY5" fmla="*/ 405447 h 421977"/>
                  <a:gd name="connsiteX6" fmla="*/ 127100 w 127117"/>
                  <a:gd name="connsiteY6" fmla="*/ 174710 h 421977"/>
                  <a:gd name="connsiteX7" fmla="*/ 63930 w 127117"/>
                  <a:gd name="connsiteY7" fmla="*/ 7683 h 421977"/>
                  <a:gd name="connsiteX8" fmla="*/ 46290 w 127117"/>
                  <a:gd name="connsiteY8" fmla="*/ 1 h 421977"/>
                  <a:gd name="connsiteX0" fmla="*/ 46290 w 127121"/>
                  <a:gd name="connsiteY0" fmla="*/ 1 h 405476"/>
                  <a:gd name="connsiteX1" fmla="*/ 8038 w 127121"/>
                  <a:gd name="connsiteY1" fmla="*/ 45476 h 405476"/>
                  <a:gd name="connsiteX2" fmla="*/ 86790 w 127121"/>
                  <a:gd name="connsiteY2" fmla="*/ 199707 h 405476"/>
                  <a:gd name="connsiteX3" fmla="*/ 86450 w 127121"/>
                  <a:gd name="connsiteY3" fmla="*/ 204808 h 405476"/>
                  <a:gd name="connsiteX4" fmla="*/ 0 w 127121"/>
                  <a:gd name="connsiteY4" fmla="*/ 157686 h 405476"/>
                  <a:gd name="connsiteX5" fmla="*/ 73074 w 127121"/>
                  <a:gd name="connsiteY5" fmla="*/ 405447 h 405476"/>
                  <a:gd name="connsiteX6" fmla="*/ 127100 w 127121"/>
                  <a:gd name="connsiteY6" fmla="*/ 174710 h 405476"/>
                  <a:gd name="connsiteX7" fmla="*/ 63930 w 127121"/>
                  <a:gd name="connsiteY7" fmla="*/ 7683 h 405476"/>
                  <a:gd name="connsiteX8" fmla="*/ 46290 w 127121"/>
                  <a:gd name="connsiteY8" fmla="*/ 1 h 405476"/>
                  <a:gd name="connsiteX0" fmla="*/ 46290 w 127130"/>
                  <a:gd name="connsiteY0" fmla="*/ 1 h 370347"/>
                  <a:gd name="connsiteX1" fmla="*/ 8038 w 127130"/>
                  <a:gd name="connsiteY1" fmla="*/ 45476 h 370347"/>
                  <a:gd name="connsiteX2" fmla="*/ 86790 w 127130"/>
                  <a:gd name="connsiteY2" fmla="*/ 199707 h 370347"/>
                  <a:gd name="connsiteX3" fmla="*/ 86450 w 127130"/>
                  <a:gd name="connsiteY3" fmla="*/ 204808 h 370347"/>
                  <a:gd name="connsiteX4" fmla="*/ 0 w 127130"/>
                  <a:gd name="connsiteY4" fmla="*/ 157686 h 370347"/>
                  <a:gd name="connsiteX5" fmla="*/ 81190 w 127130"/>
                  <a:gd name="connsiteY5" fmla="*/ 370278 h 370347"/>
                  <a:gd name="connsiteX6" fmla="*/ 127100 w 127130"/>
                  <a:gd name="connsiteY6" fmla="*/ 174710 h 370347"/>
                  <a:gd name="connsiteX7" fmla="*/ 63930 w 127130"/>
                  <a:gd name="connsiteY7" fmla="*/ 7683 h 370347"/>
                  <a:gd name="connsiteX8" fmla="*/ 46290 w 127130"/>
                  <a:gd name="connsiteY8" fmla="*/ 1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30" h="370347">
                    <a:moveTo>
                      <a:pt x="46290" y="1"/>
                    </a:moveTo>
                    <a:cubicBezTo>
                      <a:pt x="26886" y="100"/>
                      <a:pt x="5180" y="21473"/>
                      <a:pt x="8038" y="45476"/>
                    </a:cubicBezTo>
                    <a:lnTo>
                      <a:pt x="86790" y="199707"/>
                    </a:lnTo>
                    <a:cubicBezTo>
                      <a:pt x="86677" y="201407"/>
                      <a:pt x="86563" y="203108"/>
                      <a:pt x="86450" y="204808"/>
                    </a:cubicBezTo>
                    <a:cubicBezTo>
                      <a:pt x="67440" y="167342"/>
                      <a:pt x="31336" y="147098"/>
                      <a:pt x="0" y="157686"/>
                    </a:cubicBezTo>
                    <a:cubicBezTo>
                      <a:pt x="141153" y="272285"/>
                      <a:pt x="55065" y="368735"/>
                      <a:pt x="81190" y="370278"/>
                    </a:cubicBezTo>
                    <a:cubicBezTo>
                      <a:pt x="107315" y="371821"/>
                      <a:pt x="128028" y="349014"/>
                      <a:pt x="127100" y="174710"/>
                    </a:cubicBezTo>
                    <a:cubicBezTo>
                      <a:pt x="125576" y="108416"/>
                      <a:pt x="83774" y="29222"/>
                      <a:pt x="63930" y="7683"/>
                    </a:cubicBezTo>
                    <a:cubicBezTo>
                      <a:pt x="58969" y="2298"/>
                      <a:pt x="52757" y="-32"/>
                      <a:pt x="46290" y="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497" name="Freeform 1496"/>
              <p:cNvSpPr/>
              <p:nvPr/>
            </p:nvSpPr>
            <p:spPr>
              <a:xfrm>
                <a:off x="7428847" y="1103799"/>
                <a:ext cx="201947" cy="23479"/>
              </a:xfrm>
              <a:custGeom>
                <a:avLst/>
                <a:gdLst>
                  <a:gd name="connsiteX0" fmla="*/ 0 w 531223"/>
                  <a:gd name="connsiteY0" fmla="*/ 26125 h 29028"/>
                  <a:gd name="connsiteX1" fmla="*/ 200297 w 531223"/>
                  <a:gd name="connsiteY1" fmla="*/ 14514 h 29028"/>
                  <a:gd name="connsiteX2" fmla="*/ 267063 w 531223"/>
                  <a:gd name="connsiteY2" fmla="*/ 29028 h 29028"/>
                  <a:gd name="connsiteX3" fmla="*/ 330926 w 531223"/>
                  <a:gd name="connsiteY3" fmla="*/ 11611 h 29028"/>
                  <a:gd name="connsiteX4" fmla="*/ 531223 w 531223"/>
                  <a:gd name="connsiteY4" fmla="*/ 0 h 29028"/>
                  <a:gd name="connsiteX5" fmla="*/ 0 w 531223"/>
                  <a:gd name="connsiteY5" fmla="*/ 26125 h 29028"/>
                  <a:gd name="connsiteX0" fmla="*/ 0 w 531223"/>
                  <a:gd name="connsiteY0" fmla="*/ 26125 h 53375"/>
                  <a:gd name="connsiteX1" fmla="*/ 200297 w 531223"/>
                  <a:gd name="connsiteY1" fmla="*/ 14514 h 53375"/>
                  <a:gd name="connsiteX2" fmla="*/ 267063 w 531223"/>
                  <a:gd name="connsiteY2" fmla="*/ 29028 h 53375"/>
                  <a:gd name="connsiteX3" fmla="*/ 330926 w 531223"/>
                  <a:gd name="connsiteY3" fmla="*/ 11611 h 53375"/>
                  <a:gd name="connsiteX4" fmla="*/ 531223 w 531223"/>
                  <a:gd name="connsiteY4" fmla="*/ 0 h 53375"/>
                  <a:gd name="connsiteX5" fmla="*/ 0 w 531223"/>
                  <a:gd name="connsiteY5" fmla="*/ 26125 h 53375"/>
                  <a:gd name="connsiteX0" fmla="*/ 0 w 531223"/>
                  <a:gd name="connsiteY0" fmla="*/ 41801 h 69051"/>
                  <a:gd name="connsiteX1" fmla="*/ 200297 w 531223"/>
                  <a:gd name="connsiteY1" fmla="*/ 30190 h 69051"/>
                  <a:gd name="connsiteX2" fmla="*/ 267063 w 531223"/>
                  <a:gd name="connsiteY2" fmla="*/ 44704 h 69051"/>
                  <a:gd name="connsiteX3" fmla="*/ 330926 w 531223"/>
                  <a:gd name="connsiteY3" fmla="*/ 27287 h 69051"/>
                  <a:gd name="connsiteX4" fmla="*/ 531223 w 531223"/>
                  <a:gd name="connsiteY4" fmla="*/ 15676 h 69051"/>
                  <a:gd name="connsiteX5" fmla="*/ 0 w 531223"/>
                  <a:gd name="connsiteY5" fmla="*/ 41801 h 69051"/>
                  <a:gd name="connsiteX0" fmla="*/ 0 w 531223"/>
                  <a:gd name="connsiteY0" fmla="*/ 26125 h 100285"/>
                  <a:gd name="connsiteX1" fmla="*/ 200297 w 531223"/>
                  <a:gd name="connsiteY1" fmla="*/ 14514 h 100285"/>
                  <a:gd name="connsiteX2" fmla="*/ 267063 w 531223"/>
                  <a:gd name="connsiteY2" fmla="*/ 29028 h 100285"/>
                  <a:gd name="connsiteX3" fmla="*/ 330926 w 531223"/>
                  <a:gd name="connsiteY3" fmla="*/ 11611 h 100285"/>
                  <a:gd name="connsiteX4" fmla="*/ 531223 w 531223"/>
                  <a:gd name="connsiteY4" fmla="*/ 0 h 100285"/>
                  <a:gd name="connsiteX5" fmla="*/ 0 w 531223"/>
                  <a:gd name="connsiteY5" fmla="*/ 26125 h 100285"/>
                  <a:gd name="connsiteX0" fmla="*/ 0 w 531223"/>
                  <a:gd name="connsiteY0" fmla="*/ 26125 h 100285"/>
                  <a:gd name="connsiteX1" fmla="*/ 200297 w 531223"/>
                  <a:gd name="connsiteY1" fmla="*/ 14514 h 100285"/>
                  <a:gd name="connsiteX2" fmla="*/ 267063 w 531223"/>
                  <a:gd name="connsiteY2" fmla="*/ 29028 h 100285"/>
                  <a:gd name="connsiteX3" fmla="*/ 330926 w 531223"/>
                  <a:gd name="connsiteY3" fmla="*/ 11611 h 100285"/>
                  <a:gd name="connsiteX4" fmla="*/ 531223 w 531223"/>
                  <a:gd name="connsiteY4" fmla="*/ 0 h 100285"/>
                  <a:gd name="connsiteX5" fmla="*/ 0 w 531223"/>
                  <a:gd name="connsiteY5" fmla="*/ 26125 h 100285"/>
                  <a:gd name="connsiteX0" fmla="*/ 0 w 531223"/>
                  <a:gd name="connsiteY0" fmla="*/ 26125 h 54206"/>
                  <a:gd name="connsiteX1" fmla="*/ 200297 w 531223"/>
                  <a:gd name="connsiteY1" fmla="*/ 14514 h 54206"/>
                  <a:gd name="connsiteX2" fmla="*/ 267063 w 531223"/>
                  <a:gd name="connsiteY2" fmla="*/ 29028 h 54206"/>
                  <a:gd name="connsiteX3" fmla="*/ 330926 w 531223"/>
                  <a:gd name="connsiteY3" fmla="*/ 11611 h 54206"/>
                  <a:gd name="connsiteX4" fmla="*/ 531223 w 531223"/>
                  <a:gd name="connsiteY4" fmla="*/ 0 h 54206"/>
                  <a:gd name="connsiteX5" fmla="*/ 0 w 531223"/>
                  <a:gd name="connsiteY5" fmla="*/ 26125 h 54206"/>
                  <a:gd name="connsiteX0" fmla="*/ 0 w 531223"/>
                  <a:gd name="connsiteY0" fmla="*/ 26125 h 64293"/>
                  <a:gd name="connsiteX1" fmla="*/ 200297 w 531223"/>
                  <a:gd name="connsiteY1" fmla="*/ 14514 h 64293"/>
                  <a:gd name="connsiteX2" fmla="*/ 267063 w 531223"/>
                  <a:gd name="connsiteY2" fmla="*/ 29028 h 64293"/>
                  <a:gd name="connsiteX3" fmla="*/ 330926 w 531223"/>
                  <a:gd name="connsiteY3" fmla="*/ 11611 h 64293"/>
                  <a:gd name="connsiteX4" fmla="*/ 531223 w 531223"/>
                  <a:gd name="connsiteY4" fmla="*/ 0 h 64293"/>
                  <a:gd name="connsiteX5" fmla="*/ 0 w 531223"/>
                  <a:gd name="connsiteY5" fmla="*/ 26125 h 64293"/>
                  <a:gd name="connsiteX0" fmla="*/ 0 w 531223"/>
                  <a:gd name="connsiteY0" fmla="*/ 26125 h 64293"/>
                  <a:gd name="connsiteX1" fmla="*/ 200297 w 531223"/>
                  <a:gd name="connsiteY1" fmla="*/ 14514 h 64293"/>
                  <a:gd name="connsiteX2" fmla="*/ 267063 w 531223"/>
                  <a:gd name="connsiteY2" fmla="*/ 29028 h 64293"/>
                  <a:gd name="connsiteX3" fmla="*/ 330926 w 531223"/>
                  <a:gd name="connsiteY3" fmla="*/ 11611 h 64293"/>
                  <a:gd name="connsiteX4" fmla="*/ 531223 w 531223"/>
                  <a:gd name="connsiteY4" fmla="*/ 0 h 64293"/>
                  <a:gd name="connsiteX5" fmla="*/ 0 w 531223"/>
                  <a:gd name="connsiteY5" fmla="*/ 26125 h 6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1223" h="64293">
                    <a:moveTo>
                      <a:pt x="0" y="26125"/>
                    </a:moveTo>
                    <a:cubicBezTo>
                      <a:pt x="174172" y="25158"/>
                      <a:pt x="133531" y="18384"/>
                      <a:pt x="200297" y="14514"/>
                    </a:cubicBezTo>
                    <a:lnTo>
                      <a:pt x="267063" y="29028"/>
                    </a:lnTo>
                    <a:lnTo>
                      <a:pt x="330926" y="11611"/>
                    </a:lnTo>
                    <a:lnTo>
                      <a:pt x="531223" y="0"/>
                    </a:lnTo>
                    <a:cubicBezTo>
                      <a:pt x="371566" y="55154"/>
                      <a:pt x="307703" y="98696"/>
                      <a:pt x="0" y="26125"/>
                    </a:cubicBezTo>
                    <a:close/>
                  </a:path>
                </a:pathLst>
              </a:custGeom>
              <a:solidFill>
                <a:srgbClr val="FF4F4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98" name="Freeform 1497"/>
              <p:cNvSpPr/>
              <p:nvPr/>
            </p:nvSpPr>
            <p:spPr>
              <a:xfrm>
                <a:off x="7428683" y="1105390"/>
                <a:ext cx="201870" cy="112012"/>
              </a:xfrm>
              <a:custGeom>
                <a:avLst/>
                <a:gdLst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302419"/>
                  <a:gd name="connsiteX1" fmla="*/ 269082 w 538163"/>
                  <a:gd name="connsiteY1" fmla="*/ 302419 h 302419"/>
                  <a:gd name="connsiteX2" fmla="*/ 538163 w 538163"/>
                  <a:gd name="connsiteY2" fmla="*/ 0 h 302419"/>
                  <a:gd name="connsiteX3" fmla="*/ 0 w 538163"/>
                  <a:gd name="connsiteY3" fmla="*/ 21432 h 302419"/>
                  <a:gd name="connsiteX0" fmla="*/ 0 w 538163"/>
                  <a:gd name="connsiteY0" fmla="*/ 21432 h 87541"/>
                  <a:gd name="connsiteX1" fmla="*/ 538163 w 538163"/>
                  <a:gd name="connsiteY1" fmla="*/ 0 h 87541"/>
                  <a:gd name="connsiteX2" fmla="*/ 0 w 538163"/>
                  <a:gd name="connsiteY2" fmla="*/ 21432 h 87541"/>
                  <a:gd name="connsiteX0" fmla="*/ 0 w 538163"/>
                  <a:gd name="connsiteY0" fmla="*/ 21432 h 305387"/>
                  <a:gd name="connsiteX1" fmla="*/ 538163 w 538163"/>
                  <a:gd name="connsiteY1" fmla="*/ 0 h 305387"/>
                  <a:gd name="connsiteX2" fmla="*/ 0 w 538163"/>
                  <a:gd name="connsiteY2" fmla="*/ 21432 h 305387"/>
                  <a:gd name="connsiteX0" fmla="*/ 0 w 538163"/>
                  <a:gd name="connsiteY0" fmla="*/ 40320 h 324275"/>
                  <a:gd name="connsiteX1" fmla="*/ 538163 w 538163"/>
                  <a:gd name="connsiteY1" fmla="*/ 18888 h 324275"/>
                  <a:gd name="connsiteX2" fmla="*/ 0 w 538163"/>
                  <a:gd name="connsiteY2" fmla="*/ 40320 h 324275"/>
                  <a:gd name="connsiteX0" fmla="*/ 0 w 538163"/>
                  <a:gd name="connsiteY0" fmla="*/ 40320 h 349566"/>
                  <a:gd name="connsiteX1" fmla="*/ 538163 w 538163"/>
                  <a:gd name="connsiteY1" fmla="*/ 18888 h 349566"/>
                  <a:gd name="connsiteX2" fmla="*/ 0 w 538163"/>
                  <a:gd name="connsiteY2" fmla="*/ 40320 h 349566"/>
                  <a:gd name="connsiteX0" fmla="*/ 0 w 538163"/>
                  <a:gd name="connsiteY0" fmla="*/ 40320 h 324264"/>
                  <a:gd name="connsiteX1" fmla="*/ 538163 w 538163"/>
                  <a:gd name="connsiteY1" fmla="*/ 18888 h 324264"/>
                  <a:gd name="connsiteX2" fmla="*/ 0 w 538163"/>
                  <a:gd name="connsiteY2" fmla="*/ 40320 h 324264"/>
                  <a:gd name="connsiteX0" fmla="*/ 0 w 538163"/>
                  <a:gd name="connsiteY0" fmla="*/ 24558 h 308502"/>
                  <a:gd name="connsiteX1" fmla="*/ 538163 w 538163"/>
                  <a:gd name="connsiteY1" fmla="*/ 3126 h 308502"/>
                  <a:gd name="connsiteX2" fmla="*/ 0 w 538163"/>
                  <a:gd name="connsiteY2" fmla="*/ 24558 h 308502"/>
                  <a:gd name="connsiteX0" fmla="*/ 0 w 538163"/>
                  <a:gd name="connsiteY0" fmla="*/ 21432 h 305376"/>
                  <a:gd name="connsiteX1" fmla="*/ 538163 w 538163"/>
                  <a:gd name="connsiteY1" fmla="*/ 0 h 305376"/>
                  <a:gd name="connsiteX2" fmla="*/ 0 w 538163"/>
                  <a:gd name="connsiteY2" fmla="*/ 21432 h 305376"/>
                  <a:gd name="connsiteX0" fmla="*/ 0 w 538163"/>
                  <a:gd name="connsiteY0" fmla="*/ 21432 h 305376"/>
                  <a:gd name="connsiteX1" fmla="*/ 538163 w 538163"/>
                  <a:gd name="connsiteY1" fmla="*/ 0 h 305376"/>
                  <a:gd name="connsiteX2" fmla="*/ 0 w 538163"/>
                  <a:gd name="connsiteY2" fmla="*/ 21432 h 305376"/>
                  <a:gd name="connsiteX0" fmla="*/ 0 w 538163"/>
                  <a:gd name="connsiteY0" fmla="*/ 21432 h 315021"/>
                  <a:gd name="connsiteX1" fmla="*/ 538163 w 538163"/>
                  <a:gd name="connsiteY1" fmla="*/ 0 h 315021"/>
                  <a:gd name="connsiteX2" fmla="*/ 0 w 538163"/>
                  <a:gd name="connsiteY2" fmla="*/ 21432 h 315021"/>
                  <a:gd name="connsiteX0" fmla="*/ 0 w 538163"/>
                  <a:gd name="connsiteY0" fmla="*/ 21432 h 315021"/>
                  <a:gd name="connsiteX1" fmla="*/ 538163 w 538163"/>
                  <a:gd name="connsiteY1" fmla="*/ 0 h 315021"/>
                  <a:gd name="connsiteX2" fmla="*/ 0 w 538163"/>
                  <a:gd name="connsiteY2" fmla="*/ 21432 h 315021"/>
                  <a:gd name="connsiteX0" fmla="*/ 0 w 531019"/>
                  <a:gd name="connsiteY0" fmla="*/ 19051 h 313378"/>
                  <a:gd name="connsiteX1" fmla="*/ 531019 w 531019"/>
                  <a:gd name="connsiteY1" fmla="*/ 0 h 313378"/>
                  <a:gd name="connsiteX2" fmla="*/ 0 w 531019"/>
                  <a:gd name="connsiteY2" fmla="*/ 19051 h 313378"/>
                  <a:gd name="connsiteX0" fmla="*/ 0 w 531058"/>
                  <a:gd name="connsiteY0" fmla="*/ 19051 h 315242"/>
                  <a:gd name="connsiteX1" fmla="*/ 531019 w 531058"/>
                  <a:gd name="connsiteY1" fmla="*/ 0 h 315242"/>
                  <a:gd name="connsiteX2" fmla="*/ 0 w 531058"/>
                  <a:gd name="connsiteY2" fmla="*/ 19051 h 315242"/>
                  <a:gd name="connsiteX0" fmla="*/ 0 w 531060"/>
                  <a:gd name="connsiteY0" fmla="*/ 19051 h 301633"/>
                  <a:gd name="connsiteX1" fmla="*/ 531019 w 531060"/>
                  <a:gd name="connsiteY1" fmla="*/ 0 h 301633"/>
                  <a:gd name="connsiteX2" fmla="*/ 0 w 531060"/>
                  <a:gd name="connsiteY2" fmla="*/ 19051 h 301633"/>
                  <a:gd name="connsiteX0" fmla="*/ 0 w 531060"/>
                  <a:gd name="connsiteY0" fmla="*/ 19051 h 301633"/>
                  <a:gd name="connsiteX1" fmla="*/ 531019 w 531060"/>
                  <a:gd name="connsiteY1" fmla="*/ 0 h 301633"/>
                  <a:gd name="connsiteX2" fmla="*/ 0 w 531060"/>
                  <a:gd name="connsiteY2" fmla="*/ 19051 h 301633"/>
                  <a:gd name="connsiteX0" fmla="*/ 0 w 531019"/>
                  <a:gd name="connsiteY0" fmla="*/ 19051 h 306722"/>
                  <a:gd name="connsiteX1" fmla="*/ 531019 w 531019"/>
                  <a:gd name="connsiteY1" fmla="*/ 0 h 306722"/>
                  <a:gd name="connsiteX2" fmla="*/ 0 w 531019"/>
                  <a:gd name="connsiteY2" fmla="*/ 19051 h 306722"/>
                  <a:gd name="connsiteX0" fmla="*/ 0 w 531019"/>
                  <a:gd name="connsiteY0" fmla="*/ 19051 h 306722"/>
                  <a:gd name="connsiteX1" fmla="*/ 531019 w 531019"/>
                  <a:gd name="connsiteY1" fmla="*/ 0 h 306722"/>
                  <a:gd name="connsiteX2" fmla="*/ 0 w 531019"/>
                  <a:gd name="connsiteY2" fmla="*/ 19051 h 3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1019" h="306722">
                    <a:moveTo>
                      <a:pt x="0" y="19051"/>
                    </a:moveTo>
                    <a:cubicBezTo>
                      <a:pt x="296071" y="423863"/>
                      <a:pt x="463550" y="78581"/>
                      <a:pt x="531019" y="0"/>
                    </a:cubicBezTo>
                    <a:cubicBezTo>
                      <a:pt x="477838" y="180975"/>
                      <a:pt x="253206" y="578645"/>
                      <a:pt x="0" y="19051"/>
                    </a:cubicBezTo>
                    <a:close/>
                  </a:path>
                </a:pathLst>
              </a:custGeom>
              <a:solidFill>
                <a:srgbClr val="FF818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99" name="Freeform 1498"/>
              <p:cNvSpPr/>
              <p:nvPr/>
            </p:nvSpPr>
            <p:spPr>
              <a:xfrm flipH="1">
                <a:off x="7567327" y="821198"/>
                <a:ext cx="179606" cy="38583"/>
              </a:xfrm>
              <a:custGeom>
                <a:avLst/>
                <a:gdLst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398249 w 513532"/>
                  <a:gd name="connsiteY12" fmla="*/ 49782 h 133623"/>
                  <a:gd name="connsiteX13" fmla="*/ 434930 w 513532"/>
                  <a:gd name="connsiteY13" fmla="*/ 23581 h 133623"/>
                  <a:gd name="connsiteX14" fmla="*/ 513532 w 513532"/>
                  <a:gd name="connsiteY14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24887 w 513532"/>
                  <a:gd name="connsiteY10" fmla="*/ 41921 h 133623"/>
                  <a:gd name="connsiteX11" fmla="*/ 335368 w 513532"/>
                  <a:gd name="connsiteY11" fmla="*/ 0 h 133623"/>
                  <a:gd name="connsiteX12" fmla="*/ 434930 w 513532"/>
                  <a:gd name="connsiteY12" fmla="*/ 23581 h 133623"/>
                  <a:gd name="connsiteX13" fmla="*/ 513532 w 513532"/>
                  <a:gd name="connsiteY13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41046 w 513532"/>
                  <a:gd name="connsiteY7" fmla="*/ 41921 h 133623"/>
                  <a:gd name="connsiteX8" fmla="*/ 230565 w 513532"/>
                  <a:gd name="connsiteY8" fmla="*/ 10481 h 133623"/>
                  <a:gd name="connsiteX9" fmla="*/ 324887 w 513532"/>
                  <a:gd name="connsiteY9" fmla="*/ 41921 h 133623"/>
                  <a:gd name="connsiteX10" fmla="*/ 335368 w 513532"/>
                  <a:gd name="connsiteY10" fmla="*/ 0 h 133623"/>
                  <a:gd name="connsiteX11" fmla="*/ 434930 w 513532"/>
                  <a:gd name="connsiteY11" fmla="*/ 23581 h 133623"/>
                  <a:gd name="connsiteX12" fmla="*/ 513532 w 513532"/>
                  <a:gd name="connsiteY12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30565 w 513532"/>
                  <a:gd name="connsiteY7" fmla="*/ 10481 h 133623"/>
                  <a:gd name="connsiteX8" fmla="*/ 324887 w 513532"/>
                  <a:gd name="connsiteY8" fmla="*/ 41921 h 133623"/>
                  <a:gd name="connsiteX9" fmla="*/ 335368 w 513532"/>
                  <a:gd name="connsiteY9" fmla="*/ 0 h 133623"/>
                  <a:gd name="connsiteX10" fmla="*/ 434930 w 513532"/>
                  <a:gd name="connsiteY10" fmla="*/ 23581 h 133623"/>
                  <a:gd name="connsiteX11" fmla="*/ 513532 w 513532"/>
                  <a:gd name="connsiteY11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62444 w 513532"/>
                  <a:gd name="connsiteY5" fmla="*/ 65502 h 133623"/>
                  <a:gd name="connsiteX6" fmla="*/ 133623 w 513532"/>
                  <a:gd name="connsiteY6" fmla="*/ 41921 h 133623"/>
                  <a:gd name="connsiteX7" fmla="*/ 230565 w 513532"/>
                  <a:gd name="connsiteY7" fmla="*/ 10481 h 133623"/>
                  <a:gd name="connsiteX8" fmla="*/ 335368 w 513532"/>
                  <a:gd name="connsiteY8" fmla="*/ 0 h 133623"/>
                  <a:gd name="connsiteX9" fmla="*/ 434930 w 513532"/>
                  <a:gd name="connsiteY9" fmla="*/ 23581 h 133623"/>
                  <a:gd name="connsiteX10" fmla="*/ 513532 w 513532"/>
                  <a:gd name="connsiteY10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112663 w 513532"/>
                  <a:gd name="connsiteY3" fmla="*/ 104803 h 133623"/>
                  <a:gd name="connsiteX4" fmla="*/ 73362 w 513532"/>
                  <a:gd name="connsiteY4" fmla="*/ 70742 h 133623"/>
                  <a:gd name="connsiteX5" fmla="*/ 133623 w 513532"/>
                  <a:gd name="connsiteY5" fmla="*/ 41921 h 133623"/>
                  <a:gd name="connsiteX6" fmla="*/ 230565 w 513532"/>
                  <a:gd name="connsiteY6" fmla="*/ 10481 h 133623"/>
                  <a:gd name="connsiteX7" fmla="*/ 335368 w 513532"/>
                  <a:gd name="connsiteY7" fmla="*/ 0 h 133623"/>
                  <a:gd name="connsiteX8" fmla="*/ 434930 w 513532"/>
                  <a:gd name="connsiteY8" fmla="*/ 23581 h 133623"/>
                  <a:gd name="connsiteX9" fmla="*/ 513532 w 513532"/>
                  <a:gd name="connsiteY9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73362 w 513532"/>
                  <a:gd name="connsiteY3" fmla="*/ 70742 h 133623"/>
                  <a:gd name="connsiteX4" fmla="*/ 133623 w 513532"/>
                  <a:gd name="connsiteY4" fmla="*/ 41921 h 133623"/>
                  <a:gd name="connsiteX5" fmla="*/ 230565 w 513532"/>
                  <a:gd name="connsiteY5" fmla="*/ 10481 h 133623"/>
                  <a:gd name="connsiteX6" fmla="*/ 335368 w 513532"/>
                  <a:gd name="connsiteY6" fmla="*/ 0 h 133623"/>
                  <a:gd name="connsiteX7" fmla="*/ 434930 w 513532"/>
                  <a:gd name="connsiteY7" fmla="*/ 23581 h 133623"/>
                  <a:gd name="connsiteX8" fmla="*/ 513532 w 513532"/>
                  <a:gd name="connsiteY8" fmla="*/ 120523 h 133623"/>
                  <a:gd name="connsiteX0" fmla="*/ 513532 w 513532"/>
                  <a:gd name="connsiteY0" fmla="*/ 120523 h 133623"/>
                  <a:gd name="connsiteX1" fmla="*/ 91702 w 513532"/>
                  <a:gd name="connsiteY1" fmla="*/ 133623 h 133623"/>
                  <a:gd name="connsiteX2" fmla="*/ 0 w 513532"/>
                  <a:gd name="connsiteY2" fmla="*/ 99563 h 133623"/>
                  <a:gd name="connsiteX3" fmla="*/ 73362 w 513532"/>
                  <a:gd name="connsiteY3" fmla="*/ 70742 h 133623"/>
                  <a:gd name="connsiteX4" fmla="*/ 133623 w 513532"/>
                  <a:gd name="connsiteY4" fmla="*/ 41921 h 133623"/>
                  <a:gd name="connsiteX5" fmla="*/ 230565 w 513532"/>
                  <a:gd name="connsiteY5" fmla="*/ 10481 h 133623"/>
                  <a:gd name="connsiteX6" fmla="*/ 335368 w 513532"/>
                  <a:gd name="connsiteY6" fmla="*/ 0 h 133623"/>
                  <a:gd name="connsiteX7" fmla="*/ 513532 w 513532"/>
                  <a:gd name="connsiteY7" fmla="*/ 120523 h 133623"/>
                  <a:gd name="connsiteX0" fmla="*/ 513532 w 513532"/>
                  <a:gd name="connsiteY0" fmla="*/ 110042 h 123142"/>
                  <a:gd name="connsiteX1" fmla="*/ 91702 w 513532"/>
                  <a:gd name="connsiteY1" fmla="*/ 123142 h 123142"/>
                  <a:gd name="connsiteX2" fmla="*/ 0 w 513532"/>
                  <a:gd name="connsiteY2" fmla="*/ 89082 h 123142"/>
                  <a:gd name="connsiteX3" fmla="*/ 73362 w 513532"/>
                  <a:gd name="connsiteY3" fmla="*/ 60261 h 123142"/>
                  <a:gd name="connsiteX4" fmla="*/ 133623 w 513532"/>
                  <a:gd name="connsiteY4" fmla="*/ 31440 h 123142"/>
                  <a:gd name="connsiteX5" fmla="*/ 230565 w 513532"/>
                  <a:gd name="connsiteY5" fmla="*/ 0 h 123142"/>
                  <a:gd name="connsiteX6" fmla="*/ 513532 w 513532"/>
                  <a:gd name="connsiteY6" fmla="*/ 110042 h 123142"/>
                  <a:gd name="connsiteX0" fmla="*/ 513532 w 513532"/>
                  <a:gd name="connsiteY0" fmla="*/ 78602 h 91702"/>
                  <a:gd name="connsiteX1" fmla="*/ 91702 w 513532"/>
                  <a:gd name="connsiteY1" fmla="*/ 91702 h 91702"/>
                  <a:gd name="connsiteX2" fmla="*/ 0 w 513532"/>
                  <a:gd name="connsiteY2" fmla="*/ 57642 h 91702"/>
                  <a:gd name="connsiteX3" fmla="*/ 73362 w 513532"/>
                  <a:gd name="connsiteY3" fmla="*/ 28821 h 91702"/>
                  <a:gd name="connsiteX4" fmla="*/ 133623 w 513532"/>
                  <a:gd name="connsiteY4" fmla="*/ 0 h 91702"/>
                  <a:gd name="connsiteX5" fmla="*/ 513532 w 513532"/>
                  <a:gd name="connsiteY5" fmla="*/ 78602 h 91702"/>
                  <a:gd name="connsiteX0" fmla="*/ 513532 w 513532"/>
                  <a:gd name="connsiteY0" fmla="*/ 69487 h 82587"/>
                  <a:gd name="connsiteX1" fmla="*/ 91702 w 513532"/>
                  <a:gd name="connsiteY1" fmla="*/ 82587 h 82587"/>
                  <a:gd name="connsiteX2" fmla="*/ 0 w 513532"/>
                  <a:gd name="connsiteY2" fmla="*/ 48527 h 82587"/>
                  <a:gd name="connsiteX3" fmla="*/ 73362 w 513532"/>
                  <a:gd name="connsiteY3" fmla="*/ 19706 h 82587"/>
                  <a:gd name="connsiteX4" fmla="*/ 513532 w 513532"/>
                  <a:gd name="connsiteY4" fmla="*/ 69487 h 82587"/>
                  <a:gd name="connsiteX0" fmla="*/ 513532 w 513532"/>
                  <a:gd name="connsiteY0" fmla="*/ 69487 h 82587"/>
                  <a:gd name="connsiteX1" fmla="*/ 91702 w 513532"/>
                  <a:gd name="connsiteY1" fmla="*/ 82587 h 82587"/>
                  <a:gd name="connsiteX2" fmla="*/ 0 w 513532"/>
                  <a:gd name="connsiteY2" fmla="*/ 48527 h 82587"/>
                  <a:gd name="connsiteX3" fmla="*/ 513532 w 513532"/>
                  <a:gd name="connsiteY3" fmla="*/ 69487 h 82587"/>
                  <a:gd name="connsiteX0" fmla="*/ 513532 w 513532"/>
                  <a:gd name="connsiteY0" fmla="*/ 71921 h 85021"/>
                  <a:gd name="connsiteX1" fmla="*/ 91702 w 513532"/>
                  <a:gd name="connsiteY1" fmla="*/ 85021 h 85021"/>
                  <a:gd name="connsiteX2" fmla="*/ 0 w 513532"/>
                  <a:gd name="connsiteY2" fmla="*/ 50961 h 85021"/>
                  <a:gd name="connsiteX3" fmla="*/ 513532 w 513532"/>
                  <a:gd name="connsiteY3" fmla="*/ 71921 h 85021"/>
                  <a:gd name="connsiteX0" fmla="*/ 513532 w 513532"/>
                  <a:gd name="connsiteY0" fmla="*/ 86084 h 99184"/>
                  <a:gd name="connsiteX1" fmla="*/ 91702 w 513532"/>
                  <a:gd name="connsiteY1" fmla="*/ 99184 h 99184"/>
                  <a:gd name="connsiteX2" fmla="*/ 0 w 513532"/>
                  <a:gd name="connsiteY2" fmla="*/ 65124 h 99184"/>
                  <a:gd name="connsiteX3" fmla="*/ 513532 w 513532"/>
                  <a:gd name="connsiteY3" fmla="*/ 86084 h 99184"/>
                  <a:gd name="connsiteX0" fmla="*/ 489389 w 489389"/>
                  <a:gd name="connsiteY0" fmla="*/ 78238 h 91338"/>
                  <a:gd name="connsiteX1" fmla="*/ 67559 w 489389"/>
                  <a:gd name="connsiteY1" fmla="*/ 91338 h 91338"/>
                  <a:gd name="connsiteX2" fmla="*/ 0 w 489389"/>
                  <a:gd name="connsiteY2" fmla="*/ 69350 h 91338"/>
                  <a:gd name="connsiteX3" fmla="*/ 489389 w 489389"/>
                  <a:gd name="connsiteY3" fmla="*/ 78238 h 91338"/>
                  <a:gd name="connsiteX0" fmla="*/ 489389 w 489389"/>
                  <a:gd name="connsiteY0" fmla="*/ 79529 h 92629"/>
                  <a:gd name="connsiteX1" fmla="*/ 67559 w 489389"/>
                  <a:gd name="connsiteY1" fmla="*/ 92629 h 92629"/>
                  <a:gd name="connsiteX2" fmla="*/ 0 w 489389"/>
                  <a:gd name="connsiteY2" fmla="*/ 70641 h 92629"/>
                  <a:gd name="connsiteX3" fmla="*/ 489389 w 489389"/>
                  <a:gd name="connsiteY3" fmla="*/ 79529 h 92629"/>
                  <a:gd name="connsiteX0" fmla="*/ 472456 w 472456"/>
                  <a:gd name="connsiteY0" fmla="*/ 95713 h 95713"/>
                  <a:gd name="connsiteX1" fmla="*/ 67559 w 472456"/>
                  <a:gd name="connsiteY1" fmla="*/ 84622 h 95713"/>
                  <a:gd name="connsiteX2" fmla="*/ 0 w 472456"/>
                  <a:gd name="connsiteY2" fmla="*/ 62634 h 95713"/>
                  <a:gd name="connsiteX3" fmla="*/ 472456 w 472456"/>
                  <a:gd name="connsiteY3" fmla="*/ 95713 h 95713"/>
                  <a:gd name="connsiteX0" fmla="*/ 472456 w 472456"/>
                  <a:gd name="connsiteY0" fmla="*/ 95713 h 95713"/>
                  <a:gd name="connsiteX1" fmla="*/ 67559 w 472456"/>
                  <a:gd name="connsiteY1" fmla="*/ 84622 h 95713"/>
                  <a:gd name="connsiteX2" fmla="*/ 0 w 472456"/>
                  <a:gd name="connsiteY2" fmla="*/ 62634 h 95713"/>
                  <a:gd name="connsiteX3" fmla="*/ 472456 w 472456"/>
                  <a:gd name="connsiteY3" fmla="*/ 95713 h 95713"/>
                  <a:gd name="connsiteX0" fmla="*/ 472456 w 472456"/>
                  <a:gd name="connsiteY0" fmla="*/ 105652 h 105652"/>
                  <a:gd name="connsiteX1" fmla="*/ 67559 w 472456"/>
                  <a:gd name="connsiteY1" fmla="*/ 94561 h 105652"/>
                  <a:gd name="connsiteX2" fmla="*/ 0 w 472456"/>
                  <a:gd name="connsiteY2" fmla="*/ 72573 h 105652"/>
                  <a:gd name="connsiteX3" fmla="*/ 472456 w 472456"/>
                  <a:gd name="connsiteY3" fmla="*/ 105652 h 105652"/>
                  <a:gd name="connsiteX0" fmla="*/ 472456 w 472456"/>
                  <a:gd name="connsiteY0" fmla="*/ 105652 h 105652"/>
                  <a:gd name="connsiteX1" fmla="*/ 67559 w 472456"/>
                  <a:gd name="connsiteY1" fmla="*/ 94561 h 105652"/>
                  <a:gd name="connsiteX2" fmla="*/ 0 w 472456"/>
                  <a:gd name="connsiteY2" fmla="*/ 72573 h 105652"/>
                  <a:gd name="connsiteX3" fmla="*/ 472456 w 472456"/>
                  <a:gd name="connsiteY3" fmla="*/ 105652 h 105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2456" h="105652">
                    <a:moveTo>
                      <a:pt x="472456" y="105652"/>
                    </a:moveTo>
                    <a:cubicBezTo>
                      <a:pt x="452778" y="65478"/>
                      <a:pt x="257950" y="-59149"/>
                      <a:pt x="67559" y="94561"/>
                    </a:cubicBezTo>
                    <a:lnTo>
                      <a:pt x="0" y="72573"/>
                    </a:lnTo>
                    <a:cubicBezTo>
                      <a:pt x="258694" y="-53224"/>
                      <a:pt x="407022" y="2023"/>
                      <a:pt x="472456" y="105652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0" name="Moon 1499"/>
              <p:cNvSpPr/>
              <p:nvPr/>
            </p:nvSpPr>
            <p:spPr>
              <a:xfrm rot="16490238">
                <a:off x="7359355" y="807963"/>
                <a:ext cx="29392" cy="146942"/>
              </a:xfrm>
              <a:prstGeom prst="moon">
                <a:avLst>
                  <a:gd name="adj" fmla="val 21789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1" name="Moon 1500"/>
              <p:cNvSpPr/>
              <p:nvPr/>
            </p:nvSpPr>
            <p:spPr>
              <a:xfrm rot="5109762" flipH="1">
                <a:off x="7635288" y="805883"/>
                <a:ext cx="29392" cy="146942"/>
              </a:xfrm>
              <a:prstGeom prst="moon">
                <a:avLst>
                  <a:gd name="adj" fmla="val 21789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2" name="Oval 1501"/>
              <p:cNvSpPr/>
              <p:nvPr/>
            </p:nvSpPr>
            <p:spPr>
              <a:xfrm>
                <a:off x="7771578" y="822465"/>
                <a:ext cx="80875" cy="161466"/>
              </a:xfrm>
              <a:prstGeom prst="ellipse">
                <a:avLst/>
              </a:prstGeom>
              <a:solidFill>
                <a:srgbClr val="F3DA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503" name="Freeform 1502"/>
              <p:cNvSpPr/>
              <p:nvPr/>
            </p:nvSpPr>
            <p:spPr>
              <a:xfrm>
                <a:off x="7800859" y="836123"/>
                <a:ext cx="41949" cy="117392"/>
              </a:xfrm>
              <a:custGeom>
                <a:avLst/>
                <a:gdLst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52795 w 127117"/>
                  <a:gd name="connsiteY5" fmla="*/ 239070 h 405447"/>
                  <a:gd name="connsiteX6" fmla="*/ 60180 w 127117"/>
                  <a:gd name="connsiteY6" fmla="*/ 335798 h 405447"/>
                  <a:gd name="connsiteX7" fmla="*/ 73074 w 127117"/>
                  <a:gd name="connsiteY7" fmla="*/ 405447 h 405447"/>
                  <a:gd name="connsiteX8" fmla="*/ 127100 w 127117"/>
                  <a:gd name="connsiteY8" fmla="*/ 174710 h 405447"/>
                  <a:gd name="connsiteX9" fmla="*/ 63930 w 127117"/>
                  <a:gd name="connsiteY9" fmla="*/ 7683 h 405447"/>
                  <a:gd name="connsiteX10" fmla="*/ 46290 w 127117"/>
                  <a:gd name="connsiteY10" fmla="*/ 1 h 405447"/>
                  <a:gd name="connsiteX0" fmla="*/ 46290 w 127117"/>
                  <a:gd name="connsiteY0" fmla="*/ 1 h 406048"/>
                  <a:gd name="connsiteX1" fmla="*/ 8038 w 127117"/>
                  <a:gd name="connsiteY1" fmla="*/ 45476 h 406048"/>
                  <a:gd name="connsiteX2" fmla="*/ 86790 w 127117"/>
                  <a:gd name="connsiteY2" fmla="*/ 199707 h 406048"/>
                  <a:gd name="connsiteX3" fmla="*/ 86450 w 127117"/>
                  <a:gd name="connsiteY3" fmla="*/ 204808 h 406048"/>
                  <a:gd name="connsiteX4" fmla="*/ 0 w 127117"/>
                  <a:gd name="connsiteY4" fmla="*/ 157686 h 406048"/>
                  <a:gd name="connsiteX5" fmla="*/ 52795 w 127117"/>
                  <a:gd name="connsiteY5" fmla="*/ 239070 h 406048"/>
                  <a:gd name="connsiteX6" fmla="*/ 73074 w 127117"/>
                  <a:gd name="connsiteY6" fmla="*/ 405447 h 406048"/>
                  <a:gd name="connsiteX7" fmla="*/ 127100 w 127117"/>
                  <a:gd name="connsiteY7" fmla="*/ 174710 h 406048"/>
                  <a:gd name="connsiteX8" fmla="*/ 63930 w 127117"/>
                  <a:gd name="connsiteY8" fmla="*/ 7683 h 406048"/>
                  <a:gd name="connsiteX9" fmla="*/ 46290 w 127117"/>
                  <a:gd name="connsiteY9" fmla="*/ 1 h 406048"/>
                  <a:gd name="connsiteX0" fmla="*/ 46356 w 127183"/>
                  <a:gd name="connsiteY0" fmla="*/ 1 h 405447"/>
                  <a:gd name="connsiteX1" fmla="*/ 8104 w 127183"/>
                  <a:gd name="connsiteY1" fmla="*/ 45476 h 405447"/>
                  <a:gd name="connsiteX2" fmla="*/ 86856 w 127183"/>
                  <a:gd name="connsiteY2" fmla="*/ 199707 h 405447"/>
                  <a:gd name="connsiteX3" fmla="*/ 86516 w 127183"/>
                  <a:gd name="connsiteY3" fmla="*/ 204808 h 405447"/>
                  <a:gd name="connsiteX4" fmla="*/ 66 w 127183"/>
                  <a:gd name="connsiteY4" fmla="*/ 157686 h 405447"/>
                  <a:gd name="connsiteX5" fmla="*/ 73140 w 127183"/>
                  <a:gd name="connsiteY5" fmla="*/ 405447 h 405447"/>
                  <a:gd name="connsiteX6" fmla="*/ 127166 w 127183"/>
                  <a:gd name="connsiteY6" fmla="*/ 174710 h 405447"/>
                  <a:gd name="connsiteX7" fmla="*/ 63996 w 127183"/>
                  <a:gd name="connsiteY7" fmla="*/ 7683 h 405447"/>
                  <a:gd name="connsiteX8" fmla="*/ 46356 w 127183"/>
                  <a:gd name="connsiteY8" fmla="*/ 1 h 405447"/>
                  <a:gd name="connsiteX0" fmla="*/ 46290 w 127117"/>
                  <a:gd name="connsiteY0" fmla="*/ 1 h 405447"/>
                  <a:gd name="connsiteX1" fmla="*/ 8038 w 127117"/>
                  <a:gd name="connsiteY1" fmla="*/ 45476 h 405447"/>
                  <a:gd name="connsiteX2" fmla="*/ 86790 w 127117"/>
                  <a:gd name="connsiteY2" fmla="*/ 199707 h 405447"/>
                  <a:gd name="connsiteX3" fmla="*/ 86450 w 127117"/>
                  <a:gd name="connsiteY3" fmla="*/ 204808 h 405447"/>
                  <a:gd name="connsiteX4" fmla="*/ 0 w 127117"/>
                  <a:gd name="connsiteY4" fmla="*/ 157686 h 405447"/>
                  <a:gd name="connsiteX5" fmla="*/ 73074 w 127117"/>
                  <a:gd name="connsiteY5" fmla="*/ 405447 h 405447"/>
                  <a:gd name="connsiteX6" fmla="*/ 127100 w 127117"/>
                  <a:gd name="connsiteY6" fmla="*/ 174710 h 405447"/>
                  <a:gd name="connsiteX7" fmla="*/ 63930 w 127117"/>
                  <a:gd name="connsiteY7" fmla="*/ 7683 h 405447"/>
                  <a:gd name="connsiteX8" fmla="*/ 46290 w 127117"/>
                  <a:gd name="connsiteY8" fmla="*/ 1 h 405447"/>
                  <a:gd name="connsiteX0" fmla="*/ 46290 w 127117"/>
                  <a:gd name="connsiteY0" fmla="*/ 1 h 421977"/>
                  <a:gd name="connsiteX1" fmla="*/ 8038 w 127117"/>
                  <a:gd name="connsiteY1" fmla="*/ 45476 h 421977"/>
                  <a:gd name="connsiteX2" fmla="*/ 86790 w 127117"/>
                  <a:gd name="connsiteY2" fmla="*/ 199707 h 421977"/>
                  <a:gd name="connsiteX3" fmla="*/ 86450 w 127117"/>
                  <a:gd name="connsiteY3" fmla="*/ 204808 h 421977"/>
                  <a:gd name="connsiteX4" fmla="*/ 0 w 127117"/>
                  <a:gd name="connsiteY4" fmla="*/ 157686 h 421977"/>
                  <a:gd name="connsiteX5" fmla="*/ 73074 w 127117"/>
                  <a:gd name="connsiteY5" fmla="*/ 405447 h 421977"/>
                  <a:gd name="connsiteX6" fmla="*/ 127100 w 127117"/>
                  <a:gd name="connsiteY6" fmla="*/ 174710 h 421977"/>
                  <a:gd name="connsiteX7" fmla="*/ 63930 w 127117"/>
                  <a:gd name="connsiteY7" fmla="*/ 7683 h 421977"/>
                  <a:gd name="connsiteX8" fmla="*/ 46290 w 127117"/>
                  <a:gd name="connsiteY8" fmla="*/ 1 h 421977"/>
                  <a:gd name="connsiteX0" fmla="*/ 46290 w 127121"/>
                  <a:gd name="connsiteY0" fmla="*/ 1 h 405476"/>
                  <a:gd name="connsiteX1" fmla="*/ 8038 w 127121"/>
                  <a:gd name="connsiteY1" fmla="*/ 45476 h 405476"/>
                  <a:gd name="connsiteX2" fmla="*/ 86790 w 127121"/>
                  <a:gd name="connsiteY2" fmla="*/ 199707 h 405476"/>
                  <a:gd name="connsiteX3" fmla="*/ 86450 w 127121"/>
                  <a:gd name="connsiteY3" fmla="*/ 204808 h 405476"/>
                  <a:gd name="connsiteX4" fmla="*/ 0 w 127121"/>
                  <a:gd name="connsiteY4" fmla="*/ 157686 h 405476"/>
                  <a:gd name="connsiteX5" fmla="*/ 73074 w 127121"/>
                  <a:gd name="connsiteY5" fmla="*/ 405447 h 405476"/>
                  <a:gd name="connsiteX6" fmla="*/ 127100 w 127121"/>
                  <a:gd name="connsiteY6" fmla="*/ 174710 h 405476"/>
                  <a:gd name="connsiteX7" fmla="*/ 63930 w 127121"/>
                  <a:gd name="connsiteY7" fmla="*/ 7683 h 405476"/>
                  <a:gd name="connsiteX8" fmla="*/ 46290 w 127121"/>
                  <a:gd name="connsiteY8" fmla="*/ 1 h 405476"/>
                  <a:gd name="connsiteX0" fmla="*/ 46290 w 127130"/>
                  <a:gd name="connsiteY0" fmla="*/ 1 h 370347"/>
                  <a:gd name="connsiteX1" fmla="*/ 8038 w 127130"/>
                  <a:gd name="connsiteY1" fmla="*/ 45476 h 370347"/>
                  <a:gd name="connsiteX2" fmla="*/ 86790 w 127130"/>
                  <a:gd name="connsiteY2" fmla="*/ 199707 h 370347"/>
                  <a:gd name="connsiteX3" fmla="*/ 86450 w 127130"/>
                  <a:gd name="connsiteY3" fmla="*/ 204808 h 370347"/>
                  <a:gd name="connsiteX4" fmla="*/ 0 w 127130"/>
                  <a:gd name="connsiteY4" fmla="*/ 157686 h 370347"/>
                  <a:gd name="connsiteX5" fmla="*/ 81190 w 127130"/>
                  <a:gd name="connsiteY5" fmla="*/ 370278 h 370347"/>
                  <a:gd name="connsiteX6" fmla="*/ 127100 w 127130"/>
                  <a:gd name="connsiteY6" fmla="*/ 174710 h 370347"/>
                  <a:gd name="connsiteX7" fmla="*/ 63930 w 127130"/>
                  <a:gd name="connsiteY7" fmla="*/ 7683 h 370347"/>
                  <a:gd name="connsiteX8" fmla="*/ 46290 w 127130"/>
                  <a:gd name="connsiteY8" fmla="*/ 1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30" h="370347">
                    <a:moveTo>
                      <a:pt x="46290" y="1"/>
                    </a:moveTo>
                    <a:cubicBezTo>
                      <a:pt x="26886" y="100"/>
                      <a:pt x="5180" y="21473"/>
                      <a:pt x="8038" y="45476"/>
                    </a:cubicBezTo>
                    <a:lnTo>
                      <a:pt x="86790" y="199707"/>
                    </a:lnTo>
                    <a:cubicBezTo>
                      <a:pt x="86677" y="201407"/>
                      <a:pt x="86563" y="203108"/>
                      <a:pt x="86450" y="204808"/>
                    </a:cubicBezTo>
                    <a:cubicBezTo>
                      <a:pt x="67440" y="167342"/>
                      <a:pt x="31336" y="147098"/>
                      <a:pt x="0" y="157686"/>
                    </a:cubicBezTo>
                    <a:cubicBezTo>
                      <a:pt x="141153" y="272285"/>
                      <a:pt x="55065" y="368735"/>
                      <a:pt x="81190" y="370278"/>
                    </a:cubicBezTo>
                    <a:cubicBezTo>
                      <a:pt x="107315" y="371821"/>
                      <a:pt x="128028" y="349014"/>
                      <a:pt x="127100" y="174710"/>
                    </a:cubicBezTo>
                    <a:cubicBezTo>
                      <a:pt x="125576" y="108416"/>
                      <a:pt x="83774" y="29222"/>
                      <a:pt x="63930" y="7683"/>
                    </a:cubicBezTo>
                    <a:cubicBezTo>
                      <a:pt x="58969" y="2298"/>
                      <a:pt x="52757" y="-32"/>
                      <a:pt x="46290" y="1"/>
                    </a:cubicBezTo>
                    <a:close/>
                  </a:path>
                </a:pathLst>
              </a:custGeom>
              <a:solidFill>
                <a:srgbClr val="EABC9A"/>
              </a:solidFill>
              <a:ln>
                <a:noFill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1504" name="Freeform 1503"/>
              <p:cNvSpPr/>
              <p:nvPr/>
            </p:nvSpPr>
            <p:spPr>
              <a:xfrm rot="746198">
                <a:off x="7561093" y="741098"/>
                <a:ext cx="182538" cy="54971"/>
              </a:xfrm>
              <a:custGeom>
                <a:avLst/>
                <a:gdLst>
                  <a:gd name="connsiteX0" fmla="*/ 0 w 447403"/>
                  <a:gd name="connsiteY0" fmla="*/ 107768 h 120831"/>
                  <a:gd name="connsiteX1" fmla="*/ 320040 w 447403"/>
                  <a:gd name="connsiteY1" fmla="*/ 0 h 120831"/>
                  <a:gd name="connsiteX2" fmla="*/ 447403 w 447403"/>
                  <a:gd name="connsiteY2" fmla="*/ 68580 h 120831"/>
                  <a:gd name="connsiteX3" fmla="*/ 323306 w 447403"/>
                  <a:gd name="connsiteY3" fmla="*/ 35923 h 120831"/>
                  <a:gd name="connsiteX4" fmla="*/ 101237 w 447403"/>
                  <a:gd name="connsiteY4" fmla="*/ 120831 h 120831"/>
                  <a:gd name="connsiteX5" fmla="*/ 0 w 447403"/>
                  <a:gd name="connsiteY5" fmla="*/ 107768 h 120831"/>
                  <a:gd name="connsiteX0" fmla="*/ 8907 w 456310"/>
                  <a:gd name="connsiteY0" fmla="*/ 107768 h 127278"/>
                  <a:gd name="connsiteX1" fmla="*/ 328947 w 456310"/>
                  <a:gd name="connsiteY1" fmla="*/ 0 h 127278"/>
                  <a:gd name="connsiteX2" fmla="*/ 456310 w 456310"/>
                  <a:gd name="connsiteY2" fmla="*/ 68580 h 127278"/>
                  <a:gd name="connsiteX3" fmla="*/ 332213 w 456310"/>
                  <a:gd name="connsiteY3" fmla="*/ 35923 h 127278"/>
                  <a:gd name="connsiteX4" fmla="*/ 110144 w 456310"/>
                  <a:gd name="connsiteY4" fmla="*/ 120831 h 127278"/>
                  <a:gd name="connsiteX5" fmla="*/ 8907 w 456310"/>
                  <a:gd name="connsiteY5" fmla="*/ 107768 h 127278"/>
                  <a:gd name="connsiteX0" fmla="*/ 7806 w 471537"/>
                  <a:gd name="connsiteY0" fmla="*/ 137160 h 144836"/>
                  <a:gd name="connsiteX1" fmla="*/ 344174 w 471537"/>
                  <a:gd name="connsiteY1" fmla="*/ 0 h 144836"/>
                  <a:gd name="connsiteX2" fmla="*/ 471537 w 471537"/>
                  <a:gd name="connsiteY2" fmla="*/ 68580 h 144836"/>
                  <a:gd name="connsiteX3" fmla="*/ 347440 w 471537"/>
                  <a:gd name="connsiteY3" fmla="*/ 35923 h 144836"/>
                  <a:gd name="connsiteX4" fmla="*/ 125371 w 471537"/>
                  <a:gd name="connsiteY4" fmla="*/ 120831 h 144836"/>
                  <a:gd name="connsiteX5" fmla="*/ 7806 w 471537"/>
                  <a:gd name="connsiteY5" fmla="*/ 137160 h 144836"/>
                  <a:gd name="connsiteX0" fmla="*/ 16437 w 480168"/>
                  <a:gd name="connsiteY0" fmla="*/ 137160 h 150527"/>
                  <a:gd name="connsiteX1" fmla="*/ 352805 w 480168"/>
                  <a:gd name="connsiteY1" fmla="*/ 0 h 150527"/>
                  <a:gd name="connsiteX2" fmla="*/ 480168 w 480168"/>
                  <a:gd name="connsiteY2" fmla="*/ 68580 h 150527"/>
                  <a:gd name="connsiteX3" fmla="*/ 356071 w 480168"/>
                  <a:gd name="connsiteY3" fmla="*/ 35923 h 150527"/>
                  <a:gd name="connsiteX4" fmla="*/ 81750 w 480168"/>
                  <a:gd name="connsiteY4" fmla="*/ 137160 h 150527"/>
                  <a:gd name="connsiteX5" fmla="*/ 16437 w 480168"/>
                  <a:gd name="connsiteY5" fmla="*/ 137160 h 15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0168" h="150527">
                    <a:moveTo>
                      <a:pt x="16437" y="137160"/>
                    </a:moveTo>
                    <a:cubicBezTo>
                      <a:pt x="61613" y="114300"/>
                      <a:pt x="278238" y="6531"/>
                      <a:pt x="352805" y="0"/>
                    </a:cubicBezTo>
                    <a:lnTo>
                      <a:pt x="480168" y="68580"/>
                    </a:lnTo>
                    <a:lnTo>
                      <a:pt x="356071" y="35923"/>
                    </a:lnTo>
                    <a:lnTo>
                      <a:pt x="81750" y="137160"/>
                    </a:lnTo>
                    <a:cubicBezTo>
                      <a:pt x="27866" y="149134"/>
                      <a:pt x="-28739" y="160020"/>
                      <a:pt x="16437" y="137160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5" name="Freeform 1504"/>
              <p:cNvSpPr/>
              <p:nvPr/>
            </p:nvSpPr>
            <p:spPr>
              <a:xfrm rot="20853802" flipH="1">
                <a:off x="7284008" y="741098"/>
                <a:ext cx="182538" cy="54971"/>
              </a:xfrm>
              <a:custGeom>
                <a:avLst/>
                <a:gdLst>
                  <a:gd name="connsiteX0" fmla="*/ 0 w 447403"/>
                  <a:gd name="connsiteY0" fmla="*/ 107768 h 120831"/>
                  <a:gd name="connsiteX1" fmla="*/ 320040 w 447403"/>
                  <a:gd name="connsiteY1" fmla="*/ 0 h 120831"/>
                  <a:gd name="connsiteX2" fmla="*/ 447403 w 447403"/>
                  <a:gd name="connsiteY2" fmla="*/ 68580 h 120831"/>
                  <a:gd name="connsiteX3" fmla="*/ 323306 w 447403"/>
                  <a:gd name="connsiteY3" fmla="*/ 35923 h 120831"/>
                  <a:gd name="connsiteX4" fmla="*/ 101237 w 447403"/>
                  <a:gd name="connsiteY4" fmla="*/ 120831 h 120831"/>
                  <a:gd name="connsiteX5" fmla="*/ 0 w 447403"/>
                  <a:gd name="connsiteY5" fmla="*/ 107768 h 120831"/>
                  <a:gd name="connsiteX0" fmla="*/ 8907 w 456310"/>
                  <a:gd name="connsiteY0" fmla="*/ 107768 h 127278"/>
                  <a:gd name="connsiteX1" fmla="*/ 328947 w 456310"/>
                  <a:gd name="connsiteY1" fmla="*/ 0 h 127278"/>
                  <a:gd name="connsiteX2" fmla="*/ 456310 w 456310"/>
                  <a:gd name="connsiteY2" fmla="*/ 68580 h 127278"/>
                  <a:gd name="connsiteX3" fmla="*/ 332213 w 456310"/>
                  <a:gd name="connsiteY3" fmla="*/ 35923 h 127278"/>
                  <a:gd name="connsiteX4" fmla="*/ 110144 w 456310"/>
                  <a:gd name="connsiteY4" fmla="*/ 120831 h 127278"/>
                  <a:gd name="connsiteX5" fmla="*/ 8907 w 456310"/>
                  <a:gd name="connsiteY5" fmla="*/ 107768 h 127278"/>
                  <a:gd name="connsiteX0" fmla="*/ 7806 w 471537"/>
                  <a:gd name="connsiteY0" fmla="*/ 137160 h 144836"/>
                  <a:gd name="connsiteX1" fmla="*/ 344174 w 471537"/>
                  <a:gd name="connsiteY1" fmla="*/ 0 h 144836"/>
                  <a:gd name="connsiteX2" fmla="*/ 471537 w 471537"/>
                  <a:gd name="connsiteY2" fmla="*/ 68580 h 144836"/>
                  <a:gd name="connsiteX3" fmla="*/ 347440 w 471537"/>
                  <a:gd name="connsiteY3" fmla="*/ 35923 h 144836"/>
                  <a:gd name="connsiteX4" fmla="*/ 125371 w 471537"/>
                  <a:gd name="connsiteY4" fmla="*/ 120831 h 144836"/>
                  <a:gd name="connsiteX5" fmla="*/ 7806 w 471537"/>
                  <a:gd name="connsiteY5" fmla="*/ 137160 h 144836"/>
                  <a:gd name="connsiteX0" fmla="*/ 16437 w 480168"/>
                  <a:gd name="connsiteY0" fmla="*/ 137160 h 150527"/>
                  <a:gd name="connsiteX1" fmla="*/ 352805 w 480168"/>
                  <a:gd name="connsiteY1" fmla="*/ 0 h 150527"/>
                  <a:gd name="connsiteX2" fmla="*/ 480168 w 480168"/>
                  <a:gd name="connsiteY2" fmla="*/ 68580 h 150527"/>
                  <a:gd name="connsiteX3" fmla="*/ 356071 w 480168"/>
                  <a:gd name="connsiteY3" fmla="*/ 35923 h 150527"/>
                  <a:gd name="connsiteX4" fmla="*/ 81750 w 480168"/>
                  <a:gd name="connsiteY4" fmla="*/ 137160 h 150527"/>
                  <a:gd name="connsiteX5" fmla="*/ 16437 w 480168"/>
                  <a:gd name="connsiteY5" fmla="*/ 137160 h 15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0168" h="150527">
                    <a:moveTo>
                      <a:pt x="16437" y="137160"/>
                    </a:moveTo>
                    <a:cubicBezTo>
                      <a:pt x="61613" y="114300"/>
                      <a:pt x="278238" y="6531"/>
                      <a:pt x="352805" y="0"/>
                    </a:cubicBezTo>
                    <a:lnTo>
                      <a:pt x="480168" y="68580"/>
                    </a:lnTo>
                    <a:lnTo>
                      <a:pt x="356071" y="35923"/>
                    </a:lnTo>
                    <a:lnTo>
                      <a:pt x="81750" y="137160"/>
                    </a:lnTo>
                    <a:cubicBezTo>
                      <a:pt x="27866" y="149134"/>
                      <a:pt x="-28739" y="160020"/>
                      <a:pt x="16437" y="137160"/>
                    </a:cubicBezTo>
                    <a:close/>
                  </a:path>
                </a:pathLst>
              </a:custGeom>
              <a:solidFill>
                <a:srgbClr val="6D573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06" name="Group 1505"/>
              <p:cNvGrpSpPr/>
              <p:nvPr/>
            </p:nvGrpSpPr>
            <p:grpSpPr>
              <a:xfrm flipH="1">
                <a:off x="7276579" y="799943"/>
                <a:ext cx="179606" cy="58718"/>
                <a:chOff x="7768009" y="1609827"/>
                <a:chExt cx="472456" cy="160788"/>
              </a:xfrm>
            </p:grpSpPr>
            <p:sp>
              <p:nvSpPr>
                <p:cNvPr id="1536" name="Moon 1535"/>
                <p:cNvSpPr/>
                <p:nvPr/>
              </p:nvSpPr>
              <p:spPr>
                <a:xfrm rot="5400000">
                  <a:off x="7933841" y="1459440"/>
                  <a:ext cx="129562" cy="430336"/>
                </a:xfrm>
                <a:prstGeom prst="moon">
                  <a:avLst>
                    <a:gd name="adj" fmla="val 53541"/>
                  </a:avLst>
                </a:prstGeom>
                <a:solidFill>
                  <a:srgbClr val="E3A8FA"/>
                </a:solidFill>
                <a:ln>
                  <a:noFill/>
                </a:ln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537" name="Freeform 1536"/>
                <p:cNvSpPr/>
                <p:nvPr/>
              </p:nvSpPr>
              <p:spPr>
                <a:xfrm flipH="1">
                  <a:off x="7768009" y="1664963"/>
                  <a:ext cx="472456" cy="105652"/>
                </a:xfrm>
                <a:custGeom>
                  <a:avLst/>
                  <a:gdLst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398249 w 513532"/>
                    <a:gd name="connsiteY12" fmla="*/ 49782 h 133623"/>
                    <a:gd name="connsiteX13" fmla="*/ 434930 w 513532"/>
                    <a:gd name="connsiteY13" fmla="*/ 23581 h 133623"/>
                    <a:gd name="connsiteX14" fmla="*/ 513532 w 513532"/>
                    <a:gd name="connsiteY14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24887 w 513532"/>
                    <a:gd name="connsiteY10" fmla="*/ 41921 h 133623"/>
                    <a:gd name="connsiteX11" fmla="*/ 335368 w 513532"/>
                    <a:gd name="connsiteY11" fmla="*/ 0 h 133623"/>
                    <a:gd name="connsiteX12" fmla="*/ 434930 w 513532"/>
                    <a:gd name="connsiteY12" fmla="*/ 23581 h 133623"/>
                    <a:gd name="connsiteX13" fmla="*/ 513532 w 513532"/>
                    <a:gd name="connsiteY13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41046 w 513532"/>
                    <a:gd name="connsiteY7" fmla="*/ 41921 h 133623"/>
                    <a:gd name="connsiteX8" fmla="*/ 230565 w 513532"/>
                    <a:gd name="connsiteY8" fmla="*/ 10481 h 133623"/>
                    <a:gd name="connsiteX9" fmla="*/ 324887 w 513532"/>
                    <a:gd name="connsiteY9" fmla="*/ 41921 h 133623"/>
                    <a:gd name="connsiteX10" fmla="*/ 335368 w 513532"/>
                    <a:gd name="connsiteY10" fmla="*/ 0 h 133623"/>
                    <a:gd name="connsiteX11" fmla="*/ 434930 w 513532"/>
                    <a:gd name="connsiteY11" fmla="*/ 23581 h 133623"/>
                    <a:gd name="connsiteX12" fmla="*/ 513532 w 513532"/>
                    <a:gd name="connsiteY12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30565 w 513532"/>
                    <a:gd name="connsiteY7" fmla="*/ 10481 h 133623"/>
                    <a:gd name="connsiteX8" fmla="*/ 324887 w 513532"/>
                    <a:gd name="connsiteY8" fmla="*/ 41921 h 133623"/>
                    <a:gd name="connsiteX9" fmla="*/ 335368 w 513532"/>
                    <a:gd name="connsiteY9" fmla="*/ 0 h 133623"/>
                    <a:gd name="connsiteX10" fmla="*/ 434930 w 513532"/>
                    <a:gd name="connsiteY10" fmla="*/ 23581 h 133623"/>
                    <a:gd name="connsiteX11" fmla="*/ 513532 w 513532"/>
                    <a:gd name="connsiteY11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62444 w 513532"/>
                    <a:gd name="connsiteY5" fmla="*/ 65502 h 133623"/>
                    <a:gd name="connsiteX6" fmla="*/ 133623 w 513532"/>
                    <a:gd name="connsiteY6" fmla="*/ 41921 h 133623"/>
                    <a:gd name="connsiteX7" fmla="*/ 230565 w 513532"/>
                    <a:gd name="connsiteY7" fmla="*/ 10481 h 133623"/>
                    <a:gd name="connsiteX8" fmla="*/ 335368 w 513532"/>
                    <a:gd name="connsiteY8" fmla="*/ 0 h 133623"/>
                    <a:gd name="connsiteX9" fmla="*/ 434930 w 513532"/>
                    <a:gd name="connsiteY9" fmla="*/ 23581 h 133623"/>
                    <a:gd name="connsiteX10" fmla="*/ 513532 w 513532"/>
                    <a:gd name="connsiteY10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112663 w 513532"/>
                    <a:gd name="connsiteY3" fmla="*/ 104803 h 133623"/>
                    <a:gd name="connsiteX4" fmla="*/ 73362 w 513532"/>
                    <a:gd name="connsiteY4" fmla="*/ 70742 h 133623"/>
                    <a:gd name="connsiteX5" fmla="*/ 133623 w 513532"/>
                    <a:gd name="connsiteY5" fmla="*/ 41921 h 133623"/>
                    <a:gd name="connsiteX6" fmla="*/ 230565 w 513532"/>
                    <a:gd name="connsiteY6" fmla="*/ 10481 h 133623"/>
                    <a:gd name="connsiteX7" fmla="*/ 335368 w 513532"/>
                    <a:gd name="connsiteY7" fmla="*/ 0 h 133623"/>
                    <a:gd name="connsiteX8" fmla="*/ 434930 w 513532"/>
                    <a:gd name="connsiteY8" fmla="*/ 23581 h 133623"/>
                    <a:gd name="connsiteX9" fmla="*/ 513532 w 513532"/>
                    <a:gd name="connsiteY9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73362 w 513532"/>
                    <a:gd name="connsiteY3" fmla="*/ 70742 h 133623"/>
                    <a:gd name="connsiteX4" fmla="*/ 133623 w 513532"/>
                    <a:gd name="connsiteY4" fmla="*/ 41921 h 133623"/>
                    <a:gd name="connsiteX5" fmla="*/ 230565 w 513532"/>
                    <a:gd name="connsiteY5" fmla="*/ 10481 h 133623"/>
                    <a:gd name="connsiteX6" fmla="*/ 335368 w 513532"/>
                    <a:gd name="connsiteY6" fmla="*/ 0 h 133623"/>
                    <a:gd name="connsiteX7" fmla="*/ 434930 w 513532"/>
                    <a:gd name="connsiteY7" fmla="*/ 23581 h 133623"/>
                    <a:gd name="connsiteX8" fmla="*/ 513532 w 513532"/>
                    <a:gd name="connsiteY8" fmla="*/ 120523 h 133623"/>
                    <a:gd name="connsiteX0" fmla="*/ 513532 w 513532"/>
                    <a:gd name="connsiteY0" fmla="*/ 120523 h 133623"/>
                    <a:gd name="connsiteX1" fmla="*/ 91702 w 513532"/>
                    <a:gd name="connsiteY1" fmla="*/ 133623 h 133623"/>
                    <a:gd name="connsiteX2" fmla="*/ 0 w 513532"/>
                    <a:gd name="connsiteY2" fmla="*/ 99563 h 133623"/>
                    <a:gd name="connsiteX3" fmla="*/ 73362 w 513532"/>
                    <a:gd name="connsiteY3" fmla="*/ 70742 h 133623"/>
                    <a:gd name="connsiteX4" fmla="*/ 133623 w 513532"/>
                    <a:gd name="connsiteY4" fmla="*/ 41921 h 133623"/>
                    <a:gd name="connsiteX5" fmla="*/ 230565 w 513532"/>
                    <a:gd name="connsiteY5" fmla="*/ 10481 h 133623"/>
                    <a:gd name="connsiteX6" fmla="*/ 335368 w 513532"/>
                    <a:gd name="connsiteY6" fmla="*/ 0 h 133623"/>
                    <a:gd name="connsiteX7" fmla="*/ 513532 w 513532"/>
                    <a:gd name="connsiteY7" fmla="*/ 120523 h 133623"/>
                    <a:gd name="connsiteX0" fmla="*/ 513532 w 513532"/>
                    <a:gd name="connsiteY0" fmla="*/ 110042 h 123142"/>
                    <a:gd name="connsiteX1" fmla="*/ 91702 w 513532"/>
                    <a:gd name="connsiteY1" fmla="*/ 123142 h 123142"/>
                    <a:gd name="connsiteX2" fmla="*/ 0 w 513532"/>
                    <a:gd name="connsiteY2" fmla="*/ 89082 h 123142"/>
                    <a:gd name="connsiteX3" fmla="*/ 73362 w 513532"/>
                    <a:gd name="connsiteY3" fmla="*/ 60261 h 123142"/>
                    <a:gd name="connsiteX4" fmla="*/ 133623 w 513532"/>
                    <a:gd name="connsiteY4" fmla="*/ 31440 h 123142"/>
                    <a:gd name="connsiteX5" fmla="*/ 230565 w 513532"/>
                    <a:gd name="connsiteY5" fmla="*/ 0 h 123142"/>
                    <a:gd name="connsiteX6" fmla="*/ 513532 w 513532"/>
                    <a:gd name="connsiteY6" fmla="*/ 110042 h 123142"/>
                    <a:gd name="connsiteX0" fmla="*/ 513532 w 513532"/>
                    <a:gd name="connsiteY0" fmla="*/ 78602 h 91702"/>
                    <a:gd name="connsiteX1" fmla="*/ 91702 w 513532"/>
                    <a:gd name="connsiteY1" fmla="*/ 91702 h 91702"/>
                    <a:gd name="connsiteX2" fmla="*/ 0 w 513532"/>
                    <a:gd name="connsiteY2" fmla="*/ 57642 h 91702"/>
                    <a:gd name="connsiteX3" fmla="*/ 73362 w 513532"/>
                    <a:gd name="connsiteY3" fmla="*/ 28821 h 91702"/>
                    <a:gd name="connsiteX4" fmla="*/ 133623 w 513532"/>
                    <a:gd name="connsiteY4" fmla="*/ 0 h 91702"/>
                    <a:gd name="connsiteX5" fmla="*/ 513532 w 513532"/>
                    <a:gd name="connsiteY5" fmla="*/ 78602 h 91702"/>
                    <a:gd name="connsiteX0" fmla="*/ 513532 w 513532"/>
                    <a:gd name="connsiteY0" fmla="*/ 69487 h 82587"/>
                    <a:gd name="connsiteX1" fmla="*/ 91702 w 513532"/>
                    <a:gd name="connsiteY1" fmla="*/ 82587 h 82587"/>
                    <a:gd name="connsiteX2" fmla="*/ 0 w 513532"/>
                    <a:gd name="connsiteY2" fmla="*/ 48527 h 82587"/>
                    <a:gd name="connsiteX3" fmla="*/ 73362 w 513532"/>
                    <a:gd name="connsiteY3" fmla="*/ 19706 h 82587"/>
                    <a:gd name="connsiteX4" fmla="*/ 513532 w 513532"/>
                    <a:gd name="connsiteY4" fmla="*/ 69487 h 82587"/>
                    <a:gd name="connsiteX0" fmla="*/ 513532 w 513532"/>
                    <a:gd name="connsiteY0" fmla="*/ 69487 h 82587"/>
                    <a:gd name="connsiteX1" fmla="*/ 91702 w 513532"/>
                    <a:gd name="connsiteY1" fmla="*/ 82587 h 82587"/>
                    <a:gd name="connsiteX2" fmla="*/ 0 w 513532"/>
                    <a:gd name="connsiteY2" fmla="*/ 48527 h 82587"/>
                    <a:gd name="connsiteX3" fmla="*/ 513532 w 513532"/>
                    <a:gd name="connsiteY3" fmla="*/ 69487 h 82587"/>
                    <a:gd name="connsiteX0" fmla="*/ 513532 w 513532"/>
                    <a:gd name="connsiteY0" fmla="*/ 71921 h 85021"/>
                    <a:gd name="connsiteX1" fmla="*/ 91702 w 513532"/>
                    <a:gd name="connsiteY1" fmla="*/ 85021 h 85021"/>
                    <a:gd name="connsiteX2" fmla="*/ 0 w 513532"/>
                    <a:gd name="connsiteY2" fmla="*/ 50961 h 85021"/>
                    <a:gd name="connsiteX3" fmla="*/ 513532 w 513532"/>
                    <a:gd name="connsiteY3" fmla="*/ 71921 h 85021"/>
                    <a:gd name="connsiteX0" fmla="*/ 513532 w 513532"/>
                    <a:gd name="connsiteY0" fmla="*/ 86084 h 99184"/>
                    <a:gd name="connsiteX1" fmla="*/ 91702 w 513532"/>
                    <a:gd name="connsiteY1" fmla="*/ 99184 h 99184"/>
                    <a:gd name="connsiteX2" fmla="*/ 0 w 513532"/>
                    <a:gd name="connsiteY2" fmla="*/ 65124 h 99184"/>
                    <a:gd name="connsiteX3" fmla="*/ 513532 w 513532"/>
                    <a:gd name="connsiteY3" fmla="*/ 86084 h 99184"/>
                    <a:gd name="connsiteX0" fmla="*/ 489389 w 489389"/>
                    <a:gd name="connsiteY0" fmla="*/ 78238 h 91338"/>
                    <a:gd name="connsiteX1" fmla="*/ 67559 w 489389"/>
                    <a:gd name="connsiteY1" fmla="*/ 91338 h 91338"/>
                    <a:gd name="connsiteX2" fmla="*/ 0 w 489389"/>
                    <a:gd name="connsiteY2" fmla="*/ 69350 h 91338"/>
                    <a:gd name="connsiteX3" fmla="*/ 489389 w 489389"/>
                    <a:gd name="connsiteY3" fmla="*/ 78238 h 91338"/>
                    <a:gd name="connsiteX0" fmla="*/ 489389 w 489389"/>
                    <a:gd name="connsiteY0" fmla="*/ 79529 h 92629"/>
                    <a:gd name="connsiteX1" fmla="*/ 67559 w 489389"/>
                    <a:gd name="connsiteY1" fmla="*/ 92629 h 92629"/>
                    <a:gd name="connsiteX2" fmla="*/ 0 w 489389"/>
                    <a:gd name="connsiteY2" fmla="*/ 70641 h 92629"/>
                    <a:gd name="connsiteX3" fmla="*/ 489389 w 489389"/>
                    <a:gd name="connsiteY3" fmla="*/ 79529 h 92629"/>
                    <a:gd name="connsiteX0" fmla="*/ 472456 w 472456"/>
                    <a:gd name="connsiteY0" fmla="*/ 95713 h 95713"/>
                    <a:gd name="connsiteX1" fmla="*/ 67559 w 472456"/>
                    <a:gd name="connsiteY1" fmla="*/ 84622 h 95713"/>
                    <a:gd name="connsiteX2" fmla="*/ 0 w 472456"/>
                    <a:gd name="connsiteY2" fmla="*/ 62634 h 95713"/>
                    <a:gd name="connsiteX3" fmla="*/ 472456 w 472456"/>
                    <a:gd name="connsiteY3" fmla="*/ 95713 h 95713"/>
                    <a:gd name="connsiteX0" fmla="*/ 472456 w 472456"/>
                    <a:gd name="connsiteY0" fmla="*/ 95713 h 95713"/>
                    <a:gd name="connsiteX1" fmla="*/ 67559 w 472456"/>
                    <a:gd name="connsiteY1" fmla="*/ 84622 h 95713"/>
                    <a:gd name="connsiteX2" fmla="*/ 0 w 472456"/>
                    <a:gd name="connsiteY2" fmla="*/ 62634 h 95713"/>
                    <a:gd name="connsiteX3" fmla="*/ 472456 w 472456"/>
                    <a:gd name="connsiteY3" fmla="*/ 95713 h 95713"/>
                    <a:gd name="connsiteX0" fmla="*/ 472456 w 472456"/>
                    <a:gd name="connsiteY0" fmla="*/ 105652 h 105652"/>
                    <a:gd name="connsiteX1" fmla="*/ 67559 w 472456"/>
                    <a:gd name="connsiteY1" fmla="*/ 94561 h 105652"/>
                    <a:gd name="connsiteX2" fmla="*/ 0 w 472456"/>
                    <a:gd name="connsiteY2" fmla="*/ 72573 h 105652"/>
                    <a:gd name="connsiteX3" fmla="*/ 472456 w 472456"/>
                    <a:gd name="connsiteY3" fmla="*/ 105652 h 105652"/>
                    <a:gd name="connsiteX0" fmla="*/ 472456 w 472456"/>
                    <a:gd name="connsiteY0" fmla="*/ 105652 h 105652"/>
                    <a:gd name="connsiteX1" fmla="*/ 67559 w 472456"/>
                    <a:gd name="connsiteY1" fmla="*/ 94561 h 105652"/>
                    <a:gd name="connsiteX2" fmla="*/ 0 w 472456"/>
                    <a:gd name="connsiteY2" fmla="*/ 72573 h 105652"/>
                    <a:gd name="connsiteX3" fmla="*/ 472456 w 472456"/>
                    <a:gd name="connsiteY3" fmla="*/ 105652 h 105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2456" h="105652">
                      <a:moveTo>
                        <a:pt x="472456" y="105652"/>
                      </a:moveTo>
                      <a:cubicBezTo>
                        <a:pt x="452778" y="65478"/>
                        <a:pt x="257950" y="-59149"/>
                        <a:pt x="67559" y="94561"/>
                      </a:cubicBezTo>
                      <a:lnTo>
                        <a:pt x="0" y="72573"/>
                      </a:lnTo>
                      <a:cubicBezTo>
                        <a:pt x="258694" y="-53224"/>
                        <a:pt x="407022" y="2023"/>
                        <a:pt x="472456" y="10565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507" name="Freeform 1506"/>
              <p:cNvSpPr/>
              <p:nvPr/>
            </p:nvSpPr>
            <p:spPr>
              <a:xfrm>
                <a:off x="7193510" y="432738"/>
                <a:ext cx="661841" cy="407812"/>
              </a:xfrm>
              <a:custGeom>
                <a:avLst/>
                <a:gdLst/>
                <a:ahLst/>
                <a:cxnLst/>
                <a:rect l="l" t="t" r="r" b="b"/>
                <a:pathLst>
                  <a:path w="1740976" h="1116708">
                    <a:moveTo>
                      <a:pt x="848935" y="103"/>
                    </a:moveTo>
                    <a:cubicBezTo>
                      <a:pt x="1615999" y="-10885"/>
                      <a:pt x="1760896" y="853695"/>
                      <a:pt x="1738921" y="1116708"/>
                    </a:cubicBezTo>
                    <a:cubicBezTo>
                      <a:pt x="1629719" y="1084590"/>
                      <a:pt x="1527054" y="1057896"/>
                      <a:pt x="1429831" y="1037293"/>
                    </a:cubicBezTo>
                    <a:cubicBezTo>
                      <a:pt x="1433528" y="645042"/>
                      <a:pt x="1394705" y="585268"/>
                      <a:pt x="1276621" y="376252"/>
                    </a:cubicBezTo>
                    <a:cubicBezTo>
                      <a:pt x="1348301" y="614213"/>
                      <a:pt x="1383618" y="676724"/>
                      <a:pt x="1367489" y="1023444"/>
                    </a:cubicBezTo>
                    <a:cubicBezTo>
                      <a:pt x="1286986" y="1006449"/>
                      <a:pt x="1210498" y="992941"/>
                      <a:pt x="1137410" y="983339"/>
                    </a:cubicBezTo>
                    <a:cubicBezTo>
                      <a:pt x="1127156" y="918837"/>
                      <a:pt x="1110795" y="840804"/>
                      <a:pt x="1086155" y="725161"/>
                    </a:cubicBezTo>
                    <a:cubicBezTo>
                      <a:pt x="1096176" y="833760"/>
                      <a:pt x="1101398" y="912097"/>
                      <a:pt x="1102915" y="978319"/>
                    </a:cubicBezTo>
                    <a:cubicBezTo>
                      <a:pt x="820463" y="940989"/>
                      <a:pt x="590909" y="951734"/>
                      <a:pt x="383542" y="988902"/>
                    </a:cubicBezTo>
                    <a:cubicBezTo>
                      <a:pt x="365953" y="517846"/>
                      <a:pt x="440012" y="442138"/>
                      <a:pt x="595289" y="211057"/>
                    </a:cubicBezTo>
                    <a:cubicBezTo>
                      <a:pt x="464963" y="352449"/>
                      <a:pt x="298928" y="468845"/>
                      <a:pt x="294746" y="1006199"/>
                    </a:cubicBezTo>
                    <a:cubicBezTo>
                      <a:pt x="194679" y="1026480"/>
                      <a:pt x="99189" y="1053585"/>
                      <a:pt x="4272" y="1083746"/>
                    </a:cubicBezTo>
                    <a:cubicBezTo>
                      <a:pt x="-25257" y="627077"/>
                      <a:pt x="81871" y="11090"/>
                      <a:pt x="848935" y="103"/>
                    </a:cubicBez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8" name="Block Arc 1507"/>
              <p:cNvSpPr/>
              <p:nvPr/>
            </p:nvSpPr>
            <p:spPr>
              <a:xfrm rot="17100000" flipH="1">
                <a:off x="7192336" y="957701"/>
                <a:ext cx="63593" cy="62302"/>
              </a:xfrm>
              <a:prstGeom prst="blockArc">
                <a:avLst>
                  <a:gd name="adj1" fmla="val 10800000"/>
                  <a:gd name="adj2" fmla="val 8154576"/>
                  <a:gd name="adj3" fmla="val 19585"/>
                </a:avLst>
              </a:prstGeom>
              <a:gradFill flip="none" rotWithShape="1">
                <a:gsLst>
                  <a:gs pos="58000">
                    <a:schemeClr val="bg1"/>
                  </a:gs>
                  <a:gs pos="38000">
                    <a:srgbClr val="FFFF00"/>
                  </a:gs>
                  <a:gs pos="13000">
                    <a:srgbClr val="A7A600"/>
                  </a:gs>
                  <a:gs pos="78000">
                    <a:srgbClr val="333200"/>
                  </a:gs>
                  <a:gs pos="60000">
                    <a:srgbClr val="FFFF00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9" name="Block Arc 1508"/>
              <p:cNvSpPr/>
              <p:nvPr/>
            </p:nvSpPr>
            <p:spPr>
              <a:xfrm rot="4500000">
                <a:off x="7799359" y="957701"/>
                <a:ext cx="63593" cy="62302"/>
              </a:xfrm>
              <a:prstGeom prst="blockArc">
                <a:avLst>
                  <a:gd name="adj1" fmla="val 10800000"/>
                  <a:gd name="adj2" fmla="val 8154576"/>
                  <a:gd name="adj3" fmla="val 19585"/>
                </a:avLst>
              </a:prstGeom>
              <a:gradFill flip="none" rotWithShape="1">
                <a:gsLst>
                  <a:gs pos="58000">
                    <a:schemeClr val="bg1"/>
                  </a:gs>
                  <a:gs pos="38000">
                    <a:srgbClr val="FFFF00"/>
                  </a:gs>
                  <a:gs pos="13000">
                    <a:srgbClr val="A7A600"/>
                  </a:gs>
                  <a:gs pos="78000">
                    <a:srgbClr val="333200"/>
                  </a:gs>
                  <a:gs pos="60000">
                    <a:srgbClr val="FFFF00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0" name="Freeform 1509"/>
              <p:cNvSpPr/>
              <p:nvPr/>
            </p:nvSpPr>
            <p:spPr>
              <a:xfrm>
                <a:off x="7230297" y="786418"/>
                <a:ext cx="127755" cy="426346"/>
              </a:xfrm>
              <a:custGeom>
                <a:avLst/>
                <a:gdLst>
                  <a:gd name="connsiteX0" fmla="*/ 113323 w 339969"/>
                  <a:gd name="connsiteY0" fmla="*/ 0 h 1133230"/>
                  <a:gd name="connsiteX1" fmla="*/ 339969 w 339969"/>
                  <a:gd name="connsiteY1" fmla="*/ 1133230 h 1133230"/>
                  <a:gd name="connsiteX2" fmla="*/ 0 w 339969"/>
                  <a:gd name="connsiteY2" fmla="*/ 23446 h 1133230"/>
                  <a:gd name="connsiteX3" fmla="*/ 113323 w 339969"/>
                  <a:gd name="connsiteY3" fmla="*/ 0 h 1133230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061" h="1121507">
                    <a:moveTo>
                      <a:pt x="113323" y="0"/>
                    </a:moveTo>
                    <a:cubicBezTo>
                      <a:pt x="125046" y="127652"/>
                      <a:pt x="-42985" y="833640"/>
                      <a:pt x="336061" y="1121507"/>
                    </a:cubicBezTo>
                    <a:cubicBezTo>
                      <a:pt x="-61221" y="872718"/>
                      <a:pt x="29958" y="229251"/>
                      <a:pt x="0" y="23446"/>
                    </a:cubicBezTo>
                    <a:lnTo>
                      <a:pt x="113323" y="0"/>
                    </a:ln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1" name="Freeform 1510"/>
              <p:cNvSpPr/>
              <p:nvPr/>
            </p:nvSpPr>
            <p:spPr>
              <a:xfrm rot="448402" flipH="1">
                <a:off x="7653343" y="786418"/>
                <a:ext cx="127755" cy="426346"/>
              </a:xfrm>
              <a:custGeom>
                <a:avLst/>
                <a:gdLst>
                  <a:gd name="connsiteX0" fmla="*/ 113323 w 339969"/>
                  <a:gd name="connsiteY0" fmla="*/ 0 h 1133230"/>
                  <a:gd name="connsiteX1" fmla="*/ 339969 w 339969"/>
                  <a:gd name="connsiteY1" fmla="*/ 1133230 h 1133230"/>
                  <a:gd name="connsiteX2" fmla="*/ 0 w 339969"/>
                  <a:gd name="connsiteY2" fmla="*/ 23446 h 1133230"/>
                  <a:gd name="connsiteX3" fmla="*/ 113323 w 339969"/>
                  <a:gd name="connsiteY3" fmla="*/ 0 h 1133230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  <a:gd name="connsiteX0" fmla="*/ 113323 w 336061"/>
                  <a:gd name="connsiteY0" fmla="*/ 0 h 1121507"/>
                  <a:gd name="connsiteX1" fmla="*/ 336061 w 336061"/>
                  <a:gd name="connsiteY1" fmla="*/ 1121507 h 1121507"/>
                  <a:gd name="connsiteX2" fmla="*/ 0 w 336061"/>
                  <a:gd name="connsiteY2" fmla="*/ 23446 h 1121507"/>
                  <a:gd name="connsiteX3" fmla="*/ 113323 w 336061"/>
                  <a:gd name="connsiteY3" fmla="*/ 0 h 112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6061" h="1121507">
                    <a:moveTo>
                      <a:pt x="113323" y="0"/>
                    </a:moveTo>
                    <a:cubicBezTo>
                      <a:pt x="125046" y="127652"/>
                      <a:pt x="-42985" y="833640"/>
                      <a:pt x="336061" y="1121507"/>
                    </a:cubicBezTo>
                    <a:cubicBezTo>
                      <a:pt x="-61221" y="872718"/>
                      <a:pt x="29958" y="229251"/>
                      <a:pt x="0" y="23446"/>
                    </a:cubicBezTo>
                    <a:lnTo>
                      <a:pt x="113323" y="0"/>
                    </a:lnTo>
                    <a:close/>
                  </a:path>
                </a:pathLst>
              </a:custGeom>
              <a:solidFill>
                <a:srgbClr val="A6855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3" name="Freeform 1512"/>
              <p:cNvSpPr/>
              <p:nvPr/>
            </p:nvSpPr>
            <p:spPr>
              <a:xfrm>
                <a:off x="7243794" y="1350132"/>
                <a:ext cx="285716" cy="629749"/>
              </a:xfrm>
              <a:custGeom>
                <a:avLst/>
                <a:gdLst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1934" h="733529">
                    <a:moveTo>
                      <a:pt x="10048" y="0"/>
                    </a:moveTo>
                    <a:cubicBezTo>
                      <a:pt x="131624" y="262617"/>
                      <a:pt x="162663" y="395466"/>
                      <a:pt x="401934" y="733529"/>
                    </a:cubicBezTo>
                    <a:cubicBezTo>
                      <a:pt x="340384" y="643857"/>
                      <a:pt x="152085" y="484774"/>
                      <a:pt x="0" y="211015"/>
                    </a:cubicBezTo>
                    <a:lnTo>
                      <a:pt x="10048" y="0"/>
                    </a:lnTo>
                    <a:close/>
                  </a:path>
                </a:pathLst>
              </a:custGeom>
              <a:solidFill>
                <a:srgbClr val="FF99FF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4" name="Freeform 1513"/>
              <p:cNvSpPr/>
              <p:nvPr/>
            </p:nvSpPr>
            <p:spPr>
              <a:xfrm flipH="1">
                <a:off x="7525608" y="1350132"/>
                <a:ext cx="285716" cy="629749"/>
              </a:xfrm>
              <a:custGeom>
                <a:avLst/>
                <a:gdLst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  <a:gd name="connsiteX0" fmla="*/ 10048 w 401934"/>
                  <a:gd name="connsiteY0" fmla="*/ 0 h 733529"/>
                  <a:gd name="connsiteX1" fmla="*/ 401934 w 401934"/>
                  <a:gd name="connsiteY1" fmla="*/ 733529 h 733529"/>
                  <a:gd name="connsiteX2" fmla="*/ 0 w 401934"/>
                  <a:gd name="connsiteY2" fmla="*/ 211015 h 733529"/>
                  <a:gd name="connsiteX3" fmla="*/ 10048 w 401934"/>
                  <a:gd name="connsiteY3" fmla="*/ 0 h 73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1934" h="733529">
                    <a:moveTo>
                      <a:pt x="10048" y="0"/>
                    </a:moveTo>
                    <a:cubicBezTo>
                      <a:pt x="131624" y="262617"/>
                      <a:pt x="162663" y="395466"/>
                      <a:pt x="401934" y="733529"/>
                    </a:cubicBezTo>
                    <a:cubicBezTo>
                      <a:pt x="340384" y="643857"/>
                      <a:pt x="152085" y="484774"/>
                      <a:pt x="0" y="211015"/>
                    </a:cubicBezTo>
                    <a:lnTo>
                      <a:pt x="10048" y="0"/>
                    </a:lnTo>
                    <a:close/>
                  </a:path>
                </a:pathLst>
              </a:custGeom>
              <a:solidFill>
                <a:srgbClr val="FF99FF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15" name="Group 1514"/>
              <p:cNvGrpSpPr/>
              <p:nvPr/>
            </p:nvGrpSpPr>
            <p:grpSpPr>
              <a:xfrm>
                <a:off x="6591918" y="1524392"/>
                <a:ext cx="801061" cy="1682799"/>
                <a:chOff x="6591918" y="1524392"/>
                <a:chExt cx="801061" cy="1682799"/>
              </a:xfrm>
            </p:grpSpPr>
            <p:sp>
              <p:nvSpPr>
                <p:cNvPr id="1533" name="Freeform 1532"/>
                <p:cNvSpPr/>
                <p:nvPr/>
              </p:nvSpPr>
              <p:spPr>
                <a:xfrm rot="287938">
                  <a:off x="6591918" y="1524392"/>
                  <a:ext cx="513364" cy="944358"/>
                </a:xfrm>
                <a:custGeom>
                  <a:avLst/>
                  <a:gdLst>
                    <a:gd name="connsiteX0" fmla="*/ 328773 w 585627"/>
                    <a:gd name="connsiteY0" fmla="*/ 0 h 1089061"/>
                    <a:gd name="connsiteX1" fmla="*/ 0 w 585627"/>
                    <a:gd name="connsiteY1" fmla="*/ 976045 h 1089061"/>
                    <a:gd name="connsiteX2" fmla="*/ 256854 w 585627"/>
                    <a:gd name="connsiteY2" fmla="*/ 1089061 h 1089061"/>
                    <a:gd name="connsiteX3" fmla="*/ 585627 w 585627"/>
                    <a:gd name="connsiteY3" fmla="*/ 472612 h 1089061"/>
                    <a:gd name="connsiteX4" fmla="*/ 328773 w 585627"/>
                    <a:gd name="connsiteY4" fmla="*/ 0 h 1089061"/>
                    <a:gd name="connsiteX0" fmla="*/ 328773 w 586224"/>
                    <a:gd name="connsiteY0" fmla="*/ 12060 h 1101121"/>
                    <a:gd name="connsiteX1" fmla="*/ 0 w 586224"/>
                    <a:gd name="connsiteY1" fmla="*/ 988105 h 1101121"/>
                    <a:gd name="connsiteX2" fmla="*/ 256854 w 586224"/>
                    <a:gd name="connsiteY2" fmla="*/ 1101121 h 1101121"/>
                    <a:gd name="connsiteX3" fmla="*/ 585627 w 586224"/>
                    <a:gd name="connsiteY3" fmla="*/ 484672 h 1101121"/>
                    <a:gd name="connsiteX4" fmla="*/ 328773 w 586224"/>
                    <a:gd name="connsiteY4" fmla="*/ 12060 h 1101121"/>
                    <a:gd name="connsiteX0" fmla="*/ 328773 w 586224"/>
                    <a:gd name="connsiteY0" fmla="*/ 12060 h 1101121"/>
                    <a:gd name="connsiteX1" fmla="*/ 0 w 586224"/>
                    <a:gd name="connsiteY1" fmla="*/ 988105 h 1101121"/>
                    <a:gd name="connsiteX2" fmla="*/ 113015 w 586224"/>
                    <a:gd name="connsiteY2" fmla="*/ 1050422 h 1101121"/>
                    <a:gd name="connsiteX3" fmla="*/ 256854 w 586224"/>
                    <a:gd name="connsiteY3" fmla="*/ 1101121 h 1101121"/>
                    <a:gd name="connsiteX4" fmla="*/ 585627 w 586224"/>
                    <a:gd name="connsiteY4" fmla="*/ 484672 h 1101121"/>
                    <a:gd name="connsiteX5" fmla="*/ 328773 w 586224"/>
                    <a:gd name="connsiteY5" fmla="*/ 12060 h 1101121"/>
                    <a:gd name="connsiteX0" fmla="*/ 329370 w 586821"/>
                    <a:gd name="connsiteY0" fmla="*/ 12060 h 1150093"/>
                    <a:gd name="connsiteX1" fmla="*/ 597 w 586821"/>
                    <a:gd name="connsiteY1" fmla="*/ 988105 h 1150093"/>
                    <a:gd name="connsiteX2" fmla="*/ 257451 w 586821"/>
                    <a:gd name="connsiteY2" fmla="*/ 1101121 h 1150093"/>
                    <a:gd name="connsiteX3" fmla="*/ 586224 w 586821"/>
                    <a:gd name="connsiteY3" fmla="*/ 484672 h 1150093"/>
                    <a:gd name="connsiteX4" fmla="*/ 329370 w 586821"/>
                    <a:gd name="connsiteY4" fmla="*/ 12060 h 1150093"/>
                    <a:gd name="connsiteX0" fmla="*/ 329370 w 621664"/>
                    <a:gd name="connsiteY0" fmla="*/ 13433 h 1151466"/>
                    <a:gd name="connsiteX1" fmla="*/ 597 w 621664"/>
                    <a:gd name="connsiteY1" fmla="*/ 989478 h 1151466"/>
                    <a:gd name="connsiteX2" fmla="*/ 257451 w 621664"/>
                    <a:gd name="connsiteY2" fmla="*/ 1102494 h 1151466"/>
                    <a:gd name="connsiteX3" fmla="*/ 586224 w 621664"/>
                    <a:gd name="connsiteY3" fmla="*/ 486045 h 1151466"/>
                    <a:gd name="connsiteX4" fmla="*/ 329370 w 621664"/>
                    <a:gd name="connsiteY4" fmla="*/ 13433 h 1151466"/>
                    <a:gd name="connsiteX0" fmla="*/ 269994 w 617120"/>
                    <a:gd name="connsiteY0" fmla="*/ 21041 h 1010632"/>
                    <a:gd name="connsiteX1" fmla="*/ 597 w 617120"/>
                    <a:gd name="connsiteY1" fmla="*/ 848644 h 1010632"/>
                    <a:gd name="connsiteX2" fmla="*/ 257451 w 617120"/>
                    <a:gd name="connsiteY2" fmla="*/ 961660 h 1010632"/>
                    <a:gd name="connsiteX3" fmla="*/ 586224 w 617120"/>
                    <a:gd name="connsiteY3" fmla="*/ 345211 h 1010632"/>
                    <a:gd name="connsiteX4" fmla="*/ 269994 w 617120"/>
                    <a:gd name="connsiteY4" fmla="*/ 21041 h 1010632"/>
                    <a:gd name="connsiteX0" fmla="*/ 269994 w 619954"/>
                    <a:gd name="connsiteY0" fmla="*/ 99624 h 1089215"/>
                    <a:gd name="connsiteX1" fmla="*/ 597 w 619954"/>
                    <a:gd name="connsiteY1" fmla="*/ 927227 h 1089215"/>
                    <a:gd name="connsiteX2" fmla="*/ 257451 w 619954"/>
                    <a:gd name="connsiteY2" fmla="*/ 1040243 h 1089215"/>
                    <a:gd name="connsiteX3" fmla="*/ 586224 w 619954"/>
                    <a:gd name="connsiteY3" fmla="*/ 423794 h 1089215"/>
                    <a:gd name="connsiteX4" fmla="*/ 269994 w 619954"/>
                    <a:gd name="connsiteY4" fmla="*/ 99624 h 1089215"/>
                    <a:gd name="connsiteX0" fmla="*/ 269994 w 513364"/>
                    <a:gd name="connsiteY0" fmla="*/ 91146 h 1080737"/>
                    <a:gd name="connsiteX1" fmla="*/ 597 w 513364"/>
                    <a:gd name="connsiteY1" fmla="*/ 918749 h 1080737"/>
                    <a:gd name="connsiteX2" fmla="*/ 257451 w 513364"/>
                    <a:gd name="connsiteY2" fmla="*/ 1031765 h 1080737"/>
                    <a:gd name="connsiteX3" fmla="*/ 466817 w 513364"/>
                    <a:gd name="connsiteY3" fmla="*/ 473133 h 1080737"/>
                    <a:gd name="connsiteX4" fmla="*/ 269994 w 513364"/>
                    <a:gd name="connsiteY4" fmla="*/ 91146 h 1080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364" h="1080737">
                      <a:moveTo>
                        <a:pt x="269994" y="91146"/>
                      </a:moveTo>
                      <a:lnTo>
                        <a:pt x="597" y="918749"/>
                      </a:lnTo>
                      <a:cubicBezTo>
                        <a:pt x="-11389" y="1100259"/>
                        <a:pt x="159847" y="1115670"/>
                        <a:pt x="257451" y="1031765"/>
                      </a:cubicBezTo>
                      <a:lnTo>
                        <a:pt x="466817" y="473133"/>
                      </a:lnTo>
                      <a:cubicBezTo>
                        <a:pt x="603494" y="244121"/>
                        <a:pt x="409162" y="-188702"/>
                        <a:pt x="269994" y="9114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4" name="Freeform 1533"/>
                <p:cNvSpPr/>
                <p:nvPr/>
              </p:nvSpPr>
              <p:spPr>
                <a:xfrm rot="18566135" flipV="1">
                  <a:off x="6938906" y="2753118"/>
                  <a:ext cx="287690" cy="620456"/>
                </a:xfrm>
                <a:custGeom>
                  <a:avLst/>
                  <a:gdLst>
                    <a:gd name="connsiteX0" fmla="*/ 528511 w 1254582"/>
                    <a:gd name="connsiteY0" fmla="*/ 1523 h 2511809"/>
                    <a:gd name="connsiteX1" fmla="*/ 699650 w 1254582"/>
                    <a:gd name="connsiteY1" fmla="*/ 103684 h 2511809"/>
                    <a:gd name="connsiteX2" fmla="*/ 616670 w 1254582"/>
                    <a:gd name="connsiteY2" fmla="*/ 603083 h 2511809"/>
                    <a:gd name="connsiteX3" fmla="*/ 656794 w 1254582"/>
                    <a:gd name="connsiteY3" fmla="*/ 1258882 h 2511809"/>
                    <a:gd name="connsiteX4" fmla="*/ 721115 w 1254582"/>
                    <a:gd name="connsiteY4" fmla="*/ 131612 h 2511809"/>
                    <a:gd name="connsiteX5" fmla="*/ 830436 w 1254582"/>
                    <a:gd name="connsiteY5" fmla="*/ 475975 h 2511809"/>
                    <a:gd name="connsiteX6" fmla="*/ 804557 w 1254582"/>
                    <a:gd name="connsiteY6" fmla="*/ 1243726 h 2511809"/>
                    <a:gd name="connsiteX7" fmla="*/ 1080602 w 1254582"/>
                    <a:gd name="connsiteY7" fmla="*/ 924549 h 2511809"/>
                    <a:gd name="connsiteX8" fmla="*/ 1253130 w 1254582"/>
                    <a:gd name="connsiteY8" fmla="*/ 1071198 h 2511809"/>
                    <a:gd name="connsiteX9" fmla="*/ 994338 w 1254582"/>
                    <a:gd name="connsiteY9" fmla="*/ 1735432 h 2511809"/>
                    <a:gd name="connsiteX10" fmla="*/ 744172 w 1254582"/>
                    <a:gd name="connsiteY10" fmla="*/ 1994225 h 2511809"/>
                    <a:gd name="connsiteX11" fmla="*/ 701040 w 1254582"/>
                    <a:gd name="connsiteY11" fmla="*/ 2511809 h 2511809"/>
                    <a:gd name="connsiteX12" fmla="*/ 183455 w 1254582"/>
                    <a:gd name="connsiteY12" fmla="*/ 2477304 h 2511809"/>
                    <a:gd name="connsiteX13" fmla="*/ 200708 w 1254582"/>
                    <a:gd name="connsiteY13" fmla="*/ 2080489 h 2511809"/>
                    <a:gd name="connsiteX14" fmla="*/ 2300 w 1254582"/>
                    <a:gd name="connsiteY14" fmla="*/ 1364496 h 2511809"/>
                    <a:gd name="connsiteX15" fmla="*/ 79938 w 1254582"/>
                    <a:gd name="connsiteY15" fmla="*/ 622624 h 2511809"/>
                    <a:gd name="connsiteX16" fmla="*/ 256503 w 1254582"/>
                    <a:gd name="connsiteY16" fmla="*/ 254290 h 2511809"/>
                    <a:gd name="connsiteX17" fmla="*/ 198548 w 1254582"/>
                    <a:gd name="connsiteY17" fmla="*/ 603083 h 2511809"/>
                    <a:gd name="connsiteX18" fmla="*/ 238672 w 1254582"/>
                    <a:gd name="connsiteY18" fmla="*/ 1258882 h 2511809"/>
                    <a:gd name="connsiteX19" fmla="*/ 505954 w 1254582"/>
                    <a:gd name="connsiteY19" fmla="*/ 10547 h 2511809"/>
                    <a:gd name="connsiteX20" fmla="*/ 407499 w 1254582"/>
                    <a:gd name="connsiteY20" fmla="*/ 603083 h 2511809"/>
                    <a:gd name="connsiteX21" fmla="*/ 447623 w 1254582"/>
                    <a:gd name="connsiteY21" fmla="*/ 1258882 h 2511809"/>
                    <a:gd name="connsiteX22" fmla="*/ 519153 w 1254582"/>
                    <a:gd name="connsiteY22" fmla="*/ 5267 h 2511809"/>
                    <a:gd name="connsiteX23" fmla="*/ 528511 w 1254582"/>
                    <a:gd name="connsiteY23" fmla="*/ 1523 h 2511809"/>
                    <a:gd name="connsiteX0" fmla="*/ 528511 w 1254582"/>
                    <a:gd name="connsiteY0" fmla="*/ 0 h 2510286"/>
                    <a:gd name="connsiteX1" fmla="*/ 616670 w 1254582"/>
                    <a:gd name="connsiteY1" fmla="*/ 601560 h 2510286"/>
                    <a:gd name="connsiteX2" fmla="*/ 656794 w 1254582"/>
                    <a:gd name="connsiteY2" fmla="*/ 1257359 h 2510286"/>
                    <a:gd name="connsiteX3" fmla="*/ 721115 w 1254582"/>
                    <a:gd name="connsiteY3" fmla="*/ 130089 h 2510286"/>
                    <a:gd name="connsiteX4" fmla="*/ 830436 w 1254582"/>
                    <a:gd name="connsiteY4" fmla="*/ 474452 h 2510286"/>
                    <a:gd name="connsiteX5" fmla="*/ 804557 w 1254582"/>
                    <a:gd name="connsiteY5" fmla="*/ 1242203 h 2510286"/>
                    <a:gd name="connsiteX6" fmla="*/ 1080602 w 1254582"/>
                    <a:gd name="connsiteY6" fmla="*/ 923026 h 2510286"/>
                    <a:gd name="connsiteX7" fmla="*/ 1253130 w 1254582"/>
                    <a:gd name="connsiteY7" fmla="*/ 1069675 h 2510286"/>
                    <a:gd name="connsiteX8" fmla="*/ 994338 w 1254582"/>
                    <a:gd name="connsiteY8" fmla="*/ 1733909 h 2510286"/>
                    <a:gd name="connsiteX9" fmla="*/ 744172 w 1254582"/>
                    <a:gd name="connsiteY9" fmla="*/ 1992702 h 2510286"/>
                    <a:gd name="connsiteX10" fmla="*/ 701040 w 1254582"/>
                    <a:gd name="connsiteY10" fmla="*/ 2510286 h 2510286"/>
                    <a:gd name="connsiteX11" fmla="*/ 183455 w 1254582"/>
                    <a:gd name="connsiteY11" fmla="*/ 2475781 h 2510286"/>
                    <a:gd name="connsiteX12" fmla="*/ 200708 w 1254582"/>
                    <a:gd name="connsiteY12" fmla="*/ 2078966 h 2510286"/>
                    <a:gd name="connsiteX13" fmla="*/ 2300 w 1254582"/>
                    <a:gd name="connsiteY13" fmla="*/ 1362973 h 2510286"/>
                    <a:gd name="connsiteX14" fmla="*/ 79938 w 1254582"/>
                    <a:gd name="connsiteY14" fmla="*/ 621101 h 2510286"/>
                    <a:gd name="connsiteX15" fmla="*/ 256503 w 1254582"/>
                    <a:gd name="connsiteY15" fmla="*/ 252767 h 2510286"/>
                    <a:gd name="connsiteX16" fmla="*/ 198548 w 1254582"/>
                    <a:gd name="connsiteY16" fmla="*/ 601560 h 2510286"/>
                    <a:gd name="connsiteX17" fmla="*/ 238672 w 1254582"/>
                    <a:gd name="connsiteY17" fmla="*/ 1257359 h 2510286"/>
                    <a:gd name="connsiteX18" fmla="*/ 505954 w 1254582"/>
                    <a:gd name="connsiteY18" fmla="*/ 9024 h 2510286"/>
                    <a:gd name="connsiteX19" fmla="*/ 407499 w 1254582"/>
                    <a:gd name="connsiteY19" fmla="*/ 601560 h 2510286"/>
                    <a:gd name="connsiteX20" fmla="*/ 447623 w 1254582"/>
                    <a:gd name="connsiteY20" fmla="*/ 1257359 h 2510286"/>
                    <a:gd name="connsiteX21" fmla="*/ 519153 w 1254582"/>
                    <a:gd name="connsiteY21" fmla="*/ 3744 h 2510286"/>
                    <a:gd name="connsiteX22" fmla="*/ 528511 w 1254582"/>
                    <a:gd name="connsiteY22" fmla="*/ 0 h 2510286"/>
                    <a:gd name="connsiteX0" fmla="*/ 542227 w 1254582"/>
                    <a:gd name="connsiteY0" fmla="*/ 0 h 2514858"/>
                    <a:gd name="connsiteX1" fmla="*/ 616670 w 1254582"/>
                    <a:gd name="connsiteY1" fmla="*/ 606132 h 2514858"/>
                    <a:gd name="connsiteX2" fmla="*/ 656794 w 1254582"/>
                    <a:gd name="connsiteY2" fmla="*/ 1261931 h 2514858"/>
                    <a:gd name="connsiteX3" fmla="*/ 721115 w 1254582"/>
                    <a:gd name="connsiteY3" fmla="*/ 134661 h 2514858"/>
                    <a:gd name="connsiteX4" fmla="*/ 830436 w 1254582"/>
                    <a:gd name="connsiteY4" fmla="*/ 479024 h 2514858"/>
                    <a:gd name="connsiteX5" fmla="*/ 804557 w 1254582"/>
                    <a:gd name="connsiteY5" fmla="*/ 1246775 h 2514858"/>
                    <a:gd name="connsiteX6" fmla="*/ 1080602 w 1254582"/>
                    <a:gd name="connsiteY6" fmla="*/ 927598 h 2514858"/>
                    <a:gd name="connsiteX7" fmla="*/ 1253130 w 1254582"/>
                    <a:gd name="connsiteY7" fmla="*/ 1074247 h 2514858"/>
                    <a:gd name="connsiteX8" fmla="*/ 994338 w 1254582"/>
                    <a:gd name="connsiteY8" fmla="*/ 1738481 h 2514858"/>
                    <a:gd name="connsiteX9" fmla="*/ 744172 w 1254582"/>
                    <a:gd name="connsiteY9" fmla="*/ 1997274 h 2514858"/>
                    <a:gd name="connsiteX10" fmla="*/ 701040 w 1254582"/>
                    <a:gd name="connsiteY10" fmla="*/ 2514858 h 2514858"/>
                    <a:gd name="connsiteX11" fmla="*/ 183455 w 1254582"/>
                    <a:gd name="connsiteY11" fmla="*/ 2480353 h 2514858"/>
                    <a:gd name="connsiteX12" fmla="*/ 200708 w 1254582"/>
                    <a:gd name="connsiteY12" fmla="*/ 2083538 h 2514858"/>
                    <a:gd name="connsiteX13" fmla="*/ 2300 w 1254582"/>
                    <a:gd name="connsiteY13" fmla="*/ 1367545 h 2514858"/>
                    <a:gd name="connsiteX14" fmla="*/ 79938 w 1254582"/>
                    <a:gd name="connsiteY14" fmla="*/ 625673 h 2514858"/>
                    <a:gd name="connsiteX15" fmla="*/ 256503 w 1254582"/>
                    <a:gd name="connsiteY15" fmla="*/ 257339 h 2514858"/>
                    <a:gd name="connsiteX16" fmla="*/ 198548 w 1254582"/>
                    <a:gd name="connsiteY16" fmla="*/ 606132 h 2514858"/>
                    <a:gd name="connsiteX17" fmla="*/ 238672 w 1254582"/>
                    <a:gd name="connsiteY17" fmla="*/ 1261931 h 2514858"/>
                    <a:gd name="connsiteX18" fmla="*/ 505954 w 1254582"/>
                    <a:gd name="connsiteY18" fmla="*/ 13596 h 2514858"/>
                    <a:gd name="connsiteX19" fmla="*/ 407499 w 1254582"/>
                    <a:gd name="connsiteY19" fmla="*/ 606132 h 2514858"/>
                    <a:gd name="connsiteX20" fmla="*/ 447623 w 1254582"/>
                    <a:gd name="connsiteY20" fmla="*/ 1261931 h 2514858"/>
                    <a:gd name="connsiteX21" fmla="*/ 519153 w 1254582"/>
                    <a:gd name="connsiteY21" fmla="*/ 8316 h 2514858"/>
                    <a:gd name="connsiteX22" fmla="*/ 542227 w 1254582"/>
                    <a:gd name="connsiteY22" fmla="*/ 0 h 2514858"/>
                    <a:gd name="connsiteX0" fmla="*/ 542227 w 1254582"/>
                    <a:gd name="connsiteY0" fmla="*/ 114628 h 2629486"/>
                    <a:gd name="connsiteX1" fmla="*/ 616670 w 1254582"/>
                    <a:gd name="connsiteY1" fmla="*/ 720760 h 2629486"/>
                    <a:gd name="connsiteX2" fmla="*/ 656794 w 1254582"/>
                    <a:gd name="connsiteY2" fmla="*/ 1376559 h 2629486"/>
                    <a:gd name="connsiteX3" fmla="*/ 721115 w 1254582"/>
                    <a:gd name="connsiteY3" fmla="*/ 249289 h 2629486"/>
                    <a:gd name="connsiteX4" fmla="*/ 830436 w 1254582"/>
                    <a:gd name="connsiteY4" fmla="*/ 593652 h 2629486"/>
                    <a:gd name="connsiteX5" fmla="*/ 804557 w 1254582"/>
                    <a:gd name="connsiteY5" fmla="*/ 1361403 h 2629486"/>
                    <a:gd name="connsiteX6" fmla="*/ 1080602 w 1254582"/>
                    <a:gd name="connsiteY6" fmla="*/ 1042226 h 2629486"/>
                    <a:gd name="connsiteX7" fmla="*/ 1253130 w 1254582"/>
                    <a:gd name="connsiteY7" fmla="*/ 1188875 h 2629486"/>
                    <a:gd name="connsiteX8" fmla="*/ 994338 w 1254582"/>
                    <a:gd name="connsiteY8" fmla="*/ 1853109 h 2629486"/>
                    <a:gd name="connsiteX9" fmla="*/ 744172 w 1254582"/>
                    <a:gd name="connsiteY9" fmla="*/ 2111902 h 2629486"/>
                    <a:gd name="connsiteX10" fmla="*/ 701040 w 1254582"/>
                    <a:gd name="connsiteY10" fmla="*/ 2629486 h 2629486"/>
                    <a:gd name="connsiteX11" fmla="*/ 183455 w 1254582"/>
                    <a:gd name="connsiteY11" fmla="*/ 2594981 h 2629486"/>
                    <a:gd name="connsiteX12" fmla="*/ 200708 w 1254582"/>
                    <a:gd name="connsiteY12" fmla="*/ 2198166 h 2629486"/>
                    <a:gd name="connsiteX13" fmla="*/ 2300 w 1254582"/>
                    <a:gd name="connsiteY13" fmla="*/ 1482173 h 2629486"/>
                    <a:gd name="connsiteX14" fmla="*/ 79938 w 1254582"/>
                    <a:gd name="connsiteY14" fmla="*/ 740301 h 2629486"/>
                    <a:gd name="connsiteX15" fmla="*/ 256503 w 1254582"/>
                    <a:gd name="connsiteY15" fmla="*/ 371967 h 2629486"/>
                    <a:gd name="connsiteX16" fmla="*/ 198548 w 1254582"/>
                    <a:gd name="connsiteY16" fmla="*/ 720760 h 2629486"/>
                    <a:gd name="connsiteX17" fmla="*/ 238672 w 1254582"/>
                    <a:gd name="connsiteY17" fmla="*/ 1376559 h 2629486"/>
                    <a:gd name="connsiteX18" fmla="*/ 505954 w 1254582"/>
                    <a:gd name="connsiteY18" fmla="*/ 128224 h 2629486"/>
                    <a:gd name="connsiteX19" fmla="*/ 407499 w 1254582"/>
                    <a:gd name="connsiteY19" fmla="*/ 720760 h 2629486"/>
                    <a:gd name="connsiteX20" fmla="*/ 447623 w 1254582"/>
                    <a:gd name="connsiteY20" fmla="*/ 1376559 h 2629486"/>
                    <a:gd name="connsiteX21" fmla="*/ 519153 w 1254582"/>
                    <a:gd name="connsiteY21" fmla="*/ 122944 h 2629486"/>
                    <a:gd name="connsiteX22" fmla="*/ 542227 w 1254582"/>
                    <a:gd name="connsiteY22" fmla="*/ 114628 h 2629486"/>
                    <a:gd name="connsiteX0" fmla="*/ 697675 w 1254582"/>
                    <a:gd name="connsiteY0" fmla="*/ 68793 h 2675091"/>
                    <a:gd name="connsiteX1" fmla="*/ 616670 w 1254582"/>
                    <a:gd name="connsiteY1" fmla="*/ 766365 h 2675091"/>
                    <a:gd name="connsiteX2" fmla="*/ 656794 w 1254582"/>
                    <a:gd name="connsiteY2" fmla="*/ 1422164 h 2675091"/>
                    <a:gd name="connsiteX3" fmla="*/ 721115 w 1254582"/>
                    <a:gd name="connsiteY3" fmla="*/ 294894 h 2675091"/>
                    <a:gd name="connsiteX4" fmla="*/ 830436 w 1254582"/>
                    <a:gd name="connsiteY4" fmla="*/ 639257 h 2675091"/>
                    <a:gd name="connsiteX5" fmla="*/ 804557 w 1254582"/>
                    <a:gd name="connsiteY5" fmla="*/ 1407008 h 2675091"/>
                    <a:gd name="connsiteX6" fmla="*/ 1080602 w 1254582"/>
                    <a:gd name="connsiteY6" fmla="*/ 1087831 h 2675091"/>
                    <a:gd name="connsiteX7" fmla="*/ 1253130 w 1254582"/>
                    <a:gd name="connsiteY7" fmla="*/ 1234480 h 2675091"/>
                    <a:gd name="connsiteX8" fmla="*/ 994338 w 1254582"/>
                    <a:gd name="connsiteY8" fmla="*/ 1898714 h 2675091"/>
                    <a:gd name="connsiteX9" fmla="*/ 744172 w 1254582"/>
                    <a:gd name="connsiteY9" fmla="*/ 2157507 h 2675091"/>
                    <a:gd name="connsiteX10" fmla="*/ 701040 w 1254582"/>
                    <a:gd name="connsiteY10" fmla="*/ 2675091 h 2675091"/>
                    <a:gd name="connsiteX11" fmla="*/ 183455 w 1254582"/>
                    <a:gd name="connsiteY11" fmla="*/ 2640586 h 2675091"/>
                    <a:gd name="connsiteX12" fmla="*/ 200708 w 1254582"/>
                    <a:gd name="connsiteY12" fmla="*/ 2243771 h 2675091"/>
                    <a:gd name="connsiteX13" fmla="*/ 2300 w 1254582"/>
                    <a:gd name="connsiteY13" fmla="*/ 1527778 h 2675091"/>
                    <a:gd name="connsiteX14" fmla="*/ 79938 w 1254582"/>
                    <a:gd name="connsiteY14" fmla="*/ 785906 h 2675091"/>
                    <a:gd name="connsiteX15" fmla="*/ 256503 w 1254582"/>
                    <a:gd name="connsiteY15" fmla="*/ 417572 h 2675091"/>
                    <a:gd name="connsiteX16" fmla="*/ 198548 w 1254582"/>
                    <a:gd name="connsiteY16" fmla="*/ 766365 h 2675091"/>
                    <a:gd name="connsiteX17" fmla="*/ 238672 w 1254582"/>
                    <a:gd name="connsiteY17" fmla="*/ 1422164 h 2675091"/>
                    <a:gd name="connsiteX18" fmla="*/ 505954 w 1254582"/>
                    <a:gd name="connsiteY18" fmla="*/ 173829 h 2675091"/>
                    <a:gd name="connsiteX19" fmla="*/ 407499 w 1254582"/>
                    <a:gd name="connsiteY19" fmla="*/ 766365 h 2675091"/>
                    <a:gd name="connsiteX20" fmla="*/ 447623 w 1254582"/>
                    <a:gd name="connsiteY20" fmla="*/ 1422164 h 2675091"/>
                    <a:gd name="connsiteX21" fmla="*/ 519153 w 1254582"/>
                    <a:gd name="connsiteY21" fmla="*/ 168549 h 2675091"/>
                    <a:gd name="connsiteX22" fmla="*/ 697675 w 1254582"/>
                    <a:gd name="connsiteY22" fmla="*/ 68793 h 2675091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07499 w 1254582"/>
                    <a:gd name="connsiteY19" fmla="*/ 697572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0 h 2606298"/>
                    <a:gd name="connsiteX1" fmla="*/ 616670 w 1254582"/>
                    <a:gd name="connsiteY1" fmla="*/ 697572 h 2606298"/>
                    <a:gd name="connsiteX2" fmla="*/ 656794 w 1254582"/>
                    <a:gd name="connsiteY2" fmla="*/ 1353371 h 2606298"/>
                    <a:gd name="connsiteX3" fmla="*/ 721115 w 1254582"/>
                    <a:gd name="connsiteY3" fmla="*/ 226101 h 2606298"/>
                    <a:gd name="connsiteX4" fmla="*/ 830436 w 1254582"/>
                    <a:gd name="connsiteY4" fmla="*/ 570464 h 2606298"/>
                    <a:gd name="connsiteX5" fmla="*/ 804557 w 1254582"/>
                    <a:gd name="connsiteY5" fmla="*/ 1338215 h 2606298"/>
                    <a:gd name="connsiteX6" fmla="*/ 1080602 w 1254582"/>
                    <a:gd name="connsiteY6" fmla="*/ 1019038 h 2606298"/>
                    <a:gd name="connsiteX7" fmla="*/ 1253130 w 1254582"/>
                    <a:gd name="connsiteY7" fmla="*/ 1165687 h 2606298"/>
                    <a:gd name="connsiteX8" fmla="*/ 994338 w 1254582"/>
                    <a:gd name="connsiteY8" fmla="*/ 1829921 h 2606298"/>
                    <a:gd name="connsiteX9" fmla="*/ 744172 w 1254582"/>
                    <a:gd name="connsiteY9" fmla="*/ 2088714 h 2606298"/>
                    <a:gd name="connsiteX10" fmla="*/ 701040 w 1254582"/>
                    <a:gd name="connsiteY10" fmla="*/ 2606298 h 2606298"/>
                    <a:gd name="connsiteX11" fmla="*/ 183455 w 1254582"/>
                    <a:gd name="connsiteY11" fmla="*/ 2571793 h 2606298"/>
                    <a:gd name="connsiteX12" fmla="*/ 200708 w 1254582"/>
                    <a:gd name="connsiteY12" fmla="*/ 2174978 h 2606298"/>
                    <a:gd name="connsiteX13" fmla="*/ 2300 w 1254582"/>
                    <a:gd name="connsiteY13" fmla="*/ 1458985 h 2606298"/>
                    <a:gd name="connsiteX14" fmla="*/ 79938 w 1254582"/>
                    <a:gd name="connsiteY14" fmla="*/ 717113 h 2606298"/>
                    <a:gd name="connsiteX15" fmla="*/ 256503 w 1254582"/>
                    <a:gd name="connsiteY15" fmla="*/ 348779 h 2606298"/>
                    <a:gd name="connsiteX16" fmla="*/ 198548 w 1254582"/>
                    <a:gd name="connsiteY16" fmla="*/ 697572 h 2606298"/>
                    <a:gd name="connsiteX17" fmla="*/ 238672 w 1254582"/>
                    <a:gd name="connsiteY17" fmla="*/ 1353371 h 2606298"/>
                    <a:gd name="connsiteX18" fmla="*/ 505954 w 1254582"/>
                    <a:gd name="connsiteY18" fmla="*/ 105036 h 2606298"/>
                    <a:gd name="connsiteX19" fmla="*/ 439503 w 1254582"/>
                    <a:gd name="connsiteY19" fmla="*/ 757008 h 2606298"/>
                    <a:gd name="connsiteX20" fmla="*/ 447623 w 1254582"/>
                    <a:gd name="connsiteY20" fmla="*/ 1353371 h 2606298"/>
                    <a:gd name="connsiteX21" fmla="*/ 697675 w 1254582"/>
                    <a:gd name="connsiteY21" fmla="*/ 0 h 2606298"/>
                    <a:gd name="connsiteX0" fmla="*/ 697675 w 1254582"/>
                    <a:gd name="connsiteY0" fmla="*/ 5337 h 2611635"/>
                    <a:gd name="connsiteX1" fmla="*/ 616670 w 1254582"/>
                    <a:gd name="connsiteY1" fmla="*/ 702909 h 2611635"/>
                    <a:gd name="connsiteX2" fmla="*/ 656794 w 1254582"/>
                    <a:gd name="connsiteY2" fmla="*/ 1358708 h 2611635"/>
                    <a:gd name="connsiteX3" fmla="*/ 721115 w 1254582"/>
                    <a:gd name="connsiteY3" fmla="*/ 231438 h 2611635"/>
                    <a:gd name="connsiteX4" fmla="*/ 830436 w 1254582"/>
                    <a:gd name="connsiteY4" fmla="*/ 575801 h 2611635"/>
                    <a:gd name="connsiteX5" fmla="*/ 804557 w 1254582"/>
                    <a:gd name="connsiteY5" fmla="*/ 1343552 h 2611635"/>
                    <a:gd name="connsiteX6" fmla="*/ 1080602 w 1254582"/>
                    <a:gd name="connsiteY6" fmla="*/ 1024375 h 2611635"/>
                    <a:gd name="connsiteX7" fmla="*/ 1253130 w 1254582"/>
                    <a:gd name="connsiteY7" fmla="*/ 1171024 h 2611635"/>
                    <a:gd name="connsiteX8" fmla="*/ 994338 w 1254582"/>
                    <a:gd name="connsiteY8" fmla="*/ 1835258 h 2611635"/>
                    <a:gd name="connsiteX9" fmla="*/ 744172 w 1254582"/>
                    <a:gd name="connsiteY9" fmla="*/ 2094051 h 2611635"/>
                    <a:gd name="connsiteX10" fmla="*/ 701040 w 1254582"/>
                    <a:gd name="connsiteY10" fmla="*/ 2611635 h 2611635"/>
                    <a:gd name="connsiteX11" fmla="*/ 183455 w 1254582"/>
                    <a:gd name="connsiteY11" fmla="*/ 2577130 h 2611635"/>
                    <a:gd name="connsiteX12" fmla="*/ 200708 w 1254582"/>
                    <a:gd name="connsiteY12" fmla="*/ 2180315 h 2611635"/>
                    <a:gd name="connsiteX13" fmla="*/ 2300 w 1254582"/>
                    <a:gd name="connsiteY13" fmla="*/ 1464322 h 2611635"/>
                    <a:gd name="connsiteX14" fmla="*/ 79938 w 1254582"/>
                    <a:gd name="connsiteY14" fmla="*/ 722450 h 2611635"/>
                    <a:gd name="connsiteX15" fmla="*/ 256503 w 1254582"/>
                    <a:gd name="connsiteY15" fmla="*/ 354116 h 2611635"/>
                    <a:gd name="connsiteX16" fmla="*/ 198548 w 1254582"/>
                    <a:gd name="connsiteY16" fmla="*/ 702909 h 2611635"/>
                    <a:gd name="connsiteX17" fmla="*/ 238672 w 1254582"/>
                    <a:gd name="connsiteY17" fmla="*/ 1358708 h 2611635"/>
                    <a:gd name="connsiteX18" fmla="*/ 505954 w 1254582"/>
                    <a:gd name="connsiteY18" fmla="*/ 110373 h 2611635"/>
                    <a:gd name="connsiteX19" fmla="*/ 439503 w 1254582"/>
                    <a:gd name="connsiteY19" fmla="*/ 762345 h 2611635"/>
                    <a:gd name="connsiteX20" fmla="*/ 447623 w 1254582"/>
                    <a:gd name="connsiteY20" fmla="*/ 1358708 h 2611635"/>
                    <a:gd name="connsiteX21" fmla="*/ 697675 w 1254582"/>
                    <a:gd name="connsiteY21" fmla="*/ 5337 h 2611635"/>
                    <a:gd name="connsiteX0" fmla="*/ 697675 w 1254582"/>
                    <a:gd name="connsiteY0" fmla="*/ 5337 h 2611635"/>
                    <a:gd name="connsiteX1" fmla="*/ 616670 w 1254582"/>
                    <a:gd name="connsiteY1" fmla="*/ 702909 h 2611635"/>
                    <a:gd name="connsiteX2" fmla="*/ 656794 w 1254582"/>
                    <a:gd name="connsiteY2" fmla="*/ 1358708 h 2611635"/>
                    <a:gd name="connsiteX3" fmla="*/ 721115 w 1254582"/>
                    <a:gd name="connsiteY3" fmla="*/ 231438 h 2611635"/>
                    <a:gd name="connsiteX4" fmla="*/ 830436 w 1254582"/>
                    <a:gd name="connsiteY4" fmla="*/ 575801 h 2611635"/>
                    <a:gd name="connsiteX5" fmla="*/ 804557 w 1254582"/>
                    <a:gd name="connsiteY5" fmla="*/ 1343552 h 2611635"/>
                    <a:gd name="connsiteX6" fmla="*/ 1080602 w 1254582"/>
                    <a:gd name="connsiteY6" fmla="*/ 1024375 h 2611635"/>
                    <a:gd name="connsiteX7" fmla="*/ 1253130 w 1254582"/>
                    <a:gd name="connsiteY7" fmla="*/ 1171024 h 2611635"/>
                    <a:gd name="connsiteX8" fmla="*/ 994338 w 1254582"/>
                    <a:gd name="connsiteY8" fmla="*/ 1835258 h 2611635"/>
                    <a:gd name="connsiteX9" fmla="*/ 744172 w 1254582"/>
                    <a:gd name="connsiteY9" fmla="*/ 2094051 h 2611635"/>
                    <a:gd name="connsiteX10" fmla="*/ 701040 w 1254582"/>
                    <a:gd name="connsiteY10" fmla="*/ 2611635 h 2611635"/>
                    <a:gd name="connsiteX11" fmla="*/ 183455 w 1254582"/>
                    <a:gd name="connsiteY11" fmla="*/ 2577130 h 2611635"/>
                    <a:gd name="connsiteX12" fmla="*/ 200708 w 1254582"/>
                    <a:gd name="connsiteY12" fmla="*/ 2180315 h 2611635"/>
                    <a:gd name="connsiteX13" fmla="*/ 2300 w 1254582"/>
                    <a:gd name="connsiteY13" fmla="*/ 1464322 h 2611635"/>
                    <a:gd name="connsiteX14" fmla="*/ 79938 w 1254582"/>
                    <a:gd name="connsiteY14" fmla="*/ 722450 h 2611635"/>
                    <a:gd name="connsiteX15" fmla="*/ 256503 w 1254582"/>
                    <a:gd name="connsiteY15" fmla="*/ 354116 h 2611635"/>
                    <a:gd name="connsiteX16" fmla="*/ 198548 w 1254582"/>
                    <a:gd name="connsiteY16" fmla="*/ 702909 h 2611635"/>
                    <a:gd name="connsiteX17" fmla="*/ 238672 w 1254582"/>
                    <a:gd name="connsiteY17" fmla="*/ 1358708 h 2611635"/>
                    <a:gd name="connsiteX18" fmla="*/ 505954 w 1254582"/>
                    <a:gd name="connsiteY18" fmla="*/ 110373 h 2611635"/>
                    <a:gd name="connsiteX19" fmla="*/ 439503 w 1254582"/>
                    <a:gd name="connsiteY19" fmla="*/ 762345 h 2611635"/>
                    <a:gd name="connsiteX20" fmla="*/ 447623 w 1254582"/>
                    <a:gd name="connsiteY20" fmla="*/ 1358708 h 2611635"/>
                    <a:gd name="connsiteX21" fmla="*/ 697675 w 1254582"/>
                    <a:gd name="connsiteY21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196685 w 1252719"/>
                    <a:gd name="connsiteY15" fmla="*/ 702909 h 2611635"/>
                    <a:gd name="connsiteX16" fmla="*/ 236809 w 1252719"/>
                    <a:gd name="connsiteY16" fmla="*/ 1358708 h 2611635"/>
                    <a:gd name="connsiteX17" fmla="*/ 504091 w 1252719"/>
                    <a:gd name="connsiteY17" fmla="*/ 110373 h 2611635"/>
                    <a:gd name="connsiteX18" fmla="*/ 437640 w 1252719"/>
                    <a:gd name="connsiteY18" fmla="*/ 762345 h 2611635"/>
                    <a:gd name="connsiteX19" fmla="*/ 445760 w 1252719"/>
                    <a:gd name="connsiteY19" fmla="*/ 1358708 h 2611635"/>
                    <a:gd name="connsiteX20" fmla="*/ 695812 w 1252719"/>
                    <a:gd name="connsiteY20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236809 w 1252719"/>
                    <a:gd name="connsiteY15" fmla="*/ 1358708 h 2611635"/>
                    <a:gd name="connsiteX16" fmla="*/ 504091 w 1252719"/>
                    <a:gd name="connsiteY16" fmla="*/ 110373 h 2611635"/>
                    <a:gd name="connsiteX17" fmla="*/ 437640 w 1252719"/>
                    <a:gd name="connsiteY17" fmla="*/ 762345 h 2611635"/>
                    <a:gd name="connsiteX18" fmla="*/ 445760 w 1252719"/>
                    <a:gd name="connsiteY18" fmla="*/ 1358708 h 2611635"/>
                    <a:gd name="connsiteX19" fmla="*/ 695812 w 1252719"/>
                    <a:gd name="connsiteY19" fmla="*/ 5337 h 2611635"/>
                    <a:gd name="connsiteX0" fmla="*/ 695812 w 1252719"/>
                    <a:gd name="connsiteY0" fmla="*/ 5337 h 2611635"/>
                    <a:gd name="connsiteX1" fmla="*/ 614807 w 1252719"/>
                    <a:gd name="connsiteY1" fmla="*/ 702909 h 2611635"/>
                    <a:gd name="connsiteX2" fmla="*/ 654931 w 1252719"/>
                    <a:gd name="connsiteY2" fmla="*/ 1358708 h 2611635"/>
                    <a:gd name="connsiteX3" fmla="*/ 719252 w 1252719"/>
                    <a:gd name="connsiteY3" fmla="*/ 231438 h 2611635"/>
                    <a:gd name="connsiteX4" fmla="*/ 828573 w 1252719"/>
                    <a:gd name="connsiteY4" fmla="*/ 575801 h 2611635"/>
                    <a:gd name="connsiteX5" fmla="*/ 802694 w 1252719"/>
                    <a:gd name="connsiteY5" fmla="*/ 1343552 h 2611635"/>
                    <a:gd name="connsiteX6" fmla="*/ 1078739 w 1252719"/>
                    <a:gd name="connsiteY6" fmla="*/ 1024375 h 2611635"/>
                    <a:gd name="connsiteX7" fmla="*/ 1251267 w 1252719"/>
                    <a:gd name="connsiteY7" fmla="*/ 1171024 h 2611635"/>
                    <a:gd name="connsiteX8" fmla="*/ 992475 w 1252719"/>
                    <a:gd name="connsiteY8" fmla="*/ 1835258 h 2611635"/>
                    <a:gd name="connsiteX9" fmla="*/ 742309 w 1252719"/>
                    <a:gd name="connsiteY9" fmla="*/ 2094051 h 2611635"/>
                    <a:gd name="connsiteX10" fmla="*/ 699177 w 1252719"/>
                    <a:gd name="connsiteY10" fmla="*/ 2611635 h 2611635"/>
                    <a:gd name="connsiteX11" fmla="*/ 181592 w 1252719"/>
                    <a:gd name="connsiteY11" fmla="*/ 2577130 h 2611635"/>
                    <a:gd name="connsiteX12" fmla="*/ 198845 w 1252719"/>
                    <a:gd name="connsiteY12" fmla="*/ 2180315 h 2611635"/>
                    <a:gd name="connsiteX13" fmla="*/ 437 w 1252719"/>
                    <a:gd name="connsiteY13" fmla="*/ 1464322 h 2611635"/>
                    <a:gd name="connsiteX14" fmla="*/ 254640 w 1252719"/>
                    <a:gd name="connsiteY14" fmla="*/ 354116 h 2611635"/>
                    <a:gd name="connsiteX15" fmla="*/ 236809 w 1252719"/>
                    <a:gd name="connsiteY15" fmla="*/ 1358708 h 2611635"/>
                    <a:gd name="connsiteX16" fmla="*/ 504091 w 1252719"/>
                    <a:gd name="connsiteY16" fmla="*/ 110373 h 2611635"/>
                    <a:gd name="connsiteX17" fmla="*/ 437640 w 1252719"/>
                    <a:gd name="connsiteY17" fmla="*/ 762345 h 2611635"/>
                    <a:gd name="connsiteX18" fmla="*/ 445760 w 1252719"/>
                    <a:gd name="connsiteY18" fmla="*/ 1358708 h 2611635"/>
                    <a:gd name="connsiteX19" fmla="*/ 695812 w 1252719"/>
                    <a:gd name="connsiteY19" fmla="*/ 5337 h 2611635"/>
                    <a:gd name="connsiteX0" fmla="*/ 659378 w 1216285"/>
                    <a:gd name="connsiteY0" fmla="*/ 5337 h 2611635"/>
                    <a:gd name="connsiteX1" fmla="*/ 578373 w 1216285"/>
                    <a:gd name="connsiteY1" fmla="*/ 702909 h 2611635"/>
                    <a:gd name="connsiteX2" fmla="*/ 618497 w 1216285"/>
                    <a:gd name="connsiteY2" fmla="*/ 1358708 h 2611635"/>
                    <a:gd name="connsiteX3" fmla="*/ 682818 w 1216285"/>
                    <a:gd name="connsiteY3" fmla="*/ 231438 h 2611635"/>
                    <a:gd name="connsiteX4" fmla="*/ 792139 w 1216285"/>
                    <a:gd name="connsiteY4" fmla="*/ 575801 h 2611635"/>
                    <a:gd name="connsiteX5" fmla="*/ 766260 w 1216285"/>
                    <a:gd name="connsiteY5" fmla="*/ 1343552 h 2611635"/>
                    <a:gd name="connsiteX6" fmla="*/ 1042305 w 1216285"/>
                    <a:gd name="connsiteY6" fmla="*/ 1024375 h 2611635"/>
                    <a:gd name="connsiteX7" fmla="*/ 1214833 w 1216285"/>
                    <a:gd name="connsiteY7" fmla="*/ 1171024 h 2611635"/>
                    <a:gd name="connsiteX8" fmla="*/ 956041 w 1216285"/>
                    <a:gd name="connsiteY8" fmla="*/ 1835258 h 2611635"/>
                    <a:gd name="connsiteX9" fmla="*/ 705875 w 1216285"/>
                    <a:gd name="connsiteY9" fmla="*/ 2094051 h 2611635"/>
                    <a:gd name="connsiteX10" fmla="*/ 662743 w 1216285"/>
                    <a:gd name="connsiteY10" fmla="*/ 2611635 h 2611635"/>
                    <a:gd name="connsiteX11" fmla="*/ 145158 w 1216285"/>
                    <a:gd name="connsiteY11" fmla="*/ 2577130 h 2611635"/>
                    <a:gd name="connsiteX12" fmla="*/ 162411 w 1216285"/>
                    <a:gd name="connsiteY12" fmla="*/ 2180315 h 2611635"/>
                    <a:gd name="connsiteX13" fmla="*/ 579 w 1216285"/>
                    <a:gd name="connsiteY13" fmla="*/ 1299730 h 2611635"/>
                    <a:gd name="connsiteX14" fmla="*/ 218206 w 1216285"/>
                    <a:gd name="connsiteY14" fmla="*/ 354116 h 2611635"/>
                    <a:gd name="connsiteX15" fmla="*/ 200375 w 1216285"/>
                    <a:gd name="connsiteY15" fmla="*/ 1358708 h 2611635"/>
                    <a:gd name="connsiteX16" fmla="*/ 467657 w 1216285"/>
                    <a:gd name="connsiteY16" fmla="*/ 110373 h 2611635"/>
                    <a:gd name="connsiteX17" fmla="*/ 401206 w 1216285"/>
                    <a:gd name="connsiteY17" fmla="*/ 762345 h 2611635"/>
                    <a:gd name="connsiteX18" fmla="*/ 409326 w 1216285"/>
                    <a:gd name="connsiteY18" fmla="*/ 1358708 h 2611635"/>
                    <a:gd name="connsiteX19" fmla="*/ 659378 w 1216285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67746 w 1216374"/>
                    <a:gd name="connsiteY16" fmla="*/ 110373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67746 w 1216374"/>
                    <a:gd name="connsiteY16" fmla="*/ 110373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08310 w 1216374"/>
                    <a:gd name="connsiteY16" fmla="*/ 416697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337 h 2611635"/>
                    <a:gd name="connsiteX1" fmla="*/ 578462 w 1216374"/>
                    <a:gd name="connsiteY1" fmla="*/ 702909 h 2611635"/>
                    <a:gd name="connsiteX2" fmla="*/ 618586 w 1216374"/>
                    <a:gd name="connsiteY2" fmla="*/ 1358708 h 2611635"/>
                    <a:gd name="connsiteX3" fmla="*/ 682907 w 1216374"/>
                    <a:gd name="connsiteY3" fmla="*/ 231438 h 2611635"/>
                    <a:gd name="connsiteX4" fmla="*/ 792228 w 1216374"/>
                    <a:gd name="connsiteY4" fmla="*/ 575801 h 2611635"/>
                    <a:gd name="connsiteX5" fmla="*/ 766349 w 1216374"/>
                    <a:gd name="connsiteY5" fmla="*/ 1343552 h 2611635"/>
                    <a:gd name="connsiteX6" fmla="*/ 1042394 w 1216374"/>
                    <a:gd name="connsiteY6" fmla="*/ 1024375 h 2611635"/>
                    <a:gd name="connsiteX7" fmla="*/ 1214922 w 1216374"/>
                    <a:gd name="connsiteY7" fmla="*/ 1171024 h 2611635"/>
                    <a:gd name="connsiteX8" fmla="*/ 956130 w 1216374"/>
                    <a:gd name="connsiteY8" fmla="*/ 1835258 h 2611635"/>
                    <a:gd name="connsiteX9" fmla="*/ 705964 w 1216374"/>
                    <a:gd name="connsiteY9" fmla="*/ 2094051 h 2611635"/>
                    <a:gd name="connsiteX10" fmla="*/ 662832 w 1216374"/>
                    <a:gd name="connsiteY10" fmla="*/ 2611635 h 2611635"/>
                    <a:gd name="connsiteX11" fmla="*/ 145247 w 1216374"/>
                    <a:gd name="connsiteY11" fmla="*/ 2577130 h 2611635"/>
                    <a:gd name="connsiteX12" fmla="*/ 162500 w 1216374"/>
                    <a:gd name="connsiteY12" fmla="*/ 2180315 h 2611635"/>
                    <a:gd name="connsiteX13" fmla="*/ 668 w 1216374"/>
                    <a:gd name="connsiteY13" fmla="*/ 1299730 h 2611635"/>
                    <a:gd name="connsiteX14" fmla="*/ 222867 w 1216374"/>
                    <a:gd name="connsiteY14" fmla="*/ 637580 h 2611635"/>
                    <a:gd name="connsiteX15" fmla="*/ 200464 w 1216374"/>
                    <a:gd name="connsiteY15" fmla="*/ 1358708 h 2611635"/>
                    <a:gd name="connsiteX16" fmla="*/ 408310 w 1216374"/>
                    <a:gd name="connsiteY16" fmla="*/ 416697 h 2611635"/>
                    <a:gd name="connsiteX17" fmla="*/ 401295 w 1216374"/>
                    <a:gd name="connsiteY17" fmla="*/ 762345 h 2611635"/>
                    <a:gd name="connsiteX18" fmla="*/ 409415 w 1216374"/>
                    <a:gd name="connsiteY18" fmla="*/ 1358708 h 2611635"/>
                    <a:gd name="connsiteX19" fmla="*/ 659467 w 1216374"/>
                    <a:gd name="connsiteY19" fmla="*/ 5337 h 2611635"/>
                    <a:gd name="connsiteX0" fmla="*/ 659467 w 1216374"/>
                    <a:gd name="connsiteY0" fmla="*/ 5478 h 2611776"/>
                    <a:gd name="connsiteX1" fmla="*/ 578462 w 1216374"/>
                    <a:gd name="connsiteY1" fmla="*/ 703050 h 2611776"/>
                    <a:gd name="connsiteX2" fmla="*/ 618586 w 1216374"/>
                    <a:gd name="connsiteY2" fmla="*/ 1358849 h 2611776"/>
                    <a:gd name="connsiteX3" fmla="*/ 682907 w 1216374"/>
                    <a:gd name="connsiteY3" fmla="*/ 231579 h 2611776"/>
                    <a:gd name="connsiteX4" fmla="*/ 792228 w 1216374"/>
                    <a:gd name="connsiteY4" fmla="*/ 575942 h 2611776"/>
                    <a:gd name="connsiteX5" fmla="*/ 766349 w 1216374"/>
                    <a:gd name="connsiteY5" fmla="*/ 1343693 h 2611776"/>
                    <a:gd name="connsiteX6" fmla="*/ 1042394 w 1216374"/>
                    <a:gd name="connsiteY6" fmla="*/ 1024516 h 2611776"/>
                    <a:gd name="connsiteX7" fmla="*/ 1214922 w 1216374"/>
                    <a:gd name="connsiteY7" fmla="*/ 1171165 h 2611776"/>
                    <a:gd name="connsiteX8" fmla="*/ 956130 w 1216374"/>
                    <a:gd name="connsiteY8" fmla="*/ 1835399 h 2611776"/>
                    <a:gd name="connsiteX9" fmla="*/ 705964 w 1216374"/>
                    <a:gd name="connsiteY9" fmla="*/ 2094192 h 2611776"/>
                    <a:gd name="connsiteX10" fmla="*/ 662832 w 1216374"/>
                    <a:gd name="connsiteY10" fmla="*/ 2611776 h 2611776"/>
                    <a:gd name="connsiteX11" fmla="*/ 145247 w 1216374"/>
                    <a:gd name="connsiteY11" fmla="*/ 2577271 h 2611776"/>
                    <a:gd name="connsiteX12" fmla="*/ 162500 w 1216374"/>
                    <a:gd name="connsiteY12" fmla="*/ 2180456 h 2611776"/>
                    <a:gd name="connsiteX13" fmla="*/ 668 w 1216374"/>
                    <a:gd name="connsiteY13" fmla="*/ 1299871 h 2611776"/>
                    <a:gd name="connsiteX14" fmla="*/ 222867 w 1216374"/>
                    <a:gd name="connsiteY14" fmla="*/ 637721 h 2611776"/>
                    <a:gd name="connsiteX15" fmla="*/ 200464 w 1216374"/>
                    <a:gd name="connsiteY15" fmla="*/ 1358849 h 2611776"/>
                    <a:gd name="connsiteX16" fmla="*/ 408310 w 1216374"/>
                    <a:gd name="connsiteY16" fmla="*/ 416838 h 2611776"/>
                    <a:gd name="connsiteX17" fmla="*/ 396723 w 1216374"/>
                    <a:gd name="connsiteY17" fmla="*/ 981942 h 2611776"/>
                    <a:gd name="connsiteX18" fmla="*/ 409415 w 1216374"/>
                    <a:gd name="connsiteY18" fmla="*/ 1358849 h 2611776"/>
                    <a:gd name="connsiteX19" fmla="*/ 659467 w 1216374"/>
                    <a:gd name="connsiteY19" fmla="*/ 5478 h 2611776"/>
                    <a:gd name="connsiteX0" fmla="*/ 659467 w 1216374"/>
                    <a:gd name="connsiteY0" fmla="*/ 5478 h 2611776"/>
                    <a:gd name="connsiteX1" fmla="*/ 578462 w 1216374"/>
                    <a:gd name="connsiteY1" fmla="*/ 703050 h 2611776"/>
                    <a:gd name="connsiteX2" fmla="*/ 618586 w 1216374"/>
                    <a:gd name="connsiteY2" fmla="*/ 1358849 h 2611776"/>
                    <a:gd name="connsiteX3" fmla="*/ 682907 w 1216374"/>
                    <a:gd name="connsiteY3" fmla="*/ 231579 h 2611776"/>
                    <a:gd name="connsiteX4" fmla="*/ 792228 w 1216374"/>
                    <a:gd name="connsiteY4" fmla="*/ 575942 h 2611776"/>
                    <a:gd name="connsiteX5" fmla="*/ 766349 w 1216374"/>
                    <a:gd name="connsiteY5" fmla="*/ 1343693 h 2611776"/>
                    <a:gd name="connsiteX6" fmla="*/ 1042394 w 1216374"/>
                    <a:gd name="connsiteY6" fmla="*/ 1024516 h 2611776"/>
                    <a:gd name="connsiteX7" fmla="*/ 1214922 w 1216374"/>
                    <a:gd name="connsiteY7" fmla="*/ 1171165 h 2611776"/>
                    <a:gd name="connsiteX8" fmla="*/ 956130 w 1216374"/>
                    <a:gd name="connsiteY8" fmla="*/ 1835399 h 2611776"/>
                    <a:gd name="connsiteX9" fmla="*/ 705964 w 1216374"/>
                    <a:gd name="connsiteY9" fmla="*/ 2094192 h 2611776"/>
                    <a:gd name="connsiteX10" fmla="*/ 662832 w 1216374"/>
                    <a:gd name="connsiteY10" fmla="*/ 2611776 h 2611776"/>
                    <a:gd name="connsiteX11" fmla="*/ 145247 w 1216374"/>
                    <a:gd name="connsiteY11" fmla="*/ 2577271 h 2611776"/>
                    <a:gd name="connsiteX12" fmla="*/ 162500 w 1216374"/>
                    <a:gd name="connsiteY12" fmla="*/ 2180456 h 2611776"/>
                    <a:gd name="connsiteX13" fmla="*/ 668 w 1216374"/>
                    <a:gd name="connsiteY13" fmla="*/ 1299871 h 2611776"/>
                    <a:gd name="connsiteX14" fmla="*/ 222867 w 1216374"/>
                    <a:gd name="connsiteY14" fmla="*/ 637721 h 2611776"/>
                    <a:gd name="connsiteX15" fmla="*/ 200464 w 1216374"/>
                    <a:gd name="connsiteY15" fmla="*/ 1358849 h 2611776"/>
                    <a:gd name="connsiteX16" fmla="*/ 408310 w 1216374"/>
                    <a:gd name="connsiteY16" fmla="*/ 416838 h 2611776"/>
                    <a:gd name="connsiteX17" fmla="*/ 396723 w 1216374"/>
                    <a:gd name="connsiteY17" fmla="*/ 981942 h 2611776"/>
                    <a:gd name="connsiteX18" fmla="*/ 409415 w 1216374"/>
                    <a:gd name="connsiteY18" fmla="*/ 1358849 h 2611776"/>
                    <a:gd name="connsiteX19" fmla="*/ 659467 w 1216374"/>
                    <a:gd name="connsiteY19" fmla="*/ 5478 h 2611776"/>
                    <a:gd name="connsiteX0" fmla="*/ 659467 w 1216374"/>
                    <a:gd name="connsiteY0" fmla="*/ 4923 h 2611221"/>
                    <a:gd name="connsiteX1" fmla="*/ 578462 w 1216374"/>
                    <a:gd name="connsiteY1" fmla="*/ 702495 h 2611221"/>
                    <a:gd name="connsiteX2" fmla="*/ 618586 w 1216374"/>
                    <a:gd name="connsiteY2" fmla="*/ 1358294 h 2611221"/>
                    <a:gd name="connsiteX3" fmla="*/ 682907 w 1216374"/>
                    <a:gd name="connsiteY3" fmla="*/ 231024 h 2611221"/>
                    <a:gd name="connsiteX4" fmla="*/ 792228 w 1216374"/>
                    <a:gd name="connsiteY4" fmla="*/ 575387 h 2611221"/>
                    <a:gd name="connsiteX5" fmla="*/ 766349 w 1216374"/>
                    <a:gd name="connsiteY5" fmla="*/ 1343138 h 2611221"/>
                    <a:gd name="connsiteX6" fmla="*/ 1042394 w 1216374"/>
                    <a:gd name="connsiteY6" fmla="*/ 1023961 h 2611221"/>
                    <a:gd name="connsiteX7" fmla="*/ 1214922 w 1216374"/>
                    <a:gd name="connsiteY7" fmla="*/ 1170610 h 2611221"/>
                    <a:gd name="connsiteX8" fmla="*/ 956130 w 1216374"/>
                    <a:gd name="connsiteY8" fmla="*/ 1834844 h 2611221"/>
                    <a:gd name="connsiteX9" fmla="*/ 705964 w 1216374"/>
                    <a:gd name="connsiteY9" fmla="*/ 2093637 h 2611221"/>
                    <a:gd name="connsiteX10" fmla="*/ 662832 w 1216374"/>
                    <a:gd name="connsiteY10" fmla="*/ 2611221 h 2611221"/>
                    <a:gd name="connsiteX11" fmla="*/ 145247 w 1216374"/>
                    <a:gd name="connsiteY11" fmla="*/ 2576716 h 2611221"/>
                    <a:gd name="connsiteX12" fmla="*/ 162500 w 1216374"/>
                    <a:gd name="connsiteY12" fmla="*/ 2179901 h 2611221"/>
                    <a:gd name="connsiteX13" fmla="*/ 668 w 1216374"/>
                    <a:gd name="connsiteY13" fmla="*/ 1299316 h 2611221"/>
                    <a:gd name="connsiteX14" fmla="*/ 222867 w 1216374"/>
                    <a:gd name="connsiteY14" fmla="*/ 637166 h 2611221"/>
                    <a:gd name="connsiteX15" fmla="*/ 200464 w 1216374"/>
                    <a:gd name="connsiteY15" fmla="*/ 1358294 h 2611221"/>
                    <a:gd name="connsiteX16" fmla="*/ 408310 w 1216374"/>
                    <a:gd name="connsiteY16" fmla="*/ 416283 h 2611221"/>
                    <a:gd name="connsiteX17" fmla="*/ 396723 w 1216374"/>
                    <a:gd name="connsiteY17" fmla="*/ 981387 h 2611221"/>
                    <a:gd name="connsiteX18" fmla="*/ 409415 w 1216374"/>
                    <a:gd name="connsiteY18" fmla="*/ 1358294 h 2611221"/>
                    <a:gd name="connsiteX19" fmla="*/ 659467 w 1216374"/>
                    <a:gd name="connsiteY19" fmla="*/ 4923 h 2611221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200464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200464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12607 h 2618905"/>
                    <a:gd name="connsiteX1" fmla="*/ 578462 w 1216374"/>
                    <a:gd name="connsiteY1" fmla="*/ 710179 h 2618905"/>
                    <a:gd name="connsiteX2" fmla="*/ 618586 w 1216374"/>
                    <a:gd name="connsiteY2" fmla="*/ 1365978 h 2618905"/>
                    <a:gd name="connsiteX3" fmla="*/ 682907 w 1216374"/>
                    <a:gd name="connsiteY3" fmla="*/ 238708 h 2618905"/>
                    <a:gd name="connsiteX4" fmla="*/ 792228 w 1216374"/>
                    <a:gd name="connsiteY4" fmla="*/ 583071 h 2618905"/>
                    <a:gd name="connsiteX5" fmla="*/ 766349 w 1216374"/>
                    <a:gd name="connsiteY5" fmla="*/ 1350822 h 2618905"/>
                    <a:gd name="connsiteX6" fmla="*/ 1042394 w 1216374"/>
                    <a:gd name="connsiteY6" fmla="*/ 1031645 h 2618905"/>
                    <a:gd name="connsiteX7" fmla="*/ 1214922 w 1216374"/>
                    <a:gd name="connsiteY7" fmla="*/ 1178294 h 2618905"/>
                    <a:gd name="connsiteX8" fmla="*/ 956130 w 1216374"/>
                    <a:gd name="connsiteY8" fmla="*/ 1842528 h 2618905"/>
                    <a:gd name="connsiteX9" fmla="*/ 705964 w 1216374"/>
                    <a:gd name="connsiteY9" fmla="*/ 2101321 h 2618905"/>
                    <a:gd name="connsiteX10" fmla="*/ 662832 w 1216374"/>
                    <a:gd name="connsiteY10" fmla="*/ 2618905 h 2618905"/>
                    <a:gd name="connsiteX11" fmla="*/ 145247 w 1216374"/>
                    <a:gd name="connsiteY11" fmla="*/ 2584400 h 2618905"/>
                    <a:gd name="connsiteX12" fmla="*/ 162500 w 1216374"/>
                    <a:gd name="connsiteY12" fmla="*/ 2187585 h 2618905"/>
                    <a:gd name="connsiteX13" fmla="*/ 668 w 1216374"/>
                    <a:gd name="connsiteY13" fmla="*/ 1307000 h 2618905"/>
                    <a:gd name="connsiteX14" fmla="*/ 222867 w 1216374"/>
                    <a:gd name="connsiteY14" fmla="*/ 644850 h 2618905"/>
                    <a:gd name="connsiteX15" fmla="*/ 168460 w 1216374"/>
                    <a:gd name="connsiteY15" fmla="*/ 1365978 h 2618905"/>
                    <a:gd name="connsiteX16" fmla="*/ 408310 w 1216374"/>
                    <a:gd name="connsiteY16" fmla="*/ 423967 h 2618905"/>
                    <a:gd name="connsiteX17" fmla="*/ 396723 w 1216374"/>
                    <a:gd name="connsiteY17" fmla="*/ 989071 h 2618905"/>
                    <a:gd name="connsiteX18" fmla="*/ 391127 w 1216374"/>
                    <a:gd name="connsiteY18" fmla="*/ 1347690 h 2618905"/>
                    <a:gd name="connsiteX19" fmla="*/ 659467 w 1216374"/>
                    <a:gd name="connsiteY19" fmla="*/ 12607 h 2618905"/>
                    <a:gd name="connsiteX0" fmla="*/ 659467 w 1216374"/>
                    <a:gd name="connsiteY0" fmla="*/ 5409 h 2611707"/>
                    <a:gd name="connsiteX1" fmla="*/ 578462 w 1216374"/>
                    <a:gd name="connsiteY1" fmla="*/ 702981 h 2611707"/>
                    <a:gd name="connsiteX2" fmla="*/ 618586 w 1216374"/>
                    <a:gd name="connsiteY2" fmla="*/ 1358780 h 2611707"/>
                    <a:gd name="connsiteX3" fmla="*/ 682907 w 1216374"/>
                    <a:gd name="connsiteY3" fmla="*/ 231510 h 2611707"/>
                    <a:gd name="connsiteX4" fmla="*/ 792228 w 1216374"/>
                    <a:gd name="connsiteY4" fmla="*/ 575873 h 2611707"/>
                    <a:gd name="connsiteX5" fmla="*/ 766349 w 1216374"/>
                    <a:gd name="connsiteY5" fmla="*/ 1343624 h 2611707"/>
                    <a:gd name="connsiteX6" fmla="*/ 1042394 w 1216374"/>
                    <a:gd name="connsiteY6" fmla="*/ 1024447 h 2611707"/>
                    <a:gd name="connsiteX7" fmla="*/ 1214922 w 1216374"/>
                    <a:gd name="connsiteY7" fmla="*/ 1171096 h 2611707"/>
                    <a:gd name="connsiteX8" fmla="*/ 956130 w 1216374"/>
                    <a:gd name="connsiteY8" fmla="*/ 1835330 h 2611707"/>
                    <a:gd name="connsiteX9" fmla="*/ 705964 w 1216374"/>
                    <a:gd name="connsiteY9" fmla="*/ 2094123 h 2611707"/>
                    <a:gd name="connsiteX10" fmla="*/ 662832 w 1216374"/>
                    <a:gd name="connsiteY10" fmla="*/ 2611707 h 2611707"/>
                    <a:gd name="connsiteX11" fmla="*/ 145247 w 1216374"/>
                    <a:gd name="connsiteY11" fmla="*/ 2577202 h 2611707"/>
                    <a:gd name="connsiteX12" fmla="*/ 162500 w 1216374"/>
                    <a:gd name="connsiteY12" fmla="*/ 2180387 h 2611707"/>
                    <a:gd name="connsiteX13" fmla="*/ 668 w 1216374"/>
                    <a:gd name="connsiteY13" fmla="*/ 1299802 h 2611707"/>
                    <a:gd name="connsiteX14" fmla="*/ 222867 w 1216374"/>
                    <a:gd name="connsiteY14" fmla="*/ 637652 h 2611707"/>
                    <a:gd name="connsiteX15" fmla="*/ 168460 w 1216374"/>
                    <a:gd name="connsiteY15" fmla="*/ 1358780 h 2611707"/>
                    <a:gd name="connsiteX16" fmla="*/ 408310 w 1216374"/>
                    <a:gd name="connsiteY16" fmla="*/ 416769 h 2611707"/>
                    <a:gd name="connsiteX17" fmla="*/ 396723 w 1216374"/>
                    <a:gd name="connsiteY17" fmla="*/ 981873 h 2611707"/>
                    <a:gd name="connsiteX18" fmla="*/ 391127 w 1216374"/>
                    <a:gd name="connsiteY18" fmla="*/ 1340492 h 2611707"/>
                    <a:gd name="connsiteX19" fmla="*/ 659467 w 1216374"/>
                    <a:gd name="connsiteY19" fmla="*/ 5409 h 2611707"/>
                    <a:gd name="connsiteX0" fmla="*/ 650323 w 1216374"/>
                    <a:gd name="connsiteY0" fmla="*/ 6405 h 2516691"/>
                    <a:gd name="connsiteX1" fmla="*/ 578462 w 1216374"/>
                    <a:gd name="connsiteY1" fmla="*/ 607965 h 2516691"/>
                    <a:gd name="connsiteX2" fmla="*/ 618586 w 1216374"/>
                    <a:gd name="connsiteY2" fmla="*/ 1263764 h 2516691"/>
                    <a:gd name="connsiteX3" fmla="*/ 682907 w 1216374"/>
                    <a:gd name="connsiteY3" fmla="*/ 136494 h 2516691"/>
                    <a:gd name="connsiteX4" fmla="*/ 792228 w 1216374"/>
                    <a:gd name="connsiteY4" fmla="*/ 480857 h 2516691"/>
                    <a:gd name="connsiteX5" fmla="*/ 766349 w 1216374"/>
                    <a:gd name="connsiteY5" fmla="*/ 1248608 h 2516691"/>
                    <a:gd name="connsiteX6" fmla="*/ 1042394 w 1216374"/>
                    <a:gd name="connsiteY6" fmla="*/ 929431 h 2516691"/>
                    <a:gd name="connsiteX7" fmla="*/ 1214922 w 1216374"/>
                    <a:gd name="connsiteY7" fmla="*/ 1076080 h 2516691"/>
                    <a:gd name="connsiteX8" fmla="*/ 956130 w 1216374"/>
                    <a:gd name="connsiteY8" fmla="*/ 1740314 h 2516691"/>
                    <a:gd name="connsiteX9" fmla="*/ 705964 w 1216374"/>
                    <a:gd name="connsiteY9" fmla="*/ 1999107 h 2516691"/>
                    <a:gd name="connsiteX10" fmla="*/ 662832 w 1216374"/>
                    <a:gd name="connsiteY10" fmla="*/ 2516691 h 2516691"/>
                    <a:gd name="connsiteX11" fmla="*/ 145247 w 1216374"/>
                    <a:gd name="connsiteY11" fmla="*/ 2482186 h 2516691"/>
                    <a:gd name="connsiteX12" fmla="*/ 162500 w 1216374"/>
                    <a:gd name="connsiteY12" fmla="*/ 2085371 h 2516691"/>
                    <a:gd name="connsiteX13" fmla="*/ 668 w 1216374"/>
                    <a:gd name="connsiteY13" fmla="*/ 1204786 h 2516691"/>
                    <a:gd name="connsiteX14" fmla="*/ 222867 w 1216374"/>
                    <a:gd name="connsiteY14" fmla="*/ 542636 h 2516691"/>
                    <a:gd name="connsiteX15" fmla="*/ 168460 w 1216374"/>
                    <a:gd name="connsiteY15" fmla="*/ 1263764 h 2516691"/>
                    <a:gd name="connsiteX16" fmla="*/ 408310 w 1216374"/>
                    <a:gd name="connsiteY16" fmla="*/ 321753 h 2516691"/>
                    <a:gd name="connsiteX17" fmla="*/ 396723 w 1216374"/>
                    <a:gd name="connsiteY17" fmla="*/ 886857 h 2516691"/>
                    <a:gd name="connsiteX18" fmla="*/ 391127 w 1216374"/>
                    <a:gd name="connsiteY18" fmla="*/ 1245476 h 2516691"/>
                    <a:gd name="connsiteX19" fmla="*/ 650323 w 1216374"/>
                    <a:gd name="connsiteY19" fmla="*/ 6405 h 2516691"/>
                    <a:gd name="connsiteX0" fmla="*/ 618319 w 1216374"/>
                    <a:gd name="connsiteY0" fmla="*/ 6926 h 2402912"/>
                    <a:gd name="connsiteX1" fmla="*/ 578462 w 1216374"/>
                    <a:gd name="connsiteY1" fmla="*/ 494186 h 2402912"/>
                    <a:gd name="connsiteX2" fmla="*/ 618586 w 1216374"/>
                    <a:gd name="connsiteY2" fmla="*/ 1149985 h 2402912"/>
                    <a:gd name="connsiteX3" fmla="*/ 682907 w 1216374"/>
                    <a:gd name="connsiteY3" fmla="*/ 22715 h 2402912"/>
                    <a:gd name="connsiteX4" fmla="*/ 792228 w 1216374"/>
                    <a:gd name="connsiteY4" fmla="*/ 367078 h 2402912"/>
                    <a:gd name="connsiteX5" fmla="*/ 766349 w 1216374"/>
                    <a:gd name="connsiteY5" fmla="*/ 1134829 h 2402912"/>
                    <a:gd name="connsiteX6" fmla="*/ 1042394 w 1216374"/>
                    <a:gd name="connsiteY6" fmla="*/ 815652 h 2402912"/>
                    <a:gd name="connsiteX7" fmla="*/ 1214922 w 1216374"/>
                    <a:gd name="connsiteY7" fmla="*/ 962301 h 2402912"/>
                    <a:gd name="connsiteX8" fmla="*/ 956130 w 1216374"/>
                    <a:gd name="connsiteY8" fmla="*/ 1626535 h 2402912"/>
                    <a:gd name="connsiteX9" fmla="*/ 705964 w 1216374"/>
                    <a:gd name="connsiteY9" fmla="*/ 1885328 h 2402912"/>
                    <a:gd name="connsiteX10" fmla="*/ 662832 w 1216374"/>
                    <a:gd name="connsiteY10" fmla="*/ 2402912 h 2402912"/>
                    <a:gd name="connsiteX11" fmla="*/ 145247 w 1216374"/>
                    <a:gd name="connsiteY11" fmla="*/ 2368407 h 2402912"/>
                    <a:gd name="connsiteX12" fmla="*/ 162500 w 1216374"/>
                    <a:gd name="connsiteY12" fmla="*/ 1971592 h 2402912"/>
                    <a:gd name="connsiteX13" fmla="*/ 668 w 1216374"/>
                    <a:gd name="connsiteY13" fmla="*/ 1091007 h 2402912"/>
                    <a:gd name="connsiteX14" fmla="*/ 222867 w 1216374"/>
                    <a:gd name="connsiteY14" fmla="*/ 428857 h 2402912"/>
                    <a:gd name="connsiteX15" fmla="*/ 168460 w 1216374"/>
                    <a:gd name="connsiteY15" fmla="*/ 1149985 h 2402912"/>
                    <a:gd name="connsiteX16" fmla="*/ 408310 w 1216374"/>
                    <a:gd name="connsiteY16" fmla="*/ 207974 h 2402912"/>
                    <a:gd name="connsiteX17" fmla="*/ 396723 w 1216374"/>
                    <a:gd name="connsiteY17" fmla="*/ 773078 h 2402912"/>
                    <a:gd name="connsiteX18" fmla="*/ 391127 w 1216374"/>
                    <a:gd name="connsiteY18" fmla="*/ 1131697 h 2402912"/>
                    <a:gd name="connsiteX19" fmla="*/ 618319 w 1216374"/>
                    <a:gd name="connsiteY19" fmla="*/ 6926 h 2402912"/>
                    <a:gd name="connsiteX0" fmla="*/ 618319 w 1216374"/>
                    <a:gd name="connsiteY0" fmla="*/ 9542 h 2405528"/>
                    <a:gd name="connsiteX1" fmla="*/ 596750 w 1216374"/>
                    <a:gd name="connsiteY1" fmla="*/ 629390 h 2405528"/>
                    <a:gd name="connsiteX2" fmla="*/ 618586 w 1216374"/>
                    <a:gd name="connsiteY2" fmla="*/ 1152601 h 2405528"/>
                    <a:gd name="connsiteX3" fmla="*/ 682907 w 1216374"/>
                    <a:gd name="connsiteY3" fmla="*/ 25331 h 2405528"/>
                    <a:gd name="connsiteX4" fmla="*/ 792228 w 1216374"/>
                    <a:gd name="connsiteY4" fmla="*/ 369694 h 2405528"/>
                    <a:gd name="connsiteX5" fmla="*/ 766349 w 1216374"/>
                    <a:gd name="connsiteY5" fmla="*/ 1137445 h 2405528"/>
                    <a:gd name="connsiteX6" fmla="*/ 1042394 w 1216374"/>
                    <a:gd name="connsiteY6" fmla="*/ 818268 h 2405528"/>
                    <a:gd name="connsiteX7" fmla="*/ 1214922 w 1216374"/>
                    <a:gd name="connsiteY7" fmla="*/ 964917 h 2405528"/>
                    <a:gd name="connsiteX8" fmla="*/ 956130 w 1216374"/>
                    <a:gd name="connsiteY8" fmla="*/ 1629151 h 2405528"/>
                    <a:gd name="connsiteX9" fmla="*/ 705964 w 1216374"/>
                    <a:gd name="connsiteY9" fmla="*/ 1887944 h 2405528"/>
                    <a:gd name="connsiteX10" fmla="*/ 662832 w 1216374"/>
                    <a:gd name="connsiteY10" fmla="*/ 2405528 h 2405528"/>
                    <a:gd name="connsiteX11" fmla="*/ 145247 w 1216374"/>
                    <a:gd name="connsiteY11" fmla="*/ 2371023 h 2405528"/>
                    <a:gd name="connsiteX12" fmla="*/ 162500 w 1216374"/>
                    <a:gd name="connsiteY12" fmla="*/ 1974208 h 2405528"/>
                    <a:gd name="connsiteX13" fmla="*/ 668 w 1216374"/>
                    <a:gd name="connsiteY13" fmla="*/ 1093623 h 2405528"/>
                    <a:gd name="connsiteX14" fmla="*/ 222867 w 1216374"/>
                    <a:gd name="connsiteY14" fmla="*/ 431473 h 2405528"/>
                    <a:gd name="connsiteX15" fmla="*/ 168460 w 1216374"/>
                    <a:gd name="connsiteY15" fmla="*/ 1152601 h 2405528"/>
                    <a:gd name="connsiteX16" fmla="*/ 408310 w 1216374"/>
                    <a:gd name="connsiteY16" fmla="*/ 210590 h 2405528"/>
                    <a:gd name="connsiteX17" fmla="*/ 396723 w 1216374"/>
                    <a:gd name="connsiteY17" fmla="*/ 775694 h 2405528"/>
                    <a:gd name="connsiteX18" fmla="*/ 391127 w 1216374"/>
                    <a:gd name="connsiteY18" fmla="*/ 1134313 h 2405528"/>
                    <a:gd name="connsiteX19" fmla="*/ 618319 w 1216374"/>
                    <a:gd name="connsiteY19" fmla="*/ 9542 h 2405528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682907 w 1216374"/>
                    <a:gd name="connsiteY3" fmla="*/ 16878 h 2397075"/>
                    <a:gd name="connsiteX4" fmla="*/ 792228 w 1216374"/>
                    <a:gd name="connsiteY4" fmla="*/ 361241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829211 w 1216374"/>
                    <a:gd name="connsiteY3" fmla="*/ 176898 h 2397075"/>
                    <a:gd name="connsiteX4" fmla="*/ 792228 w 1216374"/>
                    <a:gd name="connsiteY4" fmla="*/ 361241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92228 w 1216374"/>
                    <a:gd name="connsiteY3" fmla="*/ 361241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92228 w 1216374"/>
                    <a:gd name="connsiteY3" fmla="*/ 361241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66349 w 1216374"/>
                    <a:gd name="connsiteY4" fmla="*/ 1128992 h 2397075"/>
                    <a:gd name="connsiteX5" fmla="*/ 1042394 w 1216374"/>
                    <a:gd name="connsiteY5" fmla="*/ 809815 h 2397075"/>
                    <a:gd name="connsiteX6" fmla="*/ 1214922 w 1216374"/>
                    <a:gd name="connsiteY6" fmla="*/ 956464 h 2397075"/>
                    <a:gd name="connsiteX7" fmla="*/ 956130 w 1216374"/>
                    <a:gd name="connsiteY7" fmla="*/ 1620698 h 2397075"/>
                    <a:gd name="connsiteX8" fmla="*/ 705964 w 1216374"/>
                    <a:gd name="connsiteY8" fmla="*/ 1879491 h 2397075"/>
                    <a:gd name="connsiteX9" fmla="*/ 662832 w 1216374"/>
                    <a:gd name="connsiteY9" fmla="*/ 2397075 h 2397075"/>
                    <a:gd name="connsiteX10" fmla="*/ 145247 w 1216374"/>
                    <a:gd name="connsiteY10" fmla="*/ 2362570 h 2397075"/>
                    <a:gd name="connsiteX11" fmla="*/ 162500 w 1216374"/>
                    <a:gd name="connsiteY11" fmla="*/ 1965755 h 2397075"/>
                    <a:gd name="connsiteX12" fmla="*/ 668 w 1216374"/>
                    <a:gd name="connsiteY12" fmla="*/ 1085170 h 2397075"/>
                    <a:gd name="connsiteX13" fmla="*/ 222867 w 1216374"/>
                    <a:gd name="connsiteY13" fmla="*/ 423020 h 2397075"/>
                    <a:gd name="connsiteX14" fmla="*/ 168460 w 1216374"/>
                    <a:gd name="connsiteY14" fmla="*/ 1144148 h 2397075"/>
                    <a:gd name="connsiteX15" fmla="*/ 408310 w 1216374"/>
                    <a:gd name="connsiteY15" fmla="*/ 202137 h 2397075"/>
                    <a:gd name="connsiteX16" fmla="*/ 396723 w 1216374"/>
                    <a:gd name="connsiteY16" fmla="*/ 767241 h 2397075"/>
                    <a:gd name="connsiteX17" fmla="*/ 391127 w 1216374"/>
                    <a:gd name="connsiteY17" fmla="*/ 1125860 h 2397075"/>
                    <a:gd name="connsiteX18" fmla="*/ 618319 w 1216374"/>
                    <a:gd name="connsiteY18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766349 w 1216374"/>
                    <a:gd name="connsiteY5" fmla="*/ 112899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07497 w 1216374"/>
                    <a:gd name="connsiteY5" fmla="*/ 1220432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18586 w 1216374"/>
                    <a:gd name="connsiteY2" fmla="*/ 1144148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39501 w 1216374"/>
                    <a:gd name="connsiteY5" fmla="*/ 1160996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1089 h 2397075"/>
                    <a:gd name="connsiteX1" fmla="*/ 596750 w 1216374"/>
                    <a:gd name="connsiteY1" fmla="*/ 620937 h 2397075"/>
                    <a:gd name="connsiteX2" fmla="*/ 600298 w 1216374"/>
                    <a:gd name="connsiteY2" fmla="*/ 1084712 h 2397075"/>
                    <a:gd name="connsiteX3" fmla="*/ 760224 w 1216374"/>
                    <a:gd name="connsiteY3" fmla="*/ 187505 h 2397075"/>
                    <a:gd name="connsiteX4" fmla="*/ 794557 w 1216374"/>
                    <a:gd name="connsiteY4" fmla="*/ 664806 h 2397075"/>
                    <a:gd name="connsiteX5" fmla="*/ 839501 w 1216374"/>
                    <a:gd name="connsiteY5" fmla="*/ 1160996 h 2397075"/>
                    <a:gd name="connsiteX6" fmla="*/ 1042394 w 1216374"/>
                    <a:gd name="connsiteY6" fmla="*/ 809815 h 2397075"/>
                    <a:gd name="connsiteX7" fmla="*/ 1214922 w 1216374"/>
                    <a:gd name="connsiteY7" fmla="*/ 956464 h 2397075"/>
                    <a:gd name="connsiteX8" fmla="*/ 956130 w 1216374"/>
                    <a:gd name="connsiteY8" fmla="*/ 1620698 h 2397075"/>
                    <a:gd name="connsiteX9" fmla="*/ 705964 w 1216374"/>
                    <a:gd name="connsiteY9" fmla="*/ 1879491 h 2397075"/>
                    <a:gd name="connsiteX10" fmla="*/ 662832 w 1216374"/>
                    <a:gd name="connsiteY10" fmla="*/ 2397075 h 2397075"/>
                    <a:gd name="connsiteX11" fmla="*/ 145247 w 1216374"/>
                    <a:gd name="connsiteY11" fmla="*/ 2362570 h 2397075"/>
                    <a:gd name="connsiteX12" fmla="*/ 162500 w 1216374"/>
                    <a:gd name="connsiteY12" fmla="*/ 1965755 h 2397075"/>
                    <a:gd name="connsiteX13" fmla="*/ 668 w 1216374"/>
                    <a:gd name="connsiteY13" fmla="*/ 1085170 h 2397075"/>
                    <a:gd name="connsiteX14" fmla="*/ 222867 w 1216374"/>
                    <a:gd name="connsiteY14" fmla="*/ 423020 h 2397075"/>
                    <a:gd name="connsiteX15" fmla="*/ 168460 w 1216374"/>
                    <a:gd name="connsiteY15" fmla="*/ 1144148 h 2397075"/>
                    <a:gd name="connsiteX16" fmla="*/ 408310 w 1216374"/>
                    <a:gd name="connsiteY16" fmla="*/ 202137 h 2397075"/>
                    <a:gd name="connsiteX17" fmla="*/ 396723 w 1216374"/>
                    <a:gd name="connsiteY17" fmla="*/ 767241 h 2397075"/>
                    <a:gd name="connsiteX18" fmla="*/ 391127 w 1216374"/>
                    <a:gd name="connsiteY18" fmla="*/ 1125860 h 2397075"/>
                    <a:gd name="connsiteX19" fmla="*/ 618319 w 1216374"/>
                    <a:gd name="connsiteY19" fmla="*/ 1089 h 2397075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68460 w 1216374"/>
                    <a:gd name="connsiteY15" fmla="*/ 1144039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68460 w 1216374"/>
                    <a:gd name="connsiteY15" fmla="*/ 1144039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91320 w 1216374"/>
                    <a:gd name="connsiteY15" fmla="*/ 1107463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618319 w 1216374"/>
                    <a:gd name="connsiteY0" fmla="*/ 980 h 2396966"/>
                    <a:gd name="connsiteX1" fmla="*/ 596750 w 1216374"/>
                    <a:gd name="connsiteY1" fmla="*/ 620828 h 2396966"/>
                    <a:gd name="connsiteX2" fmla="*/ 600298 w 1216374"/>
                    <a:gd name="connsiteY2" fmla="*/ 1084603 h 2396966"/>
                    <a:gd name="connsiteX3" fmla="*/ 760224 w 1216374"/>
                    <a:gd name="connsiteY3" fmla="*/ 187396 h 2396966"/>
                    <a:gd name="connsiteX4" fmla="*/ 794557 w 1216374"/>
                    <a:gd name="connsiteY4" fmla="*/ 664697 h 2396966"/>
                    <a:gd name="connsiteX5" fmla="*/ 839501 w 1216374"/>
                    <a:gd name="connsiteY5" fmla="*/ 1160887 h 2396966"/>
                    <a:gd name="connsiteX6" fmla="*/ 1042394 w 1216374"/>
                    <a:gd name="connsiteY6" fmla="*/ 809706 h 2396966"/>
                    <a:gd name="connsiteX7" fmla="*/ 1214922 w 1216374"/>
                    <a:gd name="connsiteY7" fmla="*/ 956355 h 2396966"/>
                    <a:gd name="connsiteX8" fmla="*/ 956130 w 1216374"/>
                    <a:gd name="connsiteY8" fmla="*/ 1620589 h 2396966"/>
                    <a:gd name="connsiteX9" fmla="*/ 705964 w 1216374"/>
                    <a:gd name="connsiteY9" fmla="*/ 1879382 h 2396966"/>
                    <a:gd name="connsiteX10" fmla="*/ 662832 w 1216374"/>
                    <a:gd name="connsiteY10" fmla="*/ 2396966 h 2396966"/>
                    <a:gd name="connsiteX11" fmla="*/ 145247 w 1216374"/>
                    <a:gd name="connsiteY11" fmla="*/ 2362461 h 2396966"/>
                    <a:gd name="connsiteX12" fmla="*/ 162500 w 1216374"/>
                    <a:gd name="connsiteY12" fmla="*/ 1965646 h 2396966"/>
                    <a:gd name="connsiteX13" fmla="*/ 668 w 1216374"/>
                    <a:gd name="connsiteY13" fmla="*/ 1085061 h 2396966"/>
                    <a:gd name="connsiteX14" fmla="*/ 222867 w 1216374"/>
                    <a:gd name="connsiteY14" fmla="*/ 422911 h 2396966"/>
                    <a:gd name="connsiteX15" fmla="*/ 191320 w 1216374"/>
                    <a:gd name="connsiteY15" fmla="*/ 1107463 h 2396966"/>
                    <a:gd name="connsiteX16" fmla="*/ 408310 w 1216374"/>
                    <a:gd name="connsiteY16" fmla="*/ 202028 h 2396966"/>
                    <a:gd name="connsiteX17" fmla="*/ 396723 w 1216374"/>
                    <a:gd name="connsiteY17" fmla="*/ 767132 h 2396966"/>
                    <a:gd name="connsiteX18" fmla="*/ 391127 w 1216374"/>
                    <a:gd name="connsiteY18" fmla="*/ 1125751 h 2396966"/>
                    <a:gd name="connsiteX19" fmla="*/ 618319 w 121637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94221 w 1171094"/>
                    <a:gd name="connsiteY5" fmla="*/ 1160887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39357 w 1171094"/>
                    <a:gd name="connsiteY5" fmla="*/ 1211179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171094"/>
                    <a:gd name="connsiteY0" fmla="*/ 980 h 2396966"/>
                    <a:gd name="connsiteX1" fmla="*/ 551470 w 1171094"/>
                    <a:gd name="connsiteY1" fmla="*/ 620828 h 2396966"/>
                    <a:gd name="connsiteX2" fmla="*/ 555018 w 1171094"/>
                    <a:gd name="connsiteY2" fmla="*/ 1084603 h 2396966"/>
                    <a:gd name="connsiteX3" fmla="*/ 714944 w 1171094"/>
                    <a:gd name="connsiteY3" fmla="*/ 187396 h 2396966"/>
                    <a:gd name="connsiteX4" fmla="*/ 749277 w 1171094"/>
                    <a:gd name="connsiteY4" fmla="*/ 664697 h 2396966"/>
                    <a:gd name="connsiteX5" fmla="*/ 739357 w 1171094"/>
                    <a:gd name="connsiteY5" fmla="*/ 1211179 h 2396966"/>
                    <a:gd name="connsiteX6" fmla="*/ 997114 w 1171094"/>
                    <a:gd name="connsiteY6" fmla="*/ 809706 h 2396966"/>
                    <a:gd name="connsiteX7" fmla="*/ 1169642 w 1171094"/>
                    <a:gd name="connsiteY7" fmla="*/ 956355 h 2396966"/>
                    <a:gd name="connsiteX8" fmla="*/ 910850 w 1171094"/>
                    <a:gd name="connsiteY8" fmla="*/ 1620589 h 2396966"/>
                    <a:gd name="connsiteX9" fmla="*/ 660684 w 1171094"/>
                    <a:gd name="connsiteY9" fmla="*/ 1879382 h 2396966"/>
                    <a:gd name="connsiteX10" fmla="*/ 617552 w 1171094"/>
                    <a:gd name="connsiteY10" fmla="*/ 2396966 h 2396966"/>
                    <a:gd name="connsiteX11" fmla="*/ 99967 w 1171094"/>
                    <a:gd name="connsiteY11" fmla="*/ 2362461 h 2396966"/>
                    <a:gd name="connsiteX12" fmla="*/ 117220 w 1171094"/>
                    <a:gd name="connsiteY12" fmla="*/ 1965646 h 2396966"/>
                    <a:gd name="connsiteX13" fmla="*/ 1108 w 1171094"/>
                    <a:gd name="connsiteY13" fmla="*/ 1107921 h 2396966"/>
                    <a:gd name="connsiteX14" fmla="*/ 177587 w 1171094"/>
                    <a:gd name="connsiteY14" fmla="*/ 422911 h 2396966"/>
                    <a:gd name="connsiteX15" fmla="*/ 146040 w 1171094"/>
                    <a:gd name="connsiteY15" fmla="*/ 1107463 h 2396966"/>
                    <a:gd name="connsiteX16" fmla="*/ 363030 w 1171094"/>
                    <a:gd name="connsiteY16" fmla="*/ 202028 h 2396966"/>
                    <a:gd name="connsiteX17" fmla="*/ 351443 w 1171094"/>
                    <a:gd name="connsiteY17" fmla="*/ 767132 h 2396966"/>
                    <a:gd name="connsiteX18" fmla="*/ 345847 w 1171094"/>
                    <a:gd name="connsiteY18" fmla="*/ 1125751 h 2396966"/>
                    <a:gd name="connsiteX19" fmla="*/ 573039 w 1171094"/>
                    <a:gd name="connsiteY19" fmla="*/ 980 h 2396966"/>
                    <a:gd name="connsiteX0" fmla="*/ 573039 w 1070626"/>
                    <a:gd name="connsiteY0" fmla="*/ 980 h 2396966"/>
                    <a:gd name="connsiteX1" fmla="*/ 551470 w 1070626"/>
                    <a:gd name="connsiteY1" fmla="*/ 620828 h 2396966"/>
                    <a:gd name="connsiteX2" fmla="*/ 555018 w 1070626"/>
                    <a:gd name="connsiteY2" fmla="*/ 1084603 h 2396966"/>
                    <a:gd name="connsiteX3" fmla="*/ 714944 w 1070626"/>
                    <a:gd name="connsiteY3" fmla="*/ 187396 h 2396966"/>
                    <a:gd name="connsiteX4" fmla="*/ 749277 w 1070626"/>
                    <a:gd name="connsiteY4" fmla="*/ 664697 h 2396966"/>
                    <a:gd name="connsiteX5" fmla="*/ 739357 w 1070626"/>
                    <a:gd name="connsiteY5" fmla="*/ 1211179 h 2396966"/>
                    <a:gd name="connsiteX6" fmla="*/ 997114 w 1070626"/>
                    <a:gd name="connsiteY6" fmla="*/ 809706 h 2396966"/>
                    <a:gd name="connsiteX7" fmla="*/ 1059914 w 1070626"/>
                    <a:gd name="connsiteY7" fmla="*/ 1075227 h 2396966"/>
                    <a:gd name="connsiteX8" fmla="*/ 910850 w 1070626"/>
                    <a:gd name="connsiteY8" fmla="*/ 1620589 h 2396966"/>
                    <a:gd name="connsiteX9" fmla="*/ 660684 w 1070626"/>
                    <a:gd name="connsiteY9" fmla="*/ 1879382 h 2396966"/>
                    <a:gd name="connsiteX10" fmla="*/ 617552 w 1070626"/>
                    <a:gd name="connsiteY10" fmla="*/ 2396966 h 2396966"/>
                    <a:gd name="connsiteX11" fmla="*/ 99967 w 1070626"/>
                    <a:gd name="connsiteY11" fmla="*/ 2362461 h 2396966"/>
                    <a:gd name="connsiteX12" fmla="*/ 117220 w 1070626"/>
                    <a:gd name="connsiteY12" fmla="*/ 1965646 h 2396966"/>
                    <a:gd name="connsiteX13" fmla="*/ 1108 w 1070626"/>
                    <a:gd name="connsiteY13" fmla="*/ 1107921 h 2396966"/>
                    <a:gd name="connsiteX14" fmla="*/ 177587 w 1070626"/>
                    <a:gd name="connsiteY14" fmla="*/ 422911 h 2396966"/>
                    <a:gd name="connsiteX15" fmla="*/ 146040 w 1070626"/>
                    <a:gd name="connsiteY15" fmla="*/ 1107463 h 2396966"/>
                    <a:gd name="connsiteX16" fmla="*/ 363030 w 1070626"/>
                    <a:gd name="connsiteY16" fmla="*/ 202028 h 2396966"/>
                    <a:gd name="connsiteX17" fmla="*/ 351443 w 1070626"/>
                    <a:gd name="connsiteY17" fmla="*/ 767132 h 2396966"/>
                    <a:gd name="connsiteX18" fmla="*/ 345847 w 1070626"/>
                    <a:gd name="connsiteY18" fmla="*/ 1125751 h 2396966"/>
                    <a:gd name="connsiteX19" fmla="*/ 573039 w 1070626"/>
                    <a:gd name="connsiteY19" fmla="*/ 980 h 2396966"/>
                    <a:gd name="connsiteX0" fmla="*/ 573039 w 1070626"/>
                    <a:gd name="connsiteY0" fmla="*/ 980 h 2396966"/>
                    <a:gd name="connsiteX1" fmla="*/ 551470 w 1070626"/>
                    <a:gd name="connsiteY1" fmla="*/ 620828 h 2396966"/>
                    <a:gd name="connsiteX2" fmla="*/ 555018 w 1070626"/>
                    <a:gd name="connsiteY2" fmla="*/ 1084603 h 2396966"/>
                    <a:gd name="connsiteX3" fmla="*/ 714944 w 1070626"/>
                    <a:gd name="connsiteY3" fmla="*/ 187396 h 2396966"/>
                    <a:gd name="connsiteX4" fmla="*/ 749277 w 1070626"/>
                    <a:gd name="connsiteY4" fmla="*/ 664697 h 2396966"/>
                    <a:gd name="connsiteX5" fmla="*/ 739357 w 1070626"/>
                    <a:gd name="connsiteY5" fmla="*/ 1211179 h 2396966"/>
                    <a:gd name="connsiteX6" fmla="*/ 997114 w 1070626"/>
                    <a:gd name="connsiteY6" fmla="*/ 809706 h 2396966"/>
                    <a:gd name="connsiteX7" fmla="*/ 1059914 w 1070626"/>
                    <a:gd name="connsiteY7" fmla="*/ 1075227 h 2396966"/>
                    <a:gd name="connsiteX8" fmla="*/ 910850 w 1070626"/>
                    <a:gd name="connsiteY8" fmla="*/ 1620589 h 2396966"/>
                    <a:gd name="connsiteX9" fmla="*/ 660684 w 1070626"/>
                    <a:gd name="connsiteY9" fmla="*/ 1879382 h 2396966"/>
                    <a:gd name="connsiteX10" fmla="*/ 617552 w 1070626"/>
                    <a:gd name="connsiteY10" fmla="*/ 2396966 h 2396966"/>
                    <a:gd name="connsiteX11" fmla="*/ 99967 w 1070626"/>
                    <a:gd name="connsiteY11" fmla="*/ 2362461 h 2396966"/>
                    <a:gd name="connsiteX12" fmla="*/ 117220 w 1070626"/>
                    <a:gd name="connsiteY12" fmla="*/ 1965646 h 2396966"/>
                    <a:gd name="connsiteX13" fmla="*/ 1108 w 1070626"/>
                    <a:gd name="connsiteY13" fmla="*/ 1107921 h 2396966"/>
                    <a:gd name="connsiteX14" fmla="*/ 177587 w 1070626"/>
                    <a:gd name="connsiteY14" fmla="*/ 422911 h 2396966"/>
                    <a:gd name="connsiteX15" fmla="*/ 146040 w 1070626"/>
                    <a:gd name="connsiteY15" fmla="*/ 1107463 h 2396966"/>
                    <a:gd name="connsiteX16" fmla="*/ 363030 w 1070626"/>
                    <a:gd name="connsiteY16" fmla="*/ 202028 h 2396966"/>
                    <a:gd name="connsiteX17" fmla="*/ 351443 w 1070626"/>
                    <a:gd name="connsiteY17" fmla="*/ 767132 h 2396966"/>
                    <a:gd name="connsiteX18" fmla="*/ 345847 w 1070626"/>
                    <a:gd name="connsiteY18" fmla="*/ 1125751 h 2396966"/>
                    <a:gd name="connsiteX19" fmla="*/ 573039 w 1070626"/>
                    <a:gd name="connsiteY19" fmla="*/ 980 h 2396966"/>
                    <a:gd name="connsiteX0" fmla="*/ 573039 w 1063469"/>
                    <a:gd name="connsiteY0" fmla="*/ 980 h 2396966"/>
                    <a:gd name="connsiteX1" fmla="*/ 551470 w 1063469"/>
                    <a:gd name="connsiteY1" fmla="*/ 620828 h 2396966"/>
                    <a:gd name="connsiteX2" fmla="*/ 555018 w 1063469"/>
                    <a:gd name="connsiteY2" fmla="*/ 1084603 h 2396966"/>
                    <a:gd name="connsiteX3" fmla="*/ 714944 w 1063469"/>
                    <a:gd name="connsiteY3" fmla="*/ 187396 h 2396966"/>
                    <a:gd name="connsiteX4" fmla="*/ 749277 w 1063469"/>
                    <a:gd name="connsiteY4" fmla="*/ 664697 h 2396966"/>
                    <a:gd name="connsiteX5" fmla="*/ 739357 w 1063469"/>
                    <a:gd name="connsiteY5" fmla="*/ 1211179 h 2396966"/>
                    <a:gd name="connsiteX6" fmla="*/ 997114 w 1063469"/>
                    <a:gd name="connsiteY6" fmla="*/ 809706 h 2396966"/>
                    <a:gd name="connsiteX7" fmla="*/ 1059914 w 1063469"/>
                    <a:gd name="connsiteY7" fmla="*/ 1075227 h 2396966"/>
                    <a:gd name="connsiteX8" fmla="*/ 910850 w 1063469"/>
                    <a:gd name="connsiteY8" fmla="*/ 1620589 h 2396966"/>
                    <a:gd name="connsiteX9" fmla="*/ 660684 w 1063469"/>
                    <a:gd name="connsiteY9" fmla="*/ 1879382 h 2396966"/>
                    <a:gd name="connsiteX10" fmla="*/ 617552 w 1063469"/>
                    <a:gd name="connsiteY10" fmla="*/ 2396966 h 2396966"/>
                    <a:gd name="connsiteX11" fmla="*/ 99967 w 1063469"/>
                    <a:gd name="connsiteY11" fmla="*/ 2362461 h 2396966"/>
                    <a:gd name="connsiteX12" fmla="*/ 117220 w 1063469"/>
                    <a:gd name="connsiteY12" fmla="*/ 1965646 h 2396966"/>
                    <a:gd name="connsiteX13" fmla="*/ 1108 w 1063469"/>
                    <a:gd name="connsiteY13" fmla="*/ 1107921 h 2396966"/>
                    <a:gd name="connsiteX14" fmla="*/ 177587 w 1063469"/>
                    <a:gd name="connsiteY14" fmla="*/ 422911 h 2396966"/>
                    <a:gd name="connsiteX15" fmla="*/ 146040 w 1063469"/>
                    <a:gd name="connsiteY15" fmla="*/ 1107463 h 2396966"/>
                    <a:gd name="connsiteX16" fmla="*/ 363030 w 1063469"/>
                    <a:gd name="connsiteY16" fmla="*/ 202028 h 2396966"/>
                    <a:gd name="connsiteX17" fmla="*/ 351443 w 1063469"/>
                    <a:gd name="connsiteY17" fmla="*/ 767132 h 2396966"/>
                    <a:gd name="connsiteX18" fmla="*/ 345847 w 1063469"/>
                    <a:gd name="connsiteY18" fmla="*/ 1125751 h 2396966"/>
                    <a:gd name="connsiteX19" fmla="*/ 573039 w 1063469"/>
                    <a:gd name="connsiteY19" fmla="*/ 980 h 2396966"/>
                    <a:gd name="connsiteX0" fmla="*/ 573039 w 1107849"/>
                    <a:gd name="connsiteY0" fmla="*/ 980 h 2396966"/>
                    <a:gd name="connsiteX1" fmla="*/ 551470 w 1107849"/>
                    <a:gd name="connsiteY1" fmla="*/ 620828 h 2396966"/>
                    <a:gd name="connsiteX2" fmla="*/ 555018 w 1107849"/>
                    <a:gd name="connsiteY2" fmla="*/ 1084603 h 2396966"/>
                    <a:gd name="connsiteX3" fmla="*/ 714944 w 1107849"/>
                    <a:gd name="connsiteY3" fmla="*/ 187396 h 2396966"/>
                    <a:gd name="connsiteX4" fmla="*/ 749277 w 1107849"/>
                    <a:gd name="connsiteY4" fmla="*/ 664697 h 2396966"/>
                    <a:gd name="connsiteX5" fmla="*/ 739357 w 1107849"/>
                    <a:gd name="connsiteY5" fmla="*/ 1211179 h 2396966"/>
                    <a:gd name="connsiteX6" fmla="*/ 997114 w 1107849"/>
                    <a:gd name="connsiteY6" fmla="*/ 809706 h 2396966"/>
                    <a:gd name="connsiteX7" fmla="*/ 1059914 w 1107849"/>
                    <a:gd name="connsiteY7" fmla="*/ 1075227 h 2396966"/>
                    <a:gd name="connsiteX8" fmla="*/ 910850 w 1107849"/>
                    <a:gd name="connsiteY8" fmla="*/ 1620589 h 2396966"/>
                    <a:gd name="connsiteX9" fmla="*/ 660684 w 1107849"/>
                    <a:gd name="connsiteY9" fmla="*/ 1879382 h 2396966"/>
                    <a:gd name="connsiteX10" fmla="*/ 617552 w 1107849"/>
                    <a:gd name="connsiteY10" fmla="*/ 2396966 h 2396966"/>
                    <a:gd name="connsiteX11" fmla="*/ 99967 w 1107849"/>
                    <a:gd name="connsiteY11" fmla="*/ 2362461 h 2396966"/>
                    <a:gd name="connsiteX12" fmla="*/ 117220 w 1107849"/>
                    <a:gd name="connsiteY12" fmla="*/ 1965646 h 2396966"/>
                    <a:gd name="connsiteX13" fmla="*/ 1108 w 1107849"/>
                    <a:gd name="connsiteY13" fmla="*/ 1107921 h 2396966"/>
                    <a:gd name="connsiteX14" fmla="*/ 177587 w 1107849"/>
                    <a:gd name="connsiteY14" fmla="*/ 422911 h 2396966"/>
                    <a:gd name="connsiteX15" fmla="*/ 146040 w 1107849"/>
                    <a:gd name="connsiteY15" fmla="*/ 1107463 h 2396966"/>
                    <a:gd name="connsiteX16" fmla="*/ 363030 w 1107849"/>
                    <a:gd name="connsiteY16" fmla="*/ 202028 h 2396966"/>
                    <a:gd name="connsiteX17" fmla="*/ 351443 w 1107849"/>
                    <a:gd name="connsiteY17" fmla="*/ 767132 h 2396966"/>
                    <a:gd name="connsiteX18" fmla="*/ 345847 w 1107849"/>
                    <a:gd name="connsiteY18" fmla="*/ 1125751 h 2396966"/>
                    <a:gd name="connsiteX19" fmla="*/ 573039 w 1107849"/>
                    <a:gd name="connsiteY19" fmla="*/ 980 h 2396966"/>
                    <a:gd name="connsiteX0" fmla="*/ 573039 w 1152756"/>
                    <a:gd name="connsiteY0" fmla="*/ 980 h 2396966"/>
                    <a:gd name="connsiteX1" fmla="*/ 551470 w 1152756"/>
                    <a:gd name="connsiteY1" fmla="*/ 620828 h 2396966"/>
                    <a:gd name="connsiteX2" fmla="*/ 555018 w 1152756"/>
                    <a:gd name="connsiteY2" fmla="*/ 1084603 h 2396966"/>
                    <a:gd name="connsiteX3" fmla="*/ 714944 w 1152756"/>
                    <a:gd name="connsiteY3" fmla="*/ 187396 h 2396966"/>
                    <a:gd name="connsiteX4" fmla="*/ 749277 w 1152756"/>
                    <a:gd name="connsiteY4" fmla="*/ 664697 h 2396966"/>
                    <a:gd name="connsiteX5" fmla="*/ 739357 w 1152756"/>
                    <a:gd name="connsiteY5" fmla="*/ 1211179 h 2396966"/>
                    <a:gd name="connsiteX6" fmla="*/ 997114 w 1152756"/>
                    <a:gd name="connsiteY6" fmla="*/ 809706 h 2396966"/>
                    <a:gd name="connsiteX7" fmla="*/ 1059914 w 1152756"/>
                    <a:gd name="connsiteY7" fmla="*/ 1075227 h 2396966"/>
                    <a:gd name="connsiteX8" fmla="*/ 910850 w 1152756"/>
                    <a:gd name="connsiteY8" fmla="*/ 1620589 h 2396966"/>
                    <a:gd name="connsiteX9" fmla="*/ 660684 w 1152756"/>
                    <a:gd name="connsiteY9" fmla="*/ 1879382 h 2396966"/>
                    <a:gd name="connsiteX10" fmla="*/ 617552 w 1152756"/>
                    <a:gd name="connsiteY10" fmla="*/ 2396966 h 2396966"/>
                    <a:gd name="connsiteX11" fmla="*/ 99967 w 1152756"/>
                    <a:gd name="connsiteY11" fmla="*/ 2362461 h 2396966"/>
                    <a:gd name="connsiteX12" fmla="*/ 117220 w 1152756"/>
                    <a:gd name="connsiteY12" fmla="*/ 1965646 h 2396966"/>
                    <a:gd name="connsiteX13" fmla="*/ 1108 w 1152756"/>
                    <a:gd name="connsiteY13" fmla="*/ 1107921 h 2396966"/>
                    <a:gd name="connsiteX14" fmla="*/ 177587 w 1152756"/>
                    <a:gd name="connsiteY14" fmla="*/ 422911 h 2396966"/>
                    <a:gd name="connsiteX15" fmla="*/ 146040 w 1152756"/>
                    <a:gd name="connsiteY15" fmla="*/ 1107463 h 2396966"/>
                    <a:gd name="connsiteX16" fmla="*/ 363030 w 1152756"/>
                    <a:gd name="connsiteY16" fmla="*/ 202028 h 2396966"/>
                    <a:gd name="connsiteX17" fmla="*/ 351443 w 1152756"/>
                    <a:gd name="connsiteY17" fmla="*/ 767132 h 2396966"/>
                    <a:gd name="connsiteX18" fmla="*/ 345847 w 1152756"/>
                    <a:gd name="connsiteY18" fmla="*/ 1125751 h 2396966"/>
                    <a:gd name="connsiteX19" fmla="*/ 573039 w 1152756"/>
                    <a:gd name="connsiteY19" fmla="*/ 980 h 2396966"/>
                    <a:gd name="connsiteX0" fmla="*/ 573039 w 1152756"/>
                    <a:gd name="connsiteY0" fmla="*/ 980 h 2396966"/>
                    <a:gd name="connsiteX1" fmla="*/ 551470 w 1152756"/>
                    <a:gd name="connsiteY1" fmla="*/ 620828 h 2396966"/>
                    <a:gd name="connsiteX2" fmla="*/ 555018 w 1152756"/>
                    <a:gd name="connsiteY2" fmla="*/ 1084603 h 2396966"/>
                    <a:gd name="connsiteX3" fmla="*/ 714944 w 1152756"/>
                    <a:gd name="connsiteY3" fmla="*/ 187396 h 2396966"/>
                    <a:gd name="connsiteX4" fmla="*/ 749277 w 1152756"/>
                    <a:gd name="connsiteY4" fmla="*/ 664697 h 2396966"/>
                    <a:gd name="connsiteX5" fmla="*/ 739357 w 1152756"/>
                    <a:gd name="connsiteY5" fmla="*/ 1211179 h 2396966"/>
                    <a:gd name="connsiteX6" fmla="*/ 997114 w 1152756"/>
                    <a:gd name="connsiteY6" fmla="*/ 809706 h 2396966"/>
                    <a:gd name="connsiteX7" fmla="*/ 1059914 w 1152756"/>
                    <a:gd name="connsiteY7" fmla="*/ 1075227 h 2396966"/>
                    <a:gd name="connsiteX8" fmla="*/ 910850 w 1152756"/>
                    <a:gd name="connsiteY8" fmla="*/ 1620589 h 2396966"/>
                    <a:gd name="connsiteX9" fmla="*/ 660684 w 1152756"/>
                    <a:gd name="connsiteY9" fmla="*/ 1879382 h 2396966"/>
                    <a:gd name="connsiteX10" fmla="*/ 617552 w 1152756"/>
                    <a:gd name="connsiteY10" fmla="*/ 2396966 h 2396966"/>
                    <a:gd name="connsiteX11" fmla="*/ 99967 w 1152756"/>
                    <a:gd name="connsiteY11" fmla="*/ 2362461 h 2396966"/>
                    <a:gd name="connsiteX12" fmla="*/ 117220 w 1152756"/>
                    <a:gd name="connsiteY12" fmla="*/ 1965646 h 2396966"/>
                    <a:gd name="connsiteX13" fmla="*/ 1108 w 1152756"/>
                    <a:gd name="connsiteY13" fmla="*/ 1107921 h 2396966"/>
                    <a:gd name="connsiteX14" fmla="*/ 177587 w 1152756"/>
                    <a:gd name="connsiteY14" fmla="*/ 422911 h 2396966"/>
                    <a:gd name="connsiteX15" fmla="*/ 146040 w 1152756"/>
                    <a:gd name="connsiteY15" fmla="*/ 1107463 h 2396966"/>
                    <a:gd name="connsiteX16" fmla="*/ 363030 w 1152756"/>
                    <a:gd name="connsiteY16" fmla="*/ 202028 h 2396966"/>
                    <a:gd name="connsiteX17" fmla="*/ 351443 w 1152756"/>
                    <a:gd name="connsiteY17" fmla="*/ 767132 h 2396966"/>
                    <a:gd name="connsiteX18" fmla="*/ 345847 w 1152756"/>
                    <a:gd name="connsiteY18" fmla="*/ 1125751 h 2396966"/>
                    <a:gd name="connsiteX19" fmla="*/ 573039 w 1152756"/>
                    <a:gd name="connsiteY19" fmla="*/ 980 h 2396966"/>
                    <a:gd name="connsiteX0" fmla="*/ 573039 w 1219318"/>
                    <a:gd name="connsiteY0" fmla="*/ 980 h 2396966"/>
                    <a:gd name="connsiteX1" fmla="*/ 551470 w 1219318"/>
                    <a:gd name="connsiteY1" fmla="*/ 620828 h 2396966"/>
                    <a:gd name="connsiteX2" fmla="*/ 555018 w 1219318"/>
                    <a:gd name="connsiteY2" fmla="*/ 1084603 h 2396966"/>
                    <a:gd name="connsiteX3" fmla="*/ 714944 w 1219318"/>
                    <a:gd name="connsiteY3" fmla="*/ 187396 h 2396966"/>
                    <a:gd name="connsiteX4" fmla="*/ 749277 w 1219318"/>
                    <a:gd name="connsiteY4" fmla="*/ 664697 h 2396966"/>
                    <a:gd name="connsiteX5" fmla="*/ 739357 w 1219318"/>
                    <a:gd name="connsiteY5" fmla="*/ 1211179 h 2396966"/>
                    <a:gd name="connsiteX6" fmla="*/ 1111414 w 1219318"/>
                    <a:gd name="connsiteY6" fmla="*/ 855426 h 2396966"/>
                    <a:gd name="connsiteX7" fmla="*/ 1059914 w 1219318"/>
                    <a:gd name="connsiteY7" fmla="*/ 1075227 h 2396966"/>
                    <a:gd name="connsiteX8" fmla="*/ 910850 w 1219318"/>
                    <a:gd name="connsiteY8" fmla="*/ 1620589 h 2396966"/>
                    <a:gd name="connsiteX9" fmla="*/ 660684 w 1219318"/>
                    <a:gd name="connsiteY9" fmla="*/ 1879382 h 2396966"/>
                    <a:gd name="connsiteX10" fmla="*/ 617552 w 1219318"/>
                    <a:gd name="connsiteY10" fmla="*/ 2396966 h 2396966"/>
                    <a:gd name="connsiteX11" fmla="*/ 99967 w 1219318"/>
                    <a:gd name="connsiteY11" fmla="*/ 2362461 h 2396966"/>
                    <a:gd name="connsiteX12" fmla="*/ 117220 w 1219318"/>
                    <a:gd name="connsiteY12" fmla="*/ 1965646 h 2396966"/>
                    <a:gd name="connsiteX13" fmla="*/ 1108 w 1219318"/>
                    <a:gd name="connsiteY13" fmla="*/ 1107921 h 2396966"/>
                    <a:gd name="connsiteX14" fmla="*/ 177587 w 1219318"/>
                    <a:gd name="connsiteY14" fmla="*/ 422911 h 2396966"/>
                    <a:gd name="connsiteX15" fmla="*/ 146040 w 1219318"/>
                    <a:gd name="connsiteY15" fmla="*/ 1107463 h 2396966"/>
                    <a:gd name="connsiteX16" fmla="*/ 363030 w 1219318"/>
                    <a:gd name="connsiteY16" fmla="*/ 202028 h 2396966"/>
                    <a:gd name="connsiteX17" fmla="*/ 351443 w 1219318"/>
                    <a:gd name="connsiteY17" fmla="*/ 767132 h 2396966"/>
                    <a:gd name="connsiteX18" fmla="*/ 345847 w 1219318"/>
                    <a:gd name="connsiteY18" fmla="*/ 1125751 h 2396966"/>
                    <a:gd name="connsiteX19" fmla="*/ 573039 w 1219318"/>
                    <a:gd name="connsiteY19" fmla="*/ 980 h 2396966"/>
                    <a:gd name="connsiteX0" fmla="*/ 573039 w 1219318"/>
                    <a:gd name="connsiteY0" fmla="*/ 980 h 2396966"/>
                    <a:gd name="connsiteX1" fmla="*/ 551470 w 1219318"/>
                    <a:gd name="connsiteY1" fmla="*/ 620828 h 2396966"/>
                    <a:gd name="connsiteX2" fmla="*/ 555018 w 1219318"/>
                    <a:gd name="connsiteY2" fmla="*/ 1084603 h 2396966"/>
                    <a:gd name="connsiteX3" fmla="*/ 714944 w 1219318"/>
                    <a:gd name="connsiteY3" fmla="*/ 187396 h 2396966"/>
                    <a:gd name="connsiteX4" fmla="*/ 749277 w 1219318"/>
                    <a:gd name="connsiteY4" fmla="*/ 664697 h 2396966"/>
                    <a:gd name="connsiteX5" fmla="*/ 739357 w 1219318"/>
                    <a:gd name="connsiteY5" fmla="*/ 1211179 h 2396966"/>
                    <a:gd name="connsiteX6" fmla="*/ 1111414 w 1219318"/>
                    <a:gd name="connsiteY6" fmla="*/ 855426 h 2396966"/>
                    <a:gd name="connsiteX7" fmla="*/ 1059914 w 1219318"/>
                    <a:gd name="connsiteY7" fmla="*/ 1075227 h 2396966"/>
                    <a:gd name="connsiteX8" fmla="*/ 910850 w 1219318"/>
                    <a:gd name="connsiteY8" fmla="*/ 1620589 h 2396966"/>
                    <a:gd name="connsiteX9" fmla="*/ 660684 w 1219318"/>
                    <a:gd name="connsiteY9" fmla="*/ 1879382 h 2396966"/>
                    <a:gd name="connsiteX10" fmla="*/ 617552 w 1219318"/>
                    <a:gd name="connsiteY10" fmla="*/ 2396966 h 2396966"/>
                    <a:gd name="connsiteX11" fmla="*/ 99967 w 1219318"/>
                    <a:gd name="connsiteY11" fmla="*/ 2362461 h 2396966"/>
                    <a:gd name="connsiteX12" fmla="*/ 117220 w 1219318"/>
                    <a:gd name="connsiteY12" fmla="*/ 1965646 h 2396966"/>
                    <a:gd name="connsiteX13" fmla="*/ 1108 w 1219318"/>
                    <a:gd name="connsiteY13" fmla="*/ 1107921 h 2396966"/>
                    <a:gd name="connsiteX14" fmla="*/ 177587 w 1219318"/>
                    <a:gd name="connsiteY14" fmla="*/ 422911 h 2396966"/>
                    <a:gd name="connsiteX15" fmla="*/ 146040 w 1219318"/>
                    <a:gd name="connsiteY15" fmla="*/ 1107463 h 2396966"/>
                    <a:gd name="connsiteX16" fmla="*/ 363030 w 1219318"/>
                    <a:gd name="connsiteY16" fmla="*/ 202028 h 2396966"/>
                    <a:gd name="connsiteX17" fmla="*/ 351443 w 1219318"/>
                    <a:gd name="connsiteY17" fmla="*/ 767132 h 2396966"/>
                    <a:gd name="connsiteX18" fmla="*/ 345847 w 1219318"/>
                    <a:gd name="connsiteY18" fmla="*/ 1125751 h 2396966"/>
                    <a:gd name="connsiteX19" fmla="*/ 573039 w 1219318"/>
                    <a:gd name="connsiteY19" fmla="*/ 980 h 2396966"/>
                    <a:gd name="connsiteX0" fmla="*/ 573039 w 1141076"/>
                    <a:gd name="connsiteY0" fmla="*/ 980 h 2396966"/>
                    <a:gd name="connsiteX1" fmla="*/ 551470 w 1141076"/>
                    <a:gd name="connsiteY1" fmla="*/ 620828 h 2396966"/>
                    <a:gd name="connsiteX2" fmla="*/ 555018 w 1141076"/>
                    <a:gd name="connsiteY2" fmla="*/ 1084603 h 2396966"/>
                    <a:gd name="connsiteX3" fmla="*/ 714944 w 1141076"/>
                    <a:gd name="connsiteY3" fmla="*/ 187396 h 2396966"/>
                    <a:gd name="connsiteX4" fmla="*/ 749277 w 1141076"/>
                    <a:gd name="connsiteY4" fmla="*/ 664697 h 2396966"/>
                    <a:gd name="connsiteX5" fmla="*/ 739357 w 1141076"/>
                    <a:gd name="connsiteY5" fmla="*/ 1211179 h 2396966"/>
                    <a:gd name="connsiteX6" fmla="*/ 1111414 w 1141076"/>
                    <a:gd name="connsiteY6" fmla="*/ 855426 h 2396966"/>
                    <a:gd name="connsiteX7" fmla="*/ 1059914 w 1141076"/>
                    <a:gd name="connsiteY7" fmla="*/ 1075227 h 2396966"/>
                    <a:gd name="connsiteX8" fmla="*/ 910850 w 1141076"/>
                    <a:gd name="connsiteY8" fmla="*/ 1620589 h 2396966"/>
                    <a:gd name="connsiteX9" fmla="*/ 660684 w 1141076"/>
                    <a:gd name="connsiteY9" fmla="*/ 1879382 h 2396966"/>
                    <a:gd name="connsiteX10" fmla="*/ 617552 w 1141076"/>
                    <a:gd name="connsiteY10" fmla="*/ 2396966 h 2396966"/>
                    <a:gd name="connsiteX11" fmla="*/ 99967 w 1141076"/>
                    <a:gd name="connsiteY11" fmla="*/ 2362461 h 2396966"/>
                    <a:gd name="connsiteX12" fmla="*/ 117220 w 1141076"/>
                    <a:gd name="connsiteY12" fmla="*/ 1965646 h 2396966"/>
                    <a:gd name="connsiteX13" fmla="*/ 1108 w 1141076"/>
                    <a:gd name="connsiteY13" fmla="*/ 1107921 h 2396966"/>
                    <a:gd name="connsiteX14" fmla="*/ 177587 w 1141076"/>
                    <a:gd name="connsiteY14" fmla="*/ 422911 h 2396966"/>
                    <a:gd name="connsiteX15" fmla="*/ 146040 w 1141076"/>
                    <a:gd name="connsiteY15" fmla="*/ 1107463 h 2396966"/>
                    <a:gd name="connsiteX16" fmla="*/ 363030 w 1141076"/>
                    <a:gd name="connsiteY16" fmla="*/ 202028 h 2396966"/>
                    <a:gd name="connsiteX17" fmla="*/ 351443 w 1141076"/>
                    <a:gd name="connsiteY17" fmla="*/ 767132 h 2396966"/>
                    <a:gd name="connsiteX18" fmla="*/ 345847 w 1141076"/>
                    <a:gd name="connsiteY18" fmla="*/ 1125751 h 2396966"/>
                    <a:gd name="connsiteX19" fmla="*/ 573039 w 1141076"/>
                    <a:gd name="connsiteY19" fmla="*/ 980 h 2396966"/>
                    <a:gd name="connsiteX0" fmla="*/ 573039 w 1120753"/>
                    <a:gd name="connsiteY0" fmla="*/ 980 h 2396966"/>
                    <a:gd name="connsiteX1" fmla="*/ 551470 w 1120753"/>
                    <a:gd name="connsiteY1" fmla="*/ 620828 h 2396966"/>
                    <a:gd name="connsiteX2" fmla="*/ 555018 w 1120753"/>
                    <a:gd name="connsiteY2" fmla="*/ 1084603 h 2396966"/>
                    <a:gd name="connsiteX3" fmla="*/ 714944 w 1120753"/>
                    <a:gd name="connsiteY3" fmla="*/ 187396 h 2396966"/>
                    <a:gd name="connsiteX4" fmla="*/ 749277 w 1120753"/>
                    <a:gd name="connsiteY4" fmla="*/ 664697 h 2396966"/>
                    <a:gd name="connsiteX5" fmla="*/ 739357 w 1120753"/>
                    <a:gd name="connsiteY5" fmla="*/ 1211179 h 2396966"/>
                    <a:gd name="connsiteX6" fmla="*/ 1111414 w 1120753"/>
                    <a:gd name="connsiteY6" fmla="*/ 855426 h 2396966"/>
                    <a:gd name="connsiteX7" fmla="*/ 986762 w 1120753"/>
                    <a:gd name="connsiteY7" fmla="*/ 1290111 h 2396966"/>
                    <a:gd name="connsiteX8" fmla="*/ 910850 w 1120753"/>
                    <a:gd name="connsiteY8" fmla="*/ 1620589 h 2396966"/>
                    <a:gd name="connsiteX9" fmla="*/ 660684 w 1120753"/>
                    <a:gd name="connsiteY9" fmla="*/ 1879382 h 2396966"/>
                    <a:gd name="connsiteX10" fmla="*/ 617552 w 1120753"/>
                    <a:gd name="connsiteY10" fmla="*/ 2396966 h 2396966"/>
                    <a:gd name="connsiteX11" fmla="*/ 99967 w 1120753"/>
                    <a:gd name="connsiteY11" fmla="*/ 2362461 h 2396966"/>
                    <a:gd name="connsiteX12" fmla="*/ 117220 w 1120753"/>
                    <a:gd name="connsiteY12" fmla="*/ 1965646 h 2396966"/>
                    <a:gd name="connsiteX13" fmla="*/ 1108 w 1120753"/>
                    <a:gd name="connsiteY13" fmla="*/ 1107921 h 2396966"/>
                    <a:gd name="connsiteX14" fmla="*/ 177587 w 1120753"/>
                    <a:gd name="connsiteY14" fmla="*/ 422911 h 2396966"/>
                    <a:gd name="connsiteX15" fmla="*/ 146040 w 1120753"/>
                    <a:gd name="connsiteY15" fmla="*/ 1107463 h 2396966"/>
                    <a:gd name="connsiteX16" fmla="*/ 363030 w 1120753"/>
                    <a:gd name="connsiteY16" fmla="*/ 202028 h 2396966"/>
                    <a:gd name="connsiteX17" fmla="*/ 351443 w 1120753"/>
                    <a:gd name="connsiteY17" fmla="*/ 767132 h 2396966"/>
                    <a:gd name="connsiteX18" fmla="*/ 345847 w 1120753"/>
                    <a:gd name="connsiteY18" fmla="*/ 1125751 h 2396966"/>
                    <a:gd name="connsiteX19" fmla="*/ 573039 w 1120753"/>
                    <a:gd name="connsiteY19" fmla="*/ 980 h 2396966"/>
                    <a:gd name="connsiteX0" fmla="*/ 573039 w 1111414"/>
                    <a:gd name="connsiteY0" fmla="*/ 980 h 2396966"/>
                    <a:gd name="connsiteX1" fmla="*/ 551470 w 1111414"/>
                    <a:gd name="connsiteY1" fmla="*/ 620828 h 2396966"/>
                    <a:gd name="connsiteX2" fmla="*/ 555018 w 1111414"/>
                    <a:gd name="connsiteY2" fmla="*/ 1084603 h 2396966"/>
                    <a:gd name="connsiteX3" fmla="*/ 714944 w 1111414"/>
                    <a:gd name="connsiteY3" fmla="*/ 187396 h 2396966"/>
                    <a:gd name="connsiteX4" fmla="*/ 749277 w 1111414"/>
                    <a:gd name="connsiteY4" fmla="*/ 664697 h 2396966"/>
                    <a:gd name="connsiteX5" fmla="*/ 739357 w 1111414"/>
                    <a:gd name="connsiteY5" fmla="*/ 1211179 h 2396966"/>
                    <a:gd name="connsiteX6" fmla="*/ 1111414 w 1111414"/>
                    <a:gd name="connsiteY6" fmla="*/ 855426 h 2396966"/>
                    <a:gd name="connsiteX7" fmla="*/ 986762 w 1111414"/>
                    <a:gd name="connsiteY7" fmla="*/ 1290111 h 2396966"/>
                    <a:gd name="connsiteX8" fmla="*/ 910850 w 1111414"/>
                    <a:gd name="connsiteY8" fmla="*/ 1620589 h 2396966"/>
                    <a:gd name="connsiteX9" fmla="*/ 660684 w 1111414"/>
                    <a:gd name="connsiteY9" fmla="*/ 1879382 h 2396966"/>
                    <a:gd name="connsiteX10" fmla="*/ 617552 w 1111414"/>
                    <a:gd name="connsiteY10" fmla="*/ 2396966 h 2396966"/>
                    <a:gd name="connsiteX11" fmla="*/ 99967 w 1111414"/>
                    <a:gd name="connsiteY11" fmla="*/ 2362461 h 2396966"/>
                    <a:gd name="connsiteX12" fmla="*/ 117220 w 1111414"/>
                    <a:gd name="connsiteY12" fmla="*/ 1965646 h 2396966"/>
                    <a:gd name="connsiteX13" fmla="*/ 1108 w 1111414"/>
                    <a:gd name="connsiteY13" fmla="*/ 1107921 h 2396966"/>
                    <a:gd name="connsiteX14" fmla="*/ 177587 w 1111414"/>
                    <a:gd name="connsiteY14" fmla="*/ 422911 h 2396966"/>
                    <a:gd name="connsiteX15" fmla="*/ 146040 w 1111414"/>
                    <a:gd name="connsiteY15" fmla="*/ 1107463 h 2396966"/>
                    <a:gd name="connsiteX16" fmla="*/ 363030 w 1111414"/>
                    <a:gd name="connsiteY16" fmla="*/ 202028 h 2396966"/>
                    <a:gd name="connsiteX17" fmla="*/ 351443 w 1111414"/>
                    <a:gd name="connsiteY17" fmla="*/ 767132 h 2396966"/>
                    <a:gd name="connsiteX18" fmla="*/ 345847 w 1111414"/>
                    <a:gd name="connsiteY18" fmla="*/ 1125751 h 2396966"/>
                    <a:gd name="connsiteX19" fmla="*/ 573039 w 1111414"/>
                    <a:gd name="connsiteY19" fmla="*/ 980 h 2396966"/>
                    <a:gd name="connsiteX0" fmla="*/ 573039 w 1111414"/>
                    <a:gd name="connsiteY0" fmla="*/ 980 h 2396966"/>
                    <a:gd name="connsiteX1" fmla="*/ 551470 w 1111414"/>
                    <a:gd name="connsiteY1" fmla="*/ 620828 h 2396966"/>
                    <a:gd name="connsiteX2" fmla="*/ 555018 w 1111414"/>
                    <a:gd name="connsiteY2" fmla="*/ 1084603 h 2396966"/>
                    <a:gd name="connsiteX3" fmla="*/ 714944 w 1111414"/>
                    <a:gd name="connsiteY3" fmla="*/ 187396 h 2396966"/>
                    <a:gd name="connsiteX4" fmla="*/ 749277 w 1111414"/>
                    <a:gd name="connsiteY4" fmla="*/ 664697 h 2396966"/>
                    <a:gd name="connsiteX5" fmla="*/ 739357 w 1111414"/>
                    <a:gd name="connsiteY5" fmla="*/ 1211179 h 2396966"/>
                    <a:gd name="connsiteX6" fmla="*/ 1111414 w 1111414"/>
                    <a:gd name="connsiteY6" fmla="*/ 855426 h 2396966"/>
                    <a:gd name="connsiteX7" fmla="*/ 986762 w 1111414"/>
                    <a:gd name="connsiteY7" fmla="*/ 1290111 h 2396966"/>
                    <a:gd name="connsiteX8" fmla="*/ 910850 w 1111414"/>
                    <a:gd name="connsiteY8" fmla="*/ 1620589 h 2396966"/>
                    <a:gd name="connsiteX9" fmla="*/ 660684 w 1111414"/>
                    <a:gd name="connsiteY9" fmla="*/ 1879382 h 2396966"/>
                    <a:gd name="connsiteX10" fmla="*/ 617552 w 1111414"/>
                    <a:gd name="connsiteY10" fmla="*/ 2396966 h 2396966"/>
                    <a:gd name="connsiteX11" fmla="*/ 99967 w 1111414"/>
                    <a:gd name="connsiteY11" fmla="*/ 2362461 h 2396966"/>
                    <a:gd name="connsiteX12" fmla="*/ 117220 w 1111414"/>
                    <a:gd name="connsiteY12" fmla="*/ 1965646 h 2396966"/>
                    <a:gd name="connsiteX13" fmla="*/ 1108 w 1111414"/>
                    <a:gd name="connsiteY13" fmla="*/ 1107921 h 2396966"/>
                    <a:gd name="connsiteX14" fmla="*/ 177587 w 1111414"/>
                    <a:gd name="connsiteY14" fmla="*/ 422911 h 2396966"/>
                    <a:gd name="connsiteX15" fmla="*/ 146040 w 1111414"/>
                    <a:gd name="connsiteY15" fmla="*/ 1107463 h 2396966"/>
                    <a:gd name="connsiteX16" fmla="*/ 363030 w 1111414"/>
                    <a:gd name="connsiteY16" fmla="*/ 202028 h 2396966"/>
                    <a:gd name="connsiteX17" fmla="*/ 351443 w 1111414"/>
                    <a:gd name="connsiteY17" fmla="*/ 767132 h 2396966"/>
                    <a:gd name="connsiteX18" fmla="*/ 345847 w 1111414"/>
                    <a:gd name="connsiteY18" fmla="*/ 1125751 h 2396966"/>
                    <a:gd name="connsiteX19" fmla="*/ 573039 w 1111414"/>
                    <a:gd name="connsiteY19" fmla="*/ 980 h 2396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11414" h="2396966">
                      <a:moveTo>
                        <a:pt x="573039" y="980"/>
                      </a:moveTo>
                      <a:cubicBezTo>
                        <a:pt x="675890" y="40270"/>
                        <a:pt x="530090" y="411268"/>
                        <a:pt x="551470" y="620828"/>
                      </a:cubicBezTo>
                      <a:cubicBezTo>
                        <a:pt x="558749" y="795232"/>
                        <a:pt x="491196" y="1088262"/>
                        <a:pt x="555018" y="1084603"/>
                      </a:cubicBezTo>
                      <a:cubicBezTo>
                        <a:pt x="618840" y="1080944"/>
                        <a:pt x="649118" y="147234"/>
                        <a:pt x="714944" y="187396"/>
                      </a:cubicBezTo>
                      <a:cubicBezTo>
                        <a:pt x="825045" y="254572"/>
                        <a:pt x="748256" y="507783"/>
                        <a:pt x="749277" y="664697"/>
                      </a:cubicBezTo>
                      <a:cubicBezTo>
                        <a:pt x="750298" y="821611"/>
                        <a:pt x="679001" y="1179391"/>
                        <a:pt x="739357" y="1211179"/>
                      </a:cubicBezTo>
                      <a:cubicBezTo>
                        <a:pt x="799713" y="1242967"/>
                        <a:pt x="1019399" y="641778"/>
                        <a:pt x="1111414" y="855426"/>
                      </a:cubicBezTo>
                      <a:cubicBezTo>
                        <a:pt x="1061697" y="973062"/>
                        <a:pt x="996567" y="1077240"/>
                        <a:pt x="986762" y="1290111"/>
                      </a:cubicBezTo>
                      <a:cubicBezTo>
                        <a:pt x="937074" y="1471898"/>
                        <a:pt x="965196" y="1522377"/>
                        <a:pt x="910850" y="1620589"/>
                      </a:cubicBezTo>
                      <a:cubicBezTo>
                        <a:pt x="856504" y="1718801"/>
                        <a:pt x="709567" y="1749986"/>
                        <a:pt x="660684" y="1879382"/>
                      </a:cubicBezTo>
                      <a:lnTo>
                        <a:pt x="617552" y="2396966"/>
                      </a:lnTo>
                      <a:lnTo>
                        <a:pt x="99967" y="2362461"/>
                      </a:lnTo>
                      <a:lnTo>
                        <a:pt x="117220" y="1965646"/>
                      </a:lnTo>
                      <a:cubicBezTo>
                        <a:pt x="51084" y="1726982"/>
                        <a:pt x="-8953" y="1365043"/>
                        <a:pt x="1108" y="1107921"/>
                      </a:cubicBezTo>
                      <a:cubicBezTo>
                        <a:pt x="11169" y="850799"/>
                        <a:pt x="112284" y="354407"/>
                        <a:pt x="177587" y="422911"/>
                      </a:cubicBezTo>
                      <a:cubicBezTo>
                        <a:pt x="242890" y="491415"/>
                        <a:pt x="51125" y="975113"/>
                        <a:pt x="146040" y="1107463"/>
                      </a:cubicBezTo>
                      <a:cubicBezTo>
                        <a:pt x="240955" y="1239813"/>
                        <a:pt x="264788" y="149022"/>
                        <a:pt x="363030" y="202028"/>
                      </a:cubicBezTo>
                      <a:cubicBezTo>
                        <a:pt x="461272" y="255034"/>
                        <a:pt x="361165" y="559076"/>
                        <a:pt x="351443" y="767132"/>
                      </a:cubicBezTo>
                      <a:cubicBezTo>
                        <a:pt x="355674" y="892768"/>
                        <a:pt x="263194" y="1134571"/>
                        <a:pt x="345847" y="1125751"/>
                      </a:cubicBezTo>
                      <a:cubicBezTo>
                        <a:pt x="428500" y="1116931"/>
                        <a:pt x="470188" y="-38310"/>
                        <a:pt x="573039" y="980"/>
                      </a:cubicBez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535" name="Rounded Rectangle 1534"/>
                <p:cNvSpPr/>
                <p:nvPr/>
              </p:nvSpPr>
              <p:spPr>
                <a:xfrm rot="15102188">
                  <a:off x="6366776" y="2517960"/>
                  <a:ext cx="834013" cy="244948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516" name="Freeform 1515"/>
              <p:cNvSpPr/>
              <p:nvPr/>
            </p:nvSpPr>
            <p:spPr>
              <a:xfrm>
                <a:off x="7529611" y="1967345"/>
                <a:ext cx="20441" cy="1107468"/>
              </a:xfrm>
              <a:custGeom>
                <a:avLst/>
                <a:gdLst>
                  <a:gd name="connsiteX0" fmla="*/ 0 w 0"/>
                  <a:gd name="connsiteY0" fmla="*/ 0 h 1219200"/>
                  <a:gd name="connsiteX1" fmla="*/ 0 w 0"/>
                  <a:gd name="connsiteY1" fmla="*/ 1219200 h 1219200"/>
                  <a:gd name="connsiteX0" fmla="*/ 0 w 37176"/>
                  <a:gd name="connsiteY0" fmla="*/ 0 h 8355"/>
                  <a:gd name="connsiteX1" fmla="*/ 37176 w 37176"/>
                  <a:gd name="connsiteY1" fmla="*/ 8355 h 8355"/>
                  <a:gd name="connsiteX0" fmla="*/ 0 w 400"/>
                  <a:gd name="connsiteY0" fmla="*/ 0 h 11869"/>
                  <a:gd name="connsiteX1" fmla="*/ 400 w 400"/>
                  <a:gd name="connsiteY1" fmla="*/ 11869 h 11869"/>
                  <a:gd name="connsiteX0" fmla="*/ 0 w 35680"/>
                  <a:gd name="connsiteY0" fmla="*/ 0 h 10000"/>
                  <a:gd name="connsiteX1" fmla="*/ 10000 w 35680"/>
                  <a:gd name="connsiteY1" fmla="*/ 10000 h 10000"/>
                  <a:gd name="connsiteX0" fmla="*/ 2136 w 34306"/>
                  <a:gd name="connsiteY0" fmla="*/ 0 h 10000"/>
                  <a:gd name="connsiteX1" fmla="*/ 12136 w 34306"/>
                  <a:gd name="connsiteY1" fmla="*/ 10000 h 10000"/>
                  <a:gd name="connsiteX0" fmla="*/ 2262 w 30064"/>
                  <a:gd name="connsiteY0" fmla="*/ 0 h 9160"/>
                  <a:gd name="connsiteX1" fmla="*/ 6924 w 30064"/>
                  <a:gd name="connsiteY1" fmla="*/ 9160 h 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064" h="9160">
                    <a:moveTo>
                      <a:pt x="2262" y="0"/>
                    </a:moveTo>
                    <a:cubicBezTo>
                      <a:pt x="-14411" y="4851"/>
                      <a:pt x="68595" y="5124"/>
                      <a:pt x="6924" y="9160"/>
                    </a:cubicBezTo>
                  </a:path>
                </a:pathLst>
              </a:custGeom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20" name="Group 1519"/>
              <p:cNvGrpSpPr/>
              <p:nvPr/>
            </p:nvGrpSpPr>
            <p:grpSpPr>
              <a:xfrm>
                <a:off x="7116811" y="5518621"/>
                <a:ext cx="306003" cy="739038"/>
                <a:chOff x="800100" y="2269403"/>
                <a:chExt cx="717603" cy="1733106"/>
              </a:xfrm>
            </p:grpSpPr>
            <p:sp>
              <p:nvSpPr>
                <p:cNvPr id="1530" name="Freeform 1529"/>
                <p:cNvSpPr/>
                <p:nvPr/>
              </p:nvSpPr>
              <p:spPr>
                <a:xfrm>
                  <a:off x="800100" y="2538330"/>
                  <a:ext cx="712924" cy="1428749"/>
                </a:xfrm>
                <a:custGeom>
                  <a:avLst/>
                  <a:gdLst>
                    <a:gd name="connsiteX0" fmla="*/ 594360 w 685800"/>
                    <a:gd name="connsiteY0" fmla="*/ 1405890 h 1466850"/>
                    <a:gd name="connsiteX1" fmla="*/ 57150 w 685800"/>
                    <a:gd name="connsiteY1" fmla="*/ 1440180 h 1466850"/>
                    <a:gd name="connsiteX2" fmla="*/ 0 w 685800"/>
                    <a:gd name="connsiteY2" fmla="*/ 369570 h 1466850"/>
                    <a:gd name="connsiteX3" fmla="*/ 228600 w 685800"/>
                    <a:gd name="connsiteY3" fmla="*/ 0 h 1466850"/>
                    <a:gd name="connsiteX4" fmla="*/ 544830 w 685800"/>
                    <a:gd name="connsiteY4" fmla="*/ 548640 h 1466850"/>
                    <a:gd name="connsiteX5" fmla="*/ 666750 w 685800"/>
                    <a:gd name="connsiteY5" fmla="*/ 1101090 h 1466850"/>
                    <a:gd name="connsiteX6" fmla="*/ 681990 w 685800"/>
                    <a:gd name="connsiteY6" fmla="*/ 1245870 h 1466850"/>
                    <a:gd name="connsiteX7" fmla="*/ 685800 w 685800"/>
                    <a:gd name="connsiteY7" fmla="*/ 1466850 h 1466850"/>
                    <a:gd name="connsiteX8" fmla="*/ 594360 w 685800"/>
                    <a:gd name="connsiteY8" fmla="*/ 1405890 h 1466850"/>
                    <a:gd name="connsiteX0" fmla="*/ 594360 w 685800"/>
                    <a:gd name="connsiteY0" fmla="*/ 1409475 h 1470435"/>
                    <a:gd name="connsiteX1" fmla="*/ 57150 w 685800"/>
                    <a:gd name="connsiteY1" fmla="*/ 1443765 h 1470435"/>
                    <a:gd name="connsiteX2" fmla="*/ 0 w 685800"/>
                    <a:gd name="connsiteY2" fmla="*/ 373155 h 1470435"/>
                    <a:gd name="connsiteX3" fmla="*/ 228600 w 685800"/>
                    <a:gd name="connsiteY3" fmla="*/ 3585 h 1470435"/>
                    <a:gd name="connsiteX4" fmla="*/ 544830 w 685800"/>
                    <a:gd name="connsiteY4" fmla="*/ 552225 h 1470435"/>
                    <a:gd name="connsiteX5" fmla="*/ 666750 w 685800"/>
                    <a:gd name="connsiteY5" fmla="*/ 1104675 h 1470435"/>
                    <a:gd name="connsiteX6" fmla="*/ 681990 w 685800"/>
                    <a:gd name="connsiteY6" fmla="*/ 1249455 h 1470435"/>
                    <a:gd name="connsiteX7" fmla="*/ 685800 w 685800"/>
                    <a:gd name="connsiteY7" fmla="*/ 1470435 h 1470435"/>
                    <a:gd name="connsiteX8" fmla="*/ 594360 w 685800"/>
                    <a:gd name="connsiteY8" fmla="*/ 1409475 h 1470435"/>
                    <a:gd name="connsiteX0" fmla="*/ 594360 w 685800"/>
                    <a:gd name="connsiteY0" fmla="*/ 1346452 h 1407412"/>
                    <a:gd name="connsiteX1" fmla="*/ 57150 w 685800"/>
                    <a:gd name="connsiteY1" fmla="*/ 1380742 h 1407412"/>
                    <a:gd name="connsiteX2" fmla="*/ 0 w 685800"/>
                    <a:gd name="connsiteY2" fmla="*/ 310132 h 1407412"/>
                    <a:gd name="connsiteX3" fmla="*/ 320040 w 685800"/>
                    <a:gd name="connsiteY3" fmla="*/ 5332 h 1407412"/>
                    <a:gd name="connsiteX4" fmla="*/ 544830 w 685800"/>
                    <a:gd name="connsiteY4" fmla="*/ 489202 h 1407412"/>
                    <a:gd name="connsiteX5" fmla="*/ 666750 w 685800"/>
                    <a:gd name="connsiteY5" fmla="*/ 1041652 h 1407412"/>
                    <a:gd name="connsiteX6" fmla="*/ 681990 w 685800"/>
                    <a:gd name="connsiteY6" fmla="*/ 1186432 h 1407412"/>
                    <a:gd name="connsiteX7" fmla="*/ 685800 w 685800"/>
                    <a:gd name="connsiteY7" fmla="*/ 1407412 h 1407412"/>
                    <a:gd name="connsiteX8" fmla="*/ 594360 w 685800"/>
                    <a:gd name="connsiteY8" fmla="*/ 1346452 h 1407412"/>
                    <a:gd name="connsiteX0" fmla="*/ 594360 w 685800"/>
                    <a:gd name="connsiteY0" fmla="*/ 1348660 h 1409620"/>
                    <a:gd name="connsiteX1" fmla="*/ 57150 w 685800"/>
                    <a:gd name="connsiteY1" fmla="*/ 1382950 h 1409620"/>
                    <a:gd name="connsiteX2" fmla="*/ 0 w 685800"/>
                    <a:gd name="connsiteY2" fmla="*/ 312340 h 1409620"/>
                    <a:gd name="connsiteX3" fmla="*/ 320040 w 685800"/>
                    <a:gd name="connsiteY3" fmla="*/ 7540 h 1409620"/>
                    <a:gd name="connsiteX4" fmla="*/ 544830 w 685800"/>
                    <a:gd name="connsiteY4" fmla="*/ 491410 h 1409620"/>
                    <a:gd name="connsiteX5" fmla="*/ 666750 w 685800"/>
                    <a:gd name="connsiteY5" fmla="*/ 1043860 h 1409620"/>
                    <a:gd name="connsiteX6" fmla="*/ 681990 w 685800"/>
                    <a:gd name="connsiteY6" fmla="*/ 1188640 h 1409620"/>
                    <a:gd name="connsiteX7" fmla="*/ 685800 w 685800"/>
                    <a:gd name="connsiteY7" fmla="*/ 1409620 h 1409620"/>
                    <a:gd name="connsiteX8" fmla="*/ 594360 w 685800"/>
                    <a:gd name="connsiteY8" fmla="*/ 1348660 h 1409620"/>
                    <a:gd name="connsiteX0" fmla="*/ 621711 w 713151"/>
                    <a:gd name="connsiteY0" fmla="*/ 1348660 h 1450924"/>
                    <a:gd name="connsiteX1" fmla="*/ 84501 w 713151"/>
                    <a:gd name="connsiteY1" fmla="*/ 1382950 h 1450924"/>
                    <a:gd name="connsiteX2" fmla="*/ 27351 w 713151"/>
                    <a:gd name="connsiteY2" fmla="*/ 312340 h 1450924"/>
                    <a:gd name="connsiteX3" fmla="*/ 347391 w 713151"/>
                    <a:gd name="connsiteY3" fmla="*/ 7540 h 1450924"/>
                    <a:gd name="connsiteX4" fmla="*/ 572181 w 713151"/>
                    <a:gd name="connsiteY4" fmla="*/ 491410 h 1450924"/>
                    <a:gd name="connsiteX5" fmla="*/ 694101 w 713151"/>
                    <a:gd name="connsiteY5" fmla="*/ 1043860 h 1450924"/>
                    <a:gd name="connsiteX6" fmla="*/ 709341 w 713151"/>
                    <a:gd name="connsiteY6" fmla="*/ 1188640 h 1450924"/>
                    <a:gd name="connsiteX7" fmla="*/ 713151 w 713151"/>
                    <a:gd name="connsiteY7" fmla="*/ 1409620 h 1450924"/>
                    <a:gd name="connsiteX8" fmla="*/ 621711 w 713151"/>
                    <a:gd name="connsiteY8" fmla="*/ 1348660 h 1450924"/>
                    <a:gd name="connsiteX0" fmla="*/ 619643 w 711083"/>
                    <a:gd name="connsiteY0" fmla="*/ 1348660 h 1411263"/>
                    <a:gd name="connsiteX1" fmla="*/ 82433 w 711083"/>
                    <a:gd name="connsiteY1" fmla="*/ 1382950 h 1411263"/>
                    <a:gd name="connsiteX2" fmla="*/ 25283 w 711083"/>
                    <a:gd name="connsiteY2" fmla="*/ 312340 h 1411263"/>
                    <a:gd name="connsiteX3" fmla="*/ 345323 w 711083"/>
                    <a:gd name="connsiteY3" fmla="*/ 7540 h 1411263"/>
                    <a:gd name="connsiteX4" fmla="*/ 570113 w 711083"/>
                    <a:gd name="connsiteY4" fmla="*/ 491410 h 1411263"/>
                    <a:gd name="connsiteX5" fmla="*/ 692033 w 711083"/>
                    <a:gd name="connsiteY5" fmla="*/ 1043860 h 1411263"/>
                    <a:gd name="connsiteX6" fmla="*/ 707273 w 711083"/>
                    <a:gd name="connsiteY6" fmla="*/ 1188640 h 1411263"/>
                    <a:gd name="connsiteX7" fmla="*/ 711083 w 711083"/>
                    <a:gd name="connsiteY7" fmla="*/ 1409620 h 1411263"/>
                    <a:gd name="connsiteX8" fmla="*/ 619643 w 711083"/>
                    <a:gd name="connsiteY8" fmla="*/ 1348660 h 1411263"/>
                    <a:gd name="connsiteX0" fmla="*/ 594360 w 685800"/>
                    <a:gd name="connsiteY0" fmla="*/ 1348660 h 1411263"/>
                    <a:gd name="connsiteX1" fmla="*/ 57150 w 685800"/>
                    <a:gd name="connsiteY1" fmla="*/ 1382950 h 1411263"/>
                    <a:gd name="connsiteX2" fmla="*/ 0 w 685800"/>
                    <a:gd name="connsiteY2" fmla="*/ 312340 h 1411263"/>
                    <a:gd name="connsiteX3" fmla="*/ 320040 w 685800"/>
                    <a:gd name="connsiteY3" fmla="*/ 7540 h 1411263"/>
                    <a:gd name="connsiteX4" fmla="*/ 544830 w 685800"/>
                    <a:gd name="connsiteY4" fmla="*/ 491410 h 1411263"/>
                    <a:gd name="connsiteX5" fmla="*/ 666750 w 685800"/>
                    <a:gd name="connsiteY5" fmla="*/ 1043860 h 1411263"/>
                    <a:gd name="connsiteX6" fmla="*/ 681990 w 685800"/>
                    <a:gd name="connsiteY6" fmla="*/ 1188640 h 1411263"/>
                    <a:gd name="connsiteX7" fmla="*/ 685800 w 685800"/>
                    <a:gd name="connsiteY7" fmla="*/ 1409620 h 1411263"/>
                    <a:gd name="connsiteX8" fmla="*/ 594360 w 685800"/>
                    <a:gd name="connsiteY8" fmla="*/ 1348660 h 1411263"/>
                    <a:gd name="connsiteX0" fmla="*/ 605790 w 697230"/>
                    <a:gd name="connsiteY0" fmla="*/ 1342081 h 1437943"/>
                    <a:gd name="connsiteX1" fmla="*/ 68580 w 697230"/>
                    <a:gd name="connsiteY1" fmla="*/ 1376371 h 1437943"/>
                    <a:gd name="connsiteX2" fmla="*/ 0 w 697230"/>
                    <a:gd name="connsiteY2" fmla="*/ 393391 h 1437943"/>
                    <a:gd name="connsiteX3" fmla="*/ 331470 w 697230"/>
                    <a:gd name="connsiteY3" fmla="*/ 961 h 1437943"/>
                    <a:gd name="connsiteX4" fmla="*/ 556260 w 697230"/>
                    <a:gd name="connsiteY4" fmla="*/ 484831 h 1437943"/>
                    <a:gd name="connsiteX5" fmla="*/ 678180 w 697230"/>
                    <a:gd name="connsiteY5" fmla="*/ 1037281 h 1437943"/>
                    <a:gd name="connsiteX6" fmla="*/ 693420 w 697230"/>
                    <a:gd name="connsiteY6" fmla="*/ 1182061 h 1437943"/>
                    <a:gd name="connsiteX7" fmla="*/ 697230 w 697230"/>
                    <a:gd name="connsiteY7" fmla="*/ 1403041 h 1437943"/>
                    <a:gd name="connsiteX8" fmla="*/ 605790 w 697230"/>
                    <a:gd name="connsiteY8" fmla="*/ 1342081 h 1437943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54629 h 1435508"/>
                    <a:gd name="connsiteX1" fmla="*/ 45720 w 697230"/>
                    <a:gd name="connsiteY1" fmla="*/ 1369869 h 1435508"/>
                    <a:gd name="connsiteX2" fmla="*/ 0 w 697230"/>
                    <a:gd name="connsiteY2" fmla="*/ 405939 h 1435508"/>
                    <a:gd name="connsiteX3" fmla="*/ 331470 w 697230"/>
                    <a:gd name="connsiteY3" fmla="*/ 13509 h 1435508"/>
                    <a:gd name="connsiteX4" fmla="*/ 556260 w 697230"/>
                    <a:gd name="connsiteY4" fmla="*/ 497379 h 1435508"/>
                    <a:gd name="connsiteX5" fmla="*/ 678180 w 697230"/>
                    <a:gd name="connsiteY5" fmla="*/ 1049829 h 1435508"/>
                    <a:gd name="connsiteX6" fmla="*/ 693420 w 697230"/>
                    <a:gd name="connsiteY6" fmla="*/ 1194609 h 1435508"/>
                    <a:gd name="connsiteX7" fmla="*/ 697230 w 697230"/>
                    <a:gd name="connsiteY7" fmla="*/ 1415589 h 1435508"/>
                    <a:gd name="connsiteX8" fmla="*/ 605790 w 697230"/>
                    <a:gd name="connsiteY8" fmla="*/ 1354629 h 1435508"/>
                    <a:gd name="connsiteX0" fmla="*/ 605790 w 697230"/>
                    <a:gd name="connsiteY0" fmla="*/ 1369662 h 1450541"/>
                    <a:gd name="connsiteX1" fmla="*/ 45720 w 697230"/>
                    <a:gd name="connsiteY1" fmla="*/ 1384902 h 1450541"/>
                    <a:gd name="connsiteX2" fmla="*/ 0 w 697230"/>
                    <a:gd name="connsiteY2" fmla="*/ 420972 h 1450541"/>
                    <a:gd name="connsiteX3" fmla="*/ 331470 w 697230"/>
                    <a:gd name="connsiteY3" fmla="*/ 28542 h 1450541"/>
                    <a:gd name="connsiteX4" fmla="*/ 556260 w 697230"/>
                    <a:gd name="connsiteY4" fmla="*/ 512412 h 1450541"/>
                    <a:gd name="connsiteX5" fmla="*/ 678180 w 697230"/>
                    <a:gd name="connsiteY5" fmla="*/ 1064862 h 1450541"/>
                    <a:gd name="connsiteX6" fmla="*/ 693420 w 697230"/>
                    <a:gd name="connsiteY6" fmla="*/ 1209642 h 1450541"/>
                    <a:gd name="connsiteX7" fmla="*/ 697230 w 697230"/>
                    <a:gd name="connsiteY7" fmla="*/ 1430622 h 1450541"/>
                    <a:gd name="connsiteX8" fmla="*/ 605790 w 697230"/>
                    <a:gd name="connsiteY8" fmla="*/ 1369662 h 1450541"/>
                    <a:gd name="connsiteX0" fmla="*/ 605790 w 697230"/>
                    <a:gd name="connsiteY0" fmla="*/ 1349171 h 1430050"/>
                    <a:gd name="connsiteX1" fmla="*/ 45720 w 697230"/>
                    <a:gd name="connsiteY1" fmla="*/ 1364411 h 1430050"/>
                    <a:gd name="connsiteX2" fmla="*/ 0 w 697230"/>
                    <a:gd name="connsiteY2" fmla="*/ 400481 h 1430050"/>
                    <a:gd name="connsiteX3" fmla="*/ 381000 w 697230"/>
                    <a:gd name="connsiteY3" fmla="*/ 34721 h 1430050"/>
                    <a:gd name="connsiteX4" fmla="*/ 556260 w 697230"/>
                    <a:gd name="connsiteY4" fmla="*/ 491921 h 1430050"/>
                    <a:gd name="connsiteX5" fmla="*/ 678180 w 697230"/>
                    <a:gd name="connsiteY5" fmla="*/ 1044371 h 1430050"/>
                    <a:gd name="connsiteX6" fmla="*/ 693420 w 697230"/>
                    <a:gd name="connsiteY6" fmla="*/ 1189151 h 1430050"/>
                    <a:gd name="connsiteX7" fmla="*/ 697230 w 697230"/>
                    <a:gd name="connsiteY7" fmla="*/ 1410131 h 1430050"/>
                    <a:gd name="connsiteX8" fmla="*/ 605790 w 697230"/>
                    <a:gd name="connsiteY8" fmla="*/ 1349171 h 1430050"/>
                    <a:gd name="connsiteX0" fmla="*/ 605790 w 698748"/>
                    <a:gd name="connsiteY0" fmla="*/ 1349171 h 1433022"/>
                    <a:gd name="connsiteX1" fmla="*/ 45720 w 698748"/>
                    <a:gd name="connsiteY1" fmla="*/ 1364411 h 1433022"/>
                    <a:gd name="connsiteX2" fmla="*/ 0 w 698748"/>
                    <a:gd name="connsiteY2" fmla="*/ 400481 h 1433022"/>
                    <a:gd name="connsiteX3" fmla="*/ 381000 w 698748"/>
                    <a:gd name="connsiteY3" fmla="*/ 34721 h 1433022"/>
                    <a:gd name="connsiteX4" fmla="*/ 556260 w 698748"/>
                    <a:gd name="connsiteY4" fmla="*/ 491921 h 1433022"/>
                    <a:gd name="connsiteX5" fmla="*/ 678180 w 698748"/>
                    <a:gd name="connsiteY5" fmla="*/ 1044371 h 1433022"/>
                    <a:gd name="connsiteX6" fmla="*/ 693420 w 698748"/>
                    <a:gd name="connsiteY6" fmla="*/ 1189151 h 1433022"/>
                    <a:gd name="connsiteX7" fmla="*/ 697230 w 698748"/>
                    <a:gd name="connsiteY7" fmla="*/ 1410131 h 1433022"/>
                    <a:gd name="connsiteX8" fmla="*/ 605790 w 698748"/>
                    <a:gd name="connsiteY8" fmla="*/ 1349171 h 1433022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78180 w 712924"/>
                    <a:gd name="connsiteY5" fmla="*/ 104437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449580 w 712924"/>
                    <a:gd name="connsiteY5" fmla="*/ 86530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7870 h 1428749"/>
                    <a:gd name="connsiteX1" fmla="*/ 45720 w 712924"/>
                    <a:gd name="connsiteY1" fmla="*/ 1363110 h 1428749"/>
                    <a:gd name="connsiteX2" fmla="*/ 0 w 712924"/>
                    <a:gd name="connsiteY2" fmla="*/ 399180 h 1428749"/>
                    <a:gd name="connsiteX3" fmla="*/ 381000 w 712924"/>
                    <a:gd name="connsiteY3" fmla="*/ 33420 h 1428749"/>
                    <a:gd name="connsiteX4" fmla="*/ 556260 w 712924"/>
                    <a:gd name="connsiteY4" fmla="*/ 490620 h 1428749"/>
                    <a:gd name="connsiteX5" fmla="*/ 693420 w 712924"/>
                    <a:gd name="connsiteY5" fmla="*/ 1187850 h 1428749"/>
                    <a:gd name="connsiteX6" fmla="*/ 697230 w 712924"/>
                    <a:gd name="connsiteY6" fmla="*/ 1408830 h 1428749"/>
                    <a:gd name="connsiteX7" fmla="*/ 605790 w 712924"/>
                    <a:gd name="connsiteY7" fmla="*/ 1347870 h 1428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2924" h="1428749">
                      <a:moveTo>
                        <a:pt x="605790" y="1347870"/>
                      </a:moveTo>
                      <a:cubicBezTo>
                        <a:pt x="501015" y="1343425"/>
                        <a:pt x="146685" y="1521225"/>
                        <a:pt x="45720" y="1363110"/>
                      </a:cubicBezTo>
                      <a:cubicBezTo>
                        <a:pt x="-55245" y="1204995"/>
                        <a:pt x="100965" y="681755"/>
                        <a:pt x="0" y="399180"/>
                      </a:cubicBezTo>
                      <a:cubicBezTo>
                        <a:pt x="106661" y="-78654"/>
                        <a:pt x="276860" y="-16110"/>
                        <a:pt x="381000" y="33420"/>
                      </a:cubicBezTo>
                      <a:cubicBezTo>
                        <a:pt x="485140" y="82950"/>
                        <a:pt x="490855" y="249955"/>
                        <a:pt x="556260" y="490620"/>
                      </a:cubicBezTo>
                      <a:cubicBezTo>
                        <a:pt x="601980" y="723030"/>
                        <a:pt x="518160" y="791610"/>
                        <a:pt x="693420" y="1187850"/>
                      </a:cubicBezTo>
                      <a:cubicBezTo>
                        <a:pt x="694690" y="1261510"/>
                        <a:pt x="734060" y="1377080"/>
                        <a:pt x="697230" y="1408830"/>
                      </a:cubicBezTo>
                      <a:cubicBezTo>
                        <a:pt x="660400" y="1440580"/>
                        <a:pt x="714375" y="1355490"/>
                        <a:pt x="605790" y="1347870"/>
                      </a:cubicBez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1" name="Freeform 1530"/>
                <p:cNvSpPr/>
                <p:nvPr/>
              </p:nvSpPr>
              <p:spPr>
                <a:xfrm>
                  <a:off x="881031" y="2269403"/>
                  <a:ext cx="567523" cy="1353636"/>
                </a:xfrm>
                <a:custGeom>
                  <a:avLst/>
                  <a:gdLst>
                    <a:gd name="connsiteX0" fmla="*/ 39232 w 555279"/>
                    <a:gd name="connsiteY0" fmla="*/ 292729 h 1297663"/>
                    <a:gd name="connsiteX1" fmla="*/ 0 w 555279"/>
                    <a:gd name="connsiteY1" fmla="*/ 1297663 h 1297663"/>
                    <a:gd name="connsiteX2" fmla="*/ 555279 w 555279"/>
                    <a:gd name="connsiteY2" fmla="*/ 1288610 h 1297663"/>
                    <a:gd name="connsiteX3" fmla="*/ 350068 w 555279"/>
                    <a:gd name="connsiteY3" fmla="*/ 205212 h 1297663"/>
                    <a:gd name="connsiteX4" fmla="*/ 344032 w 555279"/>
                    <a:gd name="connsiteY4" fmla="*/ 0 h 1297663"/>
                    <a:gd name="connsiteX5" fmla="*/ 39232 w 555279"/>
                    <a:gd name="connsiteY5" fmla="*/ 0 h 1297663"/>
                    <a:gd name="connsiteX6" fmla="*/ 39232 w 555279"/>
                    <a:gd name="connsiteY6" fmla="*/ 292729 h 1297663"/>
                    <a:gd name="connsiteX0" fmla="*/ 70378 w 586425"/>
                    <a:gd name="connsiteY0" fmla="*/ 292729 h 1423658"/>
                    <a:gd name="connsiteX1" fmla="*/ 31146 w 586425"/>
                    <a:gd name="connsiteY1" fmla="*/ 1297663 h 1423658"/>
                    <a:gd name="connsiteX2" fmla="*/ 586425 w 586425"/>
                    <a:gd name="connsiteY2" fmla="*/ 1288610 h 1423658"/>
                    <a:gd name="connsiteX3" fmla="*/ 381214 w 586425"/>
                    <a:gd name="connsiteY3" fmla="*/ 205212 h 1423658"/>
                    <a:gd name="connsiteX4" fmla="*/ 375178 w 586425"/>
                    <a:gd name="connsiteY4" fmla="*/ 0 h 1423658"/>
                    <a:gd name="connsiteX5" fmla="*/ 70378 w 586425"/>
                    <a:gd name="connsiteY5" fmla="*/ 0 h 1423658"/>
                    <a:gd name="connsiteX6" fmla="*/ 70378 w 586425"/>
                    <a:gd name="connsiteY6" fmla="*/ 292729 h 1423658"/>
                    <a:gd name="connsiteX0" fmla="*/ 51476 w 567523"/>
                    <a:gd name="connsiteY0" fmla="*/ 292729 h 1376338"/>
                    <a:gd name="connsiteX1" fmla="*/ 12244 w 567523"/>
                    <a:gd name="connsiteY1" fmla="*/ 1297663 h 1376338"/>
                    <a:gd name="connsiteX2" fmla="*/ 567523 w 567523"/>
                    <a:gd name="connsiteY2" fmla="*/ 1288610 h 1376338"/>
                    <a:gd name="connsiteX3" fmla="*/ 362312 w 567523"/>
                    <a:gd name="connsiteY3" fmla="*/ 205212 h 1376338"/>
                    <a:gd name="connsiteX4" fmla="*/ 356276 w 567523"/>
                    <a:gd name="connsiteY4" fmla="*/ 0 h 1376338"/>
                    <a:gd name="connsiteX5" fmla="*/ 51476 w 567523"/>
                    <a:gd name="connsiteY5" fmla="*/ 0 h 1376338"/>
                    <a:gd name="connsiteX6" fmla="*/ 51476 w 567523"/>
                    <a:gd name="connsiteY6" fmla="*/ 292729 h 1376338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422668 w 567523"/>
                    <a:gd name="connsiteY3" fmla="*/ 214265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7523" h="1353636">
                      <a:moveTo>
                        <a:pt x="51476" y="328943"/>
                      </a:moveTo>
                      <a:cubicBezTo>
                        <a:pt x="44937" y="545220"/>
                        <a:pt x="-28496" y="1315770"/>
                        <a:pt x="12244" y="1333877"/>
                      </a:cubicBezTo>
                      <a:cubicBezTo>
                        <a:pt x="52984" y="1351984"/>
                        <a:pt x="433732" y="1371097"/>
                        <a:pt x="567523" y="1324824"/>
                      </a:cubicBezTo>
                      <a:cubicBezTo>
                        <a:pt x="499119" y="963691"/>
                        <a:pt x="424679" y="356606"/>
                        <a:pt x="422668" y="250479"/>
                      </a:cubicBezTo>
                      <a:cubicBezTo>
                        <a:pt x="420657" y="144352"/>
                        <a:pt x="426692" y="83493"/>
                        <a:pt x="428704" y="0"/>
                      </a:cubicBezTo>
                      <a:lnTo>
                        <a:pt x="51476" y="36214"/>
                      </a:lnTo>
                      <a:lnTo>
                        <a:pt x="51476" y="328943"/>
                      </a:ln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532" name="Freeform 1531"/>
                <p:cNvSpPr/>
                <p:nvPr/>
              </p:nvSpPr>
              <p:spPr>
                <a:xfrm>
                  <a:off x="830273" y="3832860"/>
                  <a:ext cx="687430" cy="169649"/>
                </a:xfrm>
                <a:custGeom>
                  <a:avLst/>
                  <a:gdLst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25730"/>
                    <a:gd name="connsiteX1" fmla="*/ 567690 w 678180"/>
                    <a:gd name="connsiteY1" fmla="*/ 0 h 125730"/>
                    <a:gd name="connsiteX2" fmla="*/ 678180 w 678180"/>
                    <a:gd name="connsiteY2" fmla="*/ 57150 h 125730"/>
                    <a:gd name="connsiteX3" fmla="*/ 651510 w 678180"/>
                    <a:gd name="connsiteY3" fmla="*/ 125730 h 125730"/>
                    <a:gd name="connsiteX4" fmla="*/ 0 w 678180"/>
                    <a:gd name="connsiteY4" fmla="*/ 26670 h 125730"/>
                    <a:gd name="connsiteX0" fmla="*/ 0 w 678180"/>
                    <a:gd name="connsiteY0" fmla="*/ 26670 h 139710"/>
                    <a:gd name="connsiteX1" fmla="*/ 567690 w 678180"/>
                    <a:gd name="connsiteY1" fmla="*/ 0 h 139710"/>
                    <a:gd name="connsiteX2" fmla="*/ 678180 w 678180"/>
                    <a:gd name="connsiteY2" fmla="*/ 57150 h 139710"/>
                    <a:gd name="connsiteX3" fmla="*/ 651510 w 678180"/>
                    <a:gd name="connsiteY3" fmla="*/ 125730 h 139710"/>
                    <a:gd name="connsiteX4" fmla="*/ 0 w 678180"/>
                    <a:gd name="connsiteY4" fmla="*/ 26670 h 139710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505"/>
                    <a:gd name="connsiteY0" fmla="*/ 26670 h 150507"/>
                    <a:gd name="connsiteX1" fmla="*/ 567690 w 678505"/>
                    <a:gd name="connsiteY1" fmla="*/ 0 h 150507"/>
                    <a:gd name="connsiteX2" fmla="*/ 678180 w 678505"/>
                    <a:gd name="connsiteY2" fmla="*/ 57150 h 150507"/>
                    <a:gd name="connsiteX3" fmla="*/ 651510 w 678505"/>
                    <a:gd name="connsiteY3" fmla="*/ 125730 h 150507"/>
                    <a:gd name="connsiteX4" fmla="*/ 0 w 678505"/>
                    <a:gd name="connsiteY4" fmla="*/ 26670 h 150507"/>
                    <a:gd name="connsiteX0" fmla="*/ 0 w 678180"/>
                    <a:gd name="connsiteY0" fmla="*/ 26670 h 97874"/>
                    <a:gd name="connsiteX1" fmla="*/ 567690 w 678180"/>
                    <a:gd name="connsiteY1" fmla="*/ 0 h 97874"/>
                    <a:gd name="connsiteX2" fmla="*/ 678180 w 678180"/>
                    <a:gd name="connsiteY2" fmla="*/ 57150 h 97874"/>
                    <a:gd name="connsiteX3" fmla="*/ 0 w 678180"/>
                    <a:gd name="connsiteY3" fmla="*/ 26670 h 97874"/>
                    <a:gd name="connsiteX0" fmla="*/ 0 w 678395"/>
                    <a:gd name="connsiteY0" fmla="*/ 26670 h 124875"/>
                    <a:gd name="connsiteX1" fmla="*/ 567690 w 678395"/>
                    <a:gd name="connsiteY1" fmla="*/ 0 h 124875"/>
                    <a:gd name="connsiteX2" fmla="*/ 678180 w 678395"/>
                    <a:gd name="connsiteY2" fmla="*/ 57150 h 124875"/>
                    <a:gd name="connsiteX3" fmla="*/ 0 w 678395"/>
                    <a:gd name="connsiteY3" fmla="*/ 26670 h 124875"/>
                    <a:gd name="connsiteX0" fmla="*/ 6385 w 684752"/>
                    <a:gd name="connsiteY0" fmla="*/ 26670 h 159961"/>
                    <a:gd name="connsiteX1" fmla="*/ 574075 w 684752"/>
                    <a:gd name="connsiteY1" fmla="*/ 0 h 159961"/>
                    <a:gd name="connsiteX2" fmla="*/ 684565 w 684752"/>
                    <a:gd name="connsiteY2" fmla="*/ 57150 h 159961"/>
                    <a:gd name="connsiteX3" fmla="*/ 6385 w 684752"/>
                    <a:gd name="connsiteY3" fmla="*/ 26670 h 159961"/>
                    <a:gd name="connsiteX0" fmla="*/ 5941 w 689167"/>
                    <a:gd name="connsiteY0" fmla="*/ 26670 h 156211"/>
                    <a:gd name="connsiteX1" fmla="*/ 573631 w 689167"/>
                    <a:gd name="connsiteY1" fmla="*/ 0 h 156211"/>
                    <a:gd name="connsiteX2" fmla="*/ 684121 w 689167"/>
                    <a:gd name="connsiteY2" fmla="*/ 57150 h 156211"/>
                    <a:gd name="connsiteX3" fmla="*/ 5941 w 689167"/>
                    <a:gd name="connsiteY3" fmla="*/ 26670 h 156211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30" h="169649">
                      <a:moveTo>
                        <a:pt x="4118" y="26670"/>
                      </a:moveTo>
                      <a:cubicBezTo>
                        <a:pt x="64562" y="172746"/>
                        <a:pt x="454968" y="127000"/>
                        <a:pt x="571808" y="0"/>
                      </a:cubicBezTo>
                      <a:cubicBezTo>
                        <a:pt x="611656" y="43193"/>
                        <a:pt x="607368" y="68580"/>
                        <a:pt x="682298" y="57150"/>
                      </a:cubicBezTo>
                      <a:cubicBezTo>
                        <a:pt x="759699" y="212487"/>
                        <a:pt x="-64984" y="211229"/>
                        <a:pt x="4118" y="2667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521" name="Group 1520"/>
              <p:cNvGrpSpPr/>
              <p:nvPr/>
            </p:nvGrpSpPr>
            <p:grpSpPr>
              <a:xfrm flipH="1">
                <a:off x="7651330" y="5518621"/>
                <a:ext cx="306003" cy="739038"/>
                <a:chOff x="800100" y="2269403"/>
                <a:chExt cx="717603" cy="1733106"/>
              </a:xfrm>
            </p:grpSpPr>
            <p:sp>
              <p:nvSpPr>
                <p:cNvPr id="1527" name="Freeform 1526"/>
                <p:cNvSpPr/>
                <p:nvPr/>
              </p:nvSpPr>
              <p:spPr>
                <a:xfrm>
                  <a:off x="800100" y="2538330"/>
                  <a:ext cx="712924" cy="1428749"/>
                </a:xfrm>
                <a:custGeom>
                  <a:avLst/>
                  <a:gdLst>
                    <a:gd name="connsiteX0" fmla="*/ 594360 w 685800"/>
                    <a:gd name="connsiteY0" fmla="*/ 1405890 h 1466850"/>
                    <a:gd name="connsiteX1" fmla="*/ 57150 w 685800"/>
                    <a:gd name="connsiteY1" fmla="*/ 1440180 h 1466850"/>
                    <a:gd name="connsiteX2" fmla="*/ 0 w 685800"/>
                    <a:gd name="connsiteY2" fmla="*/ 369570 h 1466850"/>
                    <a:gd name="connsiteX3" fmla="*/ 228600 w 685800"/>
                    <a:gd name="connsiteY3" fmla="*/ 0 h 1466850"/>
                    <a:gd name="connsiteX4" fmla="*/ 544830 w 685800"/>
                    <a:gd name="connsiteY4" fmla="*/ 548640 h 1466850"/>
                    <a:gd name="connsiteX5" fmla="*/ 666750 w 685800"/>
                    <a:gd name="connsiteY5" fmla="*/ 1101090 h 1466850"/>
                    <a:gd name="connsiteX6" fmla="*/ 681990 w 685800"/>
                    <a:gd name="connsiteY6" fmla="*/ 1245870 h 1466850"/>
                    <a:gd name="connsiteX7" fmla="*/ 685800 w 685800"/>
                    <a:gd name="connsiteY7" fmla="*/ 1466850 h 1466850"/>
                    <a:gd name="connsiteX8" fmla="*/ 594360 w 685800"/>
                    <a:gd name="connsiteY8" fmla="*/ 1405890 h 1466850"/>
                    <a:gd name="connsiteX0" fmla="*/ 594360 w 685800"/>
                    <a:gd name="connsiteY0" fmla="*/ 1409475 h 1470435"/>
                    <a:gd name="connsiteX1" fmla="*/ 57150 w 685800"/>
                    <a:gd name="connsiteY1" fmla="*/ 1443765 h 1470435"/>
                    <a:gd name="connsiteX2" fmla="*/ 0 w 685800"/>
                    <a:gd name="connsiteY2" fmla="*/ 373155 h 1470435"/>
                    <a:gd name="connsiteX3" fmla="*/ 228600 w 685800"/>
                    <a:gd name="connsiteY3" fmla="*/ 3585 h 1470435"/>
                    <a:gd name="connsiteX4" fmla="*/ 544830 w 685800"/>
                    <a:gd name="connsiteY4" fmla="*/ 552225 h 1470435"/>
                    <a:gd name="connsiteX5" fmla="*/ 666750 w 685800"/>
                    <a:gd name="connsiteY5" fmla="*/ 1104675 h 1470435"/>
                    <a:gd name="connsiteX6" fmla="*/ 681990 w 685800"/>
                    <a:gd name="connsiteY6" fmla="*/ 1249455 h 1470435"/>
                    <a:gd name="connsiteX7" fmla="*/ 685800 w 685800"/>
                    <a:gd name="connsiteY7" fmla="*/ 1470435 h 1470435"/>
                    <a:gd name="connsiteX8" fmla="*/ 594360 w 685800"/>
                    <a:gd name="connsiteY8" fmla="*/ 1409475 h 1470435"/>
                    <a:gd name="connsiteX0" fmla="*/ 594360 w 685800"/>
                    <a:gd name="connsiteY0" fmla="*/ 1346452 h 1407412"/>
                    <a:gd name="connsiteX1" fmla="*/ 57150 w 685800"/>
                    <a:gd name="connsiteY1" fmla="*/ 1380742 h 1407412"/>
                    <a:gd name="connsiteX2" fmla="*/ 0 w 685800"/>
                    <a:gd name="connsiteY2" fmla="*/ 310132 h 1407412"/>
                    <a:gd name="connsiteX3" fmla="*/ 320040 w 685800"/>
                    <a:gd name="connsiteY3" fmla="*/ 5332 h 1407412"/>
                    <a:gd name="connsiteX4" fmla="*/ 544830 w 685800"/>
                    <a:gd name="connsiteY4" fmla="*/ 489202 h 1407412"/>
                    <a:gd name="connsiteX5" fmla="*/ 666750 w 685800"/>
                    <a:gd name="connsiteY5" fmla="*/ 1041652 h 1407412"/>
                    <a:gd name="connsiteX6" fmla="*/ 681990 w 685800"/>
                    <a:gd name="connsiteY6" fmla="*/ 1186432 h 1407412"/>
                    <a:gd name="connsiteX7" fmla="*/ 685800 w 685800"/>
                    <a:gd name="connsiteY7" fmla="*/ 1407412 h 1407412"/>
                    <a:gd name="connsiteX8" fmla="*/ 594360 w 685800"/>
                    <a:gd name="connsiteY8" fmla="*/ 1346452 h 1407412"/>
                    <a:gd name="connsiteX0" fmla="*/ 594360 w 685800"/>
                    <a:gd name="connsiteY0" fmla="*/ 1348660 h 1409620"/>
                    <a:gd name="connsiteX1" fmla="*/ 57150 w 685800"/>
                    <a:gd name="connsiteY1" fmla="*/ 1382950 h 1409620"/>
                    <a:gd name="connsiteX2" fmla="*/ 0 w 685800"/>
                    <a:gd name="connsiteY2" fmla="*/ 312340 h 1409620"/>
                    <a:gd name="connsiteX3" fmla="*/ 320040 w 685800"/>
                    <a:gd name="connsiteY3" fmla="*/ 7540 h 1409620"/>
                    <a:gd name="connsiteX4" fmla="*/ 544830 w 685800"/>
                    <a:gd name="connsiteY4" fmla="*/ 491410 h 1409620"/>
                    <a:gd name="connsiteX5" fmla="*/ 666750 w 685800"/>
                    <a:gd name="connsiteY5" fmla="*/ 1043860 h 1409620"/>
                    <a:gd name="connsiteX6" fmla="*/ 681990 w 685800"/>
                    <a:gd name="connsiteY6" fmla="*/ 1188640 h 1409620"/>
                    <a:gd name="connsiteX7" fmla="*/ 685800 w 685800"/>
                    <a:gd name="connsiteY7" fmla="*/ 1409620 h 1409620"/>
                    <a:gd name="connsiteX8" fmla="*/ 594360 w 685800"/>
                    <a:gd name="connsiteY8" fmla="*/ 1348660 h 1409620"/>
                    <a:gd name="connsiteX0" fmla="*/ 621711 w 713151"/>
                    <a:gd name="connsiteY0" fmla="*/ 1348660 h 1450924"/>
                    <a:gd name="connsiteX1" fmla="*/ 84501 w 713151"/>
                    <a:gd name="connsiteY1" fmla="*/ 1382950 h 1450924"/>
                    <a:gd name="connsiteX2" fmla="*/ 27351 w 713151"/>
                    <a:gd name="connsiteY2" fmla="*/ 312340 h 1450924"/>
                    <a:gd name="connsiteX3" fmla="*/ 347391 w 713151"/>
                    <a:gd name="connsiteY3" fmla="*/ 7540 h 1450924"/>
                    <a:gd name="connsiteX4" fmla="*/ 572181 w 713151"/>
                    <a:gd name="connsiteY4" fmla="*/ 491410 h 1450924"/>
                    <a:gd name="connsiteX5" fmla="*/ 694101 w 713151"/>
                    <a:gd name="connsiteY5" fmla="*/ 1043860 h 1450924"/>
                    <a:gd name="connsiteX6" fmla="*/ 709341 w 713151"/>
                    <a:gd name="connsiteY6" fmla="*/ 1188640 h 1450924"/>
                    <a:gd name="connsiteX7" fmla="*/ 713151 w 713151"/>
                    <a:gd name="connsiteY7" fmla="*/ 1409620 h 1450924"/>
                    <a:gd name="connsiteX8" fmla="*/ 621711 w 713151"/>
                    <a:gd name="connsiteY8" fmla="*/ 1348660 h 1450924"/>
                    <a:gd name="connsiteX0" fmla="*/ 619643 w 711083"/>
                    <a:gd name="connsiteY0" fmla="*/ 1348660 h 1411263"/>
                    <a:gd name="connsiteX1" fmla="*/ 82433 w 711083"/>
                    <a:gd name="connsiteY1" fmla="*/ 1382950 h 1411263"/>
                    <a:gd name="connsiteX2" fmla="*/ 25283 w 711083"/>
                    <a:gd name="connsiteY2" fmla="*/ 312340 h 1411263"/>
                    <a:gd name="connsiteX3" fmla="*/ 345323 w 711083"/>
                    <a:gd name="connsiteY3" fmla="*/ 7540 h 1411263"/>
                    <a:gd name="connsiteX4" fmla="*/ 570113 w 711083"/>
                    <a:gd name="connsiteY4" fmla="*/ 491410 h 1411263"/>
                    <a:gd name="connsiteX5" fmla="*/ 692033 w 711083"/>
                    <a:gd name="connsiteY5" fmla="*/ 1043860 h 1411263"/>
                    <a:gd name="connsiteX6" fmla="*/ 707273 w 711083"/>
                    <a:gd name="connsiteY6" fmla="*/ 1188640 h 1411263"/>
                    <a:gd name="connsiteX7" fmla="*/ 711083 w 711083"/>
                    <a:gd name="connsiteY7" fmla="*/ 1409620 h 1411263"/>
                    <a:gd name="connsiteX8" fmla="*/ 619643 w 711083"/>
                    <a:gd name="connsiteY8" fmla="*/ 1348660 h 1411263"/>
                    <a:gd name="connsiteX0" fmla="*/ 594360 w 685800"/>
                    <a:gd name="connsiteY0" fmla="*/ 1348660 h 1411263"/>
                    <a:gd name="connsiteX1" fmla="*/ 57150 w 685800"/>
                    <a:gd name="connsiteY1" fmla="*/ 1382950 h 1411263"/>
                    <a:gd name="connsiteX2" fmla="*/ 0 w 685800"/>
                    <a:gd name="connsiteY2" fmla="*/ 312340 h 1411263"/>
                    <a:gd name="connsiteX3" fmla="*/ 320040 w 685800"/>
                    <a:gd name="connsiteY3" fmla="*/ 7540 h 1411263"/>
                    <a:gd name="connsiteX4" fmla="*/ 544830 w 685800"/>
                    <a:gd name="connsiteY4" fmla="*/ 491410 h 1411263"/>
                    <a:gd name="connsiteX5" fmla="*/ 666750 w 685800"/>
                    <a:gd name="connsiteY5" fmla="*/ 1043860 h 1411263"/>
                    <a:gd name="connsiteX6" fmla="*/ 681990 w 685800"/>
                    <a:gd name="connsiteY6" fmla="*/ 1188640 h 1411263"/>
                    <a:gd name="connsiteX7" fmla="*/ 685800 w 685800"/>
                    <a:gd name="connsiteY7" fmla="*/ 1409620 h 1411263"/>
                    <a:gd name="connsiteX8" fmla="*/ 594360 w 685800"/>
                    <a:gd name="connsiteY8" fmla="*/ 1348660 h 1411263"/>
                    <a:gd name="connsiteX0" fmla="*/ 605790 w 697230"/>
                    <a:gd name="connsiteY0" fmla="*/ 1342081 h 1437943"/>
                    <a:gd name="connsiteX1" fmla="*/ 68580 w 697230"/>
                    <a:gd name="connsiteY1" fmla="*/ 1376371 h 1437943"/>
                    <a:gd name="connsiteX2" fmla="*/ 0 w 697230"/>
                    <a:gd name="connsiteY2" fmla="*/ 393391 h 1437943"/>
                    <a:gd name="connsiteX3" fmla="*/ 331470 w 697230"/>
                    <a:gd name="connsiteY3" fmla="*/ 961 h 1437943"/>
                    <a:gd name="connsiteX4" fmla="*/ 556260 w 697230"/>
                    <a:gd name="connsiteY4" fmla="*/ 484831 h 1437943"/>
                    <a:gd name="connsiteX5" fmla="*/ 678180 w 697230"/>
                    <a:gd name="connsiteY5" fmla="*/ 1037281 h 1437943"/>
                    <a:gd name="connsiteX6" fmla="*/ 693420 w 697230"/>
                    <a:gd name="connsiteY6" fmla="*/ 1182061 h 1437943"/>
                    <a:gd name="connsiteX7" fmla="*/ 697230 w 697230"/>
                    <a:gd name="connsiteY7" fmla="*/ 1403041 h 1437943"/>
                    <a:gd name="connsiteX8" fmla="*/ 605790 w 697230"/>
                    <a:gd name="connsiteY8" fmla="*/ 1342081 h 1437943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42081 h 1422960"/>
                    <a:gd name="connsiteX1" fmla="*/ 45720 w 697230"/>
                    <a:gd name="connsiteY1" fmla="*/ 1357321 h 1422960"/>
                    <a:gd name="connsiteX2" fmla="*/ 0 w 697230"/>
                    <a:gd name="connsiteY2" fmla="*/ 393391 h 1422960"/>
                    <a:gd name="connsiteX3" fmla="*/ 331470 w 697230"/>
                    <a:gd name="connsiteY3" fmla="*/ 961 h 1422960"/>
                    <a:gd name="connsiteX4" fmla="*/ 556260 w 697230"/>
                    <a:gd name="connsiteY4" fmla="*/ 484831 h 1422960"/>
                    <a:gd name="connsiteX5" fmla="*/ 678180 w 697230"/>
                    <a:gd name="connsiteY5" fmla="*/ 1037281 h 1422960"/>
                    <a:gd name="connsiteX6" fmla="*/ 693420 w 697230"/>
                    <a:gd name="connsiteY6" fmla="*/ 1182061 h 1422960"/>
                    <a:gd name="connsiteX7" fmla="*/ 697230 w 697230"/>
                    <a:gd name="connsiteY7" fmla="*/ 1403041 h 1422960"/>
                    <a:gd name="connsiteX8" fmla="*/ 605790 w 697230"/>
                    <a:gd name="connsiteY8" fmla="*/ 1342081 h 1422960"/>
                    <a:gd name="connsiteX0" fmla="*/ 605790 w 697230"/>
                    <a:gd name="connsiteY0" fmla="*/ 1354629 h 1435508"/>
                    <a:gd name="connsiteX1" fmla="*/ 45720 w 697230"/>
                    <a:gd name="connsiteY1" fmla="*/ 1369869 h 1435508"/>
                    <a:gd name="connsiteX2" fmla="*/ 0 w 697230"/>
                    <a:gd name="connsiteY2" fmla="*/ 405939 h 1435508"/>
                    <a:gd name="connsiteX3" fmla="*/ 331470 w 697230"/>
                    <a:gd name="connsiteY3" fmla="*/ 13509 h 1435508"/>
                    <a:gd name="connsiteX4" fmla="*/ 556260 w 697230"/>
                    <a:gd name="connsiteY4" fmla="*/ 497379 h 1435508"/>
                    <a:gd name="connsiteX5" fmla="*/ 678180 w 697230"/>
                    <a:gd name="connsiteY5" fmla="*/ 1049829 h 1435508"/>
                    <a:gd name="connsiteX6" fmla="*/ 693420 w 697230"/>
                    <a:gd name="connsiteY6" fmla="*/ 1194609 h 1435508"/>
                    <a:gd name="connsiteX7" fmla="*/ 697230 w 697230"/>
                    <a:gd name="connsiteY7" fmla="*/ 1415589 h 1435508"/>
                    <a:gd name="connsiteX8" fmla="*/ 605790 w 697230"/>
                    <a:gd name="connsiteY8" fmla="*/ 1354629 h 1435508"/>
                    <a:gd name="connsiteX0" fmla="*/ 605790 w 697230"/>
                    <a:gd name="connsiteY0" fmla="*/ 1369662 h 1450541"/>
                    <a:gd name="connsiteX1" fmla="*/ 45720 w 697230"/>
                    <a:gd name="connsiteY1" fmla="*/ 1384902 h 1450541"/>
                    <a:gd name="connsiteX2" fmla="*/ 0 w 697230"/>
                    <a:gd name="connsiteY2" fmla="*/ 420972 h 1450541"/>
                    <a:gd name="connsiteX3" fmla="*/ 331470 w 697230"/>
                    <a:gd name="connsiteY3" fmla="*/ 28542 h 1450541"/>
                    <a:gd name="connsiteX4" fmla="*/ 556260 w 697230"/>
                    <a:gd name="connsiteY4" fmla="*/ 512412 h 1450541"/>
                    <a:gd name="connsiteX5" fmla="*/ 678180 w 697230"/>
                    <a:gd name="connsiteY5" fmla="*/ 1064862 h 1450541"/>
                    <a:gd name="connsiteX6" fmla="*/ 693420 w 697230"/>
                    <a:gd name="connsiteY6" fmla="*/ 1209642 h 1450541"/>
                    <a:gd name="connsiteX7" fmla="*/ 697230 w 697230"/>
                    <a:gd name="connsiteY7" fmla="*/ 1430622 h 1450541"/>
                    <a:gd name="connsiteX8" fmla="*/ 605790 w 697230"/>
                    <a:gd name="connsiteY8" fmla="*/ 1369662 h 1450541"/>
                    <a:gd name="connsiteX0" fmla="*/ 605790 w 697230"/>
                    <a:gd name="connsiteY0" fmla="*/ 1349171 h 1430050"/>
                    <a:gd name="connsiteX1" fmla="*/ 45720 w 697230"/>
                    <a:gd name="connsiteY1" fmla="*/ 1364411 h 1430050"/>
                    <a:gd name="connsiteX2" fmla="*/ 0 w 697230"/>
                    <a:gd name="connsiteY2" fmla="*/ 400481 h 1430050"/>
                    <a:gd name="connsiteX3" fmla="*/ 381000 w 697230"/>
                    <a:gd name="connsiteY3" fmla="*/ 34721 h 1430050"/>
                    <a:gd name="connsiteX4" fmla="*/ 556260 w 697230"/>
                    <a:gd name="connsiteY4" fmla="*/ 491921 h 1430050"/>
                    <a:gd name="connsiteX5" fmla="*/ 678180 w 697230"/>
                    <a:gd name="connsiteY5" fmla="*/ 1044371 h 1430050"/>
                    <a:gd name="connsiteX6" fmla="*/ 693420 w 697230"/>
                    <a:gd name="connsiteY6" fmla="*/ 1189151 h 1430050"/>
                    <a:gd name="connsiteX7" fmla="*/ 697230 w 697230"/>
                    <a:gd name="connsiteY7" fmla="*/ 1410131 h 1430050"/>
                    <a:gd name="connsiteX8" fmla="*/ 605790 w 697230"/>
                    <a:gd name="connsiteY8" fmla="*/ 1349171 h 1430050"/>
                    <a:gd name="connsiteX0" fmla="*/ 605790 w 698748"/>
                    <a:gd name="connsiteY0" fmla="*/ 1349171 h 1433022"/>
                    <a:gd name="connsiteX1" fmla="*/ 45720 w 698748"/>
                    <a:gd name="connsiteY1" fmla="*/ 1364411 h 1433022"/>
                    <a:gd name="connsiteX2" fmla="*/ 0 w 698748"/>
                    <a:gd name="connsiteY2" fmla="*/ 400481 h 1433022"/>
                    <a:gd name="connsiteX3" fmla="*/ 381000 w 698748"/>
                    <a:gd name="connsiteY3" fmla="*/ 34721 h 1433022"/>
                    <a:gd name="connsiteX4" fmla="*/ 556260 w 698748"/>
                    <a:gd name="connsiteY4" fmla="*/ 491921 h 1433022"/>
                    <a:gd name="connsiteX5" fmla="*/ 678180 w 698748"/>
                    <a:gd name="connsiteY5" fmla="*/ 1044371 h 1433022"/>
                    <a:gd name="connsiteX6" fmla="*/ 693420 w 698748"/>
                    <a:gd name="connsiteY6" fmla="*/ 1189151 h 1433022"/>
                    <a:gd name="connsiteX7" fmla="*/ 697230 w 698748"/>
                    <a:gd name="connsiteY7" fmla="*/ 1410131 h 1433022"/>
                    <a:gd name="connsiteX8" fmla="*/ 605790 w 698748"/>
                    <a:gd name="connsiteY8" fmla="*/ 1349171 h 1433022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78180 w 712924"/>
                    <a:gd name="connsiteY5" fmla="*/ 104437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449580 w 712924"/>
                    <a:gd name="connsiteY5" fmla="*/ 865301 h 1430050"/>
                    <a:gd name="connsiteX6" fmla="*/ 693420 w 712924"/>
                    <a:gd name="connsiteY6" fmla="*/ 1189151 h 1430050"/>
                    <a:gd name="connsiteX7" fmla="*/ 697230 w 712924"/>
                    <a:gd name="connsiteY7" fmla="*/ 1410131 h 1430050"/>
                    <a:gd name="connsiteX8" fmla="*/ 605790 w 712924"/>
                    <a:gd name="connsiteY8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9171 h 1430050"/>
                    <a:gd name="connsiteX1" fmla="*/ 45720 w 712924"/>
                    <a:gd name="connsiteY1" fmla="*/ 1364411 h 1430050"/>
                    <a:gd name="connsiteX2" fmla="*/ 0 w 712924"/>
                    <a:gd name="connsiteY2" fmla="*/ 400481 h 1430050"/>
                    <a:gd name="connsiteX3" fmla="*/ 381000 w 712924"/>
                    <a:gd name="connsiteY3" fmla="*/ 34721 h 1430050"/>
                    <a:gd name="connsiteX4" fmla="*/ 556260 w 712924"/>
                    <a:gd name="connsiteY4" fmla="*/ 491921 h 1430050"/>
                    <a:gd name="connsiteX5" fmla="*/ 693420 w 712924"/>
                    <a:gd name="connsiteY5" fmla="*/ 1189151 h 1430050"/>
                    <a:gd name="connsiteX6" fmla="*/ 697230 w 712924"/>
                    <a:gd name="connsiteY6" fmla="*/ 1410131 h 1430050"/>
                    <a:gd name="connsiteX7" fmla="*/ 605790 w 712924"/>
                    <a:gd name="connsiteY7" fmla="*/ 1349171 h 1430050"/>
                    <a:gd name="connsiteX0" fmla="*/ 605790 w 712924"/>
                    <a:gd name="connsiteY0" fmla="*/ 1347870 h 1428749"/>
                    <a:gd name="connsiteX1" fmla="*/ 45720 w 712924"/>
                    <a:gd name="connsiteY1" fmla="*/ 1363110 h 1428749"/>
                    <a:gd name="connsiteX2" fmla="*/ 0 w 712924"/>
                    <a:gd name="connsiteY2" fmla="*/ 399180 h 1428749"/>
                    <a:gd name="connsiteX3" fmla="*/ 381000 w 712924"/>
                    <a:gd name="connsiteY3" fmla="*/ 33420 h 1428749"/>
                    <a:gd name="connsiteX4" fmla="*/ 556260 w 712924"/>
                    <a:gd name="connsiteY4" fmla="*/ 490620 h 1428749"/>
                    <a:gd name="connsiteX5" fmla="*/ 693420 w 712924"/>
                    <a:gd name="connsiteY5" fmla="*/ 1187850 h 1428749"/>
                    <a:gd name="connsiteX6" fmla="*/ 697230 w 712924"/>
                    <a:gd name="connsiteY6" fmla="*/ 1408830 h 1428749"/>
                    <a:gd name="connsiteX7" fmla="*/ 605790 w 712924"/>
                    <a:gd name="connsiteY7" fmla="*/ 1347870 h 1428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2924" h="1428749">
                      <a:moveTo>
                        <a:pt x="605790" y="1347870"/>
                      </a:moveTo>
                      <a:cubicBezTo>
                        <a:pt x="501015" y="1343425"/>
                        <a:pt x="146685" y="1521225"/>
                        <a:pt x="45720" y="1363110"/>
                      </a:cubicBezTo>
                      <a:cubicBezTo>
                        <a:pt x="-55245" y="1204995"/>
                        <a:pt x="100965" y="681755"/>
                        <a:pt x="0" y="399180"/>
                      </a:cubicBezTo>
                      <a:cubicBezTo>
                        <a:pt x="106661" y="-78654"/>
                        <a:pt x="276860" y="-16110"/>
                        <a:pt x="381000" y="33420"/>
                      </a:cubicBezTo>
                      <a:cubicBezTo>
                        <a:pt x="485140" y="82950"/>
                        <a:pt x="490855" y="249955"/>
                        <a:pt x="556260" y="490620"/>
                      </a:cubicBezTo>
                      <a:cubicBezTo>
                        <a:pt x="601980" y="723030"/>
                        <a:pt x="518160" y="791610"/>
                        <a:pt x="693420" y="1187850"/>
                      </a:cubicBezTo>
                      <a:cubicBezTo>
                        <a:pt x="694690" y="1261510"/>
                        <a:pt x="734060" y="1377080"/>
                        <a:pt x="697230" y="1408830"/>
                      </a:cubicBezTo>
                      <a:cubicBezTo>
                        <a:pt x="660400" y="1440580"/>
                        <a:pt x="714375" y="1355490"/>
                        <a:pt x="605790" y="1347870"/>
                      </a:cubicBez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8" name="Freeform 1527"/>
                <p:cNvSpPr/>
                <p:nvPr/>
              </p:nvSpPr>
              <p:spPr>
                <a:xfrm>
                  <a:off x="881031" y="2269403"/>
                  <a:ext cx="567523" cy="1353636"/>
                </a:xfrm>
                <a:custGeom>
                  <a:avLst/>
                  <a:gdLst>
                    <a:gd name="connsiteX0" fmla="*/ 39232 w 555279"/>
                    <a:gd name="connsiteY0" fmla="*/ 292729 h 1297663"/>
                    <a:gd name="connsiteX1" fmla="*/ 0 w 555279"/>
                    <a:gd name="connsiteY1" fmla="*/ 1297663 h 1297663"/>
                    <a:gd name="connsiteX2" fmla="*/ 555279 w 555279"/>
                    <a:gd name="connsiteY2" fmla="*/ 1288610 h 1297663"/>
                    <a:gd name="connsiteX3" fmla="*/ 350068 w 555279"/>
                    <a:gd name="connsiteY3" fmla="*/ 205212 h 1297663"/>
                    <a:gd name="connsiteX4" fmla="*/ 344032 w 555279"/>
                    <a:gd name="connsiteY4" fmla="*/ 0 h 1297663"/>
                    <a:gd name="connsiteX5" fmla="*/ 39232 w 555279"/>
                    <a:gd name="connsiteY5" fmla="*/ 0 h 1297663"/>
                    <a:gd name="connsiteX6" fmla="*/ 39232 w 555279"/>
                    <a:gd name="connsiteY6" fmla="*/ 292729 h 1297663"/>
                    <a:gd name="connsiteX0" fmla="*/ 70378 w 586425"/>
                    <a:gd name="connsiteY0" fmla="*/ 292729 h 1423658"/>
                    <a:gd name="connsiteX1" fmla="*/ 31146 w 586425"/>
                    <a:gd name="connsiteY1" fmla="*/ 1297663 h 1423658"/>
                    <a:gd name="connsiteX2" fmla="*/ 586425 w 586425"/>
                    <a:gd name="connsiteY2" fmla="*/ 1288610 h 1423658"/>
                    <a:gd name="connsiteX3" fmla="*/ 381214 w 586425"/>
                    <a:gd name="connsiteY3" fmla="*/ 205212 h 1423658"/>
                    <a:gd name="connsiteX4" fmla="*/ 375178 w 586425"/>
                    <a:gd name="connsiteY4" fmla="*/ 0 h 1423658"/>
                    <a:gd name="connsiteX5" fmla="*/ 70378 w 586425"/>
                    <a:gd name="connsiteY5" fmla="*/ 0 h 1423658"/>
                    <a:gd name="connsiteX6" fmla="*/ 70378 w 586425"/>
                    <a:gd name="connsiteY6" fmla="*/ 292729 h 1423658"/>
                    <a:gd name="connsiteX0" fmla="*/ 51476 w 567523"/>
                    <a:gd name="connsiteY0" fmla="*/ 292729 h 1376338"/>
                    <a:gd name="connsiteX1" fmla="*/ 12244 w 567523"/>
                    <a:gd name="connsiteY1" fmla="*/ 1297663 h 1376338"/>
                    <a:gd name="connsiteX2" fmla="*/ 567523 w 567523"/>
                    <a:gd name="connsiteY2" fmla="*/ 1288610 h 1376338"/>
                    <a:gd name="connsiteX3" fmla="*/ 362312 w 567523"/>
                    <a:gd name="connsiteY3" fmla="*/ 205212 h 1376338"/>
                    <a:gd name="connsiteX4" fmla="*/ 356276 w 567523"/>
                    <a:gd name="connsiteY4" fmla="*/ 0 h 1376338"/>
                    <a:gd name="connsiteX5" fmla="*/ 51476 w 567523"/>
                    <a:gd name="connsiteY5" fmla="*/ 0 h 1376338"/>
                    <a:gd name="connsiteX6" fmla="*/ 51476 w 567523"/>
                    <a:gd name="connsiteY6" fmla="*/ 292729 h 1376338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362312 w 567523"/>
                    <a:gd name="connsiteY3" fmla="*/ 205212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292729 h 1317422"/>
                    <a:gd name="connsiteX1" fmla="*/ 12244 w 567523"/>
                    <a:gd name="connsiteY1" fmla="*/ 1297663 h 1317422"/>
                    <a:gd name="connsiteX2" fmla="*/ 567523 w 567523"/>
                    <a:gd name="connsiteY2" fmla="*/ 1288610 h 1317422"/>
                    <a:gd name="connsiteX3" fmla="*/ 422668 w 567523"/>
                    <a:gd name="connsiteY3" fmla="*/ 214265 h 1317422"/>
                    <a:gd name="connsiteX4" fmla="*/ 356276 w 567523"/>
                    <a:gd name="connsiteY4" fmla="*/ 0 h 1317422"/>
                    <a:gd name="connsiteX5" fmla="*/ 51476 w 567523"/>
                    <a:gd name="connsiteY5" fmla="*/ 0 h 1317422"/>
                    <a:gd name="connsiteX6" fmla="*/ 51476 w 567523"/>
                    <a:gd name="connsiteY6" fmla="*/ 292729 h 1317422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  <a:gd name="connsiteX0" fmla="*/ 51476 w 567523"/>
                    <a:gd name="connsiteY0" fmla="*/ 328943 h 1353636"/>
                    <a:gd name="connsiteX1" fmla="*/ 12244 w 567523"/>
                    <a:gd name="connsiteY1" fmla="*/ 1333877 h 1353636"/>
                    <a:gd name="connsiteX2" fmla="*/ 567523 w 567523"/>
                    <a:gd name="connsiteY2" fmla="*/ 1324824 h 1353636"/>
                    <a:gd name="connsiteX3" fmla="*/ 422668 w 567523"/>
                    <a:gd name="connsiteY3" fmla="*/ 250479 h 1353636"/>
                    <a:gd name="connsiteX4" fmla="*/ 428704 w 567523"/>
                    <a:gd name="connsiteY4" fmla="*/ 0 h 1353636"/>
                    <a:gd name="connsiteX5" fmla="*/ 51476 w 567523"/>
                    <a:gd name="connsiteY5" fmla="*/ 36214 h 1353636"/>
                    <a:gd name="connsiteX6" fmla="*/ 51476 w 567523"/>
                    <a:gd name="connsiteY6" fmla="*/ 328943 h 135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7523" h="1353636">
                      <a:moveTo>
                        <a:pt x="51476" y="328943"/>
                      </a:moveTo>
                      <a:cubicBezTo>
                        <a:pt x="44937" y="545220"/>
                        <a:pt x="-28496" y="1315770"/>
                        <a:pt x="12244" y="1333877"/>
                      </a:cubicBezTo>
                      <a:cubicBezTo>
                        <a:pt x="52984" y="1351984"/>
                        <a:pt x="433732" y="1371097"/>
                        <a:pt x="567523" y="1324824"/>
                      </a:cubicBezTo>
                      <a:cubicBezTo>
                        <a:pt x="499119" y="963691"/>
                        <a:pt x="424679" y="356606"/>
                        <a:pt x="422668" y="250479"/>
                      </a:cubicBezTo>
                      <a:cubicBezTo>
                        <a:pt x="420657" y="144352"/>
                        <a:pt x="426692" y="83493"/>
                        <a:pt x="428704" y="0"/>
                      </a:cubicBezTo>
                      <a:lnTo>
                        <a:pt x="51476" y="36214"/>
                      </a:lnTo>
                      <a:lnTo>
                        <a:pt x="51476" y="328943"/>
                      </a:lnTo>
                      <a:close/>
                    </a:path>
                  </a:pathLst>
                </a:custGeom>
                <a:solidFill>
                  <a:srgbClr val="F3DA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Arial" charset="0"/>
                  </a:endParaRPr>
                </a:p>
              </p:txBody>
            </p:sp>
            <p:sp>
              <p:nvSpPr>
                <p:cNvPr id="1529" name="Freeform 1528"/>
                <p:cNvSpPr/>
                <p:nvPr/>
              </p:nvSpPr>
              <p:spPr>
                <a:xfrm>
                  <a:off x="830273" y="3832860"/>
                  <a:ext cx="687430" cy="169649"/>
                </a:xfrm>
                <a:custGeom>
                  <a:avLst/>
                  <a:gdLst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40970"/>
                    <a:gd name="connsiteX1" fmla="*/ 567690 w 678180"/>
                    <a:gd name="connsiteY1" fmla="*/ 0 h 140970"/>
                    <a:gd name="connsiteX2" fmla="*/ 678180 w 678180"/>
                    <a:gd name="connsiteY2" fmla="*/ 57150 h 140970"/>
                    <a:gd name="connsiteX3" fmla="*/ 651510 w 678180"/>
                    <a:gd name="connsiteY3" fmla="*/ 125730 h 140970"/>
                    <a:gd name="connsiteX4" fmla="*/ 125730 w 678180"/>
                    <a:gd name="connsiteY4" fmla="*/ 140970 h 140970"/>
                    <a:gd name="connsiteX5" fmla="*/ 0 w 678180"/>
                    <a:gd name="connsiteY5" fmla="*/ 26670 h 140970"/>
                    <a:gd name="connsiteX0" fmla="*/ 0 w 678180"/>
                    <a:gd name="connsiteY0" fmla="*/ 26670 h 125730"/>
                    <a:gd name="connsiteX1" fmla="*/ 567690 w 678180"/>
                    <a:gd name="connsiteY1" fmla="*/ 0 h 125730"/>
                    <a:gd name="connsiteX2" fmla="*/ 678180 w 678180"/>
                    <a:gd name="connsiteY2" fmla="*/ 57150 h 125730"/>
                    <a:gd name="connsiteX3" fmla="*/ 651510 w 678180"/>
                    <a:gd name="connsiteY3" fmla="*/ 125730 h 125730"/>
                    <a:gd name="connsiteX4" fmla="*/ 0 w 678180"/>
                    <a:gd name="connsiteY4" fmla="*/ 26670 h 125730"/>
                    <a:gd name="connsiteX0" fmla="*/ 0 w 678180"/>
                    <a:gd name="connsiteY0" fmla="*/ 26670 h 139710"/>
                    <a:gd name="connsiteX1" fmla="*/ 567690 w 678180"/>
                    <a:gd name="connsiteY1" fmla="*/ 0 h 139710"/>
                    <a:gd name="connsiteX2" fmla="*/ 678180 w 678180"/>
                    <a:gd name="connsiteY2" fmla="*/ 57150 h 139710"/>
                    <a:gd name="connsiteX3" fmla="*/ 651510 w 678180"/>
                    <a:gd name="connsiteY3" fmla="*/ 125730 h 139710"/>
                    <a:gd name="connsiteX4" fmla="*/ 0 w 678180"/>
                    <a:gd name="connsiteY4" fmla="*/ 26670 h 139710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180"/>
                    <a:gd name="connsiteY0" fmla="*/ 26670 h 150507"/>
                    <a:gd name="connsiteX1" fmla="*/ 567690 w 678180"/>
                    <a:gd name="connsiteY1" fmla="*/ 0 h 150507"/>
                    <a:gd name="connsiteX2" fmla="*/ 678180 w 678180"/>
                    <a:gd name="connsiteY2" fmla="*/ 57150 h 150507"/>
                    <a:gd name="connsiteX3" fmla="*/ 651510 w 678180"/>
                    <a:gd name="connsiteY3" fmla="*/ 125730 h 150507"/>
                    <a:gd name="connsiteX4" fmla="*/ 0 w 678180"/>
                    <a:gd name="connsiteY4" fmla="*/ 26670 h 150507"/>
                    <a:gd name="connsiteX0" fmla="*/ 0 w 678505"/>
                    <a:gd name="connsiteY0" fmla="*/ 26670 h 150507"/>
                    <a:gd name="connsiteX1" fmla="*/ 567690 w 678505"/>
                    <a:gd name="connsiteY1" fmla="*/ 0 h 150507"/>
                    <a:gd name="connsiteX2" fmla="*/ 678180 w 678505"/>
                    <a:gd name="connsiteY2" fmla="*/ 57150 h 150507"/>
                    <a:gd name="connsiteX3" fmla="*/ 651510 w 678505"/>
                    <a:gd name="connsiteY3" fmla="*/ 125730 h 150507"/>
                    <a:gd name="connsiteX4" fmla="*/ 0 w 678505"/>
                    <a:gd name="connsiteY4" fmla="*/ 26670 h 150507"/>
                    <a:gd name="connsiteX0" fmla="*/ 0 w 678180"/>
                    <a:gd name="connsiteY0" fmla="*/ 26670 h 97874"/>
                    <a:gd name="connsiteX1" fmla="*/ 567690 w 678180"/>
                    <a:gd name="connsiteY1" fmla="*/ 0 h 97874"/>
                    <a:gd name="connsiteX2" fmla="*/ 678180 w 678180"/>
                    <a:gd name="connsiteY2" fmla="*/ 57150 h 97874"/>
                    <a:gd name="connsiteX3" fmla="*/ 0 w 678180"/>
                    <a:gd name="connsiteY3" fmla="*/ 26670 h 97874"/>
                    <a:gd name="connsiteX0" fmla="*/ 0 w 678395"/>
                    <a:gd name="connsiteY0" fmla="*/ 26670 h 124875"/>
                    <a:gd name="connsiteX1" fmla="*/ 567690 w 678395"/>
                    <a:gd name="connsiteY1" fmla="*/ 0 h 124875"/>
                    <a:gd name="connsiteX2" fmla="*/ 678180 w 678395"/>
                    <a:gd name="connsiteY2" fmla="*/ 57150 h 124875"/>
                    <a:gd name="connsiteX3" fmla="*/ 0 w 678395"/>
                    <a:gd name="connsiteY3" fmla="*/ 26670 h 124875"/>
                    <a:gd name="connsiteX0" fmla="*/ 6385 w 684752"/>
                    <a:gd name="connsiteY0" fmla="*/ 26670 h 159961"/>
                    <a:gd name="connsiteX1" fmla="*/ 574075 w 684752"/>
                    <a:gd name="connsiteY1" fmla="*/ 0 h 159961"/>
                    <a:gd name="connsiteX2" fmla="*/ 684565 w 684752"/>
                    <a:gd name="connsiteY2" fmla="*/ 57150 h 159961"/>
                    <a:gd name="connsiteX3" fmla="*/ 6385 w 684752"/>
                    <a:gd name="connsiteY3" fmla="*/ 26670 h 159961"/>
                    <a:gd name="connsiteX0" fmla="*/ 5941 w 689167"/>
                    <a:gd name="connsiteY0" fmla="*/ 26670 h 156211"/>
                    <a:gd name="connsiteX1" fmla="*/ 573631 w 689167"/>
                    <a:gd name="connsiteY1" fmla="*/ 0 h 156211"/>
                    <a:gd name="connsiteX2" fmla="*/ 684121 w 689167"/>
                    <a:gd name="connsiteY2" fmla="*/ 57150 h 156211"/>
                    <a:gd name="connsiteX3" fmla="*/ 5941 w 689167"/>
                    <a:gd name="connsiteY3" fmla="*/ 26670 h 156211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  <a:gd name="connsiteX0" fmla="*/ 4118 w 687430"/>
                    <a:gd name="connsiteY0" fmla="*/ 26670 h 169649"/>
                    <a:gd name="connsiteX1" fmla="*/ 571808 w 687430"/>
                    <a:gd name="connsiteY1" fmla="*/ 0 h 169649"/>
                    <a:gd name="connsiteX2" fmla="*/ 682298 w 687430"/>
                    <a:gd name="connsiteY2" fmla="*/ 57150 h 169649"/>
                    <a:gd name="connsiteX3" fmla="*/ 4118 w 687430"/>
                    <a:gd name="connsiteY3" fmla="*/ 26670 h 169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7430" h="169649">
                      <a:moveTo>
                        <a:pt x="4118" y="26670"/>
                      </a:moveTo>
                      <a:cubicBezTo>
                        <a:pt x="64562" y="172746"/>
                        <a:pt x="454968" y="127000"/>
                        <a:pt x="571808" y="0"/>
                      </a:cubicBezTo>
                      <a:cubicBezTo>
                        <a:pt x="611656" y="43193"/>
                        <a:pt x="607368" y="68580"/>
                        <a:pt x="682298" y="57150"/>
                      </a:cubicBezTo>
                      <a:cubicBezTo>
                        <a:pt x="759699" y="212487"/>
                        <a:pt x="-64984" y="211229"/>
                        <a:pt x="4118" y="2667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522" name="Oval 1521"/>
              <p:cNvSpPr/>
              <p:nvPr/>
            </p:nvSpPr>
            <p:spPr>
              <a:xfrm>
                <a:off x="7507126" y="1972023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23" name="Oval 1522"/>
              <p:cNvSpPr/>
              <p:nvPr/>
            </p:nvSpPr>
            <p:spPr>
              <a:xfrm>
                <a:off x="7503706" y="2236069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24" name="Oval 1523"/>
              <p:cNvSpPr/>
              <p:nvPr/>
            </p:nvSpPr>
            <p:spPr>
              <a:xfrm>
                <a:off x="7515727" y="2500115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25" name="Oval 1524"/>
              <p:cNvSpPr/>
              <p:nvPr/>
            </p:nvSpPr>
            <p:spPr>
              <a:xfrm>
                <a:off x="7522994" y="2764161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26" name="Oval 1525"/>
              <p:cNvSpPr/>
              <p:nvPr/>
            </p:nvSpPr>
            <p:spPr>
              <a:xfrm>
                <a:off x="7504030" y="3028207"/>
                <a:ext cx="53285" cy="53285"/>
              </a:xfrm>
              <a:prstGeom prst="ellipse">
                <a:avLst/>
              </a:prstGeom>
              <a:gradFill>
                <a:gsLst>
                  <a:gs pos="60000">
                    <a:srgbClr val="FFFF00"/>
                  </a:gs>
                  <a:gs pos="75000">
                    <a:srgbClr val="A7A600"/>
                  </a:gs>
                </a:gsLst>
                <a:path path="shape">
                  <a:fillToRect l="50000" t="50000" r="50000" b="50000"/>
                </a:path>
              </a:gradFill>
              <a:ln w="25400"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11" name="Group 1610"/>
          <p:cNvGrpSpPr/>
          <p:nvPr/>
        </p:nvGrpSpPr>
        <p:grpSpPr>
          <a:xfrm>
            <a:off x="7790573" y="4705817"/>
            <a:ext cx="174906" cy="437265"/>
            <a:chOff x="2524126" y="4360863"/>
            <a:chExt cx="466725" cy="1166813"/>
          </a:xfrm>
        </p:grpSpPr>
        <p:sp>
          <p:nvSpPr>
            <p:cNvPr id="1612" name="Freeform 12387"/>
            <p:cNvSpPr>
              <a:spLocks/>
            </p:cNvSpPr>
            <p:nvPr/>
          </p:nvSpPr>
          <p:spPr bwMode="auto">
            <a:xfrm>
              <a:off x="2616201" y="4541838"/>
              <a:ext cx="69850" cy="88900"/>
            </a:xfrm>
            <a:custGeom>
              <a:avLst/>
              <a:gdLst>
                <a:gd name="T0" fmla="*/ 6 w 88"/>
                <a:gd name="T1" fmla="*/ 0 h 111"/>
                <a:gd name="T2" fmla="*/ 88 w 88"/>
                <a:gd name="T3" fmla="*/ 49 h 111"/>
                <a:gd name="T4" fmla="*/ 78 w 88"/>
                <a:gd name="T5" fmla="*/ 111 h 111"/>
                <a:gd name="T6" fmla="*/ 0 w 88"/>
                <a:gd name="T7" fmla="*/ 105 h 111"/>
                <a:gd name="T8" fmla="*/ 6 w 88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11">
                  <a:moveTo>
                    <a:pt x="6" y="0"/>
                  </a:moveTo>
                  <a:lnTo>
                    <a:pt x="88" y="49"/>
                  </a:lnTo>
                  <a:lnTo>
                    <a:pt x="78" y="111"/>
                  </a:lnTo>
                  <a:lnTo>
                    <a:pt x="0" y="10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3" name="Freeform 12388"/>
            <p:cNvSpPr>
              <a:spLocks/>
            </p:cNvSpPr>
            <p:nvPr/>
          </p:nvSpPr>
          <p:spPr bwMode="auto">
            <a:xfrm>
              <a:off x="2586039" y="4945063"/>
              <a:ext cx="146050" cy="514350"/>
            </a:xfrm>
            <a:custGeom>
              <a:avLst/>
              <a:gdLst>
                <a:gd name="T0" fmla="*/ 0 w 184"/>
                <a:gd name="T1" fmla="*/ 0 h 649"/>
                <a:gd name="T2" fmla="*/ 141 w 184"/>
                <a:gd name="T3" fmla="*/ 6 h 649"/>
                <a:gd name="T4" fmla="*/ 184 w 184"/>
                <a:gd name="T5" fmla="*/ 277 h 649"/>
                <a:gd name="T6" fmla="*/ 145 w 184"/>
                <a:gd name="T7" fmla="*/ 649 h 649"/>
                <a:gd name="T8" fmla="*/ 100 w 184"/>
                <a:gd name="T9" fmla="*/ 647 h 649"/>
                <a:gd name="T10" fmla="*/ 84 w 184"/>
                <a:gd name="T11" fmla="*/ 394 h 649"/>
                <a:gd name="T12" fmla="*/ 106 w 184"/>
                <a:gd name="T13" fmla="*/ 290 h 649"/>
                <a:gd name="T14" fmla="*/ 0 w 184"/>
                <a:gd name="T15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649">
                  <a:moveTo>
                    <a:pt x="0" y="0"/>
                  </a:moveTo>
                  <a:lnTo>
                    <a:pt x="141" y="6"/>
                  </a:lnTo>
                  <a:lnTo>
                    <a:pt x="184" y="277"/>
                  </a:lnTo>
                  <a:lnTo>
                    <a:pt x="145" y="649"/>
                  </a:lnTo>
                  <a:lnTo>
                    <a:pt x="100" y="647"/>
                  </a:lnTo>
                  <a:lnTo>
                    <a:pt x="84" y="394"/>
                  </a:lnTo>
                  <a:lnTo>
                    <a:pt x="106" y="2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4" name="Freeform 12389"/>
            <p:cNvSpPr>
              <a:spLocks/>
            </p:cNvSpPr>
            <p:nvPr/>
          </p:nvSpPr>
          <p:spPr bwMode="auto">
            <a:xfrm>
              <a:off x="2660651" y="5457826"/>
              <a:ext cx="122238" cy="50800"/>
            </a:xfrm>
            <a:custGeom>
              <a:avLst/>
              <a:gdLst>
                <a:gd name="T0" fmla="*/ 6 w 153"/>
                <a:gd name="T1" fmla="*/ 0 h 65"/>
                <a:gd name="T2" fmla="*/ 57 w 153"/>
                <a:gd name="T3" fmla="*/ 2 h 65"/>
                <a:gd name="T4" fmla="*/ 61 w 153"/>
                <a:gd name="T5" fmla="*/ 4 h 65"/>
                <a:gd name="T6" fmla="*/ 76 w 153"/>
                <a:gd name="T7" fmla="*/ 6 h 65"/>
                <a:gd name="T8" fmla="*/ 96 w 153"/>
                <a:gd name="T9" fmla="*/ 12 h 65"/>
                <a:gd name="T10" fmla="*/ 117 w 153"/>
                <a:gd name="T11" fmla="*/ 20 h 65"/>
                <a:gd name="T12" fmla="*/ 137 w 153"/>
                <a:gd name="T13" fmla="*/ 33 h 65"/>
                <a:gd name="T14" fmla="*/ 147 w 153"/>
                <a:gd name="T15" fmla="*/ 47 h 65"/>
                <a:gd name="T16" fmla="*/ 153 w 153"/>
                <a:gd name="T17" fmla="*/ 59 h 65"/>
                <a:gd name="T18" fmla="*/ 153 w 153"/>
                <a:gd name="T19" fmla="*/ 65 h 65"/>
                <a:gd name="T20" fmla="*/ 0 w 153"/>
                <a:gd name="T21" fmla="*/ 57 h 65"/>
                <a:gd name="T22" fmla="*/ 6 w 153"/>
                <a:gd name="T2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3" h="65">
                  <a:moveTo>
                    <a:pt x="6" y="0"/>
                  </a:moveTo>
                  <a:lnTo>
                    <a:pt x="57" y="2"/>
                  </a:lnTo>
                  <a:lnTo>
                    <a:pt x="61" y="4"/>
                  </a:lnTo>
                  <a:lnTo>
                    <a:pt x="76" y="6"/>
                  </a:lnTo>
                  <a:lnTo>
                    <a:pt x="96" y="12"/>
                  </a:lnTo>
                  <a:lnTo>
                    <a:pt x="117" y="20"/>
                  </a:lnTo>
                  <a:lnTo>
                    <a:pt x="137" y="33"/>
                  </a:lnTo>
                  <a:lnTo>
                    <a:pt x="147" y="47"/>
                  </a:lnTo>
                  <a:lnTo>
                    <a:pt x="153" y="59"/>
                  </a:lnTo>
                  <a:lnTo>
                    <a:pt x="153" y="65"/>
                  </a:lnTo>
                  <a:lnTo>
                    <a:pt x="0" y="5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5" name="Freeform 12390"/>
            <p:cNvSpPr>
              <a:spLocks/>
            </p:cNvSpPr>
            <p:nvPr/>
          </p:nvSpPr>
          <p:spPr bwMode="auto">
            <a:xfrm>
              <a:off x="2535239" y="4927601"/>
              <a:ext cx="111125" cy="539750"/>
            </a:xfrm>
            <a:custGeom>
              <a:avLst/>
              <a:gdLst>
                <a:gd name="T0" fmla="*/ 139 w 139"/>
                <a:gd name="T1" fmla="*/ 0 h 680"/>
                <a:gd name="T2" fmla="*/ 139 w 139"/>
                <a:gd name="T3" fmla="*/ 317 h 680"/>
                <a:gd name="T4" fmla="*/ 45 w 139"/>
                <a:gd name="T5" fmla="*/ 680 h 680"/>
                <a:gd name="T6" fmla="*/ 0 w 139"/>
                <a:gd name="T7" fmla="*/ 672 h 680"/>
                <a:gd name="T8" fmla="*/ 24 w 139"/>
                <a:gd name="T9" fmla="*/ 419 h 680"/>
                <a:gd name="T10" fmla="*/ 61 w 139"/>
                <a:gd name="T11" fmla="*/ 317 h 680"/>
                <a:gd name="T12" fmla="*/ 22 w 139"/>
                <a:gd name="T13" fmla="*/ 21 h 680"/>
                <a:gd name="T14" fmla="*/ 139 w 139"/>
                <a:gd name="T15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680">
                  <a:moveTo>
                    <a:pt x="139" y="0"/>
                  </a:moveTo>
                  <a:lnTo>
                    <a:pt x="139" y="317"/>
                  </a:lnTo>
                  <a:lnTo>
                    <a:pt x="45" y="680"/>
                  </a:lnTo>
                  <a:lnTo>
                    <a:pt x="0" y="672"/>
                  </a:lnTo>
                  <a:lnTo>
                    <a:pt x="24" y="419"/>
                  </a:lnTo>
                  <a:lnTo>
                    <a:pt x="61" y="317"/>
                  </a:lnTo>
                  <a:lnTo>
                    <a:pt x="22" y="21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0000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6" name="Freeform 12391"/>
            <p:cNvSpPr>
              <a:spLocks/>
            </p:cNvSpPr>
            <p:nvPr/>
          </p:nvSpPr>
          <p:spPr bwMode="auto">
            <a:xfrm>
              <a:off x="2524126" y="5461001"/>
              <a:ext cx="120650" cy="66675"/>
            </a:xfrm>
            <a:custGeom>
              <a:avLst/>
              <a:gdLst>
                <a:gd name="T0" fmla="*/ 14 w 151"/>
                <a:gd name="T1" fmla="*/ 0 h 84"/>
                <a:gd name="T2" fmla="*/ 65 w 151"/>
                <a:gd name="T3" fmla="*/ 8 h 84"/>
                <a:gd name="T4" fmla="*/ 71 w 151"/>
                <a:gd name="T5" fmla="*/ 10 h 84"/>
                <a:gd name="T6" fmla="*/ 85 w 151"/>
                <a:gd name="T7" fmla="*/ 16 h 84"/>
                <a:gd name="T8" fmla="*/ 102 w 151"/>
                <a:gd name="T9" fmla="*/ 24 h 84"/>
                <a:gd name="T10" fmla="*/ 122 w 151"/>
                <a:gd name="T11" fmla="*/ 35 h 84"/>
                <a:gd name="T12" fmla="*/ 139 w 151"/>
                <a:gd name="T13" fmla="*/ 49 h 84"/>
                <a:gd name="T14" fmla="*/ 149 w 151"/>
                <a:gd name="T15" fmla="*/ 65 h 84"/>
                <a:gd name="T16" fmla="*/ 151 w 151"/>
                <a:gd name="T17" fmla="*/ 78 h 84"/>
                <a:gd name="T18" fmla="*/ 151 w 151"/>
                <a:gd name="T19" fmla="*/ 84 h 84"/>
                <a:gd name="T20" fmla="*/ 0 w 151"/>
                <a:gd name="T21" fmla="*/ 55 h 84"/>
                <a:gd name="T22" fmla="*/ 14 w 151"/>
                <a:gd name="T2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84">
                  <a:moveTo>
                    <a:pt x="14" y="0"/>
                  </a:moveTo>
                  <a:lnTo>
                    <a:pt x="65" y="8"/>
                  </a:lnTo>
                  <a:lnTo>
                    <a:pt x="71" y="10"/>
                  </a:lnTo>
                  <a:lnTo>
                    <a:pt x="85" y="16"/>
                  </a:lnTo>
                  <a:lnTo>
                    <a:pt x="102" y="24"/>
                  </a:lnTo>
                  <a:lnTo>
                    <a:pt x="122" y="35"/>
                  </a:lnTo>
                  <a:lnTo>
                    <a:pt x="139" y="49"/>
                  </a:lnTo>
                  <a:lnTo>
                    <a:pt x="149" y="65"/>
                  </a:lnTo>
                  <a:lnTo>
                    <a:pt x="151" y="78"/>
                  </a:lnTo>
                  <a:lnTo>
                    <a:pt x="151" y="84"/>
                  </a:lnTo>
                  <a:lnTo>
                    <a:pt x="0" y="55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7" name="Freeform 12392"/>
            <p:cNvSpPr>
              <a:spLocks/>
            </p:cNvSpPr>
            <p:nvPr/>
          </p:nvSpPr>
          <p:spPr bwMode="auto">
            <a:xfrm>
              <a:off x="2619376" y="4625976"/>
              <a:ext cx="206375" cy="196850"/>
            </a:xfrm>
            <a:custGeom>
              <a:avLst/>
              <a:gdLst>
                <a:gd name="T0" fmla="*/ 23 w 261"/>
                <a:gd name="T1" fmla="*/ 0 h 249"/>
                <a:gd name="T2" fmla="*/ 98 w 261"/>
                <a:gd name="T3" fmla="*/ 2 h 249"/>
                <a:gd name="T4" fmla="*/ 200 w 261"/>
                <a:gd name="T5" fmla="*/ 187 h 249"/>
                <a:gd name="T6" fmla="*/ 235 w 261"/>
                <a:gd name="T7" fmla="*/ 173 h 249"/>
                <a:gd name="T8" fmla="*/ 261 w 261"/>
                <a:gd name="T9" fmla="*/ 222 h 249"/>
                <a:gd name="T10" fmla="*/ 219 w 261"/>
                <a:gd name="T11" fmla="*/ 244 h 249"/>
                <a:gd name="T12" fmla="*/ 196 w 261"/>
                <a:gd name="T13" fmla="*/ 249 h 249"/>
                <a:gd name="T14" fmla="*/ 6 w 261"/>
                <a:gd name="T15" fmla="*/ 98 h 249"/>
                <a:gd name="T16" fmla="*/ 0 w 261"/>
                <a:gd name="T17" fmla="*/ 32 h 249"/>
                <a:gd name="T18" fmla="*/ 23 w 261"/>
                <a:gd name="T1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249">
                  <a:moveTo>
                    <a:pt x="23" y="0"/>
                  </a:moveTo>
                  <a:lnTo>
                    <a:pt x="98" y="2"/>
                  </a:lnTo>
                  <a:lnTo>
                    <a:pt x="200" y="187"/>
                  </a:lnTo>
                  <a:lnTo>
                    <a:pt x="235" y="173"/>
                  </a:lnTo>
                  <a:lnTo>
                    <a:pt x="261" y="222"/>
                  </a:lnTo>
                  <a:lnTo>
                    <a:pt x="219" y="244"/>
                  </a:lnTo>
                  <a:lnTo>
                    <a:pt x="196" y="249"/>
                  </a:lnTo>
                  <a:lnTo>
                    <a:pt x="6" y="98"/>
                  </a:lnTo>
                  <a:lnTo>
                    <a:pt x="0" y="3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8" name="Freeform 12393"/>
            <p:cNvSpPr>
              <a:spLocks/>
            </p:cNvSpPr>
            <p:nvPr/>
          </p:nvSpPr>
          <p:spPr bwMode="auto">
            <a:xfrm>
              <a:off x="2921001" y="4676776"/>
              <a:ext cx="69850" cy="65088"/>
            </a:xfrm>
            <a:custGeom>
              <a:avLst/>
              <a:gdLst>
                <a:gd name="T0" fmla="*/ 39 w 88"/>
                <a:gd name="T1" fmla="*/ 0 h 82"/>
                <a:gd name="T2" fmla="*/ 75 w 88"/>
                <a:gd name="T3" fmla="*/ 24 h 82"/>
                <a:gd name="T4" fmla="*/ 88 w 88"/>
                <a:gd name="T5" fmla="*/ 45 h 82"/>
                <a:gd name="T6" fmla="*/ 63 w 88"/>
                <a:gd name="T7" fmla="*/ 77 h 82"/>
                <a:gd name="T8" fmla="*/ 22 w 88"/>
                <a:gd name="T9" fmla="*/ 82 h 82"/>
                <a:gd name="T10" fmla="*/ 0 w 88"/>
                <a:gd name="T11" fmla="*/ 59 h 82"/>
                <a:gd name="T12" fmla="*/ 16 w 88"/>
                <a:gd name="T13" fmla="*/ 35 h 82"/>
                <a:gd name="T14" fmla="*/ 24 w 88"/>
                <a:gd name="T15" fmla="*/ 8 h 82"/>
                <a:gd name="T16" fmla="*/ 39 w 88"/>
                <a:gd name="T1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82">
                  <a:moveTo>
                    <a:pt x="39" y="0"/>
                  </a:moveTo>
                  <a:lnTo>
                    <a:pt x="75" y="24"/>
                  </a:lnTo>
                  <a:lnTo>
                    <a:pt x="88" y="45"/>
                  </a:lnTo>
                  <a:lnTo>
                    <a:pt x="63" y="77"/>
                  </a:lnTo>
                  <a:lnTo>
                    <a:pt x="22" y="82"/>
                  </a:lnTo>
                  <a:lnTo>
                    <a:pt x="0" y="59"/>
                  </a:lnTo>
                  <a:lnTo>
                    <a:pt x="16" y="35"/>
                  </a:lnTo>
                  <a:lnTo>
                    <a:pt x="24" y="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9" name="Freeform 12394"/>
            <p:cNvSpPr>
              <a:spLocks/>
            </p:cNvSpPr>
            <p:nvPr/>
          </p:nvSpPr>
          <p:spPr bwMode="auto">
            <a:xfrm>
              <a:off x="2551114" y="4621213"/>
              <a:ext cx="160338" cy="330200"/>
            </a:xfrm>
            <a:custGeom>
              <a:avLst/>
              <a:gdLst>
                <a:gd name="T0" fmla="*/ 43 w 201"/>
                <a:gd name="T1" fmla="*/ 0 h 415"/>
                <a:gd name="T2" fmla="*/ 184 w 201"/>
                <a:gd name="T3" fmla="*/ 7 h 415"/>
                <a:gd name="T4" fmla="*/ 201 w 201"/>
                <a:gd name="T5" fmla="*/ 111 h 415"/>
                <a:gd name="T6" fmla="*/ 186 w 201"/>
                <a:gd name="T7" fmla="*/ 415 h 415"/>
                <a:gd name="T8" fmla="*/ 0 w 201"/>
                <a:gd name="T9" fmla="*/ 407 h 415"/>
                <a:gd name="T10" fmla="*/ 21 w 201"/>
                <a:gd name="T11" fmla="*/ 321 h 415"/>
                <a:gd name="T12" fmla="*/ 9 w 201"/>
                <a:gd name="T13" fmla="*/ 86 h 415"/>
                <a:gd name="T14" fmla="*/ 43 w 201"/>
                <a:gd name="T15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415">
                  <a:moveTo>
                    <a:pt x="43" y="0"/>
                  </a:moveTo>
                  <a:lnTo>
                    <a:pt x="184" y="7"/>
                  </a:lnTo>
                  <a:lnTo>
                    <a:pt x="201" y="111"/>
                  </a:lnTo>
                  <a:lnTo>
                    <a:pt x="186" y="415"/>
                  </a:lnTo>
                  <a:lnTo>
                    <a:pt x="0" y="407"/>
                  </a:lnTo>
                  <a:lnTo>
                    <a:pt x="21" y="321"/>
                  </a:lnTo>
                  <a:lnTo>
                    <a:pt x="9" y="86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0" name="Freeform 12395"/>
            <p:cNvSpPr>
              <a:spLocks/>
            </p:cNvSpPr>
            <p:nvPr/>
          </p:nvSpPr>
          <p:spPr bwMode="auto">
            <a:xfrm>
              <a:off x="2617789" y="4614863"/>
              <a:ext cx="60325" cy="26988"/>
            </a:xfrm>
            <a:custGeom>
              <a:avLst/>
              <a:gdLst>
                <a:gd name="T0" fmla="*/ 25 w 76"/>
                <a:gd name="T1" fmla="*/ 0 h 33"/>
                <a:gd name="T2" fmla="*/ 76 w 76"/>
                <a:gd name="T3" fmla="*/ 15 h 33"/>
                <a:gd name="T4" fmla="*/ 61 w 76"/>
                <a:gd name="T5" fmla="*/ 33 h 33"/>
                <a:gd name="T6" fmla="*/ 0 w 76"/>
                <a:gd name="T7" fmla="*/ 10 h 33"/>
                <a:gd name="T8" fmla="*/ 25 w 76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3">
                  <a:moveTo>
                    <a:pt x="25" y="0"/>
                  </a:moveTo>
                  <a:lnTo>
                    <a:pt x="76" y="15"/>
                  </a:lnTo>
                  <a:lnTo>
                    <a:pt x="61" y="33"/>
                  </a:lnTo>
                  <a:lnTo>
                    <a:pt x="0" y="1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1" name="Freeform 12396"/>
            <p:cNvSpPr>
              <a:spLocks/>
            </p:cNvSpPr>
            <p:nvPr/>
          </p:nvSpPr>
          <p:spPr bwMode="auto">
            <a:xfrm>
              <a:off x="2697164" y="4627563"/>
              <a:ext cx="39688" cy="101600"/>
            </a:xfrm>
            <a:custGeom>
              <a:avLst/>
              <a:gdLst>
                <a:gd name="T0" fmla="*/ 0 w 51"/>
                <a:gd name="T1" fmla="*/ 0 h 130"/>
                <a:gd name="T2" fmla="*/ 51 w 51"/>
                <a:gd name="T3" fmla="*/ 96 h 130"/>
                <a:gd name="T4" fmla="*/ 17 w 51"/>
                <a:gd name="T5" fmla="*/ 130 h 130"/>
                <a:gd name="T6" fmla="*/ 0 w 51"/>
                <a:gd name="T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130">
                  <a:moveTo>
                    <a:pt x="0" y="0"/>
                  </a:moveTo>
                  <a:lnTo>
                    <a:pt x="51" y="96"/>
                  </a:lnTo>
                  <a:lnTo>
                    <a:pt x="17" y="1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2" name="Freeform 12397"/>
            <p:cNvSpPr>
              <a:spLocks noEditPoints="1"/>
            </p:cNvSpPr>
            <p:nvPr/>
          </p:nvSpPr>
          <p:spPr bwMode="auto">
            <a:xfrm>
              <a:off x="2613026" y="4776788"/>
              <a:ext cx="74613" cy="165100"/>
            </a:xfrm>
            <a:custGeom>
              <a:avLst/>
              <a:gdLst>
                <a:gd name="T0" fmla="*/ 31 w 94"/>
                <a:gd name="T1" fmla="*/ 96 h 207"/>
                <a:gd name="T2" fmla="*/ 37 w 94"/>
                <a:gd name="T3" fmla="*/ 111 h 207"/>
                <a:gd name="T4" fmla="*/ 63 w 94"/>
                <a:gd name="T5" fmla="*/ 125 h 207"/>
                <a:gd name="T6" fmla="*/ 88 w 94"/>
                <a:gd name="T7" fmla="*/ 119 h 207"/>
                <a:gd name="T8" fmla="*/ 94 w 94"/>
                <a:gd name="T9" fmla="*/ 196 h 207"/>
                <a:gd name="T10" fmla="*/ 90 w 94"/>
                <a:gd name="T11" fmla="*/ 198 h 207"/>
                <a:gd name="T12" fmla="*/ 80 w 94"/>
                <a:gd name="T13" fmla="*/ 200 h 207"/>
                <a:gd name="T14" fmla="*/ 69 w 94"/>
                <a:gd name="T15" fmla="*/ 203 h 207"/>
                <a:gd name="T16" fmla="*/ 53 w 94"/>
                <a:gd name="T17" fmla="*/ 207 h 207"/>
                <a:gd name="T18" fmla="*/ 35 w 94"/>
                <a:gd name="T19" fmla="*/ 207 h 207"/>
                <a:gd name="T20" fmla="*/ 24 w 94"/>
                <a:gd name="T21" fmla="*/ 207 h 207"/>
                <a:gd name="T22" fmla="*/ 12 w 94"/>
                <a:gd name="T23" fmla="*/ 203 h 207"/>
                <a:gd name="T24" fmla="*/ 2 w 94"/>
                <a:gd name="T25" fmla="*/ 196 h 207"/>
                <a:gd name="T26" fmla="*/ 0 w 94"/>
                <a:gd name="T27" fmla="*/ 186 h 207"/>
                <a:gd name="T28" fmla="*/ 2 w 94"/>
                <a:gd name="T29" fmla="*/ 168 h 207"/>
                <a:gd name="T30" fmla="*/ 10 w 94"/>
                <a:gd name="T31" fmla="*/ 147 h 207"/>
                <a:gd name="T32" fmla="*/ 20 w 94"/>
                <a:gd name="T33" fmla="*/ 121 h 207"/>
                <a:gd name="T34" fmla="*/ 31 w 94"/>
                <a:gd name="T35" fmla="*/ 96 h 207"/>
                <a:gd name="T36" fmla="*/ 82 w 94"/>
                <a:gd name="T37" fmla="*/ 0 h 207"/>
                <a:gd name="T38" fmla="*/ 82 w 94"/>
                <a:gd name="T39" fmla="*/ 17 h 207"/>
                <a:gd name="T40" fmla="*/ 78 w 94"/>
                <a:gd name="T41" fmla="*/ 5 h 207"/>
                <a:gd name="T42" fmla="*/ 80 w 94"/>
                <a:gd name="T43" fmla="*/ 4 h 207"/>
                <a:gd name="T44" fmla="*/ 82 w 94"/>
                <a:gd name="T45" fmla="*/ 2 h 207"/>
                <a:gd name="T46" fmla="*/ 82 w 94"/>
                <a:gd name="T47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207">
                  <a:moveTo>
                    <a:pt x="31" y="96"/>
                  </a:moveTo>
                  <a:lnTo>
                    <a:pt x="37" y="111"/>
                  </a:lnTo>
                  <a:lnTo>
                    <a:pt x="63" y="125"/>
                  </a:lnTo>
                  <a:lnTo>
                    <a:pt x="88" y="119"/>
                  </a:lnTo>
                  <a:lnTo>
                    <a:pt x="94" y="196"/>
                  </a:lnTo>
                  <a:lnTo>
                    <a:pt x="90" y="198"/>
                  </a:lnTo>
                  <a:lnTo>
                    <a:pt x="80" y="200"/>
                  </a:lnTo>
                  <a:lnTo>
                    <a:pt x="69" y="203"/>
                  </a:lnTo>
                  <a:lnTo>
                    <a:pt x="53" y="207"/>
                  </a:lnTo>
                  <a:lnTo>
                    <a:pt x="35" y="207"/>
                  </a:lnTo>
                  <a:lnTo>
                    <a:pt x="24" y="207"/>
                  </a:lnTo>
                  <a:lnTo>
                    <a:pt x="12" y="203"/>
                  </a:lnTo>
                  <a:lnTo>
                    <a:pt x="2" y="196"/>
                  </a:lnTo>
                  <a:lnTo>
                    <a:pt x="0" y="186"/>
                  </a:lnTo>
                  <a:lnTo>
                    <a:pt x="2" y="168"/>
                  </a:lnTo>
                  <a:lnTo>
                    <a:pt x="10" y="147"/>
                  </a:lnTo>
                  <a:lnTo>
                    <a:pt x="20" y="121"/>
                  </a:lnTo>
                  <a:lnTo>
                    <a:pt x="31" y="96"/>
                  </a:lnTo>
                  <a:close/>
                  <a:moveTo>
                    <a:pt x="82" y="0"/>
                  </a:moveTo>
                  <a:lnTo>
                    <a:pt x="82" y="17"/>
                  </a:lnTo>
                  <a:lnTo>
                    <a:pt x="78" y="5"/>
                  </a:lnTo>
                  <a:lnTo>
                    <a:pt x="80" y="4"/>
                  </a:lnTo>
                  <a:lnTo>
                    <a:pt x="82" y="2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F9B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3" name="Freeform 12398"/>
            <p:cNvSpPr>
              <a:spLocks/>
            </p:cNvSpPr>
            <p:nvPr/>
          </p:nvSpPr>
          <p:spPr bwMode="auto">
            <a:xfrm>
              <a:off x="2857501" y="4799013"/>
              <a:ext cx="63500" cy="60325"/>
            </a:xfrm>
            <a:custGeom>
              <a:avLst/>
              <a:gdLst>
                <a:gd name="T0" fmla="*/ 51 w 80"/>
                <a:gd name="T1" fmla="*/ 0 h 76"/>
                <a:gd name="T2" fmla="*/ 68 w 80"/>
                <a:gd name="T3" fmla="*/ 2 h 76"/>
                <a:gd name="T4" fmla="*/ 80 w 80"/>
                <a:gd name="T5" fmla="*/ 43 h 76"/>
                <a:gd name="T6" fmla="*/ 76 w 80"/>
                <a:gd name="T7" fmla="*/ 69 h 76"/>
                <a:gd name="T8" fmla="*/ 35 w 80"/>
                <a:gd name="T9" fmla="*/ 76 h 76"/>
                <a:gd name="T10" fmla="*/ 0 w 80"/>
                <a:gd name="T11" fmla="*/ 53 h 76"/>
                <a:gd name="T12" fmla="*/ 0 w 80"/>
                <a:gd name="T13" fmla="*/ 22 h 76"/>
                <a:gd name="T14" fmla="*/ 29 w 80"/>
                <a:gd name="T15" fmla="*/ 14 h 76"/>
                <a:gd name="T16" fmla="*/ 51 w 80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76">
                  <a:moveTo>
                    <a:pt x="51" y="0"/>
                  </a:moveTo>
                  <a:lnTo>
                    <a:pt x="68" y="2"/>
                  </a:lnTo>
                  <a:lnTo>
                    <a:pt x="80" y="43"/>
                  </a:lnTo>
                  <a:lnTo>
                    <a:pt x="76" y="69"/>
                  </a:lnTo>
                  <a:lnTo>
                    <a:pt x="35" y="76"/>
                  </a:lnTo>
                  <a:lnTo>
                    <a:pt x="0" y="53"/>
                  </a:lnTo>
                  <a:lnTo>
                    <a:pt x="0" y="22"/>
                  </a:lnTo>
                  <a:lnTo>
                    <a:pt x="29" y="1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4" name="Freeform 12399"/>
            <p:cNvSpPr>
              <a:spLocks/>
            </p:cNvSpPr>
            <p:nvPr/>
          </p:nvSpPr>
          <p:spPr bwMode="auto">
            <a:xfrm>
              <a:off x="2559051" y="4621213"/>
              <a:ext cx="93663" cy="150813"/>
            </a:xfrm>
            <a:custGeom>
              <a:avLst/>
              <a:gdLst>
                <a:gd name="T0" fmla="*/ 36 w 120"/>
                <a:gd name="T1" fmla="*/ 0 h 190"/>
                <a:gd name="T2" fmla="*/ 63 w 120"/>
                <a:gd name="T3" fmla="*/ 0 h 190"/>
                <a:gd name="T4" fmla="*/ 87 w 120"/>
                <a:gd name="T5" fmla="*/ 21 h 190"/>
                <a:gd name="T6" fmla="*/ 120 w 120"/>
                <a:gd name="T7" fmla="*/ 141 h 190"/>
                <a:gd name="T8" fmla="*/ 47 w 120"/>
                <a:gd name="T9" fmla="*/ 190 h 190"/>
                <a:gd name="T10" fmla="*/ 0 w 120"/>
                <a:gd name="T11" fmla="*/ 86 h 190"/>
                <a:gd name="T12" fmla="*/ 0 w 120"/>
                <a:gd name="T13" fmla="*/ 33 h 190"/>
                <a:gd name="T14" fmla="*/ 36 w 120"/>
                <a:gd name="T15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90">
                  <a:moveTo>
                    <a:pt x="36" y="0"/>
                  </a:moveTo>
                  <a:lnTo>
                    <a:pt x="63" y="0"/>
                  </a:lnTo>
                  <a:lnTo>
                    <a:pt x="87" y="21"/>
                  </a:lnTo>
                  <a:lnTo>
                    <a:pt x="120" y="141"/>
                  </a:lnTo>
                  <a:lnTo>
                    <a:pt x="47" y="190"/>
                  </a:lnTo>
                  <a:lnTo>
                    <a:pt x="0" y="86"/>
                  </a:lnTo>
                  <a:lnTo>
                    <a:pt x="0" y="33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5" name="Freeform 12400"/>
            <p:cNvSpPr>
              <a:spLocks/>
            </p:cNvSpPr>
            <p:nvPr/>
          </p:nvSpPr>
          <p:spPr bwMode="auto">
            <a:xfrm>
              <a:off x="2627314" y="4640263"/>
              <a:ext cx="73025" cy="101600"/>
            </a:xfrm>
            <a:custGeom>
              <a:avLst/>
              <a:gdLst>
                <a:gd name="T0" fmla="*/ 0 w 92"/>
                <a:gd name="T1" fmla="*/ 0 h 129"/>
                <a:gd name="T2" fmla="*/ 47 w 92"/>
                <a:gd name="T3" fmla="*/ 14 h 129"/>
                <a:gd name="T4" fmla="*/ 72 w 92"/>
                <a:gd name="T5" fmla="*/ 6 h 129"/>
                <a:gd name="T6" fmla="*/ 92 w 92"/>
                <a:gd name="T7" fmla="*/ 129 h 129"/>
                <a:gd name="T8" fmla="*/ 88 w 92"/>
                <a:gd name="T9" fmla="*/ 129 h 129"/>
                <a:gd name="T10" fmla="*/ 74 w 92"/>
                <a:gd name="T11" fmla="*/ 126 h 129"/>
                <a:gd name="T12" fmla="*/ 56 w 92"/>
                <a:gd name="T13" fmla="*/ 120 h 129"/>
                <a:gd name="T14" fmla="*/ 37 w 92"/>
                <a:gd name="T15" fmla="*/ 112 h 129"/>
                <a:gd name="T16" fmla="*/ 6 w 92"/>
                <a:gd name="T17" fmla="*/ 18 h 129"/>
                <a:gd name="T18" fmla="*/ 0 w 92"/>
                <a:gd name="T1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129">
                  <a:moveTo>
                    <a:pt x="0" y="0"/>
                  </a:moveTo>
                  <a:lnTo>
                    <a:pt x="47" y="14"/>
                  </a:lnTo>
                  <a:lnTo>
                    <a:pt x="72" y="6"/>
                  </a:lnTo>
                  <a:lnTo>
                    <a:pt x="92" y="129"/>
                  </a:lnTo>
                  <a:lnTo>
                    <a:pt x="88" y="129"/>
                  </a:lnTo>
                  <a:lnTo>
                    <a:pt x="74" y="126"/>
                  </a:lnTo>
                  <a:lnTo>
                    <a:pt x="56" y="120"/>
                  </a:lnTo>
                  <a:lnTo>
                    <a:pt x="37" y="112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9B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6" name="Freeform 12401"/>
            <p:cNvSpPr>
              <a:spLocks/>
            </p:cNvSpPr>
            <p:nvPr/>
          </p:nvSpPr>
          <p:spPr bwMode="auto">
            <a:xfrm>
              <a:off x="2617789" y="4637088"/>
              <a:ext cx="14288" cy="15875"/>
            </a:xfrm>
            <a:custGeom>
              <a:avLst/>
              <a:gdLst>
                <a:gd name="T0" fmla="*/ 2 w 18"/>
                <a:gd name="T1" fmla="*/ 0 h 22"/>
                <a:gd name="T2" fmla="*/ 12 w 18"/>
                <a:gd name="T3" fmla="*/ 4 h 22"/>
                <a:gd name="T4" fmla="*/ 18 w 18"/>
                <a:gd name="T5" fmla="*/ 22 h 22"/>
                <a:gd name="T6" fmla="*/ 0 w 18"/>
                <a:gd name="T7" fmla="*/ 6 h 22"/>
                <a:gd name="T8" fmla="*/ 2 w 18"/>
                <a:gd name="T9" fmla="*/ 2 h 22"/>
                <a:gd name="T10" fmla="*/ 2 w 18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2">
                  <a:moveTo>
                    <a:pt x="2" y="0"/>
                  </a:moveTo>
                  <a:lnTo>
                    <a:pt x="12" y="4"/>
                  </a:lnTo>
                  <a:lnTo>
                    <a:pt x="18" y="22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B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7" name="Freeform 12402"/>
            <p:cNvSpPr>
              <a:spLocks/>
            </p:cNvSpPr>
            <p:nvPr/>
          </p:nvSpPr>
          <p:spPr bwMode="auto">
            <a:xfrm>
              <a:off x="2581276" y="4951413"/>
              <a:ext cx="57150" cy="207963"/>
            </a:xfrm>
            <a:custGeom>
              <a:avLst/>
              <a:gdLst>
                <a:gd name="T0" fmla="*/ 0 w 70"/>
                <a:gd name="T1" fmla="*/ 0 h 263"/>
                <a:gd name="T2" fmla="*/ 70 w 70"/>
                <a:gd name="T3" fmla="*/ 8 h 263"/>
                <a:gd name="T4" fmla="*/ 63 w 70"/>
                <a:gd name="T5" fmla="*/ 263 h 263"/>
                <a:gd name="T6" fmla="*/ 59 w 70"/>
                <a:gd name="T7" fmla="*/ 259 h 263"/>
                <a:gd name="T8" fmla="*/ 53 w 70"/>
                <a:gd name="T9" fmla="*/ 251 h 263"/>
                <a:gd name="T10" fmla="*/ 43 w 70"/>
                <a:gd name="T11" fmla="*/ 237 h 263"/>
                <a:gd name="T12" fmla="*/ 33 w 70"/>
                <a:gd name="T13" fmla="*/ 222 h 263"/>
                <a:gd name="T14" fmla="*/ 23 w 70"/>
                <a:gd name="T15" fmla="*/ 204 h 263"/>
                <a:gd name="T16" fmla="*/ 15 w 70"/>
                <a:gd name="T17" fmla="*/ 184 h 263"/>
                <a:gd name="T18" fmla="*/ 12 w 70"/>
                <a:gd name="T19" fmla="*/ 167 h 263"/>
                <a:gd name="T20" fmla="*/ 10 w 70"/>
                <a:gd name="T21" fmla="*/ 147 h 263"/>
                <a:gd name="T22" fmla="*/ 8 w 70"/>
                <a:gd name="T23" fmla="*/ 122 h 263"/>
                <a:gd name="T24" fmla="*/ 6 w 70"/>
                <a:gd name="T25" fmla="*/ 96 h 263"/>
                <a:gd name="T26" fmla="*/ 4 w 70"/>
                <a:gd name="T27" fmla="*/ 67 h 263"/>
                <a:gd name="T28" fmla="*/ 2 w 70"/>
                <a:gd name="T29" fmla="*/ 41 h 263"/>
                <a:gd name="T30" fmla="*/ 2 w 70"/>
                <a:gd name="T31" fmla="*/ 22 h 263"/>
                <a:gd name="T32" fmla="*/ 0 w 70"/>
                <a:gd name="T33" fmla="*/ 6 h 263"/>
                <a:gd name="T34" fmla="*/ 0 w 70"/>
                <a:gd name="T35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" h="263">
                  <a:moveTo>
                    <a:pt x="0" y="0"/>
                  </a:moveTo>
                  <a:lnTo>
                    <a:pt x="70" y="8"/>
                  </a:lnTo>
                  <a:lnTo>
                    <a:pt x="63" y="263"/>
                  </a:lnTo>
                  <a:lnTo>
                    <a:pt x="59" y="259"/>
                  </a:lnTo>
                  <a:lnTo>
                    <a:pt x="53" y="251"/>
                  </a:lnTo>
                  <a:lnTo>
                    <a:pt x="43" y="237"/>
                  </a:lnTo>
                  <a:lnTo>
                    <a:pt x="33" y="222"/>
                  </a:lnTo>
                  <a:lnTo>
                    <a:pt x="23" y="204"/>
                  </a:lnTo>
                  <a:lnTo>
                    <a:pt x="15" y="184"/>
                  </a:lnTo>
                  <a:lnTo>
                    <a:pt x="12" y="167"/>
                  </a:lnTo>
                  <a:lnTo>
                    <a:pt x="10" y="147"/>
                  </a:lnTo>
                  <a:lnTo>
                    <a:pt x="8" y="122"/>
                  </a:lnTo>
                  <a:lnTo>
                    <a:pt x="6" y="96"/>
                  </a:lnTo>
                  <a:lnTo>
                    <a:pt x="4" y="67"/>
                  </a:lnTo>
                  <a:lnTo>
                    <a:pt x="2" y="41"/>
                  </a:lnTo>
                  <a:lnTo>
                    <a:pt x="2" y="2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8" name="Freeform 12403"/>
            <p:cNvSpPr>
              <a:spLocks/>
            </p:cNvSpPr>
            <p:nvPr/>
          </p:nvSpPr>
          <p:spPr bwMode="auto">
            <a:xfrm>
              <a:off x="2681289" y="4995863"/>
              <a:ext cx="36513" cy="166688"/>
            </a:xfrm>
            <a:custGeom>
              <a:avLst/>
              <a:gdLst>
                <a:gd name="T0" fmla="*/ 20 w 45"/>
                <a:gd name="T1" fmla="*/ 0 h 210"/>
                <a:gd name="T2" fmla="*/ 45 w 45"/>
                <a:gd name="T3" fmla="*/ 210 h 210"/>
                <a:gd name="T4" fmla="*/ 41 w 45"/>
                <a:gd name="T5" fmla="*/ 206 h 210"/>
                <a:gd name="T6" fmla="*/ 34 w 45"/>
                <a:gd name="T7" fmla="*/ 194 h 210"/>
                <a:gd name="T8" fmla="*/ 24 w 45"/>
                <a:gd name="T9" fmla="*/ 180 h 210"/>
                <a:gd name="T10" fmla="*/ 14 w 45"/>
                <a:gd name="T11" fmla="*/ 163 h 210"/>
                <a:gd name="T12" fmla="*/ 4 w 45"/>
                <a:gd name="T13" fmla="*/ 147 h 210"/>
                <a:gd name="T14" fmla="*/ 0 w 45"/>
                <a:gd name="T15" fmla="*/ 133 h 210"/>
                <a:gd name="T16" fmla="*/ 0 w 45"/>
                <a:gd name="T17" fmla="*/ 120 h 210"/>
                <a:gd name="T18" fmla="*/ 0 w 45"/>
                <a:gd name="T19" fmla="*/ 100 h 210"/>
                <a:gd name="T20" fmla="*/ 4 w 45"/>
                <a:gd name="T21" fmla="*/ 78 h 210"/>
                <a:gd name="T22" fmla="*/ 8 w 45"/>
                <a:gd name="T23" fmla="*/ 57 h 210"/>
                <a:gd name="T24" fmla="*/ 12 w 45"/>
                <a:gd name="T25" fmla="*/ 35 h 210"/>
                <a:gd name="T26" fmla="*/ 16 w 45"/>
                <a:gd name="T27" fmla="*/ 16 h 210"/>
                <a:gd name="T28" fmla="*/ 18 w 45"/>
                <a:gd name="T29" fmla="*/ 4 h 210"/>
                <a:gd name="T30" fmla="*/ 20 w 45"/>
                <a:gd name="T3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210">
                  <a:moveTo>
                    <a:pt x="20" y="0"/>
                  </a:moveTo>
                  <a:lnTo>
                    <a:pt x="45" y="210"/>
                  </a:lnTo>
                  <a:lnTo>
                    <a:pt x="41" y="206"/>
                  </a:lnTo>
                  <a:lnTo>
                    <a:pt x="34" y="194"/>
                  </a:lnTo>
                  <a:lnTo>
                    <a:pt x="24" y="180"/>
                  </a:lnTo>
                  <a:lnTo>
                    <a:pt x="14" y="163"/>
                  </a:lnTo>
                  <a:lnTo>
                    <a:pt x="4" y="147"/>
                  </a:lnTo>
                  <a:lnTo>
                    <a:pt x="0" y="133"/>
                  </a:lnTo>
                  <a:lnTo>
                    <a:pt x="0" y="120"/>
                  </a:lnTo>
                  <a:lnTo>
                    <a:pt x="0" y="100"/>
                  </a:lnTo>
                  <a:lnTo>
                    <a:pt x="4" y="78"/>
                  </a:lnTo>
                  <a:lnTo>
                    <a:pt x="8" y="57"/>
                  </a:lnTo>
                  <a:lnTo>
                    <a:pt x="12" y="35"/>
                  </a:lnTo>
                  <a:lnTo>
                    <a:pt x="16" y="16"/>
                  </a:lnTo>
                  <a:lnTo>
                    <a:pt x="18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9" name="Freeform 12404"/>
            <p:cNvSpPr>
              <a:spLocks/>
            </p:cNvSpPr>
            <p:nvPr/>
          </p:nvSpPr>
          <p:spPr bwMode="auto">
            <a:xfrm>
              <a:off x="2733676" y="4810126"/>
              <a:ext cx="142875" cy="52388"/>
            </a:xfrm>
            <a:custGeom>
              <a:avLst/>
              <a:gdLst>
                <a:gd name="T0" fmla="*/ 178 w 178"/>
                <a:gd name="T1" fmla="*/ 0 h 64"/>
                <a:gd name="T2" fmla="*/ 172 w 178"/>
                <a:gd name="T3" fmla="*/ 37 h 64"/>
                <a:gd name="T4" fmla="*/ 10 w 178"/>
                <a:gd name="T5" fmla="*/ 64 h 64"/>
                <a:gd name="T6" fmla="*/ 0 w 178"/>
                <a:gd name="T7" fmla="*/ 6 h 64"/>
                <a:gd name="T8" fmla="*/ 178 w 178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64">
                  <a:moveTo>
                    <a:pt x="178" y="0"/>
                  </a:moveTo>
                  <a:lnTo>
                    <a:pt x="172" y="37"/>
                  </a:lnTo>
                  <a:lnTo>
                    <a:pt x="10" y="64"/>
                  </a:lnTo>
                  <a:lnTo>
                    <a:pt x="0" y="6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0" name="Freeform 12405"/>
            <p:cNvSpPr>
              <a:spLocks/>
            </p:cNvSpPr>
            <p:nvPr/>
          </p:nvSpPr>
          <p:spPr bwMode="auto">
            <a:xfrm>
              <a:off x="2573339" y="4630738"/>
              <a:ext cx="168275" cy="246063"/>
            </a:xfrm>
            <a:custGeom>
              <a:avLst/>
              <a:gdLst>
                <a:gd name="T0" fmla="*/ 45 w 214"/>
                <a:gd name="T1" fmla="*/ 0 h 310"/>
                <a:gd name="T2" fmla="*/ 75 w 214"/>
                <a:gd name="T3" fmla="*/ 30 h 310"/>
                <a:gd name="T4" fmla="*/ 141 w 214"/>
                <a:gd name="T5" fmla="*/ 224 h 310"/>
                <a:gd name="T6" fmla="*/ 204 w 214"/>
                <a:gd name="T7" fmla="*/ 234 h 310"/>
                <a:gd name="T8" fmla="*/ 214 w 214"/>
                <a:gd name="T9" fmla="*/ 292 h 310"/>
                <a:gd name="T10" fmla="*/ 114 w 214"/>
                <a:gd name="T11" fmla="*/ 310 h 310"/>
                <a:gd name="T12" fmla="*/ 88 w 214"/>
                <a:gd name="T13" fmla="*/ 296 h 310"/>
                <a:gd name="T14" fmla="*/ 0 w 214"/>
                <a:gd name="T15" fmla="*/ 85 h 310"/>
                <a:gd name="T16" fmla="*/ 12 w 214"/>
                <a:gd name="T17" fmla="*/ 16 h 310"/>
                <a:gd name="T18" fmla="*/ 45 w 214"/>
                <a:gd name="T19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310">
                  <a:moveTo>
                    <a:pt x="45" y="0"/>
                  </a:moveTo>
                  <a:lnTo>
                    <a:pt x="75" y="30"/>
                  </a:lnTo>
                  <a:lnTo>
                    <a:pt x="141" y="224"/>
                  </a:lnTo>
                  <a:lnTo>
                    <a:pt x="204" y="234"/>
                  </a:lnTo>
                  <a:lnTo>
                    <a:pt x="214" y="292"/>
                  </a:lnTo>
                  <a:lnTo>
                    <a:pt x="114" y="310"/>
                  </a:lnTo>
                  <a:lnTo>
                    <a:pt x="88" y="296"/>
                  </a:lnTo>
                  <a:lnTo>
                    <a:pt x="0" y="85"/>
                  </a:lnTo>
                  <a:lnTo>
                    <a:pt x="12" y="16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1" name="Freeform 12406"/>
            <p:cNvSpPr>
              <a:spLocks/>
            </p:cNvSpPr>
            <p:nvPr/>
          </p:nvSpPr>
          <p:spPr bwMode="auto">
            <a:xfrm>
              <a:off x="2730501" y="4813301"/>
              <a:ext cx="14288" cy="55563"/>
            </a:xfrm>
            <a:custGeom>
              <a:avLst/>
              <a:gdLst>
                <a:gd name="T0" fmla="*/ 0 w 20"/>
                <a:gd name="T1" fmla="*/ 0 h 68"/>
                <a:gd name="T2" fmla="*/ 10 w 20"/>
                <a:gd name="T3" fmla="*/ 0 h 68"/>
                <a:gd name="T4" fmla="*/ 20 w 20"/>
                <a:gd name="T5" fmla="*/ 64 h 68"/>
                <a:gd name="T6" fmla="*/ 0 w 20"/>
                <a:gd name="T7" fmla="*/ 68 h 68"/>
                <a:gd name="T8" fmla="*/ 0 w 20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8">
                  <a:moveTo>
                    <a:pt x="0" y="0"/>
                  </a:moveTo>
                  <a:lnTo>
                    <a:pt x="10" y="0"/>
                  </a:lnTo>
                  <a:lnTo>
                    <a:pt x="20" y="64"/>
                  </a:ln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2" name="Freeform 12407"/>
            <p:cNvSpPr>
              <a:spLocks/>
            </p:cNvSpPr>
            <p:nvPr/>
          </p:nvSpPr>
          <p:spPr bwMode="auto">
            <a:xfrm>
              <a:off x="2593976" y="4662488"/>
              <a:ext cx="87313" cy="155575"/>
            </a:xfrm>
            <a:custGeom>
              <a:avLst/>
              <a:gdLst>
                <a:gd name="T0" fmla="*/ 40 w 110"/>
                <a:gd name="T1" fmla="*/ 0 h 196"/>
                <a:gd name="T2" fmla="*/ 110 w 110"/>
                <a:gd name="T3" fmla="*/ 196 h 196"/>
                <a:gd name="T4" fmla="*/ 106 w 110"/>
                <a:gd name="T5" fmla="*/ 194 h 196"/>
                <a:gd name="T6" fmla="*/ 95 w 110"/>
                <a:gd name="T7" fmla="*/ 186 h 196"/>
                <a:gd name="T8" fmla="*/ 79 w 110"/>
                <a:gd name="T9" fmla="*/ 172 h 196"/>
                <a:gd name="T10" fmla="*/ 59 w 110"/>
                <a:gd name="T11" fmla="*/ 154 h 196"/>
                <a:gd name="T12" fmla="*/ 40 w 110"/>
                <a:gd name="T13" fmla="*/ 133 h 196"/>
                <a:gd name="T14" fmla="*/ 22 w 110"/>
                <a:gd name="T15" fmla="*/ 107 h 196"/>
                <a:gd name="T16" fmla="*/ 6 w 110"/>
                <a:gd name="T17" fmla="*/ 80 h 196"/>
                <a:gd name="T18" fmla="*/ 0 w 110"/>
                <a:gd name="T19" fmla="*/ 58 h 196"/>
                <a:gd name="T20" fmla="*/ 0 w 110"/>
                <a:gd name="T21" fmla="*/ 39 h 196"/>
                <a:gd name="T22" fmla="*/ 4 w 110"/>
                <a:gd name="T23" fmla="*/ 25 h 196"/>
                <a:gd name="T24" fmla="*/ 12 w 110"/>
                <a:gd name="T25" fmla="*/ 15 h 196"/>
                <a:gd name="T26" fmla="*/ 22 w 110"/>
                <a:gd name="T27" fmla="*/ 7 h 196"/>
                <a:gd name="T28" fmla="*/ 30 w 110"/>
                <a:gd name="T29" fmla="*/ 1 h 196"/>
                <a:gd name="T30" fmla="*/ 36 w 110"/>
                <a:gd name="T31" fmla="*/ 0 h 196"/>
                <a:gd name="T32" fmla="*/ 40 w 110"/>
                <a:gd name="T3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96">
                  <a:moveTo>
                    <a:pt x="40" y="0"/>
                  </a:moveTo>
                  <a:lnTo>
                    <a:pt x="110" y="196"/>
                  </a:lnTo>
                  <a:lnTo>
                    <a:pt x="106" y="194"/>
                  </a:lnTo>
                  <a:lnTo>
                    <a:pt x="95" y="186"/>
                  </a:lnTo>
                  <a:lnTo>
                    <a:pt x="79" y="172"/>
                  </a:lnTo>
                  <a:lnTo>
                    <a:pt x="59" y="154"/>
                  </a:lnTo>
                  <a:lnTo>
                    <a:pt x="40" y="133"/>
                  </a:lnTo>
                  <a:lnTo>
                    <a:pt x="22" y="107"/>
                  </a:lnTo>
                  <a:lnTo>
                    <a:pt x="6" y="80"/>
                  </a:lnTo>
                  <a:lnTo>
                    <a:pt x="0" y="58"/>
                  </a:lnTo>
                  <a:lnTo>
                    <a:pt x="0" y="39"/>
                  </a:lnTo>
                  <a:lnTo>
                    <a:pt x="4" y="25"/>
                  </a:lnTo>
                  <a:lnTo>
                    <a:pt x="12" y="15"/>
                  </a:lnTo>
                  <a:lnTo>
                    <a:pt x="22" y="7"/>
                  </a:lnTo>
                  <a:lnTo>
                    <a:pt x="30" y="1"/>
                  </a:lnTo>
                  <a:lnTo>
                    <a:pt x="36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FF9B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3" name="Freeform 12408"/>
            <p:cNvSpPr>
              <a:spLocks/>
            </p:cNvSpPr>
            <p:nvPr/>
          </p:nvSpPr>
          <p:spPr bwMode="auto">
            <a:xfrm>
              <a:off x="2809876" y="4722813"/>
              <a:ext cx="131763" cy="77788"/>
            </a:xfrm>
            <a:custGeom>
              <a:avLst/>
              <a:gdLst>
                <a:gd name="T0" fmla="*/ 147 w 165"/>
                <a:gd name="T1" fmla="*/ 0 h 100"/>
                <a:gd name="T2" fmla="*/ 165 w 165"/>
                <a:gd name="T3" fmla="*/ 24 h 100"/>
                <a:gd name="T4" fmla="*/ 25 w 165"/>
                <a:gd name="T5" fmla="*/ 100 h 100"/>
                <a:gd name="T6" fmla="*/ 0 w 165"/>
                <a:gd name="T7" fmla="*/ 47 h 100"/>
                <a:gd name="T8" fmla="*/ 147 w 165"/>
                <a:gd name="T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00">
                  <a:moveTo>
                    <a:pt x="147" y="0"/>
                  </a:moveTo>
                  <a:lnTo>
                    <a:pt x="165" y="24"/>
                  </a:lnTo>
                  <a:lnTo>
                    <a:pt x="25" y="100"/>
                  </a:lnTo>
                  <a:lnTo>
                    <a:pt x="0" y="47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4" name="Freeform 12409"/>
            <p:cNvSpPr>
              <a:spLocks/>
            </p:cNvSpPr>
            <p:nvPr/>
          </p:nvSpPr>
          <p:spPr bwMode="auto">
            <a:xfrm>
              <a:off x="2790826" y="4754563"/>
              <a:ext cx="42863" cy="55563"/>
            </a:xfrm>
            <a:custGeom>
              <a:avLst/>
              <a:gdLst>
                <a:gd name="T0" fmla="*/ 28 w 55"/>
                <a:gd name="T1" fmla="*/ 0 h 71"/>
                <a:gd name="T2" fmla="*/ 55 w 55"/>
                <a:gd name="T3" fmla="*/ 63 h 71"/>
                <a:gd name="T4" fmla="*/ 44 w 55"/>
                <a:gd name="T5" fmla="*/ 71 h 71"/>
                <a:gd name="T6" fmla="*/ 0 w 55"/>
                <a:gd name="T7" fmla="*/ 6 h 71"/>
                <a:gd name="T8" fmla="*/ 28 w 55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1">
                  <a:moveTo>
                    <a:pt x="28" y="0"/>
                  </a:moveTo>
                  <a:lnTo>
                    <a:pt x="55" y="63"/>
                  </a:lnTo>
                  <a:lnTo>
                    <a:pt x="44" y="71"/>
                  </a:lnTo>
                  <a:lnTo>
                    <a:pt x="0" y="6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5" name="Freeform 12410"/>
            <p:cNvSpPr>
              <a:spLocks/>
            </p:cNvSpPr>
            <p:nvPr/>
          </p:nvSpPr>
          <p:spPr bwMode="auto">
            <a:xfrm>
              <a:off x="2820989" y="4730751"/>
              <a:ext cx="101600" cy="47625"/>
            </a:xfrm>
            <a:custGeom>
              <a:avLst/>
              <a:gdLst>
                <a:gd name="T0" fmla="*/ 127 w 127"/>
                <a:gd name="T1" fmla="*/ 0 h 59"/>
                <a:gd name="T2" fmla="*/ 123 w 127"/>
                <a:gd name="T3" fmla="*/ 2 h 59"/>
                <a:gd name="T4" fmla="*/ 113 w 127"/>
                <a:gd name="T5" fmla="*/ 10 h 59"/>
                <a:gd name="T6" fmla="*/ 102 w 127"/>
                <a:gd name="T7" fmla="*/ 21 h 59"/>
                <a:gd name="T8" fmla="*/ 84 w 127"/>
                <a:gd name="T9" fmla="*/ 33 h 59"/>
                <a:gd name="T10" fmla="*/ 66 w 127"/>
                <a:gd name="T11" fmla="*/ 43 h 59"/>
                <a:gd name="T12" fmla="*/ 49 w 127"/>
                <a:gd name="T13" fmla="*/ 53 h 59"/>
                <a:gd name="T14" fmla="*/ 33 w 127"/>
                <a:gd name="T15" fmla="*/ 57 h 59"/>
                <a:gd name="T16" fmla="*/ 25 w 127"/>
                <a:gd name="T17" fmla="*/ 59 h 59"/>
                <a:gd name="T18" fmla="*/ 17 w 127"/>
                <a:gd name="T19" fmla="*/ 57 h 59"/>
                <a:gd name="T20" fmla="*/ 11 w 127"/>
                <a:gd name="T21" fmla="*/ 57 h 59"/>
                <a:gd name="T22" fmla="*/ 7 w 127"/>
                <a:gd name="T23" fmla="*/ 53 h 59"/>
                <a:gd name="T24" fmla="*/ 4 w 127"/>
                <a:gd name="T25" fmla="*/ 49 h 59"/>
                <a:gd name="T26" fmla="*/ 2 w 127"/>
                <a:gd name="T27" fmla="*/ 47 h 59"/>
                <a:gd name="T28" fmla="*/ 0 w 127"/>
                <a:gd name="T29" fmla="*/ 43 h 59"/>
                <a:gd name="T30" fmla="*/ 0 w 127"/>
                <a:gd name="T31" fmla="*/ 41 h 59"/>
                <a:gd name="T32" fmla="*/ 0 w 127"/>
                <a:gd name="T33" fmla="*/ 39 h 59"/>
                <a:gd name="T34" fmla="*/ 0 w 127"/>
                <a:gd name="T35" fmla="*/ 37 h 59"/>
                <a:gd name="T36" fmla="*/ 127 w 127"/>
                <a:gd name="T3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59">
                  <a:moveTo>
                    <a:pt x="127" y="0"/>
                  </a:moveTo>
                  <a:lnTo>
                    <a:pt x="123" y="2"/>
                  </a:lnTo>
                  <a:lnTo>
                    <a:pt x="113" y="10"/>
                  </a:lnTo>
                  <a:lnTo>
                    <a:pt x="102" y="21"/>
                  </a:lnTo>
                  <a:lnTo>
                    <a:pt x="84" y="33"/>
                  </a:lnTo>
                  <a:lnTo>
                    <a:pt x="66" y="43"/>
                  </a:lnTo>
                  <a:lnTo>
                    <a:pt x="49" y="53"/>
                  </a:lnTo>
                  <a:lnTo>
                    <a:pt x="33" y="57"/>
                  </a:lnTo>
                  <a:lnTo>
                    <a:pt x="25" y="59"/>
                  </a:lnTo>
                  <a:lnTo>
                    <a:pt x="17" y="57"/>
                  </a:lnTo>
                  <a:lnTo>
                    <a:pt x="11" y="57"/>
                  </a:lnTo>
                  <a:lnTo>
                    <a:pt x="7" y="53"/>
                  </a:lnTo>
                  <a:lnTo>
                    <a:pt x="4" y="49"/>
                  </a:lnTo>
                  <a:lnTo>
                    <a:pt x="2" y="47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E3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6" name="Freeform 12411"/>
            <p:cNvSpPr>
              <a:spLocks/>
            </p:cNvSpPr>
            <p:nvPr/>
          </p:nvSpPr>
          <p:spPr bwMode="auto">
            <a:xfrm>
              <a:off x="2578101" y="4733926"/>
              <a:ext cx="123825" cy="163513"/>
            </a:xfrm>
            <a:custGeom>
              <a:avLst/>
              <a:gdLst>
                <a:gd name="T0" fmla="*/ 0 w 155"/>
                <a:gd name="T1" fmla="*/ 0 h 205"/>
                <a:gd name="T2" fmla="*/ 80 w 155"/>
                <a:gd name="T3" fmla="*/ 164 h 205"/>
                <a:gd name="T4" fmla="*/ 106 w 155"/>
                <a:gd name="T5" fmla="*/ 178 h 205"/>
                <a:gd name="T6" fmla="*/ 153 w 155"/>
                <a:gd name="T7" fmla="*/ 168 h 205"/>
                <a:gd name="T8" fmla="*/ 155 w 155"/>
                <a:gd name="T9" fmla="*/ 205 h 205"/>
                <a:gd name="T10" fmla="*/ 94 w 155"/>
                <a:gd name="T11" fmla="*/ 188 h 205"/>
                <a:gd name="T12" fmla="*/ 74 w 155"/>
                <a:gd name="T13" fmla="*/ 168 h 205"/>
                <a:gd name="T14" fmla="*/ 0 w 155"/>
                <a:gd name="T1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5" h="205">
                  <a:moveTo>
                    <a:pt x="0" y="0"/>
                  </a:moveTo>
                  <a:lnTo>
                    <a:pt x="80" y="164"/>
                  </a:lnTo>
                  <a:lnTo>
                    <a:pt x="106" y="178"/>
                  </a:lnTo>
                  <a:lnTo>
                    <a:pt x="153" y="168"/>
                  </a:lnTo>
                  <a:lnTo>
                    <a:pt x="155" y="205"/>
                  </a:lnTo>
                  <a:lnTo>
                    <a:pt x="94" y="188"/>
                  </a:lnTo>
                  <a:lnTo>
                    <a:pt x="74" y="1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7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7" name="Freeform 12412"/>
            <p:cNvSpPr>
              <a:spLocks/>
            </p:cNvSpPr>
            <p:nvPr/>
          </p:nvSpPr>
          <p:spPr bwMode="auto">
            <a:xfrm>
              <a:off x="2605089" y="4400551"/>
              <a:ext cx="120650" cy="200025"/>
            </a:xfrm>
            <a:custGeom>
              <a:avLst/>
              <a:gdLst>
                <a:gd name="T0" fmla="*/ 71 w 151"/>
                <a:gd name="T1" fmla="*/ 0 h 253"/>
                <a:gd name="T2" fmla="*/ 147 w 151"/>
                <a:gd name="T3" fmla="*/ 34 h 253"/>
                <a:gd name="T4" fmla="*/ 147 w 151"/>
                <a:gd name="T5" fmla="*/ 39 h 253"/>
                <a:gd name="T6" fmla="*/ 149 w 151"/>
                <a:gd name="T7" fmla="*/ 55 h 253"/>
                <a:gd name="T8" fmla="*/ 149 w 151"/>
                <a:gd name="T9" fmla="*/ 79 h 253"/>
                <a:gd name="T10" fmla="*/ 149 w 151"/>
                <a:gd name="T11" fmla="*/ 106 h 253"/>
                <a:gd name="T12" fmla="*/ 151 w 151"/>
                <a:gd name="T13" fmla="*/ 134 h 253"/>
                <a:gd name="T14" fmla="*/ 151 w 151"/>
                <a:gd name="T15" fmla="*/ 159 h 253"/>
                <a:gd name="T16" fmla="*/ 151 w 151"/>
                <a:gd name="T17" fmla="*/ 179 h 253"/>
                <a:gd name="T18" fmla="*/ 149 w 151"/>
                <a:gd name="T19" fmla="*/ 188 h 253"/>
                <a:gd name="T20" fmla="*/ 147 w 151"/>
                <a:gd name="T21" fmla="*/ 198 h 253"/>
                <a:gd name="T22" fmla="*/ 141 w 151"/>
                <a:gd name="T23" fmla="*/ 210 h 253"/>
                <a:gd name="T24" fmla="*/ 135 w 151"/>
                <a:gd name="T25" fmla="*/ 224 h 253"/>
                <a:gd name="T26" fmla="*/ 128 w 151"/>
                <a:gd name="T27" fmla="*/ 235 h 253"/>
                <a:gd name="T28" fmla="*/ 122 w 151"/>
                <a:gd name="T29" fmla="*/ 245 h 253"/>
                <a:gd name="T30" fmla="*/ 120 w 151"/>
                <a:gd name="T31" fmla="*/ 249 h 253"/>
                <a:gd name="T32" fmla="*/ 88 w 151"/>
                <a:gd name="T33" fmla="*/ 253 h 253"/>
                <a:gd name="T34" fmla="*/ 84 w 151"/>
                <a:gd name="T35" fmla="*/ 251 h 253"/>
                <a:gd name="T36" fmla="*/ 77 w 151"/>
                <a:gd name="T37" fmla="*/ 245 h 253"/>
                <a:gd name="T38" fmla="*/ 63 w 151"/>
                <a:gd name="T39" fmla="*/ 239 h 253"/>
                <a:gd name="T40" fmla="*/ 51 w 151"/>
                <a:gd name="T41" fmla="*/ 230 h 253"/>
                <a:gd name="T42" fmla="*/ 37 w 151"/>
                <a:gd name="T43" fmla="*/ 222 h 253"/>
                <a:gd name="T44" fmla="*/ 28 w 151"/>
                <a:gd name="T45" fmla="*/ 214 h 253"/>
                <a:gd name="T46" fmla="*/ 22 w 151"/>
                <a:gd name="T47" fmla="*/ 210 h 253"/>
                <a:gd name="T48" fmla="*/ 18 w 151"/>
                <a:gd name="T49" fmla="*/ 200 h 253"/>
                <a:gd name="T50" fmla="*/ 16 w 151"/>
                <a:gd name="T51" fmla="*/ 183 h 253"/>
                <a:gd name="T52" fmla="*/ 12 w 151"/>
                <a:gd name="T53" fmla="*/ 159 h 253"/>
                <a:gd name="T54" fmla="*/ 10 w 151"/>
                <a:gd name="T55" fmla="*/ 132 h 253"/>
                <a:gd name="T56" fmla="*/ 6 w 151"/>
                <a:gd name="T57" fmla="*/ 104 h 253"/>
                <a:gd name="T58" fmla="*/ 4 w 151"/>
                <a:gd name="T59" fmla="*/ 77 h 253"/>
                <a:gd name="T60" fmla="*/ 2 w 151"/>
                <a:gd name="T61" fmla="*/ 55 h 253"/>
                <a:gd name="T62" fmla="*/ 0 w 151"/>
                <a:gd name="T63" fmla="*/ 39 h 253"/>
                <a:gd name="T64" fmla="*/ 0 w 151"/>
                <a:gd name="T65" fmla="*/ 34 h 253"/>
                <a:gd name="T66" fmla="*/ 71 w 151"/>
                <a:gd name="T6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1" h="253">
                  <a:moveTo>
                    <a:pt x="71" y="0"/>
                  </a:moveTo>
                  <a:lnTo>
                    <a:pt x="147" y="34"/>
                  </a:lnTo>
                  <a:lnTo>
                    <a:pt x="147" y="39"/>
                  </a:lnTo>
                  <a:lnTo>
                    <a:pt x="149" y="55"/>
                  </a:lnTo>
                  <a:lnTo>
                    <a:pt x="149" y="79"/>
                  </a:lnTo>
                  <a:lnTo>
                    <a:pt x="149" y="106"/>
                  </a:lnTo>
                  <a:lnTo>
                    <a:pt x="151" y="134"/>
                  </a:lnTo>
                  <a:lnTo>
                    <a:pt x="151" y="159"/>
                  </a:lnTo>
                  <a:lnTo>
                    <a:pt x="151" y="179"/>
                  </a:lnTo>
                  <a:lnTo>
                    <a:pt x="149" y="188"/>
                  </a:lnTo>
                  <a:lnTo>
                    <a:pt x="147" y="198"/>
                  </a:lnTo>
                  <a:lnTo>
                    <a:pt x="141" y="210"/>
                  </a:lnTo>
                  <a:lnTo>
                    <a:pt x="135" y="224"/>
                  </a:lnTo>
                  <a:lnTo>
                    <a:pt x="128" y="235"/>
                  </a:lnTo>
                  <a:lnTo>
                    <a:pt x="122" y="245"/>
                  </a:lnTo>
                  <a:lnTo>
                    <a:pt x="120" y="249"/>
                  </a:lnTo>
                  <a:lnTo>
                    <a:pt x="88" y="253"/>
                  </a:lnTo>
                  <a:lnTo>
                    <a:pt x="84" y="251"/>
                  </a:lnTo>
                  <a:lnTo>
                    <a:pt x="77" y="245"/>
                  </a:lnTo>
                  <a:lnTo>
                    <a:pt x="63" y="239"/>
                  </a:lnTo>
                  <a:lnTo>
                    <a:pt x="51" y="230"/>
                  </a:lnTo>
                  <a:lnTo>
                    <a:pt x="37" y="222"/>
                  </a:lnTo>
                  <a:lnTo>
                    <a:pt x="28" y="214"/>
                  </a:lnTo>
                  <a:lnTo>
                    <a:pt x="22" y="210"/>
                  </a:lnTo>
                  <a:lnTo>
                    <a:pt x="18" y="200"/>
                  </a:lnTo>
                  <a:lnTo>
                    <a:pt x="16" y="183"/>
                  </a:lnTo>
                  <a:lnTo>
                    <a:pt x="12" y="159"/>
                  </a:lnTo>
                  <a:lnTo>
                    <a:pt x="10" y="132"/>
                  </a:lnTo>
                  <a:lnTo>
                    <a:pt x="6" y="104"/>
                  </a:lnTo>
                  <a:lnTo>
                    <a:pt x="4" y="77"/>
                  </a:lnTo>
                  <a:lnTo>
                    <a:pt x="2" y="55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8" name="Freeform 12413"/>
            <p:cNvSpPr>
              <a:spLocks/>
            </p:cNvSpPr>
            <p:nvPr/>
          </p:nvSpPr>
          <p:spPr bwMode="auto">
            <a:xfrm>
              <a:off x="2652714" y="4529138"/>
              <a:ext cx="55563" cy="38100"/>
            </a:xfrm>
            <a:custGeom>
              <a:avLst/>
              <a:gdLst>
                <a:gd name="T0" fmla="*/ 71 w 71"/>
                <a:gd name="T1" fmla="*/ 0 h 49"/>
                <a:gd name="T2" fmla="*/ 71 w 71"/>
                <a:gd name="T3" fmla="*/ 4 h 49"/>
                <a:gd name="T4" fmla="*/ 69 w 71"/>
                <a:gd name="T5" fmla="*/ 12 h 49"/>
                <a:gd name="T6" fmla="*/ 67 w 71"/>
                <a:gd name="T7" fmla="*/ 23 h 49"/>
                <a:gd name="T8" fmla="*/ 61 w 71"/>
                <a:gd name="T9" fmla="*/ 35 h 49"/>
                <a:gd name="T10" fmla="*/ 53 w 71"/>
                <a:gd name="T11" fmla="*/ 45 h 49"/>
                <a:gd name="T12" fmla="*/ 39 w 71"/>
                <a:gd name="T13" fmla="*/ 49 h 49"/>
                <a:gd name="T14" fmla="*/ 25 w 71"/>
                <a:gd name="T15" fmla="*/ 47 h 49"/>
                <a:gd name="T16" fmla="*/ 14 w 71"/>
                <a:gd name="T17" fmla="*/ 37 h 49"/>
                <a:gd name="T18" fmla="*/ 6 w 71"/>
                <a:gd name="T19" fmla="*/ 27 h 49"/>
                <a:gd name="T20" fmla="*/ 2 w 71"/>
                <a:gd name="T21" fmla="*/ 16 h 49"/>
                <a:gd name="T22" fmla="*/ 0 w 71"/>
                <a:gd name="T23" fmla="*/ 8 h 49"/>
                <a:gd name="T24" fmla="*/ 0 w 71"/>
                <a:gd name="T25" fmla="*/ 4 h 49"/>
                <a:gd name="T26" fmla="*/ 71 w 71"/>
                <a:gd name="T2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49">
                  <a:moveTo>
                    <a:pt x="71" y="0"/>
                  </a:moveTo>
                  <a:lnTo>
                    <a:pt x="71" y="4"/>
                  </a:lnTo>
                  <a:lnTo>
                    <a:pt x="69" y="12"/>
                  </a:lnTo>
                  <a:lnTo>
                    <a:pt x="67" y="23"/>
                  </a:lnTo>
                  <a:lnTo>
                    <a:pt x="61" y="35"/>
                  </a:lnTo>
                  <a:lnTo>
                    <a:pt x="53" y="45"/>
                  </a:lnTo>
                  <a:lnTo>
                    <a:pt x="39" y="49"/>
                  </a:lnTo>
                  <a:lnTo>
                    <a:pt x="25" y="47"/>
                  </a:lnTo>
                  <a:lnTo>
                    <a:pt x="14" y="37"/>
                  </a:lnTo>
                  <a:lnTo>
                    <a:pt x="6" y="27"/>
                  </a:lnTo>
                  <a:lnTo>
                    <a:pt x="2" y="16"/>
                  </a:lnTo>
                  <a:lnTo>
                    <a:pt x="0" y="8"/>
                  </a:lnTo>
                  <a:lnTo>
                    <a:pt x="0" y="4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423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9" name="Freeform 12414"/>
            <p:cNvSpPr>
              <a:spLocks/>
            </p:cNvSpPr>
            <p:nvPr/>
          </p:nvSpPr>
          <p:spPr bwMode="auto">
            <a:xfrm>
              <a:off x="2660651" y="4532313"/>
              <a:ext cx="41275" cy="9525"/>
            </a:xfrm>
            <a:custGeom>
              <a:avLst/>
              <a:gdLst>
                <a:gd name="T0" fmla="*/ 51 w 51"/>
                <a:gd name="T1" fmla="*/ 0 h 12"/>
                <a:gd name="T2" fmla="*/ 49 w 51"/>
                <a:gd name="T3" fmla="*/ 8 h 12"/>
                <a:gd name="T4" fmla="*/ 0 w 51"/>
                <a:gd name="T5" fmla="*/ 12 h 12"/>
                <a:gd name="T6" fmla="*/ 0 w 51"/>
                <a:gd name="T7" fmla="*/ 2 h 12"/>
                <a:gd name="T8" fmla="*/ 51 w 5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12">
                  <a:moveTo>
                    <a:pt x="51" y="0"/>
                  </a:moveTo>
                  <a:lnTo>
                    <a:pt x="49" y="8"/>
                  </a:lnTo>
                  <a:lnTo>
                    <a:pt x="0" y="12"/>
                  </a:lnTo>
                  <a:lnTo>
                    <a:pt x="0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0" name="Freeform 12415"/>
            <p:cNvSpPr>
              <a:spLocks/>
            </p:cNvSpPr>
            <p:nvPr/>
          </p:nvSpPr>
          <p:spPr bwMode="auto">
            <a:xfrm>
              <a:off x="2660651" y="4546601"/>
              <a:ext cx="38100" cy="20638"/>
            </a:xfrm>
            <a:custGeom>
              <a:avLst/>
              <a:gdLst>
                <a:gd name="T0" fmla="*/ 19 w 47"/>
                <a:gd name="T1" fmla="*/ 0 h 25"/>
                <a:gd name="T2" fmla="*/ 27 w 47"/>
                <a:gd name="T3" fmla="*/ 0 h 25"/>
                <a:gd name="T4" fmla="*/ 35 w 47"/>
                <a:gd name="T5" fmla="*/ 3 h 25"/>
                <a:gd name="T6" fmla="*/ 43 w 47"/>
                <a:gd name="T7" fmla="*/ 7 h 25"/>
                <a:gd name="T8" fmla="*/ 47 w 47"/>
                <a:gd name="T9" fmla="*/ 15 h 25"/>
                <a:gd name="T10" fmla="*/ 41 w 47"/>
                <a:gd name="T11" fmla="*/ 19 h 25"/>
                <a:gd name="T12" fmla="*/ 35 w 47"/>
                <a:gd name="T13" fmla="*/ 23 h 25"/>
                <a:gd name="T14" fmla="*/ 27 w 47"/>
                <a:gd name="T15" fmla="*/ 25 h 25"/>
                <a:gd name="T16" fmla="*/ 19 w 47"/>
                <a:gd name="T17" fmla="*/ 23 h 25"/>
                <a:gd name="T18" fmla="*/ 13 w 47"/>
                <a:gd name="T19" fmla="*/ 21 h 25"/>
                <a:gd name="T20" fmla="*/ 8 w 47"/>
                <a:gd name="T21" fmla="*/ 19 h 25"/>
                <a:gd name="T22" fmla="*/ 4 w 47"/>
                <a:gd name="T23" fmla="*/ 15 h 25"/>
                <a:gd name="T24" fmla="*/ 0 w 47"/>
                <a:gd name="T25" fmla="*/ 11 h 25"/>
                <a:gd name="T26" fmla="*/ 6 w 47"/>
                <a:gd name="T27" fmla="*/ 5 h 25"/>
                <a:gd name="T28" fmla="*/ 12 w 47"/>
                <a:gd name="T29" fmla="*/ 1 h 25"/>
                <a:gd name="T30" fmla="*/ 19 w 47"/>
                <a:gd name="T3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" h="25">
                  <a:moveTo>
                    <a:pt x="19" y="0"/>
                  </a:moveTo>
                  <a:lnTo>
                    <a:pt x="27" y="0"/>
                  </a:lnTo>
                  <a:lnTo>
                    <a:pt x="35" y="3"/>
                  </a:lnTo>
                  <a:lnTo>
                    <a:pt x="43" y="7"/>
                  </a:lnTo>
                  <a:lnTo>
                    <a:pt x="47" y="15"/>
                  </a:lnTo>
                  <a:lnTo>
                    <a:pt x="41" y="19"/>
                  </a:lnTo>
                  <a:lnTo>
                    <a:pt x="35" y="23"/>
                  </a:lnTo>
                  <a:lnTo>
                    <a:pt x="27" y="25"/>
                  </a:lnTo>
                  <a:lnTo>
                    <a:pt x="19" y="23"/>
                  </a:lnTo>
                  <a:lnTo>
                    <a:pt x="13" y="21"/>
                  </a:lnTo>
                  <a:lnTo>
                    <a:pt x="8" y="19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6" y="5"/>
                  </a:lnTo>
                  <a:lnTo>
                    <a:pt x="12" y="1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4F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1" name="Freeform 12416"/>
            <p:cNvSpPr>
              <a:spLocks/>
            </p:cNvSpPr>
            <p:nvPr/>
          </p:nvSpPr>
          <p:spPr bwMode="auto">
            <a:xfrm>
              <a:off x="2632076" y="4438651"/>
              <a:ext cx="28575" cy="14288"/>
            </a:xfrm>
            <a:custGeom>
              <a:avLst/>
              <a:gdLst>
                <a:gd name="T0" fmla="*/ 37 w 37"/>
                <a:gd name="T1" fmla="*/ 0 h 18"/>
                <a:gd name="T2" fmla="*/ 35 w 37"/>
                <a:gd name="T3" fmla="*/ 14 h 18"/>
                <a:gd name="T4" fmla="*/ 0 w 37"/>
                <a:gd name="T5" fmla="*/ 18 h 18"/>
                <a:gd name="T6" fmla="*/ 0 w 37"/>
                <a:gd name="T7" fmla="*/ 12 h 18"/>
                <a:gd name="T8" fmla="*/ 19 w 37"/>
                <a:gd name="T9" fmla="*/ 6 h 18"/>
                <a:gd name="T10" fmla="*/ 21 w 37"/>
                <a:gd name="T11" fmla="*/ 12 h 18"/>
                <a:gd name="T12" fmla="*/ 21 w 37"/>
                <a:gd name="T13" fmla="*/ 4 h 18"/>
                <a:gd name="T14" fmla="*/ 25 w 37"/>
                <a:gd name="T15" fmla="*/ 2 h 18"/>
                <a:gd name="T16" fmla="*/ 27 w 37"/>
                <a:gd name="T17" fmla="*/ 8 h 18"/>
                <a:gd name="T18" fmla="*/ 29 w 37"/>
                <a:gd name="T19" fmla="*/ 2 h 18"/>
                <a:gd name="T20" fmla="*/ 37 w 37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18">
                  <a:moveTo>
                    <a:pt x="37" y="0"/>
                  </a:moveTo>
                  <a:lnTo>
                    <a:pt x="35" y="14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19" y="6"/>
                  </a:lnTo>
                  <a:lnTo>
                    <a:pt x="21" y="12"/>
                  </a:lnTo>
                  <a:lnTo>
                    <a:pt x="21" y="4"/>
                  </a:lnTo>
                  <a:lnTo>
                    <a:pt x="25" y="2"/>
                  </a:lnTo>
                  <a:lnTo>
                    <a:pt x="27" y="8"/>
                  </a:lnTo>
                  <a:lnTo>
                    <a:pt x="29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2" name="Freeform 12417"/>
            <p:cNvSpPr>
              <a:spLocks/>
            </p:cNvSpPr>
            <p:nvPr/>
          </p:nvSpPr>
          <p:spPr bwMode="auto">
            <a:xfrm>
              <a:off x="2635251" y="4465638"/>
              <a:ext cx="23813" cy="23813"/>
            </a:xfrm>
            <a:custGeom>
              <a:avLst/>
              <a:gdLst>
                <a:gd name="T0" fmla="*/ 14 w 32"/>
                <a:gd name="T1" fmla="*/ 0 h 31"/>
                <a:gd name="T2" fmla="*/ 20 w 32"/>
                <a:gd name="T3" fmla="*/ 0 h 31"/>
                <a:gd name="T4" fmla="*/ 26 w 32"/>
                <a:gd name="T5" fmla="*/ 2 h 31"/>
                <a:gd name="T6" fmla="*/ 30 w 32"/>
                <a:gd name="T7" fmla="*/ 7 h 31"/>
                <a:gd name="T8" fmla="*/ 32 w 32"/>
                <a:gd name="T9" fmla="*/ 13 h 31"/>
                <a:gd name="T10" fmla="*/ 32 w 32"/>
                <a:gd name="T11" fmla="*/ 19 h 31"/>
                <a:gd name="T12" fmla="*/ 28 w 32"/>
                <a:gd name="T13" fmla="*/ 25 h 31"/>
                <a:gd name="T14" fmla="*/ 24 w 32"/>
                <a:gd name="T15" fmla="*/ 29 h 31"/>
                <a:gd name="T16" fmla="*/ 18 w 32"/>
                <a:gd name="T17" fmla="*/ 31 h 31"/>
                <a:gd name="T18" fmla="*/ 10 w 32"/>
                <a:gd name="T19" fmla="*/ 31 h 31"/>
                <a:gd name="T20" fmla="*/ 6 w 32"/>
                <a:gd name="T21" fmla="*/ 27 h 31"/>
                <a:gd name="T22" fmla="*/ 2 w 32"/>
                <a:gd name="T23" fmla="*/ 23 h 31"/>
                <a:gd name="T24" fmla="*/ 0 w 32"/>
                <a:gd name="T25" fmla="*/ 17 h 31"/>
                <a:gd name="T26" fmla="*/ 0 w 32"/>
                <a:gd name="T27" fmla="*/ 9 h 31"/>
                <a:gd name="T28" fmla="*/ 4 w 32"/>
                <a:gd name="T29" fmla="*/ 5 h 31"/>
                <a:gd name="T30" fmla="*/ 8 w 32"/>
                <a:gd name="T31" fmla="*/ 2 h 31"/>
                <a:gd name="T32" fmla="*/ 14 w 32"/>
                <a:gd name="T3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31">
                  <a:moveTo>
                    <a:pt x="14" y="0"/>
                  </a:moveTo>
                  <a:lnTo>
                    <a:pt x="20" y="0"/>
                  </a:lnTo>
                  <a:lnTo>
                    <a:pt x="26" y="2"/>
                  </a:lnTo>
                  <a:lnTo>
                    <a:pt x="30" y="7"/>
                  </a:lnTo>
                  <a:lnTo>
                    <a:pt x="32" y="13"/>
                  </a:lnTo>
                  <a:lnTo>
                    <a:pt x="32" y="19"/>
                  </a:lnTo>
                  <a:lnTo>
                    <a:pt x="28" y="25"/>
                  </a:lnTo>
                  <a:lnTo>
                    <a:pt x="24" y="29"/>
                  </a:lnTo>
                  <a:lnTo>
                    <a:pt x="18" y="31"/>
                  </a:lnTo>
                  <a:lnTo>
                    <a:pt x="10" y="31"/>
                  </a:lnTo>
                  <a:lnTo>
                    <a:pt x="6" y="27"/>
                  </a:lnTo>
                  <a:lnTo>
                    <a:pt x="2" y="23"/>
                  </a:lnTo>
                  <a:lnTo>
                    <a:pt x="0" y="17"/>
                  </a:lnTo>
                  <a:lnTo>
                    <a:pt x="0" y="9"/>
                  </a:lnTo>
                  <a:lnTo>
                    <a:pt x="4" y="5"/>
                  </a:lnTo>
                  <a:lnTo>
                    <a:pt x="8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3" name="Freeform 12418"/>
            <p:cNvSpPr>
              <a:spLocks/>
            </p:cNvSpPr>
            <p:nvPr/>
          </p:nvSpPr>
          <p:spPr bwMode="auto">
            <a:xfrm>
              <a:off x="2640014" y="4467226"/>
              <a:ext cx="15875" cy="17463"/>
            </a:xfrm>
            <a:custGeom>
              <a:avLst/>
              <a:gdLst>
                <a:gd name="T0" fmla="*/ 10 w 22"/>
                <a:gd name="T1" fmla="*/ 0 h 21"/>
                <a:gd name="T2" fmla="*/ 14 w 22"/>
                <a:gd name="T3" fmla="*/ 0 h 21"/>
                <a:gd name="T4" fmla="*/ 18 w 22"/>
                <a:gd name="T5" fmla="*/ 2 h 21"/>
                <a:gd name="T6" fmla="*/ 20 w 22"/>
                <a:gd name="T7" fmla="*/ 5 h 21"/>
                <a:gd name="T8" fmla="*/ 22 w 22"/>
                <a:gd name="T9" fmla="*/ 9 h 21"/>
                <a:gd name="T10" fmla="*/ 20 w 22"/>
                <a:gd name="T11" fmla="*/ 13 h 21"/>
                <a:gd name="T12" fmla="*/ 18 w 22"/>
                <a:gd name="T13" fmla="*/ 17 h 21"/>
                <a:gd name="T14" fmla="*/ 16 w 22"/>
                <a:gd name="T15" fmla="*/ 19 h 21"/>
                <a:gd name="T16" fmla="*/ 12 w 22"/>
                <a:gd name="T17" fmla="*/ 21 h 21"/>
                <a:gd name="T18" fmla="*/ 6 w 22"/>
                <a:gd name="T19" fmla="*/ 19 h 21"/>
                <a:gd name="T20" fmla="*/ 4 w 22"/>
                <a:gd name="T21" fmla="*/ 17 h 21"/>
                <a:gd name="T22" fmla="*/ 0 w 22"/>
                <a:gd name="T23" fmla="*/ 15 h 21"/>
                <a:gd name="T24" fmla="*/ 0 w 22"/>
                <a:gd name="T25" fmla="*/ 11 h 21"/>
                <a:gd name="T26" fmla="*/ 0 w 22"/>
                <a:gd name="T27" fmla="*/ 7 h 21"/>
                <a:gd name="T28" fmla="*/ 2 w 22"/>
                <a:gd name="T29" fmla="*/ 3 h 21"/>
                <a:gd name="T30" fmla="*/ 6 w 22"/>
                <a:gd name="T31" fmla="*/ 0 h 21"/>
                <a:gd name="T32" fmla="*/ 10 w 22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">
                  <a:moveTo>
                    <a:pt x="10" y="0"/>
                  </a:moveTo>
                  <a:lnTo>
                    <a:pt x="14" y="0"/>
                  </a:lnTo>
                  <a:lnTo>
                    <a:pt x="18" y="2"/>
                  </a:lnTo>
                  <a:lnTo>
                    <a:pt x="20" y="5"/>
                  </a:lnTo>
                  <a:lnTo>
                    <a:pt x="22" y="9"/>
                  </a:lnTo>
                  <a:lnTo>
                    <a:pt x="20" y="13"/>
                  </a:lnTo>
                  <a:lnTo>
                    <a:pt x="18" y="17"/>
                  </a:lnTo>
                  <a:lnTo>
                    <a:pt x="16" y="19"/>
                  </a:lnTo>
                  <a:lnTo>
                    <a:pt x="12" y="21"/>
                  </a:lnTo>
                  <a:lnTo>
                    <a:pt x="6" y="19"/>
                  </a:lnTo>
                  <a:lnTo>
                    <a:pt x="4" y="17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3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4" name="Freeform 12419"/>
            <p:cNvSpPr>
              <a:spLocks/>
            </p:cNvSpPr>
            <p:nvPr/>
          </p:nvSpPr>
          <p:spPr bwMode="auto">
            <a:xfrm>
              <a:off x="2638426" y="4473576"/>
              <a:ext cx="4763" cy="4763"/>
            </a:xfrm>
            <a:custGeom>
              <a:avLst/>
              <a:gdLst>
                <a:gd name="T0" fmla="*/ 2 w 6"/>
                <a:gd name="T1" fmla="*/ 0 h 6"/>
                <a:gd name="T2" fmla="*/ 4 w 6"/>
                <a:gd name="T3" fmla="*/ 0 h 6"/>
                <a:gd name="T4" fmla="*/ 6 w 6"/>
                <a:gd name="T5" fmla="*/ 2 h 6"/>
                <a:gd name="T6" fmla="*/ 4 w 6"/>
                <a:gd name="T7" fmla="*/ 4 h 6"/>
                <a:gd name="T8" fmla="*/ 2 w 6"/>
                <a:gd name="T9" fmla="*/ 6 h 6"/>
                <a:gd name="T10" fmla="*/ 0 w 6"/>
                <a:gd name="T11" fmla="*/ 4 h 6"/>
                <a:gd name="T12" fmla="*/ 0 w 6"/>
                <a:gd name="T13" fmla="*/ 2 h 6"/>
                <a:gd name="T14" fmla="*/ 0 w 6"/>
                <a:gd name="T15" fmla="*/ 0 h 6"/>
                <a:gd name="T16" fmla="*/ 2 w 6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5" name="Freeform 12420"/>
            <p:cNvSpPr>
              <a:spLocks/>
            </p:cNvSpPr>
            <p:nvPr/>
          </p:nvSpPr>
          <p:spPr bwMode="auto">
            <a:xfrm>
              <a:off x="2630489" y="4462463"/>
              <a:ext cx="31750" cy="11113"/>
            </a:xfrm>
            <a:custGeom>
              <a:avLst/>
              <a:gdLst>
                <a:gd name="T0" fmla="*/ 21 w 41"/>
                <a:gd name="T1" fmla="*/ 0 h 13"/>
                <a:gd name="T2" fmla="*/ 25 w 41"/>
                <a:gd name="T3" fmla="*/ 2 h 13"/>
                <a:gd name="T4" fmla="*/ 29 w 41"/>
                <a:gd name="T5" fmla="*/ 2 h 13"/>
                <a:gd name="T6" fmla="*/ 33 w 41"/>
                <a:gd name="T7" fmla="*/ 4 h 13"/>
                <a:gd name="T8" fmla="*/ 35 w 41"/>
                <a:gd name="T9" fmla="*/ 6 h 13"/>
                <a:gd name="T10" fmla="*/ 39 w 41"/>
                <a:gd name="T11" fmla="*/ 8 h 13"/>
                <a:gd name="T12" fmla="*/ 41 w 41"/>
                <a:gd name="T13" fmla="*/ 9 h 13"/>
                <a:gd name="T14" fmla="*/ 41 w 41"/>
                <a:gd name="T15" fmla="*/ 9 h 13"/>
                <a:gd name="T16" fmla="*/ 37 w 41"/>
                <a:gd name="T17" fmla="*/ 9 h 13"/>
                <a:gd name="T18" fmla="*/ 25 w 41"/>
                <a:gd name="T19" fmla="*/ 9 h 13"/>
                <a:gd name="T20" fmla="*/ 11 w 41"/>
                <a:gd name="T21" fmla="*/ 9 h 13"/>
                <a:gd name="T22" fmla="*/ 0 w 41"/>
                <a:gd name="T23" fmla="*/ 13 h 13"/>
                <a:gd name="T24" fmla="*/ 5 w 41"/>
                <a:gd name="T25" fmla="*/ 8 h 13"/>
                <a:gd name="T26" fmla="*/ 9 w 41"/>
                <a:gd name="T27" fmla="*/ 6 h 13"/>
                <a:gd name="T28" fmla="*/ 13 w 41"/>
                <a:gd name="T29" fmla="*/ 4 h 13"/>
                <a:gd name="T30" fmla="*/ 15 w 41"/>
                <a:gd name="T31" fmla="*/ 2 h 13"/>
                <a:gd name="T32" fmla="*/ 19 w 41"/>
                <a:gd name="T33" fmla="*/ 0 h 13"/>
                <a:gd name="T34" fmla="*/ 21 w 41"/>
                <a:gd name="T3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13">
                  <a:moveTo>
                    <a:pt x="21" y="0"/>
                  </a:moveTo>
                  <a:lnTo>
                    <a:pt x="25" y="2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5" y="6"/>
                  </a:lnTo>
                  <a:lnTo>
                    <a:pt x="39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25" y="9"/>
                  </a:lnTo>
                  <a:lnTo>
                    <a:pt x="11" y="9"/>
                  </a:lnTo>
                  <a:lnTo>
                    <a:pt x="0" y="13"/>
                  </a:lnTo>
                  <a:lnTo>
                    <a:pt x="5" y="8"/>
                  </a:lnTo>
                  <a:lnTo>
                    <a:pt x="9" y="6"/>
                  </a:lnTo>
                  <a:lnTo>
                    <a:pt x="13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6" name="Freeform 12421"/>
            <p:cNvSpPr>
              <a:spLocks/>
            </p:cNvSpPr>
            <p:nvPr/>
          </p:nvSpPr>
          <p:spPr bwMode="auto">
            <a:xfrm>
              <a:off x="2684464" y="4460876"/>
              <a:ext cx="25400" cy="25400"/>
            </a:xfrm>
            <a:custGeom>
              <a:avLst/>
              <a:gdLst>
                <a:gd name="T0" fmla="*/ 16 w 32"/>
                <a:gd name="T1" fmla="*/ 0 h 31"/>
                <a:gd name="T2" fmla="*/ 22 w 32"/>
                <a:gd name="T3" fmla="*/ 0 h 31"/>
                <a:gd name="T4" fmla="*/ 28 w 32"/>
                <a:gd name="T5" fmla="*/ 2 h 31"/>
                <a:gd name="T6" fmla="*/ 32 w 32"/>
                <a:gd name="T7" fmla="*/ 8 h 31"/>
                <a:gd name="T8" fmla="*/ 32 w 32"/>
                <a:gd name="T9" fmla="*/ 13 h 31"/>
                <a:gd name="T10" fmla="*/ 32 w 32"/>
                <a:gd name="T11" fmla="*/ 19 h 31"/>
                <a:gd name="T12" fmla="*/ 30 w 32"/>
                <a:gd name="T13" fmla="*/ 25 h 31"/>
                <a:gd name="T14" fmla="*/ 24 w 32"/>
                <a:gd name="T15" fmla="*/ 29 h 31"/>
                <a:gd name="T16" fmla="*/ 18 w 32"/>
                <a:gd name="T17" fmla="*/ 31 h 31"/>
                <a:gd name="T18" fmla="*/ 12 w 32"/>
                <a:gd name="T19" fmla="*/ 31 h 31"/>
                <a:gd name="T20" fmla="*/ 6 w 32"/>
                <a:gd name="T21" fmla="*/ 27 h 31"/>
                <a:gd name="T22" fmla="*/ 2 w 32"/>
                <a:gd name="T23" fmla="*/ 23 h 31"/>
                <a:gd name="T24" fmla="*/ 0 w 32"/>
                <a:gd name="T25" fmla="*/ 17 h 31"/>
                <a:gd name="T26" fmla="*/ 0 w 32"/>
                <a:gd name="T27" fmla="*/ 10 h 31"/>
                <a:gd name="T28" fmla="*/ 4 w 32"/>
                <a:gd name="T29" fmla="*/ 6 h 31"/>
                <a:gd name="T30" fmla="*/ 8 w 32"/>
                <a:gd name="T31" fmla="*/ 2 h 31"/>
                <a:gd name="T32" fmla="*/ 16 w 32"/>
                <a:gd name="T3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31">
                  <a:moveTo>
                    <a:pt x="16" y="0"/>
                  </a:moveTo>
                  <a:lnTo>
                    <a:pt x="22" y="0"/>
                  </a:lnTo>
                  <a:lnTo>
                    <a:pt x="28" y="2"/>
                  </a:lnTo>
                  <a:lnTo>
                    <a:pt x="32" y="8"/>
                  </a:lnTo>
                  <a:lnTo>
                    <a:pt x="32" y="13"/>
                  </a:lnTo>
                  <a:lnTo>
                    <a:pt x="32" y="19"/>
                  </a:lnTo>
                  <a:lnTo>
                    <a:pt x="30" y="25"/>
                  </a:lnTo>
                  <a:lnTo>
                    <a:pt x="24" y="29"/>
                  </a:lnTo>
                  <a:lnTo>
                    <a:pt x="18" y="31"/>
                  </a:lnTo>
                  <a:lnTo>
                    <a:pt x="12" y="31"/>
                  </a:lnTo>
                  <a:lnTo>
                    <a:pt x="6" y="27"/>
                  </a:lnTo>
                  <a:lnTo>
                    <a:pt x="2" y="23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4" y="6"/>
                  </a:lnTo>
                  <a:lnTo>
                    <a:pt x="8" y="2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7" name="Freeform 12422"/>
            <p:cNvSpPr>
              <a:spLocks/>
            </p:cNvSpPr>
            <p:nvPr/>
          </p:nvSpPr>
          <p:spPr bwMode="auto">
            <a:xfrm>
              <a:off x="2689226" y="4462463"/>
              <a:ext cx="17463" cy="17463"/>
            </a:xfrm>
            <a:custGeom>
              <a:avLst/>
              <a:gdLst>
                <a:gd name="T0" fmla="*/ 10 w 22"/>
                <a:gd name="T1" fmla="*/ 0 h 21"/>
                <a:gd name="T2" fmla="*/ 14 w 22"/>
                <a:gd name="T3" fmla="*/ 0 h 21"/>
                <a:gd name="T4" fmla="*/ 18 w 22"/>
                <a:gd name="T5" fmla="*/ 2 h 21"/>
                <a:gd name="T6" fmla="*/ 20 w 22"/>
                <a:gd name="T7" fmla="*/ 6 h 21"/>
                <a:gd name="T8" fmla="*/ 22 w 22"/>
                <a:gd name="T9" fmla="*/ 9 h 21"/>
                <a:gd name="T10" fmla="*/ 22 w 22"/>
                <a:gd name="T11" fmla="*/ 13 h 21"/>
                <a:gd name="T12" fmla="*/ 20 w 22"/>
                <a:gd name="T13" fmla="*/ 17 h 21"/>
                <a:gd name="T14" fmla="*/ 16 w 22"/>
                <a:gd name="T15" fmla="*/ 19 h 21"/>
                <a:gd name="T16" fmla="*/ 12 w 22"/>
                <a:gd name="T17" fmla="*/ 21 h 21"/>
                <a:gd name="T18" fmla="*/ 8 w 22"/>
                <a:gd name="T19" fmla="*/ 19 h 21"/>
                <a:gd name="T20" fmla="*/ 4 w 22"/>
                <a:gd name="T21" fmla="*/ 17 h 21"/>
                <a:gd name="T22" fmla="*/ 2 w 22"/>
                <a:gd name="T23" fmla="*/ 15 h 21"/>
                <a:gd name="T24" fmla="*/ 0 w 22"/>
                <a:gd name="T25" fmla="*/ 11 h 21"/>
                <a:gd name="T26" fmla="*/ 0 w 22"/>
                <a:gd name="T27" fmla="*/ 8 h 21"/>
                <a:gd name="T28" fmla="*/ 2 w 22"/>
                <a:gd name="T29" fmla="*/ 4 h 21"/>
                <a:gd name="T30" fmla="*/ 6 w 22"/>
                <a:gd name="T31" fmla="*/ 2 h 21"/>
                <a:gd name="T32" fmla="*/ 10 w 22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">
                  <a:moveTo>
                    <a:pt x="10" y="0"/>
                  </a:moveTo>
                  <a:lnTo>
                    <a:pt x="14" y="0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2" y="9"/>
                  </a:lnTo>
                  <a:lnTo>
                    <a:pt x="22" y="13"/>
                  </a:lnTo>
                  <a:lnTo>
                    <a:pt x="20" y="17"/>
                  </a:lnTo>
                  <a:lnTo>
                    <a:pt x="16" y="19"/>
                  </a:lnTo>
                  <a:lnTo>
                    <a:pt x="12" y="21"/>
                  </a:lnTo>
                  <a:lnTo>
                    <a:pt x="8" y="19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8" name="Freeform 12423"/>
            <p:cNvSpPr>
              <a:spLocks/>
            </p:cNvSpPr>
            <p:nvPr/>
          </p:nvSpPr>
          <p:spPr bwMode="auto">
            <a:xfrm>
              <a:off x="2687639" y="4468813"/>
              <a:ext cx="4763" cy="4763"/>
            </a:xfrm>
            <a:custGeom>
              <a:avLst/>
              <a:gdLst>
                <a:gd name="T0" fmla="*/ 4 w 6"/>
                <a:gd name="T1" fmla="*/ 0 h 5"/>
                <a:gd name="T2" fmla="*/ 6 w 6"/>
                <a:gd name="T3" fmla="*/ 0 h 5"/>
                <a:gd name="T4" fmla="*/ 6 w 6"/>
                <a:gd name="T5" fmla="*/ 1 h 5"/>
                <a:gd name="T6" fmla="*/ 6 w 6"/>
                <a:gd name="T7" fmla="*/ 3 h 5"/>
                <a:gd name="T8" fmla="*/ 4 w 6"/>
                <a:gd name="T9" fmla="*/ 5 h 5"/>
                <a:gd name="T10" fmla="*/ 2 w 6"/>
                <a:gd name="T11" fmla="*/ 3 h 5"/>
                <a:gd name="T12" fmla="*/ 0 w 6"/>
                <a:gd name="T13" fmla="*/ 1 h 5"/>
                <a:gd name="T14" fmla="*/ 2 w 6"/>
                <a:gd name="T15" fmla="*/ 0 h 5"/>
                <a:gd name="T16" fmla="*/ 4 w 6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9" name="Freeform 12424"/>
            <p:cNvSpPr>
              <a:spLocks/>
            </p:cNvSpPr>
            <p:nvPr/>
          </p:nvSpPr>
          <p:spPr bwMode="auto">
            <a:xfrm>
              <a:off x="2679701" y="4457701"/>
              <a:ext cx="34925" cy="11113"/>
            </a:xfrm>
            <a:custGeom>
              <a:avLst/>
              <a:gdLst>
                <a:gd name="T0" fmla="*/ 24 w 43"/>
                <a:gd name="T1" fmla="*/ 0 h 14"/>
                <a:gd name="T2" fmla="*/ 26 w 43"/>
                <a:gd name="T3" fmla="*/ 2 h 14"/>
                <a:gd name="T4" fmla="*/ 32 w 43"/>
                <a:gd name="T5" fmla="*/ 4 h 14"/>
                <a:gd name="T6" fmla="*/ 36 w 43"/>
                <a:gd name="T7" fmla="*/ 6 h 14"/>
                <a:gd name="T8" fmla="*/ 39 w 43"/>
                <a:gd name="T9" fmla="*/ 8 h 14"/>
                <a:gd name="T10" fmla="*/ 41 w 43"/>
                <a:gd name="T11" fmla="*/ 10 h 14"/>
                <a:gd name="T12" fmla="*/ 43 w 43"/>
                <a:gd name="T13" fmla="*/ 10 h 14"/>
                <a:gd name="T14" fmla="*/ 38 w 43"/>
                <a:gd name="T15" fmla="*/ 10 h 14"/>
                <a:gd name="T16" fmla="*/ 26 w 43"/>
                <a:gd name="T17" fmla="*/ 10 h 14"/>
                <a:gd name="T18" fmla="*/ 12 w 43"/>
                <a:gd name="T19" fmla="*/ 10 h 14"/>
                <a:gd name="T20" fmla="*/ 0 w 43"/>
                <a:gd name="T21" fmla="*/ 14 h 14"/>
                <a:gd name="T22" fmla="*/ 6 w 43"/>
                <a:gd name="T23" fmla="*/ 8 h 14"/>
                <a:gd name="T24" fmla="*/ 10 w 43"/>
                <a:gd name="T25" fmla="*/ 6 h 14"/>
                <a:gd name="T26" fmla="*/ 14 w 43"/>
                <a:gd name="T27" fmla="*/ 4 h 14"/>
                <a:gd name="T28" fmla="*/ 18 w 43"/>
                <a:gd name="T29" fmla="*/ 2 h 14"/>
                <a:gd name="T30" fmla="*/ 20 w 43"/>
                <a:gd name="T31" fmla="*/ 0 h 14"/>
                <a:gd name="T32" fmla="*/ 24 w 43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14">
                  <a:moveTo>
                    <a:pt x="24" y="0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6"/>
                  </a:lnTo>
                  <a:lnTo>
                    <a:pt x="39" y="8"/>
                  </a:lnTo>
                  <a:lnTo>
                    <a:pt x="41" y="10"/>
                  </a:lnTo>
                  <a:lnTo>
                    <a:pt x="43" y="10"/>
                  </a:lnTo>
                  <a:lnTo>
                    <a:pt x="38" y="10"/>
                  </a:lnTo>
                  <a:lnTo>
                    <a:pt x="26" y="10"/>
                  </a:lnTo>
                  <a:lnTo>
                    <a:pt x="12" y="10"/>
                  </a:lnTo>
                  <a:lnTo>
                    <a:pt x="0" y="14"/>
                  </a:lnTo>
                  <a:lnTo>
                    <a:pt x="6" y="8"/>
                  </a:lnTo>
                  <a:lnTo>
                    <a:pt x="10" y="6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0" name="Freeform 12425"/>
            <p:cNvSpPr>
              <a:spLocks/>
            </p:cNvSpPr>
            <p:nvPr/>
          </p:nvSpPr>
          <p:spPr bwMode="auto">
            <a:xfrm>
              <a:off x="2684464" y="4437063"/>
              <a:ext cx="31750" cy="9525"/>
            </a:xfrm>
            <a:custGeom>
              <a:avLst/>
              <a:gdLst>
                <a:gd name="T0" fmla="*/ 12 w 39"/>
                <a:gd name="T1" fmla="*/ 0 h 12"/>
                <a:gd name="T2" fmla="*/ 16 w 39"/>
                <a:gd name="T3" fmla="*/ 0 h 12"/>
                <a:gd name="T4" fmla="*/ 16 w 39"/>
                <a:gd name="T5" fmla="*/ 10 h 12"/>
                <a:gd name="T6" fmla="*/ 16 w 39"/>
                <a:gd name="T7" fmla="*/ 2 h 12"/>
                <a:gd name="T8" fmla="*/ 37 w 39"/>
                <a:gd name="T9" fmla="*/ 6 h 12"/>
                <a:gd name="T10" fmla="*/ 39 w 39"/>
                <a:gd name="T11" fmla="*/ 12 h 12"/>
                <a:gd name="T12" fmla="*/ 2 w 39"/>
                <a:gd name="T13" fmla="*/ 12 h 12"/>
                <a:gd name="T14" fmla="*/ 0 w 39"/>
                <a:gd name="T15" fmla="*/ 0 h 12"/>
                <a:gd name="T16" fmla="*/ 8 w 39"/>
                <a:gd name="T17" fmla="*/ 0 h 12"/>
                <a:gd name="T18" fmla="*/ 10 w 39"/>
                <a:gd name="T19" fmla="*/ 6 h 12"/>
                <a:gd name="T20" fmla="*/ 12 w 39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12">
                  <a:moveTo>
                    <a:pt x="12" y="0"/>
                  </a:moveTo>
                  <a:lnTo>
                    <a:pt x="16" y="0"/>
                  </a:lnTo>
                  <a:lnTo>
                    <a:pt x="16" y="10"/>
                  </a:lnTo>
                  <a:lnTo>
                    <a:pt x="16" y="2"/>
                  </a:lnTo>
                  <a:lnTo>
                    <a:pt x="37" y="6"/>
                  </a:lnTo>
                  <a:lnTo>
                    <a:pt x="39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8" y="0"/>
                  </a:lnTo>
                  <a:lnTo>
                    <a:pt x="10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1" name="Freeform 12426"/>
            <p:cNvSpPr>
              <a:spLocks/>
            </p:cNvSpPr>
            <p:nvPr/>
          </p:nvSpPr>
          <p:spPr bwMode="auto">
            <a:xfrm>
              <a:off x="2678114" y="4491038"/>
              <a:ext cx="22225" cy="28575"/>
            </a:xfrm>
            <a:custGeom>
              <a:avLst/>
              <a:gdLst>
                <a:gd name="T0" fmla="*/ 6 w 28"/>
                <a:gd name="T1" fmla="*/ 0 h 35"/>
                <a:gd name="T2" fmla="*/ 10 w 28"/>
                <a:gd name="T3" fmla="*/ 0 h 35"/>
                <a:gd name="T4" fmla="*/ 16 w 28"/>
                <a:gd name="T5" fmla="*/ 2 h 35"/>
                <a:gd name="T6" fmla="*/ 22 w 28"/>
                <a:gd name="T7" fmla="*/ 4 h 35"/>
                <a:gd name="T8" fmla="*/ 26 w 28"/>
                <a:gd name="T9" fmla="*/ 8 h 35"/>
                <a:gd name="T10" fmla="*/ 28 w 28"/>
                <a:gd name="T11" fmla="*/ 12 h 35"/>
                <a:gd name="T12" fmla="*/ 28 w 28"/>
                <a:gd name="T13" fmla="*/ 16 h 35"/>
                <a:gd name="T14" fmla="*/ 28 w 28"/>
                <a:gd name="T15" fmla="*/ 20 h 35"/>
                <a:gd name="T16" fmla="*/ 26 w 28"/>
                <a:gd name="T17" fmla="*/ 25 h 35"/>
                <a:gd name="T18" fmla="*/ 24 w 28"/>
                <a:gd name="T19" fmla="*/ 27 h 35"/>
                <a:gd name="T20" fmla="*/ 20 w 28"/>
                <a:gd name="T21" fmla="*/ 31 h 35"/>
                <a:gd name="T22" fmla="*/ 14 w 28"/>
                <a:gd name="T23" fmla="*/ 33 h 35"/>
                <a:gd name="T24" fmla="*/ 10 w 28"/>
                <a:gd name="T25" fmla="*/ 35 h 35"/>
                <a:gd name="T26" fmla="*/ 6 w 28"/>
                <a:gd name="T27" fmla="*/ 35 h 35"/>
                <a:gd name="T28" fmla="*/ 4 w 28"/>
                <a:gd name="T29" fmla="*/ 35 h 35"/>
                <a:gd name="T30" fmla="*/ 2 w 28"/>
                <a:gd name="T31" fmla="*/ 35 h 35"/>
                <a:gd name="T32" fmla="*/ 2 w 28"/>
                <a:gd name="T33" fmla="*/ 31 h 35"/>
                <a:gd name="T34" fmla="*/ 4 w 28"/>
                <a:gd name="T35" fmla="*/ 31 h 35"/>
                <a:gd name="T36" fmla="*/ 6 w 28"/>
                <a:gd name="T37" fmla="*/ 31 h 35"/>
                <a:gd name="T38" fmla="*/ 12 w 28"/>
                <a:gd name="T39" fmla="*/ 29 h 35"/>
                <a:gd name="T40" fmla="*/ 16 w 28"/>
                <a:gd name="T41" fmla="*/ 29 h 35"/>
                <a:gd name="T42" fmla="*/ 20 w 28"/>
                <a:gd name="T43" fmla="*/ 25 h 35"/>
                <a:gd name="T44" fmla="*/ 24 w 28"/>
                <a:gd name="T45" fmla="*/ 21 h 35"/>
                <a:gd name="T46" fmla="*/ 24 w 28"/>
                <a:gd name="T47" fmla="*/ 16 h 35"/>
                <a:gd name="T48" fmla="*/ 22 w 28"/>
                <a:gd name="T49" fmla="*/ 12 h 35"/>
                <a:gd name="T50" fmla="*/ 20 w 28"/>
                <a:gd name="T51" fmla="*/ 8 h 35"/>
                <a:gd name="T52" fmla="*/ 14 w 28"/>
                <a:gd name="T53" fmla="*/ 4 h 35"/>
                <a:gd name="T54" fmla="*/ 10 w 28"/>
                <a:gd name="T55" fmla="*/ 2 h 35"/>
                <a:gd name="T56" fmla="*/ 6 w 28"/>
                <a:gd name="T57" fmla="*/ 2 h 35"/>
                <a:gd name="T58" fmla="*/ 2 w 28"/>
                <a:gd name="T59" fmla="*/ 0 h 35"/>
                <a:gd name="T60" fmla="*/ 0 w 28"/>
                <a:gd name="T61" fmla="*/ 0 h 35"/>
                <a:gd name="T62" fmla="*/ 2 w 28"/>
                <a:gd name="T63" fmla="*/ 0 h 35"/>
                <a:gd name="T64" fmla="*/ 6 w 28"/>
                <a:gd name="T6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" h="35">
                  <a:moveTo>
                    <a:pt x="6" y="0"/>
                  </a:moveTo>
                  <a:lnTo>
                    <a:pt x="10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6" y="25"/>
                  </a:lnTo>
                  <a:lnTo>
                    <a:pt x="24" y="27"/>
                  </a:lnTo>
                  <a:lnTo>
                    <a:pt x="20" y="31"/>
                  </a:lnTo>
                  <a:lnTo>
                    <a:pt x="14" y="33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4" y="35"/>
                  </a:lnTo>
                  <a:lnTo>
                    <a:pt x="2" y="35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12" y="29"/>
                  </a:lnTo>
                  <a:lnTo>
                    <a:pt x="16" y="29"/>
                  </a:lnTo>
                  <a:lnTo>
                    <a:pt x="20" y="25"/>
                  </a:lnTo>
                  <a:lnTo>
                    <a:pt x="24" y="21"/>
                  </a:lnTo>
                  <a:lnTo>
                    <a:pt x="24" y="16"/>
                  </a:lnTo>
                  <a:lnTo>
                    <a:pt x="22" y="12"/>
                  </a:lnTo>
                  <a:lnTo>
                    <a:pt x="20" y="8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2AA4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2" name="Freeform 12427"/>
            <p:cNvSpPr>
              <a:spLocks/>
            </p:cNvSpPr>
            <p:nvPr/>
          </p:nvSpPr>
          <p:spPr bwMode="auto">
            <a:xfrm>
              <a:off x="2579689" y="4360863"/>
              <a:ext cx="188913" cy="125413"/>
            </a:xfrm>
            <a:custGeom>
              <a:avLst/>
              <a:gdLst>
                <a:gd name="T0" fmla="*/ 123 w 237"/>
                <a:gd name="T1" fmla="*/ 0 h 157"/>
                <a:gd name="T2" fmla="*/ 147 w 237"/>
                <a:gd name="T3" fmla="*/ 4 h 157"/>
                <a:gd name="T4" fmla="*/ 168 w 237"/>
                <a:gd name="T5" fmla="*/ 12 h 157"/>
                <a:gd name="T6" fmla="*/ 186 w 237"/>
                <a:gd name="T7" fmla="*/ 22 h 157"/>
                <a:gd name="T8" fmla="*/ 198 w 237"/>
                <a:gd name="T9" fmla="*/ 32 h 157"/>
                <a:gd name="T10" fmla="*/ 206 w 237"/>
                <a:gd name="T11" fmla="*/ 39 h 157"/>
                <a:gd name="T12" fmla="*/ 196 w 237"/>
                <a:gd name="T13" fmla="*/ 38 h 157"/>
                <a:gd name="T14" fmla="*/ 190 w 237"/>
                <a:gd name="T15" fmla="*/ 34 h 157"/>
                <a:gd name="T16" fmla="*/ 184 w 237"/>
                <a:gd name="T17" fmla="*/ 34 h 157"/>
                <a:gd name="T18" fmla="*/ 180 w 237"/>
                <a:gd name="T19" fmla="*/ 34 h 157"/>
                <a:gd name="T20" fmla="*/ 178 w 237"/>
                <a:gd name="T21" fmla="*/ 34 h 157"/>
                <a:gd name="T22" fmla="*/ 182 w 237"/>
                <a:gd name="T23" fmla="*/ 36 h 157"/>
                <a:gd name="T24" fmla="*/ 192 w 237"/>
                <a:gd name="T25" fmla="*/ 41 h 157"/>
                <a:gd name="T26" fmla="*/ 204 w 237"/>
                <a:gd name="T27" fmla="*/ 51 h 157"/>
                <a:gd name="T28" fmla="*/ 219 w 237"/>
                <a:gd name="T29" fmla="*/ 65 h 157"/>
                <a:gd name="T30" fmla="*/ 237 w 237"/>
                <a:gd name="T31" fmla="*/ 83 h 157"/>
                <a:gd name="T32" fmla="*/ 213 w 237"/>
                <a:gd name="T33" fmla="*/ 71 h 157"/>
                <a:gd name="T34" fmla="*/ 196 w 237"/>
                <a:gd name="T35" fmla="*/ 67 h 157"/>
                <a:gd name="T36" fmla="*/ 182 w 237"/>
                <a:gd name="T37" fmla="*/ 67 h 157"/>
                <a:gd name="T38" fmla="*/ 178 w 237"/>
                <a:gd name="T39" fmla="*/ 67 h 157"/>
                <a:gd name="T40" fmla="*/ 178 w 237"/>
                <a:gd name="T41" fmla="*/ 67 h 157"/>
                <a:gd name="T42" fmla="*/ 180 w 237"/>
                <a:gd name="T43" fmla="*/ 69 h 157"/>
                <a:gd name="T44" fmla="*/ 184 w 237"/>
                <a:gd name="T45" fmla="*/ 73 h 157"/>
                <a:gd name="T46" fmla="*/ 190 w 237"/>
                <a:gd name="T47" fmla="*/ 79 h 157"/>
                <a:gd name="T48" fmla="*/ 194 w 237"/>
                <a:gd name="T49" fmla="*/ 85 h 157"/>
                <a:gd name="T50" fmla="*/ 200 w 237"/>
                <a:gd name="T51" fmla="*/ 94 h 157"/>
                <a:gd name="T52" fmla="*/ 172 w 237"/>
                <a:gd name="T53" fmla="*/ 85 h 157"/>
                <a:gd name="T54" fmla="*/ 143 w 237"/>
                <a:gd name="T55" fmla="*/ 81 h 157"/>
                <a:gd name="T56" fmla="*/ 112 w 237"/>
                <a:gd name="T57" fmla="*/ 81 h 157"/>
                <a:gd name="T58" fmla="*/ 84 w 237"/>
                <a:gd name="T59" fmla="*/ 81 h 157"/>
                <a:gd name="T60" fmla="*/ 61 w 237"/>
                <a:gd name="T61" fmla="*/ 85 h 157"/>
                <a:gd name="T62" fmla="*/ 45 w 237"/>
                <a:gd name="T63" fmla="*/ 87 h 157"/>
                <a:gd name="T64" fmla="*/ 39 w 237"/>
                <a:gd name="T65" fmla="*/ 88 h 157"/>
                <a:gd name="T66" fmla="*/ 47 w 237"/>
                <a:gd name="T67" fmla="*/ 110 h 157"/>
                <a:gd name="T68" fmla="*/ 43 w 237"/>
                <a:gd name="T69" fmla="*/ 157 h 157"/>
                <a:gd name="T70" fmla="*/ 19 w 237"/>
                <a:gd name="T71" fmla="*/ 149 h 157"/>
                <a:gd name="T72" fmla="*/ 0 w 237"/>
                <a:gd name="T73" fmla="*/ 51 h 157"/>
                <a:gd name="T74" fmla="*/ 2 w 237"/>
                <a:gd name="T75" fmla="*/ 51 h 157"/>
                <a:gd name="T76" fmla="*/ 4 w 237"/>
                <a:gd name="T77" fmla="*/ 51 h 157"/>
                <a:gd name="T78" fmla="*/ 10 w 237"/>
                <a:gd name="T79" fmla="*/ 49 h 157"/>
                <a:gd name="T80" fmla="*/ 14 w 237"/>
                <a:gd name="T81" fmla="*/ 49 h 157"/>
                <a:gd name="T82" fmla="*/ 19 w 237"/>
                <a:gd name="T83" fmla="*/ 47 h 157"/>
                <a:gd name="T84" fmla="*/ 25 w 237"/>
                <a:gd name="T85" fmla="*/ 47 h 157"/>
                <a:gd name="T86" fmla="*/ 29 w 237"/>
                <a:gd name="T87" fmla="*/ 47 h 157"/>
                <a:gd name="T88" fmla="*/ 49 w 237"/>
                <a:gd name="T89" fmla="*/ 24 h 157"/>
                <a:gd name="T90" fmla="*/ 72 w 237"/>
                <a:gd name="T91" fmla="*/ 8 h 157"/>
                <a:gd name="T92" fmla="*/ 98 w 237"/>
                <a:gd name="T93" fmla="*/ 0 h 157"/>
                <a:gd name="T94" fmla="*/ 123 w 237"/>
                <a:gd name="T9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7" h="157">
                  <a:moveTo>
                    <a:pt x="123" y="0"/>
                  </a:moveTo>
                  <a:lnTo>
                    <a:pt x="147" y="4"/>
                  </a:lnTo>
                  <a:lnTo>
                    <a:pt x="168" y="12"/>
                  </a:lnTo>
                  <a:lnTo>
                    <a:pt x="186" y="22"/>
                  </a:lnTo>
                  <a:lnTo>
                    <a:pt x="198" y="32"/>
                  </a:lnTo>
                  <a:lnTo>
                    <a:pt x="206" y="39"/>
                  </a:lnTo>
                  <a:lnTo>
                    <a:pt x="196" y="38"/>
                  </a:lnTo>
                  <a:lnTo>
                    <a:pt x="190" y="34"/>
                  </a:lnTo>
                  <a:lnTo>
                    <a:pt x="184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82" y="36"/>
                  </a:lnTo>
                  <a:lnTo>
                    <a:pt x="192" y="41"/>
                  </a:lnTo>
                  <a:lnTo>
                    <a:pt x="204" y="51"/>
                  </a:lnTo>
                  <a:lnTo>
                    <a:pt x="219" y="65"/>
                  </a:lnTo>
                  <a:lnTo>
                    <a:pt x="237" y="83"/>
                  </a:lnTo>
                  <a:lnTo>
                    <a:pt x="213" y="71"/>
                  </a:lnTo>
                  <a:lnTo>
                    <a:pt x="196" y="67"/>
                  </a:lnTo>
                  <a:lnTo>
                    <a:pt x="182" y="67"/>
                  </a:lnTo>
                  <a:lnTo>
                    <a:pt x="178" y="67"/>
                  </a:lnTo>
                  <a:lnTo>
                    <a:pt x="178" y="67"/>
                  </a:lnTo>
                  <a:lnTo>
                    <a:pt x="180" y="69"/>
                  </a:lnTo>
                  <a:lnTo>
                    <a:pt x="184" y="73"/>
                  </a:lnTo>
                  <a:lnTo>
                    <a:pt x="190" y="79"/>
                  </a:lnTo>
                  <a:lnTo>
                    <a:pt x="194" y="85"/>
                  </a:lnTo>
                  <a:lnTo>
                    <a:pt x="200" y="94"/>
                  </a:lnTo>
                  <a:lnTo>
                    <a:pt x="172" y="85"/>
                  </a:lnTo>
                  <a:lnTo>
                    <a:pt x="143" y="81"/>
                  </a:lnTo>
                  <a:lnTo>
                    <a:pt x="112" y="81"/>
                  </a:lnTo>
                  <a:lnTo>
                    <a:pt x="84" y="81"/>
                  </a:lnTo>
                  <a:lnTo>
                    <a:pt x="61" y="85"/>
                  </a:lnTo>
                  <a:lnTo>
                    <a:pt x="45" y="87"/>
                  </a:lnTo>
                  <a:lnTo>
                    <a:pt x="39" y="88"/>
                  </a:lnTo>
                  <a:lnTo>
                    <a:pt x="47" y="110"/>
                  </a:lnTo>
                  <a:lnTo>
                    <a:pt x="43" y="157"/>
                  </a:lnTo>
                  <a:lnTo>
                    <a:pt x="19" y="149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1"/>
                  </a:lnTo>
                  <a:lnTo>
                    <a:pt x="10" y="49"/>
                  </a:lnTo>
                  <a:lnTo>
                    <a:pt x="14" y="49"/>
                  </a:lnTo>
                  <a:lnTo>
                    <a:pt x="19" y="47"/>
                  </a:lnTo>
                  <a:lnTo>
                    <a:pt x="25" y="47"/>
                  </a:lnTo>
                  <a:lnTo>
                    <a:pt x="29" y="47"/>
                  </a:lnTo>
                  <a:lnTo>
                    <a:pt x="49" y="24"/>
                  </a:lnTo>
                  <a:lnTo>
                    <a:pt x="72" y="8"/>
                  </a:lnTo>
                  <a:lnTo>
                    <a:pt x="98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3" name="Freeform 12428"/>
            <p:cNvSpPr>
              <a:spLocks/>
            </p:cNvSpPr>
            <p:nvPr/>
          </p:nvSpPr>
          <p:spPr bwMode="auto">
            <a:xfrm>
              <a:off x="2587626" y="4475163"/>
              <a:ext cx="30163" cy="34925"/>
            </a:xfrm>
            <a:custGeom>
              <a:avLst/>
              <a:gdLst>
                <a:gd name="T0" fmla="*/ 11 w 37"/>
                <a:gd name="T1" fmla="*/ 0 h 45"/>
                <a:gd name="T2" fmla="*/ 17 w 37"/>
                <a:gd name="T3" fmla="*/ 0 h 45"/>
                <a:gd name="T4" fmla="*/ 23 w 37"/>
                <a:gd name="T5" fmla="*/ 4 h 45"/>
                <a:gd name="T6" fmla="*/ 27 w 37"/>
                <a:gd name="T7" fmla="*/ 8 h 45"/>
                <a:gd name="T8" fmla="*/ 33 w 37"/>
                <a:gd name="T9" fmla="*/ 14 h 45"/>
                <a:gd name="T10" fmla="*/ 37 w 37"/>
                <a:gd name="T11" fmla="*/ 20 h 45"/>
                <a:gd name="T12" fmla="*/ 37 w 37"/>
                <a:gd name="T13" fmla="*/ 28 h 45"/>
                <a:gd name="T14" fmla="*/ 37 w 37"/>
                <a:gd name="T15" fmla="*/ 34 h 45"/>
                <a:gd name="T16" fmla="*/ 35 w 37"/>
                <a:gd name="T17" fmla="*/ 40 h 45"/>
                <a:gd name="T18" fmla="*/ 33 w 37"/>
                <a:gd name="T19" fmla="*/ 43 h 45"/>
                <a:gd name="T20" fmla="*/ 27 w 37"/>
                <a:gd name="T21" fmla="*/ 45 h 45"/>
                <a:gd name="T22" fmla="*/ 21 w 37"/>
                <a:gd name="T23" fmla="*/ 43 h 45"/>
                <a:gd name="T24" fmla="*/ 15 w 37"/>
                <a:gd name="T25" fmla="*/ 42 h 45"/>
                <a:gd name="T26" fmla="*/ 9 w 37"/>
                <a:gd name="T27" fmla="*/ 38 h 45"/>
                <a:gd name="T28" fmla="*/ 6 w 37"/>
                <a:gd name="T29" fmla="*/ 32 h 45"/>
                <a:gd name="T30" fmla="*/ 2 w 37"/>
                <a:gd name="T31" fmla="*/ 24 h 45"/>
                <a:gd name="T32" fmla="*/ 0 w 37"/>
                <a:gd name="T33" fmla="*/ 18 h 45"/>
                <a:gd name="T34" fmla="*/ 0 w 37"/>
                <a:gd name="T35" fmla="*/ 12 h 45"/>
                <a:gd name="T36" fmla="*/ 2 w 37"/>
                <a:gd name="T37" fmla="*/ 6 h 45"/>
                <a:gd name="T38" fmla="*/ 6 w 37"/>
                <a:gd name="T39" fmla="*/ 2 h 45"/>
                <a:gd name="T40" fmla="*/ 11 w 37"/>
                <a:gd name="T4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45">
                  <a:moveTo>
                    <a:pt x="11" y="0"/>
                  </a:moveTo>
                  <a:lnTo>
                    <a:pt x="17" y="0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33" y="14"/>
                  </a:lnTo>
                  <a:lnTo>
                    <a:pt x="37" y="20"/>
                  </a:lnTo>
                  <a:lnTo>
                    <a:pt x="37" y="28"/>
                  </a:lnTo>
                  <a:lnTo>
                    <a:pt x="37" y="34"/>
                  </a:lnTo>
                  <a:lnTo>
                    <a:pt x="35" y="40"/>
                  </a:lnTo>
                  <a:lnTo>
                    <a:pt x="33" y="43"/>
                  </a:lnTo>
                  <a:lnTo>
                    <a:pt x="27" y="45"/>
                  </a:lnTo>
                  <a:lnTo>
                    <a:pt x="21" y="43"/>
                  </a:lnTo>
                  <a:lnTo>
                    <a:pt x="15" y="42"/>
                  </a:lnTo>
                  <a:lnTo>
                    <a:pt x="9" y="38"/>
                  </a:lnTo>
                  <a:lnTo>
                    <a:pt x="6" y="32"/>
                  </a:lnTo>
                  <a:lnTo>
                    <a:pt x="2" y="24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2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4" name="Freeform 12429"/>
            <p:cNvSpPr>
              <a:spLocks/>
            </p:cNvSpPr>
            <p:nvPr/>
          </p:nvSpPr>
          <p:spPr bwMode="auto">
            <a:xfrm>
              <a:off x="2590801" y="4375151"/>
              <a:ext cx="12700" cy="25400"/>
            </a:xfrm>
            <a:custGeom>
              <a:avLst/>
              <a:gdLst>
                <a:gd name="T0" fmla="*/ 3 w 15"/>
                <a:gd name="T1" fmla="*/ 0 h 31"/>
                <a:gd name="T2" fmla="*/ 15 w 15"/>
                <a:gd name="T3" fmla="*/ 31 h 31"/>
                <a:gd name="T4" fmla="*/ 0 w 15"/>
                <a:gd name="T5" fmla="*/ 4 h 31"/>
                <a:gd name="T6" fmla="*/ 3 w 15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1">
                  <a:moveTo>
                    <a:pt x="3" y="0"/>
                  </a:moveTo>
                  <a:lnTo>
                    <a:pt x="15" y="31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5" name="Freeform 12430"/>
            <p:cNvSpPr>
              <a:spLocks/>
            </p:cNvSpPr>
            <p:nvPr/>
          </p:nvSpPr>
          <p:spPr bwMode="auto">
            <a:xfrm>
              <a:off x="2584451" y="4384676"/>
              <a:ext cx="20638" cy="15875"/>
            </a:xfrm>
            <a:custGeom>
              <a:avLst/>
              <a:gdLst>
                <a:gd name="T0" fmla="*/ 4 w 25"/>
                <a:gd name="T1" fmla="*/ 0 h 19"/>
                <a:gd name="T2" fmla="*/ 25 w 25"/>
                <a:gd name="T3" fmla="*/ 19 h 19"/>
                <a:gd name="T4" fmla="*/ 0 w 25"/>
                <a:gd name="T5" fmla="*/ 4 h 19"/>
                <a:gd name="T6" fmla="*/ 4 w 2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9">
                  <a:moveTo>
                    <a:pt x="4" y="0"/>
                  </a:moveTo>
                  <a:lnTo>
                    <a:pt x="25" y="19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6" name="Freeform 12431"/>
            <p:cNvSpPr>
              <a:spLocks/>
            </p:cNvSpPr>
            <p:nvPr/>
          </p:nvSpPr>
          <p:spPr bwMode="auto">
            <a:xfrm>
              <a:off x="2632076" y="4373563"/>
              <a:ext cx="60325" cy="50800"/>
            </a:xfrm>
            <a:custGeom>
              <a:avLst/>
              <a:gdLst>
                <a:gd name="T0" fmla="*/ 0 w 76"/>
                <a:gd name="T1" fmla="*/ 0 h 65"/>
                <a:gd name="T2" fmla="*/ 25 w 76"/>
                <a:gd name="T3" fmla="*/ 4 h 65"/>
                <a:gd name="T4" fmla="*/ 45 w 76"/>
                <a:gd name="T5" fmla="*/ 14 h 65"/>
                <a:gd name="T6" fmla="*/ 58 w 76"/>
                <a:gd name="T7" fmla="*/ 27 h 65"/>
                <a:gd name="T8" fmla="*/ 66 w 76"/>
                <a:gd name="T9" fmla="*/ 41 h 65"/>
                <a:gd name="T10" fmla="*/ 72 w 76"/>
                <a:gd name="T11" fmla="*/ 53 h 65"/>
                <a:gd name="T12" fmla="*/ 76 w 76"/>
                <a:gd name="T13" fmla="*/ 61 h 65"/>
                <a:gd name="T14" fmla="*/ 76 w 76"/>
                <a:gd name="T15" fmla="*/ 65 h 65"/>
                <a:gd name="T16" fmla="*/ 74 w 76"/>
                <a:gd name="T17" fmla="*/ 61 h 65"/>
                <a:gd name="T18" fmla="*/ 66 w 76"/>
                <a:gd name="T19" fmla="*/ 49 h 65"/>
                <a:gd name="T20" fmla="*/ 56 w 76"/>
                <a:gd name="T21" fmla="*/ 33 h 65"/>
                <a:gd name="T22" fmla="*/ 41 w 76"/>
                <a:gd name="T23" fmla="*/ 20 h 65"/>
                <a:gd name="T24" fmla="*/ 23 w 76"/>
                <a:gd name="T25" fmla="*/ 6 h 65"/>
                <a:gd name="T26" fmla="*/ 0 w 76"/>
                <a:gd name="T2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5">
                  <a:moveTo>
                    <a:pt x="0" y="0"/>
                  </a:moveTo>
                  <a:lnTo>
                    <a:pt x="25" y="4"/>
                  </a:lnTo>
                  <a:lnTo>
                    <a:pt x="45" y="14"/>
                  </a:lnTo>
                  <a:lnTo>
                    <a:pt x="58" y="27"/>
                  </a:lnTo>
                  <a:lnTo>
                    <a:pt x="66" y="41"/>
                  </a:lnTo>
                  <a:lnTo>
                    <a:pt x="72" y="53"/>
                  </a:lnTo>
                  <a:lnTo>
                    <a:pt x="76" y="61"/>
                  </a:lnTo>
                  <a:lnTo>
                    <a:pt x="76" y="65"/>
                  </a:lnTo>
                  <a:lnTo>
                    <a:pt x="74" y="61"/>
                  </a:lnTo>
                  <a:lnTo>
                    <a:pt x="66" y="49"/>
                  </a:lnTo>
                  <a:lnTo>
                    <a:pt x="56" y="33"/>
                  </a:lnTo>
                  <a:lnTo>
                    <a:pt x="41" y="20"/>
                  </a:lnTo>
                  <a:lnTo>
                    <a:pt x="23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E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7" name="Freeform 12432"/>
            <p:cNvSpPr>
              <a:spLocks/>
            </p:cNvSpPr>
            <p:nvPr/>
          </p:nvSpPr>
          <p:spPr bwMode="auto">
            <a:xfrm>
              <a:off x="2617789" y="4379913"/>
              <a:ext cx="38100" cy="42863"/>
            </a:xfrm>
            <a:custGeom>
              <a:avLst/>
              <a:gdLst>
                <a:gd name="T0" fmla="*/ 0 w 49"/>
                <a:gd name="T1" fmla="*/ 0 h 55"/>
                <a:gd name="T2" fmla="*/ 21 w 49"/>
                <a:gd name="T3" fmla="*/ 8 h 55"/>
                <a:gd name="T4" fmla="*/ 35 w 49"/>
                <a:gd name="T5" fmla="*/ 19 h 55"/>
                <a:gd name="T6" fmla="*/ 43 w 49"/>
                <a:gd name="T7" fmla="*/ 31 h 55"/>
                <a:gd name="T8" fmla="*/ 47 w 49"/>
                <a:gd name="T9" fmla="*/ 43 h 55"/>
                <a:gd name="T10" fmla="*/ 49 w 49"/>
                <a:gd name="T11" fmla="*/ 53 h 55"/>
                <a:gd name="T12" fmla="*/ 49 w 49"/>
                <a:gd name="T13" fmla="*/ 55 h 55"/>
                <a:gd name="T14" fmla="*/ 47 w 49"/>
                <a:gd name="T15" fmla="*/ 51 h 55"/>
                <a:gd name="T16" fmla="*/ 43 w 49"/>
                <a:gd name="T17" fmla="*/ 39 h 55"/>
                <a:gd name="T18" fmla="*/ 33 w 49"/>
                <a:gd name="T19" fmla="*/ 23 h 55"/>
                <a:gd name="T20" fmla="*/ 19 w 49"/>
                <a:gd name="T21" fmla="*/ 10 h 55"/>
                <a:gd name="T22" fmla="*/ 0 w 49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55">
                  <a:moveTo>
                    <a:pt x="0" y="0"/>
                  </a:moveTo>
                  <a:lnTo>
                    <a:pt x="21" y="8"/>
                  </a:lnTo>
                  <a:lnTo>
                    <a:pt x="35" y="19"/>
                  </a:lnTo>
                  <a:lnTo>
                    <a:pt x="43" y="31"/>
                  </a:lnTo>
                  <a:lnTo>
                    <a:pt x="47" y="43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7" y="51"/>
                  </a:lnTo>
                  <a:lnTo>
                    <a:pt x="43" y="39"/>
                  </a:lnTo>
                  <a:lnTo>
                    <a:pt x="33" y="23"/>
                  </a:lnTo>
                  <a:lnTo>
                    <a:pt x="19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E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8" name="Freeform 12433"/>
            <p:cNvSpPr>
              <a:spLocks/>
            </p:cNvSpPr>
            <p:nvPr/>
          </p:nvSpPr>
          <p:spPr bwMode="auto">
            <a:xfrm>
              <a:off x="2640014" y="4370388"/>
              <a:ext cx="73025" cy="33338"/>
            </a:xfrm>
            <a:custGeom>
              <a:avLst/>
              <a:gdLst>
                <a:gd name="T0" fmla="*/ 26 w 92"/>
                <a:gd name="T1" fmla="*/ 0 h 41"/>
                <a:gd name="T2" fmla="*/ 47 w 92"/>
                <a:gd name="T3" fmla="*/ 4 h 41"/>
                <a:gd name="T4" fmla="*/ 65 w 92"/>
                <a:gd name="T5" fmla="*/ 10 h 41"/>
                <a:gd name="T6" fmla="*/ 77 w 92"/>
                <a:gd name="T7" fmla="*/ 20 h 41"/>
                <a:gd name="T8" fmla="*/ 87 w 92"/>
                <a:gd name="T9" fmla="*/ 29 h 41"/>
                <a:gd name="T10" fmla="*/ 90 w 92"/>
                <a:gd name="T11" fmla="*/ 37 h 41"/>
                <a:gd name="T12" fmla="*/ 92 w 92"/>
                <a:gd name="T13" fmla="*/ 41 h 41"/>
                <a:gd name="T14" fmla="*/ 90 w 92"/>
                <a:gd name="T15" fmla="*/ 37 h 41"/>
                <a:gd name="T16" fmla="*/ 81 w 92"/>
                <a:gd name="T17" fmla="*/ 27 h 41"/>
                <a:gd name="T18" fmla="*/ 65 w 92"/>
                <a:gd name="T19" fmla="*/ 18 h 41"/>
                <a:gd name="T20" fmla="*/ 47 w 92"/>
                <a:gd name="T21" fmla="*/ 8 h 41"/>
                <a:gd name="T22" fmla="*/ 24 w 92"/>
                <a:gd name="T23" fmla="*/ 2 h 41"/>
                <a:gd name="T24" fmla="*/ 0 w 92"/>
                <a:gd name="T25" fmla="*/ 2 h 41"/>
                <a:gd name="T26" fmla="*/ 26 w 92"/>
                <a:gd name="T2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41">
                  <a:moveTo>
                    <a:pt x="26" y="0"/>
                  </a:moveTo>
                  <a:lnTo>
                    <a:pt x="47" y="4"/>
                  </a:lnTo>
                  <a:lnTo>
                    <a:pt x="65" y="10"/>
                  </a:lnTo>
                  <a:lnTo>
                    <a:pt x="77" y="20"/>
                  </a:lnTo>
                  <a:lnTo>
                    <a:pt x="87" y="29"/>
                  </a:lnTo>
                  <a:lnTo>
                    <a:pt x="90" y="37"/>
                  </a:lnTo>
                  <a:lnTo>
                    <a:pt x="92" y="41"/>
                  </a:lnTo>
                  <a:lnTo>
                    <a:pt x="90" y="37"/>
                  </a:lnTo>
                  <a:lnTo>
                    <a:pt x="81" y="27"/>
                  </a:lnTo>
                  <a:lnTo>
                    <a:pt x="65" y="18"/>
                  </a:lnTo>
                  <a:lnTo>
                    <a:pt x="47" y="8"/>
                  </a:lnTo>
                  <a:lnTo>
                    <a:pt x="24" y="2"/>
                  </a:lnTo>
                  <a:lnTo>
                    <a:pt x="0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7E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668522" y="3500609"/>
            <a:ext cx="137591" cy="463247"/>
            <a:chOff x="7754938" y="3281363"/>
            <a:chExt cx="315912" cy="1063625"/>
          </a:xfrm>
        </p:grpSpPr>
        <p:sp>
          <p:nvSpPr>
            <p:cNvPr id="1733" name="Freeform 38"/>
            <p:cNvSpPr>
              <a:spLocks/>
            </p:cNvSpPr>
            <p:nvPr/>
          </p:nvSpPr>
          <p:spPr bwMode="auto">
            <a:xfrm>
              <a:off x="7967663" y="3355975"/>
              <a:ext cx="74612" cy="157163"/>
            </a:xfrm>
            <a:custGeom>
              <a:avLst/>
              <a:gdLst>
                <a:gd name="T0" fmla="*/ 39 w 47"/>
                <a:gd name="T1" fmla="*/ 0 h 99"/>
                <a:gd name="T2" fmla="*/ 44 w 47"/>
                <a:gd name="T3" fmla="*/ 19 h 99"/>
                <a:gd name="T4" fmla="*/ 47 w 47"/>
                <a:gd name="T5" fmla="*/ 40 h 99"/>
                <a:gd name="T6" fmla="*/ 47 w 47"/>
                <a:gd name="T7" fmla="*/ 61 h 99"/>
                <a:gd name="T8" fmla="*/ 47 w 47"/>
                <a:gd name="T9" fmla="*/ 79 h 99"/>
                <a:gd name="T10" fmla="*/ 47 w 47"/>
                <a:gd name="T11" fmla="*/ 92 h 99"/>
                <a:gd name="T12" fmla="*/ 46 w 47"/>
                <a:gd name="T13" fmla="*/ 96 h 99"/>
                <a:gd name="T14" fmla="*/ 42 w 47"/>
                <a:gd name="T15" fmla="*/ 97 h 99"/>
                <a:gd name="T16" fmla="*/ 36 w 47"/>
                <a:gd name="T17" fmla="*/ 99 h 99"/>
                <a:gd name="T18" fmla="*/ 26 w 47"/>
                <a:gd name="T19" fmla="*/ 99 h 99"/>
                <a:gd name="T20" fmla="*/ 16 w 47"/>
                <a:gd name="T21" fmla="*/ 99 h 99"/>
                <a:gd name="T22" fmla="*/ 8 w 47"/>
                <a:gd name="T23" fmla="*/ 99 h 99"/>
                <a:gd name="T24" fmla="*/ 3 w 47"/>
                <a:gd name="T25" fmla="*/ 92 h 99"/>
                <a:gd name="T26" fmla="*/ 0 w 47"/>
                <a:gd name="T27" fmla="*/ 83 h 99"/>
                <a:gd name="T28" fmla="*/ 0 w 47"/>
                <a:gd name="T29" fmla="*/ 74 h 99"/>
                <a:gd name="T30" fmla="*/ 0 w 47"/>
                <a:gd name="T31" fmla="*/ 69 h 99"/>
                <a:gd name="T32" fmla="*/ 39 w 47"/>
                <a:gd name="T3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99">
                  <a:moveTo>
                    <a:pt x="39" y="0"/>
                  </a:moveTo>
                  <a:lnTo>
                    <a:pt x="44" y="19"/>
                  </a:lnTo>
                  <a:lnTo>
                    <a:pt x="47" y="40"/>
                  </a:lnTo>
                  <a:lnTo>
                    <a:pt x="47" y="61"/>
                  </a:lnTo>
                  <a:lnTo>
                    <a:pt x="47" y="79"/>
                  </a:lnTo>
                  <a:lnTo>
                    <a:pt x="47" y="92"/>
                  </a:lnTo>
                  <a:lnTo>
                    <a:pt x="46" y="96"/>
                  </a:lnTo>
                  <a:lnTo>
                    <a:pt x="42" y="97"/>
                  </a:lnTo>
                  <a:lnTo>
                    <a:pt x="36" y="99"/>
                  </a:lnTo>
                  <a:lnTo>
                    <a:pt x="26" y="99"/>
                  </a:lnTo>
                  <a:lnTo>
                    <a:pt x="16" y="99"/>
                  </a:lnTo>
                  <a:lnTo>
                    <a:pt x="8" y="99"/>
                  </a:lnTo>
                  <a:lnTo>
                    <a:pt x="3" y="92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6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4" name="Freeform 39"/>
            <p:cNvSpPr>
              <a:spLocks/>
            </p:cNvSpPr>
            <p:nvPr/>
          </p:nvSpPr>
          <p:spPr bwMode="auto">
            <a:xfrm>
              <a:off x="7927975" y="4003675"/>
              <a:ext cx="76200" cy="333375"/>
            </a:xfrm>
            <a:custGeom>
              <a:avLst/>
              <a:gdLst>
                <a:gd name="T0" fmla="*/ 35 w 48"/>
                <a:gd name="T1" fmla="*/ 0 h 210"/>
                <a:gd name="T2" fmla="*/ 48 w 48"/>
                <a:gd name="T3" fmla="*/ 3 h 210"/>
                <a:gd name="T4" fmla="*/ 41 w 48"/>
                <a:gd name="T5" fmla="*/ 51 h 210"/>
                <a:gd name="T6" fmla="*/ 38 w 48"/>
                <a:gd name="T7" fmla="*/ 88 h 210"/>
                <a:gd name="T8" fmla="*/ 35 w 48"/>
                <a:gd name="T9" fmla="*/ 118 h 210"/>
                <a:gd name="T10" fmla="*/ 31 w 48"/>
                <a:gd name="T11" fmla="*/ 141 h 210"/>
                <a:gd name="T12" fmla="*/ 30 w 48"/>
                <a:gd name="T13" fmla="*/ 157 h 210"/>
                <a:gd name="T14" fmla="*/ 30 w 48"/>
                <a:gd name="T15" fmla="*/ 169 h 210"/>
                <a:gd name="T16" fmla="*/ 28 w 48"/>
                <a:gd name="T17" fmla="*/ 175 h 210"/>
                <a:gd name="T18" fmla="*/ 28 w 48"/>
                <a:gd name="T19" fmla="*/ 179 h 210"/>
                <a:gd name="T20" fmla="*/ 28 w 48"/>
                <a:gd name="T21" fmla="*/ 180 h 210"/>
                <a:gd name="T22" fmla="*/ 28 w 48"/>
                <a:gd name="T23" fmla="*/ 180 h 210"/>
                <a:gd name="T24" fmla="*/ 28 w 48"/>
                <a:gd name="T25" fmla="*/ 184 h 210"/>
                <a:gd name="T26" fmla="*/ 30 w 48"/>
                <a:gd name="T27" fmla="*/ 187 h 210"/>
                <a:gd name="T28" fmla="*/ 31 w 48"/>
                <a:gd name="T29" fmla="*/ 189 h 210"/>
                <a:gd name="T30" fmla="*/ 35 w 48"/>
                <a:gd name="T31" fmla="*/ 190 h 210"/>
                <a:gd name="T32" fmla="*/ 38 w 48"/>
                <a:gd name="T33" fmla="*/ 190 h 210"/>
                <a:gd name="T34" fmla="*/ 43 w 48"/>
                <a:gd name="T35" fmla="*/ 192 h 210"/>
                <a:gd name="T36" fmla="*/ 43 w 48"/>
                <a:gd name="T37" fmla="*/ 197 h 210"/>
                <a:gd name="T38" fmla="*/ 41 w 48"/>
                <a:gd name="T39" fmla="*/ 202 h 210"/>
                <a:gd name="T40" fmla="*/ 39 w 48"/>
                <a:gd name="T41" fmla="*/ 205 h 210"/>
                <a:gd name="T42" fmla="*/ 38 w 48"/>
                <a:gd name="T43" fmla="*/ 210 h 210"/>
                <a:gd name="T44" fmla="*/ 20 w 48"/>
                <a:gd name="T45" fmla="*/ 208 h 210"/>
                <a:gd name="T46" fmla="*/ 0 w 48"/>
                <a:gd name="T47" fmla="*/ 207 h 210"/>
                <a:gd name="T48" fmla="*/ 2 w 48"/>
                <a:gd name="T49" fmla="*/ 187 h 210"/>
                <a:gd name="T50" fmla="*/ 3 w 48"/>
                <a:gd name="T51" fmla="*/ 159 h 210"/>
                <a:gd name="T52" fmla="*/ 5 w 48"/>
                <a:gd name="T53" fmla="*/ 126 h 210"/>
                <a:gd name="T54" fmla="*/ 7 w 48"/>
                <a:gd name="T55" fmla="*/ 88 h 210"/>
                <a:gd name="T56" fmla="*/ 10 w 48"/>
                <a:gd name="T57" fmla="*/ 49 h 210"/>
                <a:gd name="T58" fmla="*/ 12 w 48"/>
                <a:gd name="T59" fmla="*/ 6 h 210"/>
                <a:gd name="T60" fmla="*/ 25 w 48"/>
                <a:gd name="T61" fmla="*/ 0 h 210"/>
                <a:gd name="T62" fmla="*/ 35 w 48"/>
                <a:gd name="T6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210">
                  <a:moveTo>
                    <a:pt x="35" y="0"/>
                  </a:moveTo>
                  <a:lnTo>
                    <a:pt x="48" y="3"/>
                  </a:lnTo>
                  <a:lnTo>
                    <a:pt x="41" y="51"/>
                  </a:lnTo>
                  <a:lnTo>
                    <a:pt x="38" y="88"/>
                  </a:lnTo>
                  <a:lnTo>
                    <a:pt x="35" y="118"/>
                  </a:lnTo>
                  <a:lnTo>
                    <a:pt x="31" y="141"/>
                  </a:lnTo>
                  <a:lnTo>
                    <a:pt x="30" y="157"/>
                  </a:lnTo>
                  <a:lnTo>
                    <a:pt x="30" y="169"/>
                  </a:lnTo>
                  <a:lnTo>
                    <a:pt x="28" y="175"/>
                  </a:lnTo>
                  <a:lnTo>
                    <a:pt x="28" y="179"/>
                  </a:lnTo>
                  <a:lnTo>
                    <a:pt x="28" y="180"/>
                  </a:lnTo>
                  <a:lnTo>
                    <a:pt x="28" y="180"/>
                  </a:lnTo>
                  <a:lnTo>
                    <a:pt x="28" y="184"/>
                  </a:lnTo>
                  <a:lnTo>
                    <a:pt x="30" y="187"/>
                  </a:lnTo>
                  <a:lnTo>
                    <a:pt x="31" y="189"/>
                  </a:lnTo>
                  <a:lnTo>
                    <a:pt x="35" y="190"/>
                  </a:lnTo>
                  <a:lnTo>
                    <a:pt x="38" y="190"/>
                  </a:lnTo>
                  <a:lnTo>
                    <a:pt x="43" y="192"/>
                  </a:lnTo>
                  <a:lnTo>
                    <a:pt x="43" y="197"/>
                  </a:lnTo>
                  <a:lnTo>
                    <a:pt x="41" y="202"/>
                  </a:lnTo>
                  <a:lnTo>
                    <a:pt x="39" y="205"/>
                  </a:lnTo>
                  <a:lnTo>
                    <a:pt x="38" y="210"/>
                  </a:lnTo>
                  <a:lnTo>
                    <a:pt x="20" y="208"/>
                  </a:lnTo>
                  <a:lnTo>
                    <a:pt x="0" y="207"/>
                  </a:lnTo>
                  <a:lnTo>
                    <a:pt x="2" y="187"/>
                  </a:lnTo>
                  <a:lnTo>
                    <a:pt x="3" y="159"/>
                  </a:lnTo>
                  <a:lnTo>
                    <a:pt x="5" y="126"/>
                  </a:lnTo>
                  <a:lnTo>
                    <a:pt x="7" y="88"/>
                  </a:lnTo>
                  <a:lnTo>
                    <a:pt x="10" y="49"/>
                  </a:lnTo>
                  <a:lnTo>
                    <a:pt x="12" y="6"/>
                  </a:lnTo>
                  <a:lnTo>
                    <a:pt x="2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5" name="Freeform 40"/>
            <p:cNvSpPr>
              <a:spLocks/>
            </p:cNvSpPr>
            <p:nvPr/>
          </p:nvSpPr>
          <p:spPr bwMode="auto">
            <a:xfrm>
              <a:off x="7931150" y="4264025"/>
              <a:ext cx="44450" cy="33338"/>
            </a:xfrm>
            <a:custGeom>
              <a:avLst/>
              <a:gdLst>
                <a:gd name="T0" fmla="*/ 1 w 28"/>
                <a:gd name="T1" fmla="*/ 0 h 21"/>
                <a:gd name="T2" fmla="*/ 6 w 28"/>
                <a:gd name="T3" fmla="*/ 3 h 21"/>
                <a:gd name="T4" fmla="*/ 10 w 28"/>
                <a:gd name="T5" fmla="*/ 5 h 21"/>
                <a:gd name="T6" fmla="*/ 14 w 28"/>
                <a:gd name="T7" fmla="*/ 8 h 21"/>
                <a:gd name="T8" fmla="*/ 18 w 28"/>
                <a:gd name="T9" fmla="*/ 10 h 21"/>
                <a:gd name="T10" fmla="*/ 21 w 28"/>
                <a:gd name="T11" fmla="*/ 11 h 21"/>
                <a:gd name="T12" fmla="*/ 26 w 28"/>
                <a:gd name="T13" fmla="*/ 13 h 21"/>
                <a:gd name="T14" fmla="*/ 28 w 28"/>
                <a:gd name="T15" fmla="*/ 16 h 21"/>
                <a:gd name="T16" fmla="*/ 28 w 28"/>
                <a:gd name="T17" fmla="*/ 18 h 21"/>
                <a:gd name="T18" fmla="*/ 26 w 28"/>
                <a:gd name="T19" fmla="*/ 21 h 21"/>
                <a:gd name="T20" fmla="*/ 16 w 28"/>
                <a:gd name="T21" fmla="*/ 18 h 21"/>
                <a:gd name="T22" fmla="*/ 8 w 28"/>
                <a:gd name="T23" fmla="*/ 13 h 21"/>
                <a:gd name="T24" fmla="*/ 0 w 28"/>
                <a:gd name="T25" fmla="*/ 8 h 21"/>
                <a:gd name="T26" fmla="*/ 0 w 28"/>
                <a:gd name="T27" fmla="*/ 7 h 21"/>
                <a:gd name="T28" fmla="*/ 0 w 28"/>
                <a:gd name="T29" fmla="*/ 3 h 21"/>
                <a:gd name="T30" fmla="*/ 0 w 28"/>
                <a:gd name="T31" fmla="*/ 2 h 21"/>
                <a:gd name="T32" fmla="*/ 1 w 28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1">
                  <a:moveTo>
                    <a:pt x="1" y="0"/>
                  </a:moveTo>
                  <a:lnTo>
                    <a:pt x="6" y="3"/>
                  </a:lnTo>
                  <a:lnTo>
                    <a:pt x="10" y="5"/>
                  </a:lnTo>
                  <a:lnTo>
                    <a:pt x="14" y="8"/>
                  </a:lnTo>
                  <a:lnTo>
                    <a:pt x="18" y="10"/>
                  </a:lnTo>
                  <a:lnTo>
                    <a:pt x="21" y="11"/>
                  </a:lnTo>
                  <a:lnTo>
                    <a:pt x="26" y="13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6" y="21"/>
                  </a:lnTo>
                  <a:lnTo>
                    <a:pt x="16" y="18"/>
                  </a:lnTo>
                  <a:lnTo>
                    <a:pt x="8" y="13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6" name="Freeform 41"/>
            <p:cNvSpPr>
              <a:spLocks/>
            </p:cNvSpPr>
            <p:nvPr/>
          </p:nvSpPr>
          <p:spPr bwMode="auto">
            <a:xfrm>
              <a:off x="7988300" y="4308475"/>
              <a:ext cx="60325" cy="28575"/>
            </a:xfrm>
            <a:custGeom>
              <a:avLst/>
              <a:gdLst>
                <a:gd name="T0" fmla="*/ 5 w 38"/>
                <a:gd name="T1" fmla="*/ 0 h 18"/>
                <a:gd name="T2" fmla="*/ 11 w 38"/>
                <a:gd name="T3" fmla="*/ 0 h 18"/>
                <a:gd name="T4" fmla="*/ 21 w 38"/>
                <a:gd name="T5" fmla="*/ 3 h 18"/>
                <a:gd name="T6" fmla="*/ 31 w 38"/>
                <a:gd name="T7" fmla="*/ 6 h 18"/>
                <a:gd name="T8" fmla="*/ 38 w 38"/>
                <a:gd name="T9" fmla="*/ 15 h 18"/>
                <a:gd name="T10" fmla="*/ 18 w 38"/>
                <a:gd name="T11" fmla="*/ 16 h 18"/>
                <a:gd name="T12" fmla="*/ 0 w 38"/>
                <a:gd name="T13" fmla="*/ 18 h 18"/>
                <a:gd name="T14" fmla="*/ 1 w 38"/>
                <a:gd name="T15" fmla="*/ 11 h 18"/>
                <a:gd name="T16" fmla="*/ 3 w 38"/>
                <a:gd name="T17" fmla="*/ 6 h 18"/>
                <a:gd name="T18" fmla="*/ 5 w 3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8">
                  <a:moveTo>
                    <a:pt x="5" y="0"/>
                  </a:moveTo>
                  <a:lnTo>
                    <a:pt x="11" y="0"/>
                  </a:lnTo>
                  <a:lnTo>
                    <a:pt x="21" y="3"/>
                  </a:lnTo>
                  <a:lnTo>
                    <a:pt x="31" y="6"/>
                  </a:lnTo>
                  <a:lnTo>
                    <a:pt x="38" y="15"/>
                  </a:lnTo>
                  <a:lnTo>
                    <a:pt x="18" y="16"/>
                  </a:lnTo>
                  <a:lnTo>
                    <a:pt x="0" y="18"/>
                  </a:lnTo>
                  <a:lnTo>
                    <a:pt x="1" y="11"/>
                  </a:lnTo>
                  <a:lnTo>
                    <a:pt x="3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7" name="Freeform 42"/>
            <p:cNvSpPr>
              <a:spLocks/>
            </p:cNvSpPr>
            <p:nvPr/>
          </p:nvSpPr>
          <p:spPr bwMode="auto">
            <a:xfrm>
              <a:off x="7927975" y="4332288"/>
              <a:ext cx="122237" cy="12700"/>
            </a:xfrm>
            <a:custGeom>
              <a:avLst/>
              <a:gdLst>
                <a:gd name="T0" fmla="*/ 0 w 77"/>
                <a:gd name="T1" fmla="*/ 0 h 8"/>
                <a:gd name="T2" fmla="*/ 39 w 77"/>
                <a:gd name="T3" fmla="*/ 0 h 8"/>
                <a:gd name="T4" fmla="*/ 76 w 77"/>
                <a:gd name="T5" fmla="*/ 0 h 8"/>
                <a:gd name="T6" fmla="*/ 77 w 77"/>
                <a:gd name="T7" fmla="*/ 5 h 8"/>
                <a:gd name="T8" fmla="*/ 77 w 77"/>
                <a:gd name="T9" fmla="*/ 8 h 8"/>
                <a:gd name="T10" fmla="*/ 0 w 77"/>
                <a:gd name="T11" fmla="*/ 8 h 8"/>
                <a:gd name="T12" fmla="*/ 0 w 77"/>
                <a:gd name="T13" fmla="*/ 5 h 8"/>
                <a:gd name="T14" fmla="*/ 0 w 77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8">
                  <a:moveTo>
                    <a:pt x="0" y="0"/>
                  </a:moveTo>
                  <a:lnTo>
                    <a:pt x="39" y="0"/>
                  </a:lnTo>
                  <a:lnTo>
                    <a:pt x="76" y="0"/>
                  </a:lnTo>
                  <a:lnTo>
                    <a:pt x="77" y="5"/>
                  </a:lnTo>
                  <a:lnTo>
                    <a:pt x="77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8" name="Freeform 43"/>
            <p:cNvSpPr>
              <a:spLocks/>
            </p:cNvSpPr>
            <p:nvPr/>
          </p:nvSpPr>
          <p:spPr bwMode="auto">
            <a:xfrm>
              <a:off x="7810500" y="3997325"/>
              <a:ext cx="114300" cy="339725"/>
            </a:xfrm>
            <a:custGeom>
              <a:avLst/>
              <a:gdLst>
                <a:gd name="T0" fmla="*/ 49 w 72"/>
                <a:gd name="T1" fmla="*/ 0 h 214"/>
                <a:gd name="T2" fmla="*/ 61 w 72"/>
                <a:gd name="T3" fmla="*/ 4 h 214"/>
                <a:gd name="T4" fmla="*/ 72 w 72"/>
                <a:gd name="T5" fmla="*/ 10 h 214"/>
                <a:gd name="T6" fmla="*/ 67 w 72"/>
                <a:gd name="T7" fmla="*/ 43 h 214"/>
                <a:gd name="T8" fmla="*/ 62 w 72"/>
                <a:gd name="T9" fmla="*/ 78 h 214"/>
                <a:gd name="T10" fmla="*/ 56 w 72"/>
                <a:gd name="T11" fmla="*/ 110 h 214"/>
                <a:gd name="T12" fmla="*/ 49 w 72"/>
                <a:gd name="T13" fmla="*/ 142 h 214"/>
                <a:gd name="T14" fmla="*/ 44 w 72"/>
                <a:gd name="T15" fmla="*/ 171 h 214"/>
                <a:gd name="T16" fmla="*/ 41 w 72"/>
                <a:gd name="T17" fmla="*/ 194 h 214"/>
                <a:gd name="T18" fmla="*/ 38 w 72"/>
                <a:gd name="T19" fmla="*/ 211 h 214"/>
                <a:gd name="T20" fmla="*/ 21 w 72"/>
                <a:gd name="T21" fmla="*/ 212 h 214"/>
                <a:gd name="T22" fmla="*/ 5 w 72"/>
                <a:gd name="T23" fmla="*/ 214 h 214"/>
                <a:gd name="T24" fmla="*/ 3 w 72"/>
                <a:gd name="T25" fmla="*/ 209 h 214"/>
                <a:gd name="T26" fmla="*/ 2 w 72"/>
                <a:gd name="T27" fmla="*/ 206 h 214"/>
                <a:gd name="T28" fmla="*/ 0 w 72"/>
                <a:gd name="T29" fmla="*/ 201 h 214"/>
                <a:gd name="T30" fmla="*/ 0 w 72"/>
                <a:gd name="T31" fmla="*/ 196 h 214"/>
                <a:gd name="T32" fmla="*/ 3 w 72"/>
                <a:gd name="T33" fmla="*/ 194 h 214"/>
                <a:gd name="T34" fmla="*/ 8 w 72"/>
                <a:gd name="T35" fmla="*/ 194 h 214"/>
                <a:gd name="T36" fmla="*/ 11 w 72"/>
                <a:gd name="T37" fmla="*/ 193 h 214"/>
                <a:gd name="T38" fmla="*/ 15 w 72"/>
                <a:gd name="T39" fmla="*/ 189 h 214"/>
                <a:gd name="T40" fmla="*/ 18 w 72"/>
                <a:gd name="T41" fmla="*/ 188 h 214"/>
                <a:gd name="T42" fmla="*/ 20 w 72"/>
                <a:gd name="T43" fmla="*/ 183 h 214"/>
                <a:gd name="T44" fmla="*/ 20 w 72"/>
                <a:gd name="T45" fmla="*/ 181 h 214"/>
                <a:gd name="T46" fmla="*/ 20 w 72"/>
                <a:gd name="T47" fmla="*/ 176 h 214"/>
                <a:gd name="T48" fmla="*/ 20 w 72"/>
                <a:gd name="T49" fmla="*/ 170 h 214"/>
                <a:gd name="T50" fmla="*/ 21 w 72"/>
                <a:gd name="T51" fmla="*/ 160 h 214"/>
                <a:gd name="T52" fmla="*/ 21 w 72"/>
                <a:gd name="T53" fmla="*/ 143 h 214"/>
                <a:gd name="T54" fmla="*/ 25 w 72"/>
                <a:gd name="T55" fmla="*/ 122 h 214"/>
                <a:gd name="T56" fmla="*/ 28 w 72"/>
                <a:gd name="T57" fmla="*/ 91 h 214"/>
                <a:gd name="T58" fmla="*/ 31 w 72"/>
                <a:gd name="T59" fmla="*/ 53 h 214"/>
                <a:gd name="T60" fmla="*/ 36 w 72"/>
                <a:gd name="T61" fmla="*/ 4 h 214"/>
                <a:gd name="T62" fmla="*/ 49 w 72"/>
                <a:gd name="T6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214">
                  <a:moveTo>
                    <a:pt x="49" y="0"/>
                  </a:moveTo>
                  <a:lnTo>
                    <a:pt x="61" y="4"/>
                  </a:lnTo>
                  <a:lnTo>
                    <a:pt x="72" y="10"/>
                  </a:lnTo>
                  <a:lnTo>
                    <a:pt x="67" y="43"/>
                  </a:lnTo>
                  <a:lnTo>
                    <a:pt x="62" y="78"/>
                  </a:lnTo>
                  <a:lnTo>
                    <a:pt x="56" y="110"/>
                  </a:lnTo>
                  <a:lnTo>
                    <a:pt x="49" y="142"/>
                  </a:lnTo>
                  <a:lnTo>
                    <a:pt x="44" y="171"/>
                  </a:lnTo>
                  <a:lnTo>
                    <a:pt x="41" y="194"/>
                  </a:lnTo>
                  <a:lnTo>
                    <a:pt x="38" y="211"/>
                  </a:lnTo>
                  <a:lnTo>
                    <a:pt x="21" y="212"/>
                  </a:lnTo>
                  <a:lnTo>
                    <a:pt x="5" y="214"/>
                  </a:lnTo>
                  <a:lnTo>
                    <a:pt x="3" y="209"/>
                  </a:lnTo>
                  <a:lnTo>
                    <a:pt x="2" y="206"/>
                  </a:lnTo>
                  <a:lnTo>
                    <a:pt x="0" y="201"/>
                  </a:lnTo>
                  <a:lnTo>
                    <a:pt x="0" y="196"/>
                  </a:lnTo>
                  <a:lnTo>
                    <a:pt x="3" y="194"/>
                  </a:lnTo>
                  <a:lnTo>
                    <a:pt x="8" y="194"/>
                  </a:lnTo>
                  <a:lnTo>
                    <a:pt x="11" y="193"/>
                  </a:lnTo>
                  <a:lnTo>
                    <a:pt x="15" y="189"/>
                  </a:lnTo>
                  <a:lnTo>
                    <a:pt x="18" y="188"/>
                  </a:lnTo>
                  <a:lnTo>
                    <a:pt x="20" y="183"/>
                  </a:lnTo>
                  <a:lnTo>
                    <a:pt x="20" y="181"/>
                  </a:lnTo>
                  <a:lnTo>
                    <a:pt x="20" y="176"/>
                  </a:lnTo>
                  <a:lnTo>
                    <a:pt x="20" y="170"/>
                  </a:lnTo>
                  <a:lnTo>
                    <a:pt x="21" y="160"/>
                  </a:lnTo>
                  <a:lnTo>
                    <a:pt x="21" y="143"/>
                  </a:lnTo>
                  <a:lnTo>
                    <a:pt x="25" y="122"/>
                  </a:lnTo>
                  <a:lnTo>
                    <a:pt x="28" y="91"/>
                  </a:lnTo>
                  <a:lnTo>
                    <a:pt x="31" y="53"/>
                  </a:lnTo>
                  <a:lnTo>
                    <a:pt x="36" y="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9" name="Freeform 44"/>
            <p:cNvSpPr>
              <a:spLocks/>
            </p:cNvSpPr>
            <p:nvPr/>
          </p:nvSpPr>
          <p:spPr bwMode="auto">
            <a:xfrm>
              <a:off x="7835900" y="4268788"/>
              <a:ext cx="47625" cy="26988"/>
            </a:xfrm>
            <a:custGeom>
              <a:avLst/>
              <a:gdLst>
                <a:gd name="T0" fmla="*/ 28 w 30"/>
                <a:gd name="T1" fmla="*/ 0 h 17"/>
                <a:gd name="T2" fmla="*/ 30 w 30"/>
                <a:gd name="T3" fmla="*/ 2 h 17"/>
                <a:gd name="T4" fmla="*/ 30 w 30"/>
                <a:gd name="T5" fmla="*/ 5 h 17"/>
                <a:gd name="T6" fmla="*/ 28 w 30"/>
                <a:gd name="T7" fmla="*/ 8 h 17"/>
                <a:gd name="T8" fmla="*/ 27 w 30"/>
                <a:gd name="T9" fmla="*/ 10 h 17"/>
                <a:gd name="T10" fmla="*/ 20 w 30"/>
                <a:gd name="T11" fmla="*/ 13 h 17"/>
                <a:gd name="T12" fmla="*/ 12 w 30"/>
                <a:gd name="T13" fmla="*/ 15 h 17"/>
                <a:gd name="T14" fmla="*/ 0 w 30"/>
                <a:gd name="T15" fmla="*/ 17 h 17"/>
                <a:gd name="T16" fmla="*/ 0 w 30"/>
                <a:gd name="T17" fmla="*/ 15 h 17"/>
                <a:gd name="T18" fmla="*/ 2 w 30"/>
                <a:gd name="T19" fmla="*/ 12 h 17"/>
                <a:gd name="T20" fmla="*/ 4 w 30"/>
                <a:gd name="T21" fmla="*/ 8 h 17"/>
                <a:gd name="T22" fmla="*/ 9 w 30"/>
                <a:gd name="T23" fmla="*/ 8 h 17"/>
                <a:gd name="T24" fmla="*/ 12 w 30"/>
                <a:gd name="T25" fmla="*/ 7 h 17"/>
                <a:gd name="T26" fmla="*/ 15 w 30"/>
                <a:gd name="T27" fmla="*/ 5 h 17"/>
                <a:gd name="T28" fmla="*/ 19 w 30"/>
                <a:gd name="T29" fmla="*/ 5 h 17"/>
                <a:gd name="T30" fmla="*/ 23 w 30"/>
                <a:gd name="T31" fmla="*/ 4 h 17"/>
                <a:gd name="T32" fmla="*/ 28 w 30"/>
                <a:gd name="T3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17">
                  <a:moveTo>
                    <a:pt x="28" y="0"/>
                  </a:moveTo>
                  <a:lnTo>
                    <a:pt x="30" y="2"/>
                  </a:lnTo>
                  <a:lnTo>
                    <a:pt x="30" y="5"/>
                  </a:lnTo>
                  <a:lnTo>
                    <a:pt x="28" y="8"/>
                  </a:lnTo>
                  <a:lnTo>
                    <a:pt x="27" y="10"/>
                  </a:lnTo>
                  <a:lnTo>
                    <a:pt x="20" y="13"/>
                  </a:lnTo>
                  <a:lnTo>
                    <a:pt x="12" y="15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2"/>
                  </a:lnTo>
                  <a:lnTo>
                    <a:pt x="4" y="8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5" y="5"/>
                  </a:lnTo>
                  <a:lnTo>
                    <a:pt x="19" y="5"/>
                  </a:lnTo>
                  <a:lnTo>
                    <a:pt x="23" y="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0" name="Freeform 45"/>
            <p:cNvSpPr>
              <a:spLocks/>
            </p:cNvSpPr>
            <p:nvPr/>
          </p:nvSpPr>
          <p:spPr bwMode="auto">
            <a:xfrm>
              <a:off x="7758113" y="4308475"/>
              <a:ext cx="60325" cy="28575"/>
            </a:xfrm>
            <a:custGeom>
              <a:avLst/>
              <a:gdLst>
                <a:gd name="T0" fmla="*/ 33 w 38"/>
                <a:gd name="T1" fmla="*/ 0 h 18"/>
                <a:gd name="T2" fmla="*/ 35 w 38"/>
                <a:gd name="T3" fmla="*/ 6 h 18"/>
                <a:gd name="T4" fmla="*/ 36 w 38"/>
                <a:gd name="T5" fmla="*/ 11 h 18"/>
                <a:gd name="T6" fmla="*/ 38 w 38"/>
                <a:gd name="T7" fmla="*/ 18 h 18"/>
                <a:gd name="T8" fmla="*/ 20 w 38"/>
                <a:gd name="T9" fmla="*/ 16 h 18"/>
                <a:gd name="T10" fmla="*/ 0 w 38"/>
                <a:gd name="T11" fmla="*/ 15 h 18"/>
                <a:gd name="T12" fmla="*/ 5 w 38"/>
                <a:gd name="T13" fmla="*/ 6 h 18"/>
                <a:gd name="T14" fmla="*/ 17 w 38"/>
                <a:gd name="T15" fmla="*/ 3 h 18"/>
                <a:gd name="T16" fmla="*/ 26 w 38"/>
                <a:gd name="T17" fmla="*/ 0 h 18"/>
                <a:gd name="T18" fmla="*/ 33 w 3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8">
                  <a:moveTo>
                    <a:pt x="33" y="0"/>
                  </a:moveTo>
                  <a:lnTo>
                    <a:pt x="35" y="6"/>
                  </a:lnTo>
                  <a:lnTo>
                    <a:pt x="36" y="11"/>
                  </a:lnTo>
                  <a:lnTo>
                    <a:pt x="38" y="18"/>
                  </a:lnTo>
                  <a:lnTo>
                    <a:pt x="20" y="16"/>
                  </a:lnTo>
                  <a:lnTo>
                    <a:pt x="0" y="15"/>
                  </a:lnTo>
                  <a:lnTo>
                    <a:pt x="5" y="6"/>
                  </a:lnTo>
                  <a:lnTo>
                    <a:pt x="17" y="3"/>
                  </a:lnTo>
                  <a:lnTo>
                    <a:pt x="26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1" name="Freeform 46"/>
            <p:cNvSpPr>
              <a:spLocks/>
            </p:cNvSpPr>
            <p:nvPr/>
          </p:nvSpPr>
          <p:spPr bwMode="auto">
            <a:xfrm>
              <a:off x="7754938" y="4332288"/>
              <a:ext cx="117475" cy="12700"/>
            </a:xfrm>
            <a:custGeom>
              <a:avLst/>
              <a:gdLst>
                <a:gd name="T0" fmla="*/ 73 w 74"/>
                <a:gd name="T1" fmla="*/ 0 h 8"/>
                <a:gd name="T2" fmla="*/ 74 w 74"/>
                <a:gd name="T3" fmla="*/ 5 h 8"/>
                <a:gd name="T4" fmla="*/ 73 w 74"/>
                <a:gd name="T5" fmla="*/ 8 h 8"/>
                <a:gd name="T6" fmla="*/ 0 w 74"/>
                <a:gd name="T7" fmla="*/ 8 h 8"/>
                <a:gd name="T8" fmla="*/ 0 w 74"/>
                <a:gd name="T9" fmla="*/ 5 h 8"/>
                <a:gd name="T10" fmla="*/ 2 w 74"/>
                <a:gd name="T11" fmla="*/ 0 h 8"/>
                <a:gd name="T12" fmla="*/ 25 w 74"/>
                <a:gd name="T13" fmla="*/ 0 h 8"/>
                <a:gd name="T14" fmla="*/ 48 w 74"/>
                <a:gd name="T15" fmla="*/ 0 h 8"/>
                <a:gd name="T16" fmla="*/ 73 w 74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8">
                  <a:moveTo>
                    <a:pt x="73" y="0"/>
                  </a:moveTo>
                  <a:lnTo>
                    <a:pt x="74" y="5"/>
                  </a:lnTo>
                  <a:lnTo>
                    <a:pt x="73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2" y="0"/>
                  </a:lnTo>
                  <a:lnTo>
                    <a:pt x="25" y="0"/>
                  </a:lnTo>
                  <a:lnTo>
                    <a:pt x="48" y="0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2" name="Freeform 47"/>
            <p:cNvSpPr>
              <a:spLocks/>
            </p:cNvSpPr>
            <p:nvPr/>
          </p:nvSpPr>
          <p:spPr bwMode="auto">
            <a:xfrm>
              <a:off x="8034338" y="3817938"/>
              <a:ext cx="22225" cy="44450"/>
            </a:xfrm>
            <a:custGeom>
              <a:avLst/>
              <a:gdLst>
                <a:gd name="T0" fmla="*/ 5 w 14"/>
                <a:gd name="T1" fmla="*/ 0 h 28"/>
                <a:gd name="T2" fmla="*/ 7 w 14"/>
                <a:gd name="T3" fmla="*/ 2 h 28"/>
                <a:gd name="T4" fmla="*/ 9 w 14"/>
                <a:gd name="T5" fmla="*/ 3 h 28"/>
                <a:gd name="T6" fmla="*/ 10 w 14"/>
                <a:gd name="T7" fmla="*/ 7 h 28"/>
                <a:gd name="T8" fmla="*/ 10 w 14"/>
                <a:gd name="T9" fmla="*/ 8 h 28"/>
                <a:gd name="T10" fmla="*/ 12 w 14"/>
                <a:gd name="T11" fmla="*/ 10 h 28"/>
                <a:gd name="T12" fmla="*/ 12 w 14"/>
                <a:gd name="T13" fmla="*/ 12 h 28"/>
                <a:gd name="T14" fmla="*/ 12 w 14"/>
                <a:gd name="T15" fmla="*/ 15 h 28"/>
                <a:gd name="T16" fmla="*/ 12 w 14"/>
                <a:gd name="T17" fmla="*/ 18 h 28"/>
                <a:gd name="T18" fmla="*/ 12 w 14"/>
                <a:gd name="T19" fmla="*/ 20 h 28"/>
                <a:gd name="T20" fmla="*/ 14 w 14"/>
                <a:gd name="T21" fmla="*/ 23 h 28"/>
                <a:gd name="T22" fmla="*/ 14 w 14"/>
                <a:gd name="T23" fmla="*/ 25 h 28"/>
                <a:gd name="T24" fmla="*/ 12 w 14"/>
                <a:gd name="T25" fmla="*/ 28 h 28"/>
                <a:gd name="T26" fmla="*/ 10 w 14"/>
                <a:gd name="T27" fmla="*/ 28 h 28"/>
                <a:gd name="T28" fmla="*/ 9 w 14"/>
                <a:gd name="T29" fmla="*/ 26 h 28"/>
                <a:gd name="T30" fmla="*/ 7 w 14"/>
                <a:gd name="T31" fmla="*/ 25 h 28"/>
                <a:gd name="T32" fmla="*/ 5 w 14"/>
                <a:gd name="T33" fmla="*/ 21 h 28"/>
                <a:gd name="T34" fmla="*/ 4 w 14"/>
                <a:gd name="T35" fmla="*/ 18 h 28"/>
                <a:gd name="T36" fmla="*/ 4 w 14"/>
                <a:gd name="T37" fmla="*/ 15 h 28"/>
                <a:gd name="T38" fmla="*/ 2 w 14"/>
                <a:gd name="T39" fmla="*/ 12 h 28"/>
                <a:gd name="T40" fmla="*/ 2 w 14"/>
                <a:gd name="T41" fmla="*/ 8 h 28"/>
                <a:gd name="T42" fmla="*/ 2 w 14"/>
                <a:gd name="T43" fmla="*/ 5 h 28"/>
                <a:gd name="T44" fmla="*/ 0 w 14"/>
                <a:gd name="T45" fmla="*/ 3 h 28"/>
                <a:gd name="T46" fmla="*/ 0 w 14"/>
                <a:gd name="T47" fmla="*/ 2 h 28"/>
                <a:gd name="T48" fmla="*/ 4 w 14"/>
                <a:gd name="T49" fmla="*/ 0 h 28"/>
                <a:gd name="T50" fmla="*/ 5 w 14"/>
                <a:gd name="T5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" h="28">
                  <a:moveTo>
                    <a:pt x="5" y="0"/>
                  </a:moveTo>
                  <a:lnTo>
                    <a:pt x="7" y="2"/>
                  </a:lnTo>
                  <a:lnTo>
                    <a:pt x="9" y="3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4" y="23"/>
                  </a:lnTo>
                  <a:lnTo>
                    <a:pt x="14" y="25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9" y="26"/>
                  </a:lnTo>
                  <a:lnTo>
                    <a:pt x="7" y="25"/>
                  </a:lnTo>
                  <a:lnTo>
                    <a:pt x="5" y="21"/>
                  </a:lnTo>
                  <a:lnTo>
                    <a:pt x="4" y="18"/>
                  </a:lnTo>
                  <a:lnTo>
                    <a:pt x="4" y="15"/>
                  </a:lnTo>
                  <a:lnTo>
                    <a:pt x="2" y="12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3" name="Freeform 48"/>
            <p:cNvSpPr>
              <a:spLocks/>
            </p:cNvSpPr>
            <p:nvPr/>
          </p:nvSpPr>
          <p:spPr bwMode="auto">
            <a:xfrm>
              <a:off x="8024813" y="3565525"/>
              <a:ext cx="46037" cy="325438"/>
            </a:xfrm>
            <a:custGeom>
              <a:avLst/>
              <a:gdLst>
                <a:gd name="T0" fmla="*/ 18 w 29"/>
                <a:gd name="T1" fmla="*/ 0 h 205"/>
                <a:gd name="T2" fmla="*/ 20 w 29"/>
                <a:gd name="T3" fmla="*/ 0 h 205"/>
                <a:gd name="T4" fmla="*/ 21 w 29"/>
                <a:gd name="T5" fmla="*/ 0 h 205"/>
                <a:gd name="T6" fmla="*/ 20 w 29"/>
                <a:gd name="T7" fmla="*/ 29 h 205"/>
                <a:gd name="T8" fmla="*/ 20 w 29"/>
                <a:gd name="T9" fmla="*/ 52 h 205"/>
                <a:gd name="T10" fmla="*/ 20 w 29"/>
                <a:gd name="T11" fmla="*/ 67 h 205"/>
                <a:gd name="T12" fmla="*/ 21 w 29"/>
                <a:gd name="T13" fmla="*/ 79 h 205"/>
                <a:gd name="T14" fmla="*/ 23 w 29"/>
                <a:gd name="T15" fmla="*/ 89 h 205"/>
                <a:gd name="T16" fmla="*/ 25 w 29"/>
                <a:gd name="T17" fmla="*/ 95 h 205"/>
                <a:gd name="T18" fmla="*/ 25 w 29"/>
                <a:gd name="T19" fmla="*/ 105 h 205"/>
                <a:gd name="T20" fmla="*/ 25 w 29"/>
                <a:gd name="T21" fmla="*/ 123 h 205"/>
                <a:gd name="T22" fmla="*/ 25 w 29"/>
                <a:gd name="T23" fmla="*/ 139 h 205"/>
                <a:gd name="T24" fmla="*/ 25 w 29"/>
                <a:gd name="T25" fmla="*/ 141 h 205"/>
                <a:gd name="T26" fmla="*/ 25 w 29"/>
                <a:gd name="T27" fmla="*/ 151 h 205"/>
                <a:gd name="T28" fmla="*/ 26 w 29"/>
                <a:gd name="T29" fmla="*/ 159 h 205"/>
                <a:gd name="T30" fmla="*/ 26 w 29"/>
                <a:gd name="T31" fmla="*/ 162 h 205"/>
                <a:gd name="T32" fmla="*/ 28 w 29"/>
                <a:gd name="T33" fmla="*/ 167 h 205"/>
                <a:gd name="T34" fmla="*/ 29 w 29"/>
                <a:gd name="T35" fmla="*/ 174 h 205"/>
                <a:gd name="T36" fmla="*/ 29 w 29"/>
                <a:gd name="T37" fmla="*/ 180 h 205"/>
                <a:gd name="T38" fmla="*/ 29 w 29"/>
                <a:gd name="T39" fmla="*/ 185 h 205"/>
                <a:gd name="T40" fmla="*/ 28 w 29"/>
                <a:gd name="T41" fmla="*/ 192 h 205"/>
                <a:gd name="T42" fmla="*/ 25 w 29"/>
                <a:gd name="T43" fmla="*/ 195 h 205"/>
                <a:gd name="T44" fmla="*/ 23 w 29"/>
                <a:gd name="T45" fmla="*/ 199 h 205"/>
                <a:gd name="T46" fmla="*/ 20 w 29"/>
                <a:gd name="T47" fmla="*/ 202 h 205"/>
                <a:gd name="T48" fmla="*/ 18 w 29"/>
                <a:gd name="T49" fmla="*/ 205 h 205"/>
                <a:gd name="T50" fmla="*/ 15 w 29"/>
                <a:gd name="T51" fmla="*/ 205 h 205"/>
                <a:gd name="T52" fmla="*/ 13 w 29"/>
                <a:gd name="T53" fmla="*/ 205 h 205"/>
                <a:gd name="T54" fmla="*/ 11 w 29"/>
                <a:gd name="T55" fmla="*/ 205 h 205"/>
                <a:gd name="T56" fmla="*/ 11 w 29"/>
                <a:gd name="T57" fmla="*/ 203 h 205"/>
                <a:gd name="T58" fmla="*/ 13 w 29"/>
                <a:gd name="T59" fmla="*/ 202 h 205"/>
                <a:gd name="T60" fmla="*/ 15 w 29"/>
                <a:gd name="T61" fmla="*/ 199 h 205"/>
                <a:gd name="T62" fmla="*/ 16 w 29"/>
                <a:gd name="T63" fmla="*/ 195 h 205"/>
                <a:gd name="T64" fmla="*/ 18 w 29"/>
                <a:gd name="T65" fmla="*/ 192 h 205"/>
                <a:gd name="T66" fmla="*/ 18 w 29"/>
                <a:gd name="T67" fmla="*/ 187 h 205"/>
                <a:gd name="T68" fmla="*/ 18 w 29"/>
                <a:gd name="T69" fmla="*/ 184 h 205"/>
                <a:gd name="T70" fmla="*/ 18 w 29"/>
                <a:gd name="T71" fmla="*/ 184 h 205"/>
                <a:gd name="T72" fmla="*/ 16 w 29"/>
                <a:gd name="T73" fmla="*/ 182 h 205"/>
                <a:gd name="T74" fmla="*/ 16 w 29"/>
                <a:gd name="T75" fmla="*/ 182 h 205"/>
                <a:gd name="T76" fmla="*/ 15 w 29"/>
                <a:gd name="T77" fmla="*/ 180 h 205"/>
                <a:gd name="T78" fmla="*/ 15 w 29"/>
                <a:gd name="T79" fmla="*/ 177 h 205"/>
                <a:gd name="T80" fmla="*/ 13 w 29"/>
                <a:gd name="T81" fmla="*/ 174 h 205"/>
                <a:gd name="T82" fmla="*/ 11 w 29"/>
                <a:gd name="T83" fmla="*/ 169 h 205"/>
                <a:gd name="T84" fmla="*/ 8 w 29"/>
                <a:gd name="T85" fmla="*/ 166 h 205"/>
                <a:gd name="T86" fmla="*/ 8 w 29"/>
                <a:gd name="T87" fmla="*/ 162 h 205"/>
                <a:gd name="T88" fmla="*/ 6 w 29"/>
                <a:gd name="T89" fmla="*/ 161 h 205"/>
                <a:gd name="T90" fmla="*/ 6 w 29"/>
                <a:gd name="T91" fmla="*/ 159 h 205"/>
                <a:gd name="T92" fmla="*/ 8 w 29"/>
                <a:gd name="T93" fmla="*/ 156 h 205"/>
                <a:gd name="T94" fmla="*/ 8 w 29"/>
                <a:gd name="T95" fmla="*/ 153 h 205"/>
                <a:gd name="T96" fmla="*/ 10 w 29"/>
                <a:gd name="T97" fmla="*/ 149 h 205"/>
                <a:gd name="T98" fmla="*/ 11 w 29"/>
                <a:gd name="T99" fmla="*/ 144 h 205"/>
                <a:gd name="T100" fmla="*/ 11 w 29"/>
                <a:gd name="T101" fmla="*/ 144 h 205"/>
                <a:gd name="T102" fmla="*/ 13 w 29"/>
                <a:gd name="T103" fmla="*/ 143 h 205"/>
                <a:gd name="T104" fmla="*/ 16 w 29"/>
                <a:gd name="T105" fmla="*/ 143 h 205"/>
                <a:gd name="T106" fmla="*/ 13 w 29"/>
                <a:gd name="T107" fmla="*/ 121 h 205"/>
                <a:gd name="T108" fmla="*/ 11 w 29"/>
                <a:gd name="T109" fmla="*/ 107 h 205"/>
                <a:gd name="T110" fmla="*/ 5 w 29"/>
                <a:gd name="T111" fmla="*/ 85 h 205"/>
                <a:gd name="T112" fmla="*/ 0 w 29"/>
                <a:gd name="T113" fmla="*/ 66 h 205"/>
                <a:gd name="T114" fmla="*/ 0 w 29"/>
                <a:gd name="T115" fmla="*/ 46 h 205"/>
                <a:gd name="T116" fmla="*/ 5 w 29"/>
                <a:gd name="T117" fmla="*/ 24 h 205"/>
                <a:gd name="T118" fmla="*/ 16 w 29"/>
                <a:gd name="T119" fmla="*/ 0 h 205"/>
                <a:gd name="T120" fmla="*/ 18 w 29"/>
                <a:gd name="T121" fmla="*/ 0 h 205"/>
                <a:gd name="T122" fmla="*/ 18 w 29"/>
                <a:gd name="T12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" h="205">
                  <a:moveTo>
                    <a:pt x="18" y="0"/>
                  </a:moveTo>
                  <a:lnTo>
                    <a:pt x="20" y="0"/>
                  </a:lnTo>
                  <a:lnTo>
                    <a:pt x="21" y="0"/>
                  </a:lnTo>
                  <a:lnTo>
                    <a:pt x="20" y="29"/>
                  </a:lnTo>
                  <a:lnTo>
                    <a:pt x="20" y="52"/>
                  </a:lnTo>
                  <a:lnTo>
                    <a:pt x="20" y="67"/>
                  </a:lnTo>
                  <a:lnTo>
                    <a:pt x="21" y="79"/>
                  </a:lnTo>
                  <a:lnTo>
                    <a:pt x="23" y="89"/>
                  </a:lnTo>
                  <a:lnTo>
                    <a:pt x="25" y="95"/>
                  </a:lnTo>
                  <a:lnTo>
                    <a:pt x="25" y="105"/>
                  </a:lnTo>
                  <a:lnTo>
                    <a:pt x="25" y="123"/>
                  </a:lnTo>
                  <a:lnTo>
                    <a:pt x="25" y="139"/>
                  </a:lnTo>
                  <a:lnTo>
                    <a:pt x="25" y="141"/>
                  </a:lnTo>
                  <a:lnTo>
                    <a:pt x="25" y="151"/>
                  </a:lnTo>
                  <a:lnTo>
                    <a:pt x="26" y="159"/>
                  </a:lnTo>
                  <a:lnTo>
                    <a:pt x="26" y="162"/>
                  </a:lnTo>
                  <a:lnTo>
                    <a:pt x="28" y="167"/>
                  </a:lnTo>
                  <a:lnTo>
                    <a:pt x="29" y="174"/>
                  </a:lnTo>
                  <a:lnTo>
                    <a:pt x="29" y="180"/>
                  </a:lnTo>
                  <a:lnTo>
                    <a:pt x="29" y="185"/>
                  </a:lnTo>
                  <a:lnTo>
                    <a:pt x="28" y="192"/>
                  </a:lnTo>
                  <a:lnTo>
                    <a:pt x="25" y="195"/>
                  </a:lnTo>
                  <a:lnTo>
                    <a:pt x="23" y="199"/>
                  </a:lnTo>
                  <a:lnTo>
                    <a:pt x="20" y="202"/>
                  </a:lnTo>
                  <a:lnTo>
                    <a:pt x="18" y="205"/>
                  </a:lnTo>
                  <a:lnTo>
                    <a:pt x="15" y="205"/>
                  </a:lnTo>
                  <a:lnTo>
                    <a:pt x="13" y="205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3" y="202"/>
                  </a:lnTo>
                  <a:lnTo>
                    <a:pt x="15" y="199"/>
                  </a:lnTo>
                  <a:lnTo>
                    <a:pt x="16" y="195"/>
                  </a:lnTo>
                  <a:lnTo>
                    <a:pt x="18" y="192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8" y="184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0"/>
                  </a:lnTo>
                  <a:lnTo>
                    <a:pt x="15" y="177"/>
                  </a:lnTo>
                  <a:lnTo>
                    <a:pt x="13" y="174"/>
                  </a:lnTo>
                  <a:lnTo>
                    <a:pt x="11" y="169"/>
                  </a:lnTo>
                  <a:lnTo>
                    <a:pt x="8" y="166"/>
                  </a:lnTo>
                  <a:lnTo>
                    <a:pt x="8" y="162"/>
                  </a:lnTo>
                  <a:lnTo>
                    <a:pt x="6" y="161"/>
                  </a:lnTo>
                  <a:lnTo>
                    <a:pt x="6" y="159"/>
                  </a:lnTo>
                  <a:lnTo>
                    <a:pt x="8" y="156"/>
                  </a:lnTo>
                  <a:lnTo>
                    <a:pt x="8" y="153"/>
                  </a:lnTo>
                  <a:lnTo>
                    <a:pt x="10" y="149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3" y="143"/>
                  </a:lnTo>
                  <a:lnTo>
                    <a:pt x="16" y="143"/>
                  </a:lnTo>
                  <a:lnTo>
                    <a:pt x="13" y="121"/>
                  </a:lnTo>
                  <a:lnTo>
                    <a:pt x="11" y="107"/>
                  </a:lnTo>
                  <a:lnTo>
                    <a:pt x="5" y="85"/>
                  </a:lnTo>
                  <a:lnTo>
                    <a:pt x="0" y="66"/>
                  </a:lnTo>
                  <a:lnTo>
                    <a:pt x="0" y="46"/>
                  </a:lnTo>
                  <a:lnTo>
                    <a:pt x="5" y="24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4" name="Freeform 49"/>
            <p:cNvSpPr>
              <a:spLocks/>
            </p:cNvSpPr>
            <p:nvPr/>
          </p:nvSpPr>
          <p:spPr bwMode="auto">
            <a:xfrm>
              <a:off x="8013700" y="3484563"/>
              <a:ext cx="50800" cy="80963"/>
            </a:xfrm>
            <a:custGeom>
              <a:avLst/>
              <a:gdLst>
                <a:gd name="T0" fmla="*/ 0 w 32"/>
                <a:gd name="T1" fmla="*/ 0 h 51"/>
                <a:gd name="T2" fmla="*/ 10 w 32"/>
                <a:gd name="T3" fmla="*/ 5 h 51"/>
                <a:gd name="T4" fmla="*/ 20 w 32"/>
                <a:gd name="T5" fmla="*/ 16 h 51"/>
                <a:gd name="T6" fmla="*/ 27 w 32"/>
                <a:gd name="T7" fmla="*/ 33 h 51"/>
                <a:gd name="T8" fmla="*/ 32 w 32"/>
                <a:gd name="T9" fmla="*/ 51 h 51"/>
                <a:gd name="T10" fmla="*/ 28 w 32"/>
                <a:gd name="T11" fmla="*/ 51 h 51"/>
                <a:gd name="T12" fmla="*/ 23 w 32"/>
                <a:gd name="T13" fmla="*/ 51 h 51"/>
                <a:gd name="T14" fmla="*/ 18 w 32"/>
                <a:gd name="T15" fmla="*/ 44 h 51"/>
                <a:gd name="T16" fmla="*/ 10 w 32"/>
                <a:gd name="T17" fmla="*/ 31 h 51"/>
                <a:gd name="T18" fmla="*/ 5 w 32"/>
                <a:gd name="T19" fmla="*/ 15 h 51"/>
                <a:gd name="T20" fmla="*/ 0 w 32"/>
                <a:gd name="T2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51">
                  <a:moveTo>
                    <a:pt x="0" y="0"/>
                  </a:moveTo>
                  <a:lnTo>
                    <a:pt x="10" y="5"/>
                  </a:lnTo>
                  <a:lnTo>
                    <a:pt x="20" y="16"/>
                  </a:lnTo>
                  <a:lnTo>
                    <a:pt x="27" y="33"/>
                  </a:lnTo>
                  <a:lnTo>
                    <a:pt x="32" y="51"/>
                  </a:lnTo>
                  <a:lnTo>
                    <a:pt x="28" y="51"/>
                  </a:lnTo>
                  <a:lnTo>
                    <a:pt x="23" y="51"/>
                  </a:lnTo>
                  <a:lnTo>
                    <a:pt x="18" y="44"/>
                  </a:lnTo>
                  <a:lnTo>
                    <a:pt x="10" y="31"/>
                  </a:lnTo>
                  <a:lnTo>
                    <a:pt x="5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5" name="Freeform 50"/>
            <p:cNvSpPr>
              <a:spLocks/>
            </p:cNvSpPr>
            <p:nvPr/>
          </p:nvSpPr>
          <p:spPr bwMode="auto">
            <a:xfrm>
              <a:off x="7847013" y="3481388"/>
              <a:ext cx="211137" cy="531813"/>
            </a:xfrm>
            <a:custGeom>
              <a:avLst/>
              <a:gdLst>
                <a:gd name="T0" fmla="*/ 97 w 133"/>
                <a:gd name="T1" fmla="*/ 0 h 335"/>
                <a:gd name="T2" fmla="*/ 99 w 133"/>
                <a:gd name="T3" fmla="*/ 0 h 335"/>
                <a:gd name="T4" fmla="*/ 100 w 133"/>
                <a:gd name="T5" fmla="*/ 0 h 335"/>
                <a:gd name="T6" fmla="*/ 102 w 133"/>
                <a:gd name="T7" fmla="*/ 0 h 335"/>
                <a:gd name="T8" fmla="*/ 105 w 133"/>
                <a:gd name="T9" fmla="*/ 2 h 335"/>
                <a:gd name="T10" fmla="*/ 115 w 133"/>
                <a:gd name="T11" fmla="*/ 20 h 335"/>
                <a:gd name="T12" fmla="*/ 122 w 133"/>
                <a:gd name="T13" fmla="*/ 33 h 335"/>
                <a:gd name="T14" fmla="*/ 127 w 133"/>
                <a:gd name="T15" fmla="*/ 45 h 335"/>
                <a:gd name="T16" fmla="*/ 128 w 133"/>
                <a:gd name="T17" fmla="*/ 56 h 335"/>
                <a:gd name="T18" fmla="*/ 128 w 133"/>
                <a:gd name="T19" fmla="*/ 68 h 335"/>
                <a:gd name="T20" fmla="*/ 125 w 133"/>
                <a:gd name="T21" fmla="*/ 82 h 335"/>
                <a:gd name="T22" fmla="*/ 118 w 133"/>
                <a:gd name="T23" fmla="*/ 102 h 335"/>
                <a:gd name="T24" fmla="*/ 117 w 133"/>
                <a:gd name="T25" fmla="*/ 112 h 335"/>
                <a:gd name="T26" fmla="*/ 117 w 133"/>
                <a:gd name="T27" fmla="*/ 122 h 335"/>
                <a:gd name="T28" fmla="*/ 118 w 133"/>
                <a:gd name="T29" fmla="*/ 130 h 335"/>
                <a:gd name="T30" fmla="*/ 123 w 133"/>
                <a:gd name="T31" fmla="*/ 143 h 335"/>
                <a:gd name="T32" fmla="*/ 132 w 133"/>
                <a:gd name="T33" fmla="*/ 179 h 335"/>
                <a:gd name="T34" fmla="*/ 133 w 133"/>
                <a:gd name="T35" fmla="*/ 217 h 335"/>
                <a:gd name="T36" fmla="*/ 128 w 133"/>
                <a:gd name="T37" fmla="*/ 256 h 335"/>
                <a:gd name="T38" fmla="*/ 122 w 133"/>
                <a:gd name="T39" fmla="*/ 294 h 335"/>
                <a:gd name="T40" fmla="*/ 112 w 133"/>
                <a:gd name="T41" fmla="*/ 330 h 335"/>
                <a:gd name="T42" fmla="*/ 84 w 133"/>
                <a:gd name="T43" fmla="*/ 335 h 335"/>
                <a:gd name="T44" fmla="*/ 54 w 133"/>
                <a:gd name="T45" fmla="*/ 335 h 335"/>
                <a:gd name="T46" fmla="*/ 26 w 133"/>
                <a:gd name="T47" fmla="*/ 332 h 335"/>
                <a:gd name="T48" fmla="*/ 0 w 133"/>
                <a:gd name="T49" fmla="*/ 324 h 335"/>
                <a:gd name="T50" fmla="*/ 7 w 133"/>
                <a:gd name="T51" fmla="*/ 279 h 335"/>
                <a:gd name="T52" fmla="*/ 13 w 133"/>
                <a:gd name="T53" fmla="*/ 247 h 335"/>
                <a:gd name="T54" fmla="*/ 18 w 133"/>
                <a:gd name="T55" fmla="*/ 220 h 335"/>
                <a:gd name="T56" fmla="*/ 23 w 133"/>
                <a:gd name="T57" fmla="*/ 201 h 335"/>
                <a:gd name="T58" fmla="*/ 28 w 133"/>
                <a:gd name="T59" fmla="*/ 183 h 335"/>
                <a:gd name="T60" fmla="*/ 31 w 133"/>
                <a:gd name="T61" fmla="*/ 168 h 335"/>
                <a:gd name="T62" fmla="*/ 33 w 133"/>
                <a:gd name="T63" fmla="*/ 153 h 335"/>
                <a:gd name="T64" fmla="*/ 35 w 133"/>
                <a:gd name="T65" fmla="*/ 135 h 335"/>
                <a:gd name="T66" fmla="*/ 33 w 133"/>
                <a:gd name="T67" fmla="*/ 112 h 335"/>
                <a:gd name="T68" fmla="*/ 31 w 133"/>
                <a:gd name="T69" fmla="*/ 84 h 335"/>
                <a:gd name="T70" fmla="*/ 26 w 133"/>
                <a:gd name="T71" fmla="*/ 46 h 335"/>
                <a:gd name="T72" fmla="*/ 28 w 133"/>
                <a:gd name="T73" fmla="*/ 33 h 335"/>
                <a:gd name="T74" fmla="*/ 25 w 133"/>
                <a:gd name="T75" fmla="*/ 20 h 335"/>
                <a:gd name="T76" fmla="*/ 21 w 133"/>
                <a:gd name="T77" fmla="*/ 10 h 335"/>
                <a:gd name="T78" fmla="*/ 36 w 133"/>
                <a:gd name="T79" fmla="*/ 5 h 335"/>
                <a:gd name="T80" fmla="*/ 51 w 133"/>
                <a:gd name="T81" fmla="*/ 4 h 335"/>
                <a:gd name="T82" fmla="*/ 54 w 133"/>
                <a:gd name="T83" fmla="*/ 15 h 335"/>
                <a:gd name="T84" fmla="*/ 59 w 133"/>
                <a:gd name="T85" fmla="*/ 23 h 335"/>
                <a:gd name="T86" fmla="*/ 67 w 133"/>
                <a:gd name="T87" fmla="*/ 28 h 335"/>
                <a:gd name="T88" fmla="*/ 79 w 133"/>
                <a:gd name="T89" fmla="*/ 30 h 335"/>
                <a:gd name="T90" fmla="*/ 89 w 133"/>
                <a:gd name="T91" fmla="*/ 27 h 335"/>
                <a:gd name="T92" fmla="*/ 94 w 133"/>
                <a:gd name="T93" fmla="*/ 22 h 335"/>
                <a:gd name="T94" fmla="*/ 95 w 133"/>
                <a:gd name="T95" fmla="*/ 12 h 335"/>
                <a:gd name="T96" fmla="*/ 92 w 133"/>
                <a:gd name="T97" fmla="*/ 0 h 335"/>
                <a:gd name="T98" fmla="*/ 95 w 133"/>
                <a:gd name="T99" fmla="*/ 0 h 335"/>
                <a:gd name="T100" fmla="*/ 97 w 133"/>
                <a:gd name="T101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" h="335">
                  <a:moveTo>
                    <a:pt x="97" y="0"/>
                  </a:move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5" y="2"/>
                  </a:lnTo>
                  <a:lnTo>
                    <a:pt x="115" y="20"/>
                  </a:lnTo>
                  <a:lnTo>
                    <a:pt x="122" y="33"/>
                  </a:lnTo>
                  <a:lnTo>
                    <a:pt x="127" y="45"/>
                  </a:lnTo>
                  <a:lnTo>
                    <a:pt x="128" y="56"/>
                  </a:lnTo>
                  <a:lnTo>
                    <a:pt x="128" y="68"/>
                  </a:lnTo>
                  <a:lnTo>
                    <a:pt x="125" y="82"/>
                  </a:lnTo>
                  <a:lnTo>
                    <a:pt x="118" y="102"/>
                  </a:lnTo>
                  <a:lnTo>
                    <a:pt x="117" y="112"/>
                  </a:lnTo>
                  <a:lnTo>
                    <a:pt x="117" y="122"/>
                  </a:lnTo>
                  <a:lnTo>
                    <a:pt x="118" y="130"/>
                  </a:lnTo>
                  <a:lnTo>
                    <a:pt x="123" y="143"/>
                  </a:lnTo>
                  <a:lnTo>
                    <a:pt x="132" y="179"/>
                  </a:lnTo>
                  <a:lnTo>
                    <a:pt x="133" y="217"/>
                  </a:lnTo>
                  <a:lnTo>
                    <a:pt x="128" y="256"/>
                  </a:lnTo>
                  <a:lnTo>
                    <a:pt x="122" y="294"/>
                  </a:lnTo>
                  <a:lnTo>
                    <a:pt x="112" y="330"/>
                  </a:lnTo>
                  <a:lnTo>
                    <a:pt x="84" y="335"/>
                  </a:lnTo>
                  <a:lnTo>
                    <a:pt x="54" y="335"/>
                  </a:lnTo>
                  <a:lnTo>
                    <a:pt x="26" y="332"/>
                  </a:lnTo>
                  <a:lnTo>
                    <a:pt x="0" y="324"/>
                  </a:lnTo>
                  <a:lnTo>
                    <a:pt x="7" y="279"/>
                  </a:lnTo>
                  <a:lnTo>
                    <a:pt x="13" y="247"/>
                  </a:lnTo>
                  <a:lnTo>
                    <a:pt x="18" y="220"/>
                  </a:lnTo>
                  <a:lnTo>
                    <a:pt x="23" y="201"/>
                  </a:lnTo>
                  <a:lnTo>
                    <a:pt x="28" y="183"/>
                  </a:lnTo>
                  <a:lnTo>
                    <a:pt x="31" y="168"/>
                  </a:lnTo>
                  <a:lnTo>
                    <a:pt x="33" y="153"/>
                  </a:lnTo>
                  <a:lnTo>
                    <a:pt x="35" y="135"/>
                  </a:lnTo>
                  <a:lnTo>
                    <a:pt x="33" y="112"/>
                  </a:lnTo>
                  <a:lnTo>
                    <a:pt x="31" y="84"/>
                  </a:lnTo>
                  <a:lnTo>
                    <a:pt x="26" y="46"/>
                  </a:lnTo>
                  <a:lnTo>
                    <a:pt x="28" y="33"/>
                  </a:lnTo>
                  <a:lnTo>
                    <a:pt x="25" y="20"/>
                  </a:lnTo>
                  <a:lnTo>
                    <a:pt x="21" y="10"/>
                  </a:lnTo>
                  <a:lnTo>
                    <a:pt x="36" y="5"/>
                  </a:lnTo>
                  <a:lnTo>
                    <a:pt x="51" y="4"/>
                  </a:lnTo>
                  <a:lnTo>
                    <a:pt x="54" y="15"/>
                  </a:lnTo>
                  <a:lnTo>
                    <a:pt x="59" y="23"/>
                  </a:lnTo>
                  <a:lnTo>
                    <a:pt x="67" y="28"/>
                  </a:lnTo>
                  <a:lnTo>
                    <a:pt x="79" y="30"/>
                  </a:lnTo>
                  <a:lnTo>
                    <a:pt x="89" y="27"/>
                  </a:lnTo>
                  <a:lnTo>
                    <a:pt x="94" y="22"/>
                  </a:lnTo>
                  <a:lnTo>
                    <a:pt x="95" y="12"/>
                  </a:lnTo>
                  <a:lnTo>
                    <a:pt x="92" y="0"/>
                  </a:lnTo>
                  <a:lnTo>
                    <a:pt x="95" y="0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6" name="Freeform 51"/>
            <p:cNvSpPr>
              <a:spLocks/>
            </p:cNvSpPr>
            <p:nvPr/>
          </p:nvSpPr>
          <p:spPr bwMode="auto">
            <a:xfrm>
              <a:off x="7818438" y="3497263"/>
              <a:ext cx="77787" cy="100013"/>
            </a:xfrm>
            <a:custGeom>
              <a:avLst/>
              <a:gdLst>
                <a:gd name="T0" fmla="*/ 39 w 49"/>
                <a:gd name="T1" fmla="*/ 0 h 63"/>
                <a:gd name="T2" fmla="*/ 44 w 49"/>
                <a:gd name="T3" fmla="*/ 5 h 63"/>
                <a:gd name="T4" fmla="*/ 48 w 49"/>
                <a:gd name="T5" fmla="*/ 15 h 63"/>
                <a:gd name="T6" fmla="*/ 49 w 49"/>
                <a:gd name="T7" fmla="*/ 26 h 63"/>
                <a:gd name="T8" fmla="*/ 44 w 49"/>
                <a:gd name="T9" fmla="*/ 36 h 63"/>
                <a:gd name="T10" fmla="*/ 44 w 49"/>
                <a:gd name="T11" fmla="*/ 38 h 63"/>
                <a:gd name="T12" fmla="*/ 43 w 49"/>
                <a:gd name="T13" fmla="*/ 40 h 63"/>
                <a:gd name="T14" fmla="*/ 39 w 49"/>
                <a:gd name="T15" fmla="*/ 44 h 63"/>
                <a:gd name="T16" fmla="*/ 38 w 49"/>
                <a:gd name="T17" fmla="*/ 48 h 63"/>
                <a:gd name="T18" fmla="*/ 34 w 49"/>
                <a:gd name="T19" fmla="*/ 53 h 63"/>
                <a:gd name="T20" fmla="*/ 31 w 49"/>
                <a:gd name="T21" fmla="*/ 58 h 63"/>
                <a:gd name="T22" fmla="*/ 28 w 49"/>
                <a:gd name="T23" fmla="*/ 63 h 63"/>
                <a:gd name="T24" fmla="*/ 23 w 49"/>
                <a:gd name="T25" fmla="*/ 59 h 63"/>
                <a:gd name="T26" fmla="*/ 18 w 49"/>
                <a:gd name="T27" fmla="*/ 58 h 63"/>
                <a:gd name="T28" fmla="*/ 13 w 49"/>
                <a:gd name="T29" fmla="*/ 54 h 63"/>
                <a:gd name="T30" fmla="*/ 10 w 49"/>
                <a:gd name="T31" fmla="*/ 51 h 63"/>
                <a:gd name="T32" fmla="*/ 6 w 49"/>
                <a:gd name="T33" fmla="*/ 46 h 63"/>
                <a:gd name="T34" fmla="*/ 3 w 49"/>
                <a:gd name="T35" fmla="*/ 41 h 63"/>
                <a:gd name="T36" fmla="*/ 0 w 49"/>
                <a:gd name="T37" fmla="*/ 35 h 63"/>
                <a:gd name="T38" fmla="*/ 13 w 49"/>
                <a:gd name="T39" fmla="*/ 20 h 63"/>
                <a:gd name="T40" fmla="*/ 25 w 49"/>
                <a:gd name="T41" fmla="*/ 10 h 63"/>
                <a:gd name="T42" fmla="*/ 39 w 49"/>
                <a:gd name="T4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63">
                  <a:moveTo>
                    <a:pt x="39" y="0"/>
                  </a:moveTo>
                  <a:lnTo>
                    <a:pt x="44" y="5"/>
                  </a:lnTo>
                  <a:lnTo>
                    <a:pt x="48" y="15"/>
                  </a:lnTo>
                  <a:lnTo>
                    <a:pt x="49" y="26"/>
                  </a:lnTo>
                  <a:lnTo>
                    <a:pt x="44" y="36"/>
                  </a:lnTo>
                  <a:lnTo>
                    <a:pt x="44" y="38"/>
                  </a:lnTo>
                  <a:lnTo>
                    <a:pt x="43" y="40"/>
                  </a:lnTo>
                  <a:lnTo>
                    <a:pt x="39" y="44"/>
                  </a:lnTo>
                  <a:lnTo>
                    <a:pt x="38" y="48"/>
                  </a:lnTo>
                  <a:lnTo>
                    <a:pt x="34" y="53"/>
                  </a:lnTo>
                  <a:lnTo>
                    <a:pt x="31" y="58"/>
                  </a:lnTo>
                  <a:lnTo>
                    <a:pt x="28" y="63"/>
                  </a:lnTo>
                  <a:lnTo>
                    <a:pt x="23" y="59"/>
                  </a:lnTo>
                  <a:lnTo>
                    <a:pt x="18" y="58"/>
                  </a:lnTo>
                  <a:lnTo>
                    <a:pt x="13" y="54"/>
                  </a:lnTo>
                  <a:lnTo>
                    <a:pt x="10" y="51"/>
                  </a:lnTo>
                  <a:lnTo>
                    <a:pt x="6" y="46"/>
                  </a:lnTo>
                  <a:lnTo>
                    <a:pt x="3" y="41"/>
                  </a:lnTo>
                  <a:lnTo>
                    <a:pt x="0" y="35"/>
                  </a:lnTo>
                  <a:lnTo>
                    <a:pt x="13" y="20"/>
                  </a:lnTo>
                  <a:lnTo>
                    <a:pt x="25" y="1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7" name="Freeform 52"/>
            <p:cNvSpPr>
              <a:spLocks/>
            </p:cNvSpPr>
            <p:nvPr/>
          </p:nvSpPr>
          <p:spPr bwMode="auto">
            <a:xfrm>
              <a:off x="7777163" y="3562350"/>
              <a:ext cx="166687" cy="185738"/>
            </a:xfrm>
            <a:custGeom>
              <a:avLst/>
              <a:gdLst>
                <a:gd name="T0" fmla="*/ 29 w 105"/>
                <a:gd name="T1" fmla="*/ 0 h 117"/>
                <a:gd name="T2" fmla="*/ 34 w 105"/>
                <a:gd name="T3" fmla="*/ 5 h 117"/>
                <a:gd name="T4" fmla="*/ 39 w 105"/>
                <a:gd name="T5" fmla="*/ 10 h 117"/>
                <a:gd name="T6" fmla="*/ 44 w 105"/>
                <a:gd name="T7" fmla="*/ 15 h 117"/>
                <a:gd name="T8" fmla="*/ 49 w 105"/>
                <a:gd name="T9" fmla="*/ 18 h 117"/>
                <a:gd name="T10" fmla="*/ 39 w 105"/>
                <a:gd name="T11" fmla="*/ 35 h 117"/>
                <a:gd name="T12" fmla="*/ 31 w 105"/>
                <a:gd name="T13" fmla="*/ 46 h 117"/>
                <a:gd name="T14" fmla="*/ 28 w 105"/>
                <a:gd name="T15" fmla="*/ 54 h 117"/>
                <a:gd name="T16" fmla="*/ 26 w 105"/>
                <a:gd name="T17" fmla="*/ 59 h 117"/>
                <a:gd name="T18" fmla="*/ 28 w 105"/>
                <a:gd name="T19" fmla="*/ 63 h 117"/>
                <a:gd name="T20" fmla="*/ 32 w 105"/>
                <a:gd name="T21" fmla="*/ 68 h 117"/>
                <a:gd name="T22" fmla="*/ 39 w 105"/>
                <a:gd name="T23" fmla="*/ 74 h 117"/>
                <a:gd name="T24" fmla="*/ 46 w 105"/>
                <a:gd name="T25" fmla="*/ 79 h 117"/>
                <a:gd name="T26" fmla="*/ 51 w 105"/>
                <a:gd name="T27" fmla="*/ 86 h 117"/>
                <a:gd name="T28" fmla="*/ 60 w 105"/>
                <a:gd name="T29" fmla="*/ 94 h 117"/>
                <a:gd name="T30" fmla="*/ 64 w 105"/>
                <a:gd name="T31" fmla="*/ 95 h 117"/>
                <a:gd name="T32" fmla="*/ 65 w 105"/>
                <a:gd name="T33" fmla="*/ 97 h 117"/>
                <a:gd name="T34" fmla="*/ 69 w 105"/>
                <a:gd name="T35" fmla="*/ 97 h 117"/>
                <a:gd name="T36" fmla="*/ 72 w 105"/>
                <a:gd name="T37" fmla="*/ 95 h 117"/>
                <a:gd name="T38" fmla="*/ 74 w 105"/>
                <a:gd name="T39" fmla="*/ 95 h 117"/>
                <a:gd name="T40" fmla="*/ 77 w 105"/>
                <a:gd name="T41" fmla="*/ 94 h 117"/>
                <a:gd name="T42" fmla="*/ 80 w 105"/>
                <a:gd name="T43" fmla="*/ 94 h 117"/>
                <a:gd name="T44" fmla="*/ 83 w 105"/>
                <a:gd name="T45" fmla="*/ 94 h 117"/>
                <a:gd name="T46" fmla="*/ 88 w 105"/>
                <a:gd name="T47" fmla="*/ 94 h 117"/>
                <a:gd name="T48" fmla="*/ 92 w 105"/>
                <a:gd name="T49" fmla="*/ 94 h 117"/>
                <a:gd name="T50" fmla="*/ 95 w 105"/>
                <a:gd name="T51" fmla="*/ 95 h 117"/>
                <a:gd name="T52" fmla="*/ 98 w 105"/>
                <a:gd name="T53" fmla="*/ 99 h 117"/>
                <a:gd name="T54" fmla="*/ 100 w 105"/>
                <a:gd name="T55" fmla="*/ 102 h 117"/>
                <a:gd name="T56" fmla="*/ 103 w 105"/>
                <a:gd name="T57" fmla="*/ 107 h 117"/>
                <a:gd name="T58" fmla="*/ 105 w 105"/>
                <a:gd name="T59" fmla="*/ 110 h 117"/>
                <a:gd name="T60" fmla="*/ 103 w 105"/>
                <a:gd name="T61" fmla="*/ 112 h 117"/>
                <a:gd name="T62" fmla="*/ 102 w 105"/>
                <a:gd name="T63" fmla="*/ 114 h 117"/>
                <a:gd name="T64" fmla="*/ 100 w 105"/>
                <a:gd name="T65" fmla="*/ 115 h 117"/>
                <a:gd name="T66" fmla="*/ 97 w 105"/>
                <a:gd name="T67" fmla="*/ 117 h 117"/>
                <a:gd name="T68" fmla="*/ 93 w 105"/>
                <a:gd name="T69" fmla="*/ 117 h 117"/>
                <a:gd name="T70" fmla="*/ 88 w 105"/>
                <a:gd name="T71" fmla="*/ 115 h 117"/>
                <a:gd name="T72" fmla="*/ 85 w 105"/>
                <a:gd name="T73" fmla="*/ 115 h 117"/>
                <a:gd name="T74" fmla="*/ 80 w 105"/>
                <a:gd name="T75" fmla="*/ 114 h 117"/>
                <a:gd name="T76" fmla="*/ 75 w 105"/>
                <a:gd name="T77" fmla="*/ 114 h 117"/>
                <a:gd name="T78" fmla="*/ 72 w 105"/>
                <a:gd name="T79" fmla="*/ 114 h 117"/>
                <a:gd name="T80" fmla="*/ 69 w 105"/>
                <a:gd name="T81" fmla="*/ 115 h 117"/>
                <a:gd name="T82" fmla="*/ 65 w 105"/>
                <a:gd name="T83" fmla="*/ 115 h 117"/>
                <a:gd name="T84" fmla="*/ 62 w 105"/>
                <a:gd name="T85" fmla="*/ 114 h 117"/>
                <a:gd name="T86" fmla="*/ 59 w 105"/>
                <a:gd name="T87" fmla="*/ 112 h 117"/>
                <a:gd name="T88" fmla="*/ 56 w 105"/>
                <a:gd name="T89" fmla="*/ 110 h 117"/>
                <a:gd name="T90" fmla="*/ 51 w 105"/>
                <a:gd name="T91" fmla="*/ 105 h 117"/>
                <a:gd name="T92" fmla="*/ 41 w 105"/>
                <a:gd name="T93" fmla="*/ 99 h 117"/>
                <a:gd name="T94" fmla="*/ 26 w 105"/>
                <a:gd name="T95" fmla="*/ 89 h 117"/>
                <a:gd name="T96" fmla="*/ 6 w 105"/>
                <a:gd name="T97" fmla="*/ 74 h 117"/>
                <a:gd name="T98" fmla="*/ 3 w 105"/>
                <a:gd name="T99" fmla="*/ 69 h 117"/>
                <a:gd name="T100" fmla="*/ 0 w 105"/>
                <a:gd name="T101" fmla="*/ 64 h 117"/>
                <a:gd name="T102" fmla="*/ 0 w 105"/>
                <a:gd name="T103" fmla="*/ 59 h 117"/>
                <a:gd name="T104" fmla="*/ 3 w 105"/>
                <a:gd name="T105" fmla="*/ 51 h 117"/>
                <a:gd name="T106" fmla="*/ 8 w 105"/>
                <a:gd name="T107" fmla="*/ 38 h 117"/>
                <a:gd name="T108" fmla="*/ 16 w 105"/>
                <a:gd name="T109" fmla="*/ 22 h 117"/>
                <a:gd name="T110" fmla="*/ 29 w 105"/>
                <a:gd name="T1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5" h="117">
                  <a:moveTo>
                    <a:pt x="29" y="0"/>
                  </a:moveTo>
                  <a:lnTo>
                    <a:pt x="34" y="5"/>
                  </a:lnTo>
                  <a:lnTo>
                    <a:pt x="39" y="10"/>
                  </a:lnTo>
                  <a:lnTo>
                    <a:pt x="44" y="15"/>
                  </a:lnTo>
                  <a:lnTo>
                    <a:pt x="49" y="18"/>
                  </a:lnTo>
                  <a:lnTo>
                    <a:pt x="39" y="35"/>
                  </a:lnTo>
                  <a:lnTo>
                    <a:pt x="31" y="46"/>
                  </a:lnTo>
                  <a:lnTo>
                    <a:pt x="28" y="54"/>
                  </a:lnTo>
                  <a:lnTo>
                    <a:pt x="26" y="59"/>
                  </a:lnTo>
                  <a:lnTo>
                    <a:pt x="28" y="63"/>
                  </a:lnTo>
                  <a:lnTo>
                    <a:pt x="32" y="68"/>
                  </a:lnTo>
                  <a:lnTo>
                    <a:pt x="39" y="74"/>
                  </a:lnTo>
                  <a:lnTo>
                    <a:pt x="46" y="79"/>
                  </a:lnTo>
                  <a:lnTo>
                    <a:pt x="51" y="86"/>
                  </a:lnTo>
                  <a:lnTo>
                    <a:pt x="60" y="94"/>
                  </a:lnTo>
                  <a:lnTo>
                    <a:pt x="64" y="95"/>
                  </a:lnTo>
                  <a:lnTo>
                    <a:pt x="65" y="97"/>
                  </a:lnTo>
                  <a:lnTo>
                    <a:pt x="69" y="97"/>
                  </a:lnTo>
                  <a:lnTo>
                    <a:pt x="72" y="95"/>
                  </a:lnTo>
                  <a:lnTo>
                    <a:pt x="74" y="95"/>
                  </a:lnTo>
                  <a:lnTo>
                    <a:pt x="77" y="94"/>
                  </a:lnTo>
                  <a:lnTo>
                    <a:pt x="80" y="94"/>
                  </a:lnTo>
                  <a:lnTo>
                    <a:pt x="83" y="94"/>
                  </a:lnTo>
                  <a:lnTo>
                    <a:pt x="88" y="94"/>
                  </a:lnTo>
                  <a:lnTo>
                    <a:pt x="92" y="94"/>
                  </a:lnTo>
                  <a:lnTo>
                    <a:pt x="95" y="95"/>
                  </a:lnTo>
                  <a:lnTo>
                    <a:pt x="98" y="99"/>
                  </a:lnTo>
                  <a:lnTo>
                    <a:pt x="100" y="102"/>
                  </a:lnTo>
                  <a:lnTo>
                    <a:pt x="103" y="107"/>
                  </a:lnTo>
                  <a:lnTo>
                    <a:pt x="105" y="110"/>
                  </a:lnTo>
                  <a:lnTo>
                    <a:pt x="103" y="112"/>
                  </a:lnTo>
                  <a:lnTo>
                    <a:pt x="102" y="114"/>
                  </a:lnTo>
                  <a:lnTo>
                    <a:pt x="100" y="115"/>
                  </a:lnTo>
                  <a:lnTo>
                    <a:pt x="97" y="117"/>
                  </a:lnTo>
                  <a:lnTo>
                    <a:pt x="93" y="117"/>
                  </a:lnTo>
                  <a:lnTo>
                    <a:pt x="88" y="115"/>
                  </a:lnTo>
                  <a:lnTo>
                    <a:pt x="85" y="115"/>
                  </a:lnTo>
                  <a:lnTo>
                    <a:pt x="80" y="114"/>
                  </a:lnTo>
                  <a:lnTo>
                    <a:pt x="75" y="114"/>
                  </a:lnTo>
                  <a:lnTo>
                    <a:pt x="72" y="114"/>
                  </a:lnTo>
                  <a:lnTo>
                    <a:pt x="69" y="115"/>
                  </a:lnTo>
                  <a:lnTo>
                    <a:pt x="65" y="115"/>
                  </a:lnTo>
                  <a:lnTo>
                    <a:pt x="62" y="114"/>
                  </a:lnTo>
                  <a:lnTo>
                    <a:pt x="59" y="112"/>
                  </a:lnTo>
                  <a:lnTo>
                    <a:pt x="56" y="110"/>
                  </a:lnTo>
                  <a:lnTo>
                    <a:pt x="51" y="105"/>
                  </a:lnTo>
                  <a:lnTo>
                    <a:pt x="41" y="99"/>
                  </a:lnTo>
                  <a:lnTo>
                    <a:pt x="26" y="89"/>
                  </a:lnTo>
                  <a:lnTo>
                    <a:pt x="6" y="74"/>
                  </a:lnTo>
                  <a:lnTo>
                    <a:pt x="3" y="69"/>
                  </a:lnTo>
                  <a:lnTo>
                    <a:pt x="0" y="64"/>
                  </a:lnTo>
                  <a:lnTo>
                    <a:pt x="0" y="59"/>
                  </a:lnTo>
                  <a:lnTo>
                    <a:pt x="3" y="51"/>
                  </a:lnTo>
                  <a:lnTo>
                    <a:pt x="8" y="38"/>
                  </a:lnTo>
                  <a:lnTo>
                    <a:pt x="16" y="2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8" name="Freeform 53"/>
            <p:cNvSpPr>
              <a:spLocks/>
            </p:cNvSpPr>
            <p:nvPr/>
          </p:nvSpPr>
          <p:spPr bwMode="auto">
            <a:xfrm>
              <a:off x="7896225" y="3322638"/>
              <a:ext cx="136525" cy="149225"/>
            </a:xfrm>
            <a:custGeom>
              <a:avLst/>
              <a:gdLst>
                <a:gd name="T0" fmla="*/ 59 w 86"/>
                <a:gd name="T1" fmla="*/ 0 h 94"/>
                <a:gd name="T2" fmla="*/ 64 w 86"/>
                <a:gd name="T3" fmla="*/ 0 h 94"/>
                <a:gd name="T4" fmla="*/ 69 w 86"/>
                <a:gd name="T5" fmla="*/ 2 h 94"/>
                <a:gd name="T6" fmla="*/ 74 w 86"/>
                <a:gd name="T7" fmla="*/ 3 h 94"/>
                <a:gd name="T8" fmla="*/ 78 w 86"/>
                <a:gd name="T9" fmla="*/ 7 h 94"/>
                <a:gd name="T10" fmla="*/ 81 w 86"/>
                <a:gd name="T11" fmla="*/ 10 h 94"/>
                <a:gd name="T12" fmla="*/ 84 w 86"/>
                <a:gd name="T13" fmla="*/ 15 h 94"/>
                <a:gd name="T14" fmla="*/ 84 w 86"/>
                <a:gd name="T15" fmla="*/ 21 h 94"/>
                <a:gd name="T16" fmla="*/ 84 w 86"/>
                <a:gd name="T17" fmla="*/ 33 h 94"/>
                <a:gd name="T18" fmla="*/ 86 w 86"/>
                <a:gd name="T19" fmla="*/ 49 h 94"/>
                <a:gd name="T20" fmla="*/ 86 w 86"/>
                <a:gd name="T21" fmla="*/ 66 h 94"/>
                <a:gd name="T22" fmla="*/ 81 w 86"/>
                <a:gd name="T23" fmla="*/ 82 h 94"/>
                <a:gd name="T24" fmla="*/ 78 w 86"/>
                <a:gd name="T25" fmla="*/ 87 h 94"/>
                <a:gd name="T26" fmla="*/ 73 w 86"/>
                <a:gd name="T27" fmla="*/ 90 h 94"/>
                <a:gd name="T28" fmla="*/ 68 w 86"/>
                <a:gd name="T29" fmla="*/ 92 h 94"/>
                <a:gd name="T30" fmla="*/ 63 w 86"/>
                <a:gd name="T31" fmla="*/ 94 h 94"/>
                <a:gd name="T32" fmla="*/ 51 w 86"/>
                <a:gd name="T33" fmla="*/ 92 h 94"/>
                <a:gd name="T34" fmla="*/ 36 w 86"/>
                <a:gd name="T35" fmla="*/ 87 h 94"/>
                <a:gd name="T36" fmla="*/ 22 w 86"/>
                <a:gd name="T37" fmla="*/ 77 h 94"/>
                <a:gd name="T38" fmla="*/ 15 w 86"/>
                <a:gd name="T39" fmla="*/ 74 h 94"/>
                <a:gd name="T40" fmla="*/ 13 w 86"/>
                <a:gd name="T41" fmla="*/ 74 h 94"/>
                <a:gd name="T42" fmla="*/ 12 w 86"/>
                <a:gd name="T43" fmla="*/ 72 h 94"/>
                <a:gd name="T44" fmla="*/ 10 w 86"/>
                <a:gd name="T45" fmla="*/ 69 h 94"/>
                <a:gd name="T46" fmla="*/ 7 w 86"/>
                <a:gd name="T47" fmla="*/ 66 h 94"/>
                <a:gd name="T48" fmla="*/ 4 w 86"/>
                <a:gd name="T49" fmla="*/ 63 h 94"/>
                <a:gd name="T50" fmla="*/ 2 w 86"/>
                <a:gd name="T51" fmla="*/ 58 h 94"/>
                <a:gd name="T52" fmla="*/ 0 w 86"/>
                <a:gd name="T53" fmla="*/ 53 h 94"/>
                <a:gd name="T54" fmla="*/ 0 w 86"/>
                <a:gd name="T55" fmla="*/ 41 h 94"/>
                <a:gd name="T56" fmla="*/ 5 w 86"/>
                <a:gd name="T57" fmla="*/ 28 h 94"/>
                <a:gd name="T58" fmla="*/ 12 w 86"/>
                <a:gd name="T59" fmla="*/ 17 h 94"/>
                <a:gd name="T60" fmla="*/ 20 w 86"/>
                <a:gd name="T61" fmla="*/ 12 h 94"/>
                <a:gd name="T62" fmla="*/ 33 w 86"/>
                <a:gd name="T63" fmla="*/ 7 h 94"/>
                <a:gd name="T64" fmla="*/ 46 w 86"/>
                <a:gd name="T65" fmla="*/ 2 h 94"/>
                <a:gd name="T66" fmla="*/ 59 w 86"/>
                <a:gd name="T6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6" h="94">
                  <a:moveTo>
                    <a:pt x="59" y="0"/>
                  </a:moveTo>
                  <a:lnTo>
                    <a:pt x="64" y="0"/>
                  </a:lnTo>
                  <a:lnTo>
                    <a:pt x="69" y="2"/>
                  </a:lnTo>
                  <a:lnTo>
                    <a:pt x="74" y="3"/>
                  </a:lnTo>
                  <a:lnTo>
                    <a:pt x="78" y="7"/>
                  </a:lnTo>
                  <a:lnTo>
                    <a:pt x="81" y="10"/>
                  </a:lnTo>
                  <a:lnTo>
                    <a:pt x="84" y="15"/>
                  </a:lnTo>
                  <a:lnTo>
                    <a:pt x="84" y="21"/>
                  </a:lnTo>
                  <a:lnTo>
                    <a:pt x="84" y="33"/>
                  </a:lnTo>
                  <a:lnTo>
                    <a:pt x="86" y="49"/>
                  </a:lnTo>
                  <a:lnTo>
                    <a:pt x="86" y="66"/>
                  </a:lnTo>
                  <a:lnTo>
                    <a:pt x="81" y="82"/>
                  </a:lnTo>
                  <a:lnTo>
                    <a:pt x="78" y="87"/>
                  </a:lnTo>
                  <a:lnTo>
                    <a:pt x="73" y="90"/>
                  </a:lnTo>
                  <a:lnTo>
                    <a:pt x="68" y="92"/>
                  </a:lnTo>
                  <a:lnTo>
                    <a:pt x="63" y="94"/>
                  </a:lnTo>
                  <a:lnTo>
                    <a:pt x="51" y="92"/>
                  </a:lnTo>
                  <a:lnTo>
                    <a:pt x="36" y="87"/>
                  </a:lnTo>
                  <a:lnTo>
                    <a:pt x="22" y="77"/>
                  </a:lnTo>
                  <a:lnTo>
                    <a:pt x="15" y="74"/>
                  </a:lnTo>
                  <a:lnTo>
                    <a:pt x="13" y="74"/>
                  </a:lnTo>
                  <a:lnTo>
                    <a:pt x="12" y="72"/>
                  </a:lnTo>
                  <a:lnTo>
                    <a:pt x="10" y="69"/>
                  </a:lnTo>
                  <a:lnTo>
                    <a:pt x="7" y="66"/>
                  </a:lnTo>
                  <a:lnTo>
                    <a:pt x="4" y="63"/>
                  </a:lnTo>
                  <a:lnTo>
                    <a:pt x="2" y="58"/>
                  </a:lnTo>
                  <a:lnTo>
                    <a:pt x="0" y="53"/>
                  </a:lnTo>
                  <a:lnTo>
                    <a:pt x="0" y="41"/>
                  </a:lnTo>
                  <a:lnTo>
                    <a:pt x="5" y="28"/>
                  </a:lnTo>
                  <a:lnTo>
                    <a:pt x="12" y="17"/>
                  </a:lnTo>
                  <a:lnTo>
                    <a:pt x="20" y="12"/>
                  </a:lnTo>
                  <a:lnTo>
                    <a:pt x="33" y="7"/>
                  </a:lnTo>
                  <a:lnTo>
                    <a:pt x="46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9" name="Freeform 54"/>
            <p:cNvSpPr>
              <a:spLocks/>
            </p:cNvSpPr>
            <p:nvPr/>
          </p:nvSpPr>
          <p:spPr bwMode="auto">
            <a:xfrm>
              <a:off x="7880350" y="3281363"/>
              <a:ext cx="152400" cy="255588"/>
            </a:xfrm>
            <a:custGeom>
              <a:avLst/>
              <a:gdLst>
                <a:gd name="T0" fmla="*/ 53 w 96"/>
                <a:gd name="T1" fmla="*/ 0 h 161"/>
                <a:gd name="T2" fmla="*/ 68 w 96"/>
                <a:gd name="T3" fmla="*/ 0 h 161"/>
                <a:gd name="T4" fmla="*/ 79 w 96"/>
                <a:gd name="T5" fmla="*/ 6 h 161"/>
                <a:gd name="T6" fmla="*/ 89 w 96"/>
                <a:gd name="T7" fmla="*/ 16 h 161"/>
                <a:gd name="T8" fmla="*/ 94 w 96"/>
                <a:gd name="T9" fmla="*/ 29 h 161"/>
                <a:gd name="T10" fmla="*/ 96 w 96"/>
                <a:gd name="T11" fmla="*/ 39 h 161"/>
                <a:gd name="T12" fmla="*/ 94 w 96"/>
                <a:gd name="T13" fmla="*/ 46 h 161"/>
                <a:gd name="T14" fmla="*/ 94 w 96"/>
                <a:gd name="T15" fmla="*/ 47 h 161"/>
                <a:gd name="T16" fmla="*/ 86 w 96"/>
                <a:gd name="T17" fmla="*/ 51 h 161"/>
                <a:gd name="T18" fmla="*/ 84 w 96"/>
                <a:gd name="T19" fmla="*/ 47 h 161"/>
                <a:gd name="T20" fmla="*/ 84 w 96"/>
                <a:gd name="T21" fmla="*/ 44 h 161"/>
                <a:gd name="T22" fmla="*/ 83 w 96"/>
                <a:gd name="T23" fmla="*/ 41 h 161"/>
                <a:gd name="T24" fmla="*/ 81 w 96"/>
                <a:gd name="T25" fmla="*/ 39 h 161"/>
                <a:gd name="T26" fmla="*/ 81 w 96"/>
                <a:gd name="T27" fmla="*/ 39 h 161"/>
                <a:gd name="T28" fmla="*/ 83 w 96"/>
                <a:gd name="T29" fmla="*/ 49 h 161"/>
                <a:gd name="T30" fmla="*/ 79 w 96"/>
                <a:gd name="T31" fmla="*/ 51 h 161"/>
                <a:gd name="T32" fmla="*/ 76 w 96"/>
                <a:gd name="T33" fmla="*/ 52 h 161"/>
                <a:gd name="T34" fmla="*/ 71 w 96"/>
                <a:gd name="T35" fmla="*/ 52 h 161"/>
                <a:gd name="T36" fmla="*/ 66 w 96"/>
                <a:gd name="T37" fmla="*/ 54 h 161"/>
                <a:gd name="T38" fmla="*/ 63 w 96"/>
                <a:gd name="T39" fmla="*/ 54 h 161"/>
                <a:gd name="T40" fmla="*/ 61 w 96"/>
                <a:gd name="T41" fmla="*/ 54 h 161"/>
                <a:gd name="T42" fmla="*/ 61 w 96"/>
                <a:gd name="T43" fmla="*/ 49 h 161"/>
                <a:gd name="T44" fmla="*/ 61 w 96"/>
                <a:gd name="T45" fmla="*/ 44 h 161"/>
                <a:gd name="T46" fmla="*/ 60 w 96"/>
                <a:gd name="T47" fmla="*/ 41 h 161"/>
                <a:gd name="T48" fmla="*/ 56 w 96"/>
                <a:gd name="T49" fmla="*/ 36 h 161"/>
                <a:gd name="T50" fmla="*/ 55 w 96"/>
                <a:gd name="T51" fmla="*/ 33 h 161"/>
                <a:gd name="T52" fmla="*/ 55 w 96"/>
                <a:gd name="T53" fmla="*/ 29 h 161"/>
                <a:gd name="T54" fmla="*/ 53 w 96"/>
                <a:gd name="T55" fmla="*/ 29 h 161"/>
                <a:gd name="T56" fmla="*/ 55 w 96"/>
                <a:gd name="T57" fmla="*/ 36 h 161"/>
                <a:gd name="T58" fmla="*/ 55 w 96"/>
                <a:gd name="T59" fmla="*/ 43 h 161"/>
                <a:gd name="T60" fmla="*/ 55 w 96"/>
                <a:gd name="T61" fmla="*/ 47 h 161"/>
                <a:gd name="T62" fmla="*/ 53 w 96"/>
                <a:gd name="T63" fmla="*/ 52 h 161"/>
                <a:gd name="T64" fmla="*/ 53 w 96"/>
                <a:gd name="T65" fmla="*/ 54 h 161"/>
                <a:gd name="T66" fmla="*/ 53 w 96"/>
                <a:gd name="T67" fmla="*/ 56 h 161"/>
                <a:gd name="T68" fmla="*/ 40 w 96"/>
                <a:gd name="T69" fmla="*/ 54 h 161"/>
                <a:gd name="T70" fmla="*/ 35 w 96"/>
                <a:gd name="T71" fmla="*/ 41 h 161"/>
                <a:gd name="T72" fmla="*/ 32 w 96"/>
                <a:gd name="T73" fmla="*/ 56 h 161"/>
                <a:gd name="T74" fmla="*/ 33 w 96"/>
                <a:gd name="T75" fmla="*/ 74 h 161"/>
                <a:gd name="T76" fmla="*/ 35 w 96"/>
                <a:gd name="T77" fmla="*/ 95 h 161"/>
                <a:gd name="T78" fmla="*/ 38 w 96"/>
                <a:gd name="T79" fmla="*/ 115 h 161"/>
                <a:gd name="T80" fmla="*/ 42 w 96"/>
                <a:gd name="T81" fmla="*/ 133 h 161"/>
                <a:gd name="T82" fmla="*/ 45 w 96"/>
                <a:gd name="T83" fmla="*/ 144 h 161"/>
                <a:gd name="T84" fmla="*/ 46 w 96"/>
                <a:gd name="T85" fmla="*/ 149 h 161"/>
                <a:gd name="T86" fmla="*/ 23 w 96"/>
                <a:gd name="T87" fmla="*/ 161 h 161"/>
                <a:gd name="T88" fmla="*/ 10 w 96"/>
                <a:gd name="T89" fmla="*/ 125 h 161"/>
                <a:gd name="T90" fmla="*/ 4 w 96"/>
                <a:gd name="T91" fmla="*/ 93 h 161"/>
                <a:gd name="T92" fmla="*/ 0 w 96"/>
                <a:gd name="T93" fmla="*/ 66 h 161"/>
                <a:gd name="T94" fmla="*/ 4 w 96"/>
                <a:gd name="T95" fmla="*/ 44 h 161"/>
                <a:gd name="T96" fmla="*/ 10 w 96"/>
                <a:gd name="T97" fmla="*/ 26 h 161"/>
                <a:gd name="T98" fmla="*/ 22 w 96"/>
                <a:gd name="T99" fmla="*/ 15 h 161"/>
                <a:gd name="T100" fmla="*/ 38 w 96"/>
                <a:gd name="T101" fmla="*/ 5 h 161"/>
                <a:gd name="T102" fmla="*/ 53 w 96"/>
                <a:gd name="T10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161">
                  <a:moveTo>
                    <a:pt x="53" y="0"/>
                  </a:moveTo>
                  <a:lnTo>
                    <a:pt x="68" y="0"/>
                  </a:lnTo>
                  <a:lnTo>
                    <a:pt x="79" y="6"/>
                  </a:lnTo>
                  <a:lnTo>
                    <a:pt x="89" y="16"/>
                  </a:lnTo>
                  <a:lnTo>
                    <a:pt x="94" y="29"/>
                  </a:lnTo>
                  <a:lnTo>
                    <a:pt x="96" y="39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86" y="51"/>
                  </a:lnTo>
                  <a:lnTo>
                    <a:pt x="84" y="47"/>
                  </a:lnTo>
                  <a:lnTo>
                    <a:pt x="84" y="44"/>
                  </a:lnTo>
                  <a:lnTo>
                    <a:pt x="83" y="41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3" y="49"/>
                  </a:lnTo>
                  <a:lnTo>
                    <a:pt x="79" y="51"/>
                  </a:lnTo>
                  <a:lnTo>
                    <a:pt x="76" y="52"/>
                  </a:lnTo>
                  <a:lnTo>
                    <a:pt x="71" y="52"/>
                  </a:lnTo>
                  <a:lnTo>
                    <a:pt x="66" y="54"/>
                  </a:lnTo>
                  <a:lnTo>
                    <a:pt x="63" y="54"/>
                  </a:lnTo>
                  <a:lnTo>
                    <a:pt x="61" y="54"/>
                  </a:lnTo>
                  <a:lnTo>
                    <a:pt x="61" y="49"/>
                  </a:lnTo>
                  <a:lnTo>
                    <a:pt x="61" y="44"/>
                  </a:lnTo>
                  <a:lnTo>
                    <a:pt x="60" y="41"/>
                  </a:lnTo>
                  <a:lnTo>
                    <a:pt x="56" y="36"/>
                  </a:lnTo>
                  <a:lnTo>
                    <a:pt x="55" y="33"/>
                  </a:lnTo>
                  <a:lnTo>
                    <a:pt x="55" y="29"/>
                  </a:lnTo>
                  <a:lnTo>
                    <a:pt x="53" y="29"/>
                  </a:lnTo>
                  <a:lnTo>
                    <a:pt x="55" y="36"/>
                  </a:lnTo>
                  <a:lnTo>
                    <a:pt x="55" y="43"/>
                  </a:lnTo>
                  <a:lnTo>
                    <a:pt x="55" y="47"/>
                  </a:lnTo>
                  <a:lnTo>
                    <a:pt x="53" y="52"/>
                  </a:lnTo>
                  <a:lnTo>
                    <a:pt x="53" y="54"/>
                  </a:lnTo>
                  <a:lnTo>
                    <a:pt x="53" y="56"/>
                  </a:lnTo>
                  <a:lnTo>
                    <a:pt x="40" y="54"/>
                  </a:lnTo>
                  <a:lnTo>
                    <a:pt x="35" y="41"/>
                  </a:lnTo>
                  <a:lnTo>
                    <a:pt x="32" y="56"/>
                  </a:lnTo>
                  <a:lnTo>
                    <a:pt x="33" y="74"/>
                  </a:lnTo>
                  <a:lnTo>
                    <a:pt x="35" y="95"/>
                  </a:lnTo>
                  <a:lnTo>
                    <a:pt x="38" y="115"/>
                  </a:lnTo>
                  <a:lnTo>
                    <a:pt x="42" y="133"/>
                  </a:lnTo>
                  <a:lnTo>
                    <a:pt x="45" y="144"/>
                  </a:lnTo>
                  <a:lnTo>
                    <a:pt x="46" y="149"/>
                  </a:lnTo>
                  <a:lnTo>
                    <a:pt x="23" y="161"/>
                  </a:lnTo>
                  <a:lnTo>
                    <a:pt x="10" y="125"/>
                  </a:lnTo>
                  <a:lnTo>
                    <a:pt x="4" y="93"/>
                  </a:lnTo>
                  <a:lnTo>
                    <a:pt x="0" y="66"/>
                  </a:lnTo>
                  <a:lnTo>
                    <a:pt x="4" y="44"/>
                  </a:lnTo>
                  <a:lnTo>
                    <a:pt x="10" y="26"/>
                  </a:lnTo>
                  <a:lnTo>
                    <a:pt x="22" y="15"/>
                  </a:lnTo>
                  <a:lnTo>
                    <a:pt x="38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59" name="Group 1658"/>
          <p:cNvGrpSpPr/>
          <p:nvPr/>
        </p:nvGrpSpPr>
        <p:grpSpPr>
          <a:xfrm>
            <a:off x="7095652" y="3294706"/>
            <a:ext cx="121993" cy="450534"/>
            <a:chOff x="4725989" y="2778125"/>
            <a:chExt cx="300037" cy="1108075"/>
          </a:xfrm>
        </p:grpSpPr>
        <p:sp>
          <p:nvSpPr>
            <p:cNvPr id="1660" name="Freeform 11694"/>
            <p:cNvSpPr>
              <a:spLocks/>
            </p:cNvSpPr>
            <p:nvPr/>
          </p:nvSpPr>
          <p:spPr bwMode="auto">
            <a:xfrm>
              <a:off x="4908551" y="3074988"/>
              <a:ext cx="87313" cy="138113"/>
            </a:xfrm>
            <a:custGeom>
              <a:avLst/>
              <a:gdLst>
                <a:gd name="T0" fmla="*/ 25 w 110"/>
                <a:gd name="T1" fmla="*/ 0 h 175"/>
                <a:gd name="T2" fmla="*/ 110 w 110"/>
                <a:gd name="T3" fmla="*/ 149 h 175"/>
                <a:gd name="T4" fmla="*/ 63 w 110"/>
                <a:gd name="T5" fmla="*/ 175 h 175"/>
                <a:gd name="T6" fmla="*/ 0 w 110"/>
                <a:gd name="T7" fmla="*/ 51 h 175"/>
                <a:gd name="T8" fmla="*/ 25 w 110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75">
                  <a:moveTo>
                    <a:pt x="25" y="0"/>
                  </a:moveTo>
                  <a:lnTo>
                    <a:pt x="110" y="149"/>
                  </a:lnTo>
                  <a:lnTo>
                    <a:pt x="63" y="175"/>
                  </a:lnTo>
                  <a:lnTo>
                    <a:pt x="0" y="5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C9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1" name="Freeform 11696"/>
            <p:cNvSpPr>
              <a:spLocks/>
            </p:cNvSpPr>
            <p:nvPr/>
          </p:nvSpPr>
          <p:spPr bwMode="auto">
            <a:xfrm>
              <a:off x="4811714" y="3327400"/>
              <a:ext cx="139700" cy="495300"/>
            </a:xfrm>
            <a:custGeom>
              <a:avLst/>
              <a:gdLst>
                <a:gd name="T0" fmla="*/ 0 w 177"/>
                <a:gd name="T1" fmla="*/ 0 h 623"/>
                <a:gd name="T2" fmla="*/ 136 w 177"/>
                <a:gd name="T3" fmla="*/ 6 h 623"/>
                <a:gd name="T4" fmla="*/ 177 w 177"/>
                <a:gd name="T5" fmla="*/ 264 h 623"/>
                <a:gd name="T6" fmla="*/ 140 w 177"/>
                <a:gd name="T7" fmla="*/ 623 h 623"/>
                <a:gd name="T8" fmla="*/ 97 w 177"/>
                <a:gd name="T9" fmla="*/ 621 h 623"/>
                <a:gd name="T10" fmla="*/ 81 w 177"/>
                <a:gd name="T11" fmla="*/ 378 h 623"/>
                <a:gd name="T12" fmla="*/ 102 w 177"/>
                <a:gd name="T13" fmla="*/ 276 h 623"/>
                <a:gd name="T14" fmla="*/ 0 w 177"/>
                <a:gd name="T15" fmla="*/ 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623">
                  <a:moveTo>
                    <a:pt x="0" y="0"/>
                  </a:moveTo>
                  <a:lnTo>
                    <a:pt x="136" y="6"/>
                  </a:lnTo>
                  <a:lnTo>
                    <a:pt x="177" y="264"/>
                  </a:lnTo>
                  <a:lnTo>
                    <a:pt x="140" y="623"/>
                  </a:lnTo>
                  <a:lnTo>
                    <a:pt x="97" y="621"/>
                  </a:lnTo>
                  <a:lnTo>
                    <a:pt x="81" y="378"/>
                  </a:lnTo>
                  <a:lnTo>
                    <a:pt x="102" y="2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2C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2" name="Freeform 11697"/>
            <p:cNvSpPr>
              <a:spLocks/>
            </p:cNvSpPr>
            <p:nvPr/>
          </p:nvSpPr>
          <p:spPr bwMode="auto">
            <a:xfrm>
              <a:off x="4883151" y="3821113"/>
              <a:ext cx="120650" cy="47625"/>
            </a:xfrm>
            <a:custGeom>
              <a:avLst/>
              <a:gdLst>
                <a:gd name="T0" fmla="*/ 6 w 153"/>
                <a:gd name="T1" fmla="*/ 0 h 61"/>
                <a:gd name="T2" fmla="*/ 53 w 153"/>
                <a:gd name="T3" fmla="*/ 2 h 61"/>
                <a:gd name="T4" fmla="*/ 58 w 153"/>
                <a:gd name="T5" fmla="*/ 4 h 61"/>
                <a:gd name="T6" fmla="*/ 70 w 153"/>
                <a:gd name="T7" fmla="*/ 10 h 61"/>
                <a:gd name="T8" fmla="*/ 90 w 153"/>
                <a:gd name="T9" fmla="*/ 18 h 61"/>
                <a:gd name="T10" fmla="*/ 109 w 153"/>
                <a:gd name="T11" fmla="*/ 26 h 61"/>
                <a:gd name="T12" fmla="*/ 131 w 153"/>
                <a:gd name="T13" fmla="*/ 30 h 61"/>
                <a:gd name="T14" fmla="*/ 139 w 153"/>
                <a:gd name="T15" fmla="*/ 32 h 61"/>
                <a:gd name="T16" fmla="*/ 145 w 153"/>
                <a:gd name="T17" fmla="*/ 35 h 61"/>
                <a:gd name="T18" fmla="*/ 149 w 153"/>
                <a:gd name="T19" fmla="*/ 39 h 61"/>
                <a:gd name="T20" fmla="*/ 151 w 153"/>
                <a:gd name="T21" fmla="*/ 43 h 61"/>
                <a:gd name="T22" fmla="*/ 153 w 153"/>
                <a:gd name="T23" fmla="*/ 45 h 61"/>
                <a:gd name="T24" fmla="*/ 153 w 153"/>
                <a:gd name="T25" fmla="*/ 49 h 61"/>
                <a:gd name="T26" fmla="*/ 151 w 153"/>
                <a:gd name="T27" fmla="*/ 53 h 61"/>
                <a:gd name="T28" fmla="*/ 149 w 153"/>
                <a:gd name="T29" fmla="*/ 57 h 61"/>
                <a:gd name="T30" fmla="*/ 149 w 153"/>
                <a:gd name="T31" fmla="*/ 59 h 61"/>
                <a:gd name="T32" fmla="*/ 147 w 153"/>
                <a:gd name="T33" fmla="*/ 59 h 61"/>
                <a:gd name="T34" fmla="*/ 147 w 153"/>
                <a:gd name="T35" fmla="*/ 61 h 61"/>
                <a:gd name="T36" fmla="*/ 0 w 153"/>
                <a:gd name="T37" fmla="*/ 53 h 61"/>
                <a:gd name="T38" fmla="*/ 6 w 153"/>
                <a:gd name="T3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61">
                  <a:moveTo>
                    <a:pt x="6" y="0"/>
                  </a:moveTo>
                  <a:lnTo>
                    <a:pt x="53" y="2"/>
                  </a:lnTo>
                  <a:lnTo>
                    <a:pt x="58" y="4"/>
                  </a:lnTo>
                  <a:lnTo>
                    <a:pt x="70" y="10"/>
                  </a:lnTo>
                  <a:lnTo>
                    <a:pt x="90" y="18"/>
                  </a:lnTo>
                  <a:lnTo>
                    <a:pt x="109" y="26"/>
                  </a:lnTo>
                  <a:lnTo>
                    <a:pt x="131" y="30"/>
                  </a:lnTo>
                  <a:lnTo>
                    <a:pt x="139" y="32"/>
                  </a:lnTo>
                  <a:lnTo>
                    <a:pt x="145" y="35"/>
                  </a:lnTo>
                  <a:lnTo>
                    <a:pt x="149" y="39"/>
                  </a:lnTo>
                  <a:lnTo>
                    <a:pt x="151" y="43"/>
                  </a:lnTo>
                  <a:lnTo>
                    <a:pt x="153" y="45"/>
                  </a:lnTo>
                  <a:lnTo>
                    <a:pt x="153" y="49"/>
                  </a:lnTo>
                  <a:lnTo>
                    <a:pt x="151" y="53"/>
                  </a:lnTo>
                  <a:lnTo>
                    <a:pt x="149" y="57"/>
                  </a:lnTo>
                  <a:lnTo>
                    <a:pt x="149" y="59"/>
                  </a:lnTo>
                  <a:lnTo>
                    <a:pt x="147" y="59"/>
                  </a:lnTo>
                  <a:lnTo>
                    <a:pt x="147" y="61"/>
                  </a:lnTo>
                  <a:lnTo>
                    <a:pt x="0" y="5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3" name="Freeform 11698"/>
            <p:cNvSpPr>
              <a:spLocks/>
            </p:cNvSpPr>
            <p:nvPr/>
          </p:nvSpPr>
          <p:spPr bwMode="auto">
            <a:xfrm>
              <a:off x="4759326" y="3311525"/>
              <a:ext cx="107950" cy="517525"/>
            </a:xfrm>
            <a:custGeom>
              <a:avLst/>
              <a:gdLst>
                <a:gd name="T0" fmla="*/ 135 w 135"/>
                <a:gd name="T1" fmla="*/ 0 h 653"/>
                <a:gd name="T2" fmla="*/ 135 w 135"/>
                <a:gd name="T3" fmla="*/ 304 h 653"/>
                <a:gd name="T4" fmla="*/ 47 w 135"/>
                <a:gd name="T5" fmla="*/ 653 h 653"/>
                <a:gd name="T6" fmla="*/ 4 w 135"/>
                <a:gd name="T7" fmla="*/ 645 h 653"/>
                <a:gd name="T8" fmla="*/ 25 w 135"/>
                <a:gd name="T9" fmla="*/ 404 h 653"/>
                <a:gd name="T10" fmla="*/ 61 w 135"/>
                <a:gd name="T11" fmla="*/ 306 h 653"/>
                <a:gd name="T12" fmla="*/ 59 w 135"/>
                <a:gd name="T13" fmla="*/ 300 h 653"/>
                <a:gd name="T14" fmla="*/ 55 w 135"/>
                <a:gd name="T15" fmla="*/ 288 h 653"/>
                <a:gd name="T16" fmla="*/ 49 w 135"/>
                <a:gd name="T17" fmla="*/ 267 h 653"/>
                <a:gd name="T18" fmla="*/ 41 w 135"/>
                <a:gd name="T19" fmla="*/ 241 h 653"/>
                <a:gd name="T20" fmla="*/ 31 w 135"/>
                <a:gd name="T21" fmla="*/ 210 h 653"/>
                <a:gd name="T22" fmla="*/ 23 w 135"/>
                <a:gd name="T23" fmla="*/ 177 h 653"/>
                <a:gd name="T24" fmla="*/ 15 w 135"/>
                <a:gd name="T25" fmla="*/ 141 h 653"/>
                <a:gd name="T26" fmla="*/ 8 w 135"/>
                <a:gd name="T27" fmla="*/ 106 h 653"/>
                <a:gd name="T28" fmla="*/ 2 w 135"/>
                <a:gd name="T29" fmla="*/ 73 h 653"/>
                <a:gd name="T30" fmla="*/ 0 w 135"/>
                <a:gd name="T31" fmla="*/ 43 h 653"/>
                <a:gd name="T32" fmla="*/ 0 w 135"/>
                <a:gd name="T33" fmla="*/ 16 h 653"/>
                <a:gd name="T34" fmla="*/ 6 w 135"/>
                <a:gd name="T35" fmla="*/ 14 h 653"/>
                <a:gd name="T36" fmla="*/ 21 w 135"/>
                <a:gd name="T37" fmla="*/ 12 h 653"/>
                <a:gd name="T38" fmla="*/ 43 w 135"/>
                <a:gd name="T39" fmla="*/ 10 h 653"/>
                <a:gd name="T40" fmla="*/ 68 w 135"/>
                <a:gd name="T41" fmla="*/ 6 h 653"/>
                <a:gd name="T42" fmla="*/ 92 w 135"/>
                <a:gd name="T43" fmla="*/ 4 h 653"/>
                <a:gd name="T44" fmla="*/ 113 w 135"/>
                <a:gd name="T45" fmla="*/ 2 h 653"/>
                <a:gd name="T46" fmla="*/ 129 w 135"/>
                <a:gd name="T47" fmla="*/ 0 h 653"/>
                <a:gd name="T48" fmla="*/ 135 w 135"/>
                <a:gd name="T49" fmla="*/ 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5" h="653">
                  <a:moveTo>
                    <a:pt x="135" y="0"/>
                  </a:moveTo>
                  <a:lnTo>
                    <a:pt x="135" y="304"/>
                  </a:lnTo>
                  <a:lnTo>
                    <a:pt x="47" y="653"/>
                  </a:lnTo>
                  <a:lnTo>
                    <a:pt x="4" y="645"/>
                  </a:lnTo>
                  <a:lnTo>
                    <a:pt x="25" y="404"/>
                  </a:lnTo>
                  <a:lnTo>
                    <a:pt x="61" y="306"/>
                  </a:lnTo>
                  <a:lnTo>
                    <a:pt x="59" y="300"/>
                  </a:lnTo>
                  <a:lnTo>
                    <a:pt x="55" y="288"/>
                  </a:lnTo>
                  <a:lnTo>
                    <a:pt x="49" y="267"/>
                  </a:lnTo>
                  <a:lnTo>
                    <a:pt x="41" y="241"/>
                  </a:lnTo>
                  <a:lnTo>
                    <a:pt x="31" y="210"/>
                  </a:lnTo>
                  <a:lnTo>
                    <a:pt x="23" y="177"/>
                  </a:lnTo>
                  <a:lnTo>
                    <a:pt x="15" y="141"/>
                  </a:lnTo>
                  <a:lnTo>
                    <a:pt x="8" y="106"/>
                  </a:lnTo>
                  <a:lnTo>
                    <a:pt x="2" y="73"/>
                  </a:lnTo>
                  <a:lnTo>
                    <a:pt x="0" y="43"/>
                  </a:lnTo>
                  <a:lnTo>
                    <a:pt x="0" y="16"/>
                  </a:lnTo>
                  <a:lnTo>
                    <a:pt x="6" y="14"/>
                  </a:lnTo>
                  <a:lnTo>
                    <a:pt x="21" y="12"/>
                  </a:lnTo>
                  <a:lnTo>
                    <a:pt x="43" y="10"/>
                  </a:lnTo>
                  <a:lnTo>
                    <a:pt x="68" y="6"/>
                  </a:lnTo>
                  <a:lnTo>
                    <a:pt x="92" y="4"/>
                  </a:lnTo>
                  <a:lnTo>
                    <a:pt x="113" y="2"/>
                  </a:lnTo>
                  <a:lnTo>
                    <a:pt x="129" y="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FD2C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4" name="Freeform 11699"/>
            <p:cNvSpPr>
              <a:spLocks/>
            </p:cNvSpPr>
            <p:nvPr/>
          </p:nvSpPr>
          <p:spPr bwMode="auto">
            <a:xfrm>
              <a:off x="4752976" y="3822700"/>
              <a:ext cx="117475" cy="63500"/>
            </a:xfrm>
            <a:custGeom>
              <a:avLst/>
              <a:gdLst>
                <a:gd name="T0" fmla="*/ 14 w 149"/>
                <a:gd name="T1" fmla="*/ 0 h 80"/>
                <a:gd name="T2" fmla="*/ 61 w 149"/>
                <a:gd name="T3" fmla="*/ 10 h 80"/>
                <a:gd name="T4" fmla="*/ 65 w 149"/>
                <a:gd name="T5" fmla="*/ 12 h 80"/>
                <a:gd name="T6" fmla="*/ 73 w 149"/>
                <a:gd name="T7" fmla="*/ 18 h 80"/>
                <a:gd name="T8" fmla="*/ 86 w 149"/>
                <a:gd name="T9" fmla="*/ 24 h 80"/>
                <a:gd name="T10" fmla="*/ 102 w 149"/>
                <a:gd name="T11" fmla="*/ 33 h 80"/>
                <a:gd name="T12" fmla="*/ 118 w 149"/>
                <a:gd name="T13" fmla="*/ 41 h 80"/>
                <a:gd name="T14" fmla="*/ 133 w 149"/>
                <a:gd name="T15" fmla="*/ 49 h 80"/>
                <a:gd name="T16" fmla="*/ 145 w 149"/>
                <a:gd name="T17" fmla="*/ 57 h 80"/>
                <a:gd name="T18" fmla="*/ 149 w 149"/>
                <a:gd name="T19" fmla="*/ 65 h 80"/>
                <a:gd name="T20" fmla="*/ 149 w 149"/>
                <a:gd name="T21" fmla="*/ 73 h 80"/>
                <a:gd name="T22" fmla="*/ 145 w 149"/>
                <a:gd name="T23" fmla="*/ 79 h 80"/>
                <a:gd name="T24" fmla="*/ 145 w 149"/>
                <a:gd name="T25" fmla="*/ 80 h 80"/>
                <a:gd name="T26" fmla="*/ 0 w 149"/>
                <a:gd name="T27" fmla="*/ 53 h 80"/>
                <a:gd name="T28" fmla="*/ 14 w 149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80">
                  <a:moveTo>
                    <a:pt x="14" y="0"/>
                  </a:moveTo>
                  <a:lnTo>
                    <a:pt x="61" y="10"/>
                  </a:lnTo>
                  <a:lnTo>
                    <a:pt x="65" y="12"/>
                  </a:lnTo>
                  <a:lnTo>
                    <a:pt x="73" y="18"/>
                  </a:lnTo>
                  <a:lnTo>
                    <a:pt x="86" y="24"/>
                  </a:lnTo>
                  <a:lnTo>
                    <a:pt x="102" y="33"/>
                  </a:lnTo>
                  <a:lnTo>
                    <a:pt x="118" y="41"/>
                  </a:lnTo>
                  <a:lnTo>
                    <a:pt x="133" y="49"/>
                  </a:lnTo>
                  <a:lnTo>
                    <a:pt x="145" y="57"/>
                  </a:lnTo>
                  <a:lnTo>
                    <a:pt x="149" y="65"/>
                  </a:lnTo>
                  <a:lnTo>
                    <a:pt x="149" y="73"/>
                  </a:lnTo>
                  <a:lnTo>
                    <a:pt x="145" y="79"/>
                  </a:lnTo>
                  <a:lnTo>
                    <a:pt x="145" y="80"/>
                  </a:lnTo>
                  <a:lnTo>
                    <a:pt x="0" y="5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00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5" name="Freeform 11700"/>
            <p:cNvSpPr>
              <a:spLocks/>
            </p:cNvSpPr>
            <p:nvPr/>
          </p:nvSpPr>
          <p:spPr bwMode="auto">
            <a:xfrm>
              <a:off x="4759326" y="3016250"/>
              <a:ext cx="180975" cy="317500"/>
            </a:xfrm>
            <a:custGeom>
              <a:avLst/>
              <a:gdLst>
                <a:gd name="T0" fmla="*/ 70 w 227"/>
                <a:gd name="T1" fmla="*/ 0 h 400"/>
                <a:gd name="T2" fmla="*/ 182 w 227"/>
                <a:gd name="T3" fmla="*/ 8 h 400"/>
                <a:gd name="T4" fmla="*/ 184 w 227"/>
                <a:gd name="T5" fmla="*/ 12 h 400"/>
                <a:gd name="T6" fmla="*/ 190 w 227"/>
                <a:gd name="T7" fmla="*/ 25 h 400"/>
                <a:gd name="T8" fmla="*/ 196 w 227"/>
                <a:gd name="T9" fmla="*/ 43 h 400"/>
                <a:gd name="T10" fmla="*/ 204 w 227"/>
                <a:gd name="T11" fmla="*/ 65 h 400"/>
                <a:gd name="T12" fmla="*/ 213 w 227"/>
                <a:gd name="T13" fmla="*/ 88 h 400"/>
                <a:gd name="T14" fmla="*/ 219 w 227"/>
                <a:gd name="T15" fmla="*/ 110 h 400"/>
                <a:gd name="T16" fmla="*/ 225 w 227"/>
                <a:gd name="T17" fmla="*/ 129 h 400"/>
                <a:gd name="T18" fmla="*/ 227 w 227"/>
                <a:gd name="T19" fmla="*/ 141 h 400"/>
                <a:gd name="T20" fmla="*/ 223 w 227"/>
                <a:gd name="T21" fmla="*/ 155 h 400"/>
                <a:gd name="T22" fmla="*/ 215 w 227"/>
                <a:gd name="T23" fmla="*/ 166 h 400"/>
                <a:gd name="T24" fmla="*/ 206 w 227"/>
                <a:gd name="T25" fmla="*/ 176 h 400"/>
                <a:gd name="T26" fmla="*/ 198 w 227"/>
                <a:gd name="T27" fmla="*/ 182 h 400"/>
                <a:gd name="T28" fmla="*/ 194 w 227"/>
                <a:gd name="T29" fmla="*/ 184 h 400"/>
                <a:gd name="T30" fmla="*/ 200 w 227"/>
                <a:gd name="T31" fmla="*/ 400 h 400"/>
                <a:gd name="T32" fmla="*/ 194 w 227"/>
                <a:gd name="T33" fmla="*/ 400 h 400"/>
                <a:gd name="T34" fmla="*/ 176 w 227"/>
                <a:gd name="T35" fmla="*/ 398 h 400"/>
                <a:gd name="T36" fmla="*/ 153 w 227"/>
                <a:gd name="T37" fmla="*/ 396 h 400"/>
                <a:gd name="T38" fmla="*/ 123 w 227"/>
                <a:gd name="T39" fmla="*/ 394 h 400"/>
                <a:gd name="T40" fmla="*/ 92 w 227"/>
                <a:gd name="T41" fmla="*/ 392 h 400"/>
                <a:gd name="T42" fmla="*/ 61 w 227"/>
                <a:gd name="T43" fmla="*/ 390 h 400"/>
                <a:gd name="T44" fmla="*/ 33 w 227"/>
                <a:gd name="T45" fmla="*/ 388 h 400"/>
                <a:gd name="T46" fmla="*/ 12 w 227"/>
                <a:gd name="T47" fmla="*/ 388 h 400"/>
                <a:gd name="T48" fmla="*/ 0 w 227"/>
                <a:gd name="T49" fmla="*/ 386 h 400"/>
                <a:gd name="T50" fmla="*/ 6 w 227"/>
                <a:gd name="T51" fmla="*/ 360 h 400"/>
                <a:gd name="T52" fmla="*/ 17 w 227"/>
                <a:gd name="T53" fmla="*/ 337 h 400"/>
                <a:gd name="T54" fmla="*/ 29 w 227"/>
                <a:gd name="T55" fmla="*/ 317 h 400"/>
                <a:gd name="T56" fmla="*/ 39 w 227"/>
                <a:gd name="T57" fmla="*/ 302 h 400"/>
                <a:gd name="T58" fmla="*/ 41 w 227"/>
                <a:gd name="T59" fmla="*/ 288 h 400"/>
                <a:gd name="T60" fmla="*/ 43 w 227"/>
                <a:gd name="T61" fmla="*/ 264 h 400"/>
                <a:gd name="T62" fmla="*/ 43 w 227"/>
                <a:gd name="T63" fmla="*/ 235 h 400"/>
                <a:gd name="T64" fmla="*/ 43 w 227"/>
                <a:gd name="T65" fmla="*/ 200 h 400"/>
                <a:gd name="T66" fmla="*/ 45 w 227"/>
                <a:gd name="T67" fmla="*/ 166 h 400"/>
                <a:gd name="T68" fmla="*/ 45 w 227"/>
                <a:gd name="T69" fmla="*/ 135 h 400"/>
                <a:gd name="T70" fmla="*/ 45 w 227"/>
                <a:gd name="T71" fmla="*/ 108 h 400"/>
                <a:gd name="T72" fmla="*/ 45 w 227"/>
                <a:gd name="T73" fmla="*/ 90 h 400"/>
                <a:gd name="T74" fmla="*/ 45 w 227"/>
                <a:gd name="T75" fmla="*/ 82 h 400"/>
                <a:gd name="T76" fmla="*/ 70 w 227"/>
                <a:gd name="T7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7" h="400">
                  <a:moveTo>
                    <a:pt x="70" y="0"/>
                  </a:moveTo>
                  <a:lnTo>
                    <a:pt x="182" y="8"/>
                  </a:lnTo>
                  <a:lnTo>
                    <a:pt x="184" y="12"/>
                  </a:lnTo>
                  <a:lnTo>
                    <a:pt x="190" y="25"/>
                  </a:lnTo>
                  <a:lnTo>
                    <a:pt x="196" y="43"/>
                  </a:lnTo>
                  <a:lnTo>
                    <a:pt x="204" y="65"/>
                  </a:lnTo>
                  <a:lnTo>
                    <a:pt x="213" y="88"/>
                  </a:lnTo>
                  <a:lnTo>
                    <a:pt x="219" y="110"/>
                  </a:lnTo>
                  <a:lnTo>
                    <a:pt x="225" y="129"/>
                  </a:lnTo>
                  <a:lnTo>
                    <a:pt x="227" y="141"/>
                  </a:lnTo>
                  <a:lnTo>
                    <a:pt x="223" y="155"/>
                  </a:lnTo>
                  <a:lnTo>
                    <a:pt x="215" y="166"/>
                  </a:lnTo>
                  <a:lnTo>
                    <a:pt x="206" y="176"/>
                  </a:lnTo>
                  <a:lnTo>
                    <a:pt x="198" y="182"/>
                  </a:lnTo>
                  <a:lnTo>
                    <a:pt x="194" y="184"/>
                  </a:lnTo>
                  <a:lnTo>
                    <a:pt x="200" y="400"/>
                  </a:lnTo>
                  <a:lnTo>
                    <a:pt x="194" y="400"/>
                  </a:lnTo>
                  <a:lnTo>
                    <a:pt x="176" y="398"/>
                  </a:lnTo>
                  <a:lnTo>
                    <a:pt x="153" y="396"/>
                  </a:lnTo>
                  <a:lnTo>
                    <a:pt x="123" y="394"/>
                  </a:lnTo>
                  <a:lnTo>
                    <a:pt x="92" y="392"/>
                  </a:lnTo>
                  <a:lnTo>
                    <a:pt x="61" y="390"/>
                  </a:lnTo>
                  <a:lnTo>
                    <a:pt x="33" y="388"/>
                  </a:lnTo>
                  <a:lnTo>
                    <a:pt x="12" y="388"/>
                  </a:lnTo>
                  <a:lnTo>
                    <a:pt x="0" y="386"/>
                  </a:lnTo>
                  <a:lnTo>
                    <a:pt x="6" y="360"/>
                  </a:lnTo>
                  <a:lnTo>
                    <a:pt x="17" y="337"/>
                  </a:lnTo>
                  <a:lnTo>
                    <a:pt x="29" y="317"/>
                  </a:lnTo>
                  <a:lnTo>
                    <a:pt x="39" y="302"/>
                  </a:lnTo>
                  <a:lnTo>
                    <a:pt x="41" y="288"/>
                  </a:lnTo>
                  <a:lnTo>
                    <a:pt x="43" y="264"/>
                  </a:lnTo>
                  <a:lnTo>
                    <a:pt x="43" y="235"/>
                  </a:lnTo>
                  <a:lnTo>
                    <a:pt x="43" y="200"/>
                  </a:lnTo>
                  <a:lnTo>
                    <a:pt x="45" y="166"/>
                  </a:lnTo>
                  <a:lnTo>
                    <a:pt x="45" y="135"/>
                  </a:lnTo>
                  <a:lnTo>
                    <a:pt x="45" y="108"/>
                  </a:lnTo>
                  <a:lnTo>
                    <a:pt x="45" y="90"/>
                  </a:lnTo>
                  <a:lnTo>
                    <a:pt x="45" y="82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6" name="Freeform 11701"/>
            <p:cNvSpPr>
              <a:spLocks/>
            </p:cNvSpPr>
            <p:nvPr/>
          </p:nvSpPr>
          <p:spPr bwMode="auto">
            <a:xfrm>
              <a:off x="4908551" y="3035300"/>
              <a:ext cx="31750" cy="60325"/>
            </a:xfrm>
            <a:custGeom>
              <a:avLst/>
              <a:gdLst>
                <a:gd name="T0" fmla="*/ 0 w 39"/>
                <a:gd name="T1" fmla="*/ 0 h 77"/>
                <a:gd name="T2" fmla="*/ 39 w 39"/>
                <a:gd name="T3" fmla="*/ 49 h 77"/>
                <a:gd name="T4" fmla="*/ 14 w 39"/>
                <a:gd name="T5" fmla="*/ 77 h 77"/>
                <a:gd name="T6" fmla="*/ 0 w 39"/>
                <a:gd name="T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7">
                  <a:moveTo>
                    <a:pt x="0" y="0"/>
                  </a:moveTo>
                  <a:lnTo>
                    <a:pt x="39" y="49"/>
                  </a:lnTo>
                  <a:lnTo>
                    <a:pt x="14" y="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7" name="Freeform 11702"/>
            <p:cNvSpPr>
              <a:spLocks noEditPoints="1"/>
            </p:cNvSpPr>
            <p:nvPr/>
          </p:nvSpPr>
          <p:spPr bwMode="auto">
            <a:xfrm>
              <a:off x="4835526" y="3167063"/>
              <a:ext cx="73025" cy="157163"/>
            </a:xfrm>
            <a:custGeom>
              <a:avLst/>
              <a:gdLst>
                <a:gd name="T0" fmla="*/ 35 w 90"/>
                <a:gd name="T1" fmla="*/ 80 h 200"/>
                <a:gd name="T2" fmla="*/ 57 w 90"/>
                <a:gd name="T3" fmla="*/ 116 h 200"/>
                <a:gd name="T4" fmla="*/ 86 w 90"/>
                <a:gd name="T5" fmla="*/ 112 h 200"/>
                <a:gd name="T6" fmla="*/ 90 w 90"/>
                <a:gd name="T7" fmla="*/ 188 h 200"/>
                <a:gd name="T8" fmla="*/ 86 w 90"/>
                <a:gd name="T9" fmla="*/ 190 h 200"/>
                <a:gd name="T10" fmla="*/ 72 w 90"/>
                <a:gd name="T11" fmla="*/ 194 h 200"/>
                <a:gd name="T12" fmla="*/ 55 w 90"/>
                <a:gd name="T13" fmla="*/ 198 h 200"/>
                <a:gd name="T14" fmla="*/ 35 w 90"/>
                <a:gd name="T15" fmla="*/ 200 h 200"/>
                <a:gd name="T16" fmla="*/ 21 w 90"/>
                <a:gd name="T17" fmla="*/ 200 h 200"/>
                <a:gd name="T18" fmla="*/ 12 w 90"/>
                <a:gd name="T19" fmla="*/ 196 h 200"/>
                <a:gd name="T20" fmla="*/ 4 w 90"/>
                <a:gd name="T21" fmla="*/ 188 h 200"/>
                <a:gd name="T22" fmla="*/ 0 w 90"/>
                <a:gd name="T23" fmla="*/ 178 h 200"/>
                <a:gd name="T24" fmla="*/ 2 w 90"/>
                <a:gd name="T25" fmla="*/ 165 h 200"/>
                <a:gd name="T26" fmla="*/ 8 w 90"/>
                <a:gd name="T27" fmla="*/ 147 h 200"/>
                <a:gd name="T28" fmla="*/ 16 w 90"/>
                <a:gd name="T29" fmla="*/ 125 h 200"/>
                <a:gd name="T30" fmla="*/ 25 w 90"/>
                <a:gd name="T31" fmla="*/ 102 h 200"/>
                <a:gd name="T32" fmla="*/ 35 w 90"/>
                <a:gd name="T33" fmla="*/ 80 h 200"/>
                <a:gd name="T34" fmla="*/ 78 w 90"/>
                <a:gd name="T35" fmla="*/ 0 h 200"/>
                <a:gd name="T36" fmla="*/ 82 w 90"/>
                <a:gd name="T37" fmla="*/ 51 h 200"/>
                <a:gd name="T38" fmla="*/ 80 w 90"/>
                <a:gd name="T39" fmla="*/ 51 h 200"/>
                <a:gd name="T40" fmla="*/ 66 w 90"/>
                <a:gd name="T41" fmla="*/ 22 h 200"/>
                <a:gd name="T42" fmla="*/ 70 w 90"/>
                <a:gd name="T43" fmla="*/ 14 h 200"/>
                <a:gd name="T44" fmla="*/ 74 w 90"/>
                <a:gd name="T45" fmla="*/ 8 h 200"/>
                <a:gd name="T46" fmla="*/ 76 w 90"/>
                <a:gd name="T47" fmla="*/ 4 h 200"/>
                <a:gd name="T48" fmla="*/ 78 w 90"/>
                <a:gd name="T49" fmla="*/ 2 h 200"/>
                <a:gd name="T50" fmla="*/ 78 w 90"/>
                <a:gd name="T5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0" h="200">
                  <a:moveTo>
                    <a:pt x="35" y="80"/>
                  </a:moveTo>
                  <a:lnTo>
                    <a:pt x="57" y="116"/>
                  </a:lnTo>
                  <a:lnTo>
                    <a:pt x="86" y="112"/>
                  </a:lnTo>
                  <a:lnTo>
                    <a:pt x="90" y="188"/>
                  </a:lnTo>
                  <a:lnTo>
                    <a:pt x="86" y="190"/>
                  </a:lnTo>
                  <a:lnTo>
                    <a:pt x="72" y="194"/>
                  </a:lnTo>
                  <a:lnTo>
                    <a:pt x="55" y="198"/>
                  </a:lnTo>
                  <a:lnTo>
                    <a:pt x="35" y="200"/>
                  </a:lnTo>
                  <a:lnTo>
                    <a:pt x="21" y="200"/>
                  </a:lnTo>
                  <a:lnTo>
                    <a:pt x="12" y="196"/>
                  </a:lnTo>
                  <a:lnTo>
                    <a:pt x="4" y="188"/>
                  </a:lnTo>
                  <a:lnTo>
                    <a:pt x="0" y="178"/>
                  </a:lnTo>
                  <a:lnTo>
                    <a:pt x="2" y="165"/>
                  </a:lnTo>
                  <a:lnTo>
                    <a:pt x="8" y="147"/>
                  </a:lnTo>
                  <a:lnTo>
                    <a:pt x="16" y="125"/>
                  </a:lnTo>
                  <a:lnTo>
                    <a:pt x="25" y="102"/>
                  </a:lnTo>
                  <a:lnTo>
                    <a:pt x="35" y="80"/>
                  </a:lnTo>
                  <a:close/>
                  <a:moveTo>
                    <a:pt x="78" y="0"/>
                  </a:moveTo>
                  <a:lnTo>
                    <a:pt x="82" y="51"/>
                  </a:lnTo>
                  <a:lnTo>
                    <a:pt x="80" y="51"/>
                  </a:lnTo>
                  <a:lnTo>
                    <a:pt x="66" y="22"/>
                  </a:lnTo>
                  <a:lnTo>
                    <a:pt x="70" y="14"/>
                  </a:lnTo>
                  <a:lnTo>
                    <a:pt x="74" y="8"/>
                  </a:lnTo>
                  <a:lnTo>
                    <a:pt x="76" y="4"/>
                  </a:lnTo>
                  <a:lnTo>
                    <a:pt x="78" y="2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8" name="Freeform 11703"/>
            <p:cNvSpPr>
              <a:spLocks/>
            </p:cNvSpPr>
            <p:nvPr/>
          </p:nvSpPr>
          <p:spPr bwMode="auto">
            <a:xfrm>
              <a:off x="4805364" y="3338513"/>
              <a:ext cx="47625" cy="200025"/>
            </a:xfrm>
            <a:custGeom>
              <a:avLst/>
              <a:gdLst>
                <a:gd name="T0" fmla="*/ 6 w 60"/>
                <a:gd name="T1" fmla="*/ 0 h 250"/>
                <a:gd name="T2" fmla="*/ 60 w 60"/>
                <a:gd name="T3" fmla="*/ 11 h 250"/>
                <a:gd name="T4" fmla="*/ 60 w 60"/>
                <a:gd name="T5" fmla="*/ 250 h 250"/>
                <a:gd name="T6" fmla="*/ 58 w 60"/>
                <a:gd name="T7" fmla="*/ 250 h 250"/>
                <a:gd name="T8" fmla="*/ 53 w 60"/>
                <a:gd name="T9" fmla="*/ 247 h 250"/>
                <a:gd name="T10" fmla="*/ 43 w 60"/>
                <a:gd name="T11" fmla="*/ 243 h 250"/>
                <a:gd name="T12" fmla="*/ 33 w 60"/>
                <a:gd name="T13" fmla="*/ 231 h 250"/>
                <a:gd name="T14" fmla="*/ 23 w 60"/>
                <a:gd name="T15" fmla="*/ 217 h 250"/>
                <a:gd name="T16" fmla="*/ 13 w 60"/>
                <a:gd name="T17" fmla="*/ 196 h 250"/>
                <a:gd name="T18" fmla="*/ 6 w 60"/>
                <a:gd name="T19" fmla="*/ 166 h 250"/>
                <a:gd name="T20" fmla="*/ 0 w 60"/>
                <a:gd name="T21" fmla="*/ 133 h 250"/>
                <a:gd name="T22" fmla="*/ 0 w 60"/>
                <a:gd name="T23" fmla="*/ 100 h 250"/>
                <a:gd name="T24" fmla="*/ 0 w 60"/>
                <a:gd name="T25" fmla="*/ 68 h 250"/>
                <a:gd name="T26" fmla="*/ 0 w 60"/>
                <a:gd name="T27" fmla="*/ 41 h 250"/>
                <a:gd name="T28" fmla="*/ 2 w 60"/>
                <a:gd name="T29" fmla="*/ 19 h 250"/>
                <a:gd name="T30" fmla="*/ 4 w 60"/>
                <a:gd name="T31" fmla="*/ 5 h 250"/>
                <a:gd name="T32" fmla="*/ 6 w 60"/>
                <a:gd name="T3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50">
                  <a:moveTo>
                    <a:pt x="6" y="0"/>
                  </a:moveTo>
                  <a:lnTo>
                    <a:pt x="60" y="11"/>
                  </a:lnTo>
                  <a:lnTo>
                    <a:pt x="60" y="250"/>
                  </a:lnTo>
                  <a:lnTo>
                    <a:pt x="58" y="250"/>
                  </a:lnTo>
                  <a:lnTo>
                    <a:pt x="53" y="247"/>
                  </a:lnTo>
                  <a:lnTo>
                    <a:pt x="43" y="243"/>
                  </a:lnTo>
                  <a:lnTo>
                    <a:pt x="33" y="231"/>
                  </a:lnTo>
                  <a:lnTo>
                    <a:pt x="23" y="217"/>
                  </a:lnTo>
                  <a:lnTo>
                    <a:pt x="13" y="196"/>
                  </a:lnTo>
                  <a:lnTo>
                    <a:pt x="6" y="166"/>
                  </a:lnTo>
                  <a:lnTo>
                    <a:pt x="0" y="133"/>
                  </a:lnTo>
                  <a:lnTo>
                    <a:pt x="0" y="100"/>
                  </a:lnTo>
                  <a:lnTo>
                    <a:pt x="0" y="68"/>
                  </a:lnTo>
                  <a:lnTo>
                    <a:pt x="0" y="41"/>
                  </a:lnTo>
                  <a:lnTo>
                    <a:pt x="2" y="19"/>
                  </a:lnTo>
                  <a:lnTo>
                    <a:pt x="4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E3F6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9" name="Freeform 11704"/>
            <p:cNvSpPr>
              <a:spLocks/>
            </p:cNvSpPr>
            <p:nvPr/>
          </p:nvSpPr>
          <p:spPr bwMode="auto">
            <a:xfrm>
              <a:off x="4892676" y="3389313"/>
              <a:ext cx="41275" cy="141288"/>
            </a:xfrm>
            <a:custGeom>
              <a:avLst/>
              <a:gdLst>
                <a:gd name="T0" fmla="*/ 24 w 53"/>
                <a:gd name="T1" fmla="*/ 0 h 179"/>
                <a:gd name="T2" fmla="*/ 26 w 53"/>
                <a:gd name="T3" fmla="*/ 6 h 179"/>
                <a:gd name="T4" fmla="*/ 28 w 53"/>
                <a:gd name="T5" fmla="*/ 24 h 179"/>
                <a:gd name="T6" fmla="*/ 32 w 53"/>
                <a:gd name="T7" fmla="*/ 47 h 179"/>
                <a:gd name="T8" fmla="*/ 38 w 53"/>
                <a:gd name="T9" fmla="*/ 77 h 179"/>
                <a:gd name="T10" fmla="*/ 42 w 53"/>
                <a:gd name="T11" fmla="*/ 104 h 179"/>
                <a:gd name="T12" fmla="*/ 47 w 53"/>
                <a:gd name="T13" fmla="*/ 134 h 179"/>
                <a:gd name="T14" fmla="*/ 51 w 53"/>
                <a:gd name="T15" fmla="*/ 155 h 179"/>
                <a:gd name="T16" fmla="*/ 53 w 53"/>
                <a:gd name="T17" fmla="*/ 173 h 179"/>
                <a:gd name="T18" fmla="*/ 53 w 53"/>
                <a:gd name="T19" fmla="*/ 179 h 179"/>
                <a:gd name="T20" fmla="*/ 49 w 53"/>
                <a:gd name="T21" fmla="*/ 177 h 179"/>
                <a:gd name="T22" fmla="*/ 40 w 53"/>
                <a:gd name="T23" fmla="*/ 171 h 179"/>
                <a:gd name="T24" fmla="*/ 26 w 53"/>
                <a:gd name="T25" fmla="*/ 161 h 179"/>
                <a:gd name="T26" fmla="*/ 14 w 53"/>
                <a:gd name="T27" fmla="*/ 145 h 179"/>
                <a:gd name="T28" fmla="*/ 4 w 53"/>
                <a:gd name="T29" fmla="*/ 126 h 179"/>
                <a:gd name="T30" fmla="*/ 0 w 53"/>
                <a:gd name="T31" fmla="*/ 106 h 179"/>
                <a:gd name="T32" fmla="*/ 2 w 53"/>
                <a:gd name="T33" fmla="*/ 85 h 179"/>
                <a:gd name="T34" fmla="*/ 6 w 53"/>
                <a:gd name="T35" fmla="*/ 59 h 179"/>
                <a:gd name="T36" fmla="*/ 12 w 53"/>
                <a:gd name="T37" fmla="*/ 38 h 179"/>
                <a:gd name="T38" fmla="*/ 18 w 53"/>
                <a:gd name="T39" fmla="*/ 18 h 179"/>
                <a:gd name="T40" fmla="*/ 24 w 53"/>
                <a:gd name="T41" fmla="*/ 4 h 179"/>
                <a:gd name="T42" fmla="*/ 24 w 53"/>
                <a:gd name="T4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179">
                  <a:moveTo>
                    <a:pt x="24" y="0"/>
                  </a:moveTo>
                  <a:lnTo>
                    <a:pt x="26" y="6"/>
                  </a:lnTo>
                  <a:lnTo>
                    <a:pt x="28" y="24"/>
                  </a:lnTo>
                  <a:lnTo>
                    <a:pt x="32" y="47"/>
                  </a:lnTo>
                  <a:lnTo>
                    <a:pt x="38" y="77"/>
                  </a:lnTo>
                  <a:lnTo>
                    <a:pt x="42" y="104"/>
                  </a:lnTo>
                  <a:lnTo>
                    <a:pt x="47" y="134"/>
                  </a:lnTo>
                  <a:lnTo>
                    <a:pt x="51" y="155"/>
                  </a:lnTo>
                  <a:lnTo>
                    <a:pt x="53" y="173"/>
                  </a:lnTo>
                  <a:lnTo>
                    <a:pt x="53" y="179"/>
                  </a:lnTo>
                  <a:lnTo>
                    <a:pt x="49" y="177"/>
                  </a:lnTo>
                  <a:lnTo>
                    <a:pt x="40" y="171"/>
                  </a:lnTo>
                  <a:lnTo>
                    <a:pt x="26" y="161"/>
                  </a:lnTo>
                  <a:lnTo>
                    <a:pt x="14" y="145"/>
                  </a:lnTo>
                  <a:lnTo>
                    <a:pt x="4" y="126"/>
                  </a:lnTo>
                  <a:lnTo>
                    <a:pt x="0" y="106"/>
                  </a:lnTo>
                  <a:lnTo>
                    <a:pt x="2" y="85"/>
                  </a:lnTo>
                  <a:lnTo>
                    <a:pt x="6" y="59"/>
                  </a:lnTo>
                  <a:lnTo>
                    <a:pt x="12" y="38"/>
                  </a:lnTo>
                  <a:lnTo>
                    <a:pt x="18" y="18"/>
                  </a:lnTo>
                  <a:lnTo>
                    <a:pt x="2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E3F6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0" name="Freeform 11705"/>
            <p:cNvSpPr>
              <a:spLocks/>
            </p:cNvSpPr>
            <p:nvPr/>
          </p:nvSpPr>
          <p:spPr bwMode="auto">
            <a:xfrm>
              <a:off x="4821239" y="2778125"/>
              <a:ext cx="63500" cy="0"/>
            </a:xfrm>
            <a:custGeom>
              <a:avLst/>
              <a:gdLst>
                <a:gd name="T0" fmla="*/ 73 w 81"/>
                <a:gd name="T1" fmla="*/ 0 h 2"/>
                <a:gd name="T2" fmla="*/ 81 w 81"/>
                <a:gd name="T3" fmla="*/ 2 h 2"/>
                <a:gd name="T4" fmla="*/ 0 w 81"/>
                <a:gd name="T5" fmla="*/ 2 h 2"/>
                <a:gd name="T6" fmla="*/ 2 w 81"/>
                <a:gd name="T7" fmla="*/ 0 h 2"/>
                <a:gd name="T8" fmla="*/ 20 w 81"/>
                <a:gd name="T9" fmla="*/ 0 h 2"/>
                <a:gd name="T10" fmla="*/ 37 w 81"/>
                <a:gd name="T11" fmla="*/ 0 h 2"/>
                <a:gd name="T12" fmla="*/ 55 w 81"/>
                <a:gd name="T13" fmla="*/ 0 h 2"/>
                <a:gd name="T14" fmla="*/ 73 w 81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2">
                  <a:moveTo>
                    <a:pt x="73" y="0"/>
                  </a:moveTo>
                  <a:lnTo>
                    <a:pt x="81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14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1" name="Freeform 11706"/>
            <p:cNvSpPr>
              <a:spLocks/>
            </p:cNvSpPr>
            <p:nvPr/>
          </p:nvSpPr>
          <p:spPr bwMode="auto">
            <a:xfrm>
              <a:off x="4787901" y="2778125"/>
              <a:ext cx="125413" cy="23813"/>
            </a:xfrm>
            <a:custGeom>
              <a:avLst/>
              <a:gdLst>
                <a:gd name="T0" fmla="*/ 41 w 159"/>
                <a:gd name="T1" fmla="*/ 0 h 29"/>
                <a:gd name="T2" fmla="*/ 122 w 159"/>
                <a:gd name="T3" fmla="*/ 0 h 29"/>
                <a:gd name="T4" fmla="*/ 129 w 159"/>
                <a:gd name="T5" fmla="*/ 2 h 29"/>
                <a:gd name="T6" fmla="*/ 141 w 159"/>
                <a:gd name="T7" fmla="*/ 10 h 29"/>
                <a:gd name="T8" fmla="*/ 151 w 159"/>
                <a:gd name="T9" fmla="*/ 20 h 29"/>
                <a:gd name="T10" fmla="*/ 159 w 159"/>
                <a:gd name="T11" fmla="*/ 29 h 29"/>
                <a:gd name="T12" fmla="*/ 0 w 159"/>
                <a:gd name="T13" fmla="*/ 29 h 29"/>
                <a:gd name="T14" fmla="*/ 4 w 159"/>
                <a:gd name="T15" fmla="*/ 27 h 29"/>
                <a:gd name="T16" fmla="*/ 14 w 159"/>
                <a:gd name="T17" fmla="*/ 14 h 29"/>
                <a:gd name="T18" fmla="*/ 28 w 159"/>
                <a:gd name="T19" fmla="*/ 4 h 29"/>
                <a:gd name="T20" fmla="*/ 41 w 159"/>
                <a:gd name="T2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29">
                  <a:moveTo>
                    <a:pt x="41" y="0"/>
                  </a:moveTo>
                  <a:lnTo>
                    <a:pt x="122" y="0"/>
                  </a:lnTo>
                  <a:lnTo>
                    <a:pt x="129" y="2"/>
                  </a:lnTo>
                  <a:lnTo>
                    <a:pt x="141" y="10"/>
                  </a:lnTo>
                  <a:lnTo>
                    <a:pt x="151" y="20"/>
                  </a:lnTo>
                  <a:lnTo>
                    <a:pt x="159" y="29"/>
                  </a:lnTo>
                  <a:lnTo>
                    <a:pt x="0" y="29"/>
                  </a:lnTo>
                  <a:lnTo>
                    <a:pt x="4" y="27"/>
                  </a:lnTo>
                  <a:lnTo>
                    <a:pt x="14" y="14"/>
                  </a:lnTo>
                  <a:lnTo>
                    <a:pt x="28" y="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14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2" name="Freeform 11707"/>
            <p:cNvSpPr>
              <a:spLocks/>
            </p:cNvSpPr>
            <p:nvPr/>
          </p:nvSpPr>
          <p:spPr bwMode="auto">
            <a:xfrm>
              <a:off x="4772026" y="2801938"/>
              <a:ext cx="158750" cy="23813"/>
            </a:xfrm>
            <a:custGeom>
              <a:avLst/>
              <a:gdLst>
                <a:gd name="T0" fmla="*/ 20 w 200"/>
                <a:gd name="T1" fmla="*/ 0 h 30"/>
                <a:gd name="T2" fmla="*/ 179 w 200"/>
                <a:gd name="T3" fmla="*/ 0 h 30"/>
                <a:gd name="T4" fmla="*/ 181 w 200"/>
                <a:gd name="T5" fmla="*/ 2 h 30"/>
                <a:gd name="T6" fmla="*/ 196 w 200"/>
                <a:gd name="T7" fmla="*/ 24 h 30"/>
                <a:gd name="T8" fmla="*/ 200 w 200"/>
                <a:gd name="T9" fmla="*/ 30 h 30"/>
                <a:gd name="T10" fmla="*/ 0 w 200"/>
                <a:gd name="T11" fmla="*/ 30 h 30"/>
                <a:gd name="T12" fmla="*/ 0 w 200"/>
                <a:gd name="T13" fmla="*/ 30 h 30"/>
                <a:gd name="T14" fmla="*/ 14 w 200"/>
                <a:gd name="T15" fmla="*/ 10 h 30"/>
                <a:gd name="T16" fmla="*/ 20 w 20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0">
                  <a:moveTo>
                    <a:pt x="20" y="0"/>
                  </a:moveTo>
                  <a:lnTo>
                    <a:pt x="179" y="0"/>
                  </a:lnTo>
                  <a:lnTo>
                    <a:pt x="181" y="2"/>
                  </a:lnTo>
                  <a:lnTo>
                    <a:pt x="196" y="24"/>
                  </a:lnTo>
                  <a:lnTo>
                    <a:pt x="20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4" y="1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18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3" name="Freeform 11708"/>
            <p:cNvSpPr>
              <a:spLocks/>
            </p:cNvSpPr>
            <p:nvPr/>
          </p:nvSpPr>
          <p:spPr bwMode="auto">
            <a:xfrm>
              <a:off x="4762501" y="2825750"/>
              <a:ext cx="177800" cy="25400"/>
            </a:xfrm>
            <a:custGeom>
              <a:avLst/>
              <a:gdLst>
                <a:gd name="T0" fmla="*/ 11 w 223"/>
                <a:gd name="T1" fmla="*/ 0 h 31"/>
                <a:gd name="T2" fmla="*/ 211 w 223"/>
                <a:gd name="T3" fmla="*/ 0 h 31"/>
                <a:gd name="T4" fmla="*/ 219 w 223"/>
                <a:gd name="T5" fmla="*/ 17 h 31"/>
                <a:gd name="T6" fmla="*/ 223 w 223"/>
                <a:gd name="T7" fmla="*/ 31 h 31"/>
                <a:gd name="T8" fmla="*/ 0 w 223"/>
                <a:gd name="T9" fmla="*/ 31 h 31"/>
                <a:gd name="T10" fmla="*/ 2 w 223"/>
                <a:gd name="T11" fmla="*/ 21 h 31"/>
                <a:gd name="T12" fmla="*/ 11 w 223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31">
                  <a:moveTo>
                    <a:pt x="11" y="0"/>
                  </a:moveTo>
                  <a:lnTo>
                    <a:pt x="211" y="0"/>
                  </a:lnTo>
                  <a:lnTo>
                    <a:pt x="219" y="17"/>
                  </a:lnTo>
                  <a:lnTo>
                    <a:pt x="223" y="31"/>
                  </a:lnTo>
                  <a:lnTo>
                    <a:pt x="0" y="31"/>
                  </a:lnTo>
                  <a:lnTo>
                    <a:pt x="2" y="2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1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4" name="Freeform 11709"/>
            <p:cNvSpPr>
              <a:spLocks/>
            </p:cNvSpPr>
            <p:nvPr/>
          </p:nvSpPr>
          <p:spPr bwMode="auto">
            <a:xfrm>
              <a:off x="4760914" y="2851150"/>
              <a:ext cx="180975" cy="22225"/>
            </a:xfrm>
            <a:custGeom>
              <a:avLst/>
              <a:gdLst>
                <a:gd name="T0" fmla="*/ 2 w 227"/>
                <a:gd name="T1" fmla="*/ 0 h 30"/>
                <a:gd name="T2" fmla="*/ 225 w 227"/>
                <a:gd name="T3" fmla="*/ 0 h 30"/>
                <a:gd name="T4" fmla="*/ 227 w 227"/>
                <a:gd name="T5" fmla="*/ 14 h 30"/>
                <a:gd name="T6" fmla="*/ 225 w 227"/>
                <a:gd name="T7" fmla="*/ 30 h 30"/>
                <a:gd name="T8" fmla="*/ 2 w 227"/>
                <a:gd name="T9" fmla="*/ 30 h 30"/>
                <a:gd name="T10" fmla="*/ 0 w 227"/>
                <a:gd name="T11" fmla="*/ 14 h 30"/>
                <a:gd name="T12" fmla="*/ 0 w 227"/>
                <a:gd name="T13" fmla="*/ 14 h 30"/>
                <a:gd name="T14" fmla="*/ 2 w 227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7" h="30">
                  <a:moveTo>
                    <a:pt x="2" y="0"/>
                  </a:moveTo>
                  <a:lnTo>
                    <a:pt x="225" y="0"/>
                  </a:lnTo>
                  <a:lnTo>
                    <a:pt x="227" y="14"/>
                  </a:lnTo>
                  <a:lnTo>
                    <a:pt x="225" y="30"/>
                  </a:lnTo>
                  <a:lnTo>
                    <a:pt x="2" y="3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1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5" name="Freeform 11710"/>
            <p:cNvSpPr>
              <a:spLocks/>
            </p:cNvSpPr>
            <p:nvPr/>
          </p:nvSpPr>
          <p:spPr bwMode="auto">
            <a:xfrm>
              <a:off x="4762501" y="2873375"/>
              <a:ext cx="177800" cy="23813"/>
            </a:xfrm>
            <a:custGeom>
              <a:avLst/>
              <a:gdLst>
                <a:gd name="T0" fmla="*/ 0 w 223"/>
                <a:gd name="T1" fmla="*/ 0 h 29"/>
                <a:gd name="T2" fmla="*/ 223 w 223"/>
                <a:gd name="T3" fmla="*/ 0 h 29"/>
                <a:gd name="T4" fmla="*/ 219 w 223"/>
                <a:gd name="T5" fmla="*/ 19 h 29"/>
                <a:gd name="T6" fmla="*/ 213 w 223"/>
                <a:gd name="T7" fmla="*/ 29 h 29"/>
                <a:gd name="T8" fmla="*/ 11 w 223"/>
                <a:gd name="T9" fmla="*/ 29 h 29"/>
                <a:gd name="T10" fmla="*/ 11 w 223"/>
                <a:gd name="T11" fmla="*/ 29 h 29"/>
                <a:gd name="T12" fmla="*/ 2 w 223"/>
                <a:gd name="T13" fmla="*/ 7 h 29"/>
                <a:gd name="T14" fmla="*/ 0 w 223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3" h="29">
                  <a:moveTo>
                    <a:pt x="0" y="0"/>
                  </a:moveTo>
                  <a:lnTo>
                    <a:pt x="223" y="0"/>
                  </a:lnTo>
                  <a:lnTo>
                    <a:pt x="219" y="19"/>
                  </a:lnTo>
                  <a:lnTo>
                    <a:pt x="213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6" name="Freeform 11711"/>
            <p:cNvSpPr>
              <a:spLocks/>
            </p:cNvSpPr>
            <p:nvPr/>
          </p:nvSpPr>
          <p:spPr bwMode="auto">
            <a:xfrm>
              <a:off x="4772026" y="2897188"/>
              <a:ext cx="160338" cy="25400"/>
            </a:xfrm>
            <a:custGeom>
              <a:avLst/>
              <a:gdLst>
                <a:gd name="T0" fmla="*/ 0 w 202"/>
                <a:gd name="T1" fmla="*/ 0 h 31"/>
                <a:gd name="T2" fmla="*/ 202 w 202"/>
                <a:gd name="T3" fmla="*/ 0 h 31"/>
                <a:gd name="T4" fmla="*/ 193 w 202"/>
                <a:gd name="T5" fmla="*/ 20 h 31"/>
                <a:gd name="T6" fmla="*/ 181 w 202"/>
                <a:gd name="T7" fmla="*/ 31 h 31"/>
                <a:gd name="T8" fmla="*/ 22 w 202"/>
                <a:gd name="T9" fmla="*/ 31 h 31"/>
                <a:gd name="T10" fmla="*/ 14 w 202"/>
                <a:gd name="T11" fmla="*/ 20 h 31"/>
                <a:gd name="T12" fmla="*/ 0 w 202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31">
                  <a:moveTo>
                    <a:pt x="0" y="0"/>
                  </a:moveTo>
                  <a:lnTo>
                    <a:pt x="202" y="0"/>
                  </a:lnTo>
                  <a:lnTo>
                    <a:pt x="193" y="20"/>
                  </a:lnTo>
                  <a:lnTo>
                    <a:pt x="181" y="31"/>
                  </a:lnTo>
                  <a:lnTo>
                    <a:pt x="22" y="31"/>
                  </a:lnTo>
                  <a:lnTo>
                    <a:pt x="14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7" name="Freeform 11712"/>
            <p:cNvSpPr>
              <a:spLocks/>
            </p:cNvSpPr>
            <p:nvPr/>
          </p:nvSpPr>
          <p:spPr bwMode="auto">
            <a:xfrm>
              <a:off x="4789489" y="2922588"/>
              <a:ext cx="125413" cy="22225"/>
            </a:xfrm>
            <a:custGeom>
              <a:avLst/>
              <a:gdLst>
                <a:gd name="T0" fmla="*/ 0 w 159"/>
                <a:gd name="T1" fmla="*/ 0 h 30"/>
                <a:gd name="T2" fmla="*/ 159 w 159"/>
                <a:gd name="T3" fmla="*/ 0 h 30"/>
                <a:gd name="T4" fmla="*/ 147 w 159"/>
                <a:gd name="T5" fmla="*/ 12 h 30"/>
                <a:gd name="T6" fmla="*/ 116 w 159"/>
                <a:gd name="T7" fmla="*/ 28 h 30"/>
                <a:gd name="T8" fmla="*/ 100 w 159"/>
                <a:gd name="T9" fmla="*/ 30 h 30"/>
                <a:gd name="T10" fmla="*/ 37 w 159"/>
                <a:gd name="T11" fmla="*/ 30 h 30"/>
                <a:gd name="T12" fmla="*/ 26 w 159"/>
                <a:gd name="T13" fmla="*/ 26 h 30"/>
                <a:gd name="T14" fmla="*/ 12 w 159"/>
                <a:gd name="T15" fmla="*/ 16 h 30"/>
                <a:gd name="T16" fmla="*/ 2 w 159"/>
                <a:gd name="T17" fmla="*/ 2 h 30"/>
                <a:gd name="T18" fmla="*/ 0 w 159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30">
                  <a:moveTo>
                    <a:pt x="0" y="0"/>
                  </a:moveTo>
                  <a:lnTo>
                    <a:pt x="159" y="0"/>
                  </a:lnTo>
                  <a:lnTo>
                    <a:pt x="147" y="12"/>
                  </a:lnTo>
                  <a:lnTo>
                    <a:pt x="116" y="28"/>
                  </a:lnTo>
                  <a:lnTo>
                    <a:pt x="100" y="30"/>
                  </a:lnTo>
                  <a:lnTo>
                    <a:pt x="37" y="30"/>
                  </a:lnTo>
                  <a:lnTo>
                    <a:pt x="26" y="26"/>
                  </a:lnTo>
                  <a:lnTo>
                    <a:pt x="12" y="16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8" name="Freeform 11713"/>
            <p:cNvSpPr>
              <a:spLocks/>
            </p:cNvSpPr>
            <p:nvPr/>
          </p:nvSpPr>
          <p:spPr bwMode="auto">
            <a:xfrm>
              <a:off x="4819651" y="2944813"/>
              <a:ext cx="49213" cy="3175"/>
            </a:xfrm>
            <a:custGeom>
              <a:avLst/>
              <a:gdLst>
                <a:gd name="T0" fmla="*/ 0 w 63"/>
                <a:gd name="T1" fmla="*/ 0 h 4"/>
                <a:gd name="T2" fmla="*/ 63 w 63"/>
                <a:gd name="T3" fmla="*/ 0 h 4"/>
                <a:gd name="T4" fmla="*/ 43 w 63"/>
                <a:gd name="T5" fmla="*/ 4 h 4"/>
                <a:gd name="T6" fmla="*/ 24 w 63"/>
                <a:gd name="T7" fmla="*/ 4 h 4"/>
                <a:gd name="T8" fmla="*/ 4 w 63"/>
                <a:gd name="T9" fmla="*/ 2 h 4"/>
                <a:gd name="T10" fmla="*/ 0 w 6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4">
                  <a:moveTo>
                    <a:pt x="0" y="0"/>
                  </a:moveTo>
                  <a:lnTo>
                    <a:pt x="63" y="0"/>
                  </a:lnTo>
                  <a:lnTo>
                    <a:pt x="43" y="4"/>
                  </a:lnTo>
                  <a:lnTo>
                    <a:pt x="2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9" name="Freeform 11714"/>
            <p:cNvSpPr>
              <a:spLocks/>
            </p:cNvSpPr>
            <p:nvPr/>
          </p:nvSpPr>
          <p:spPr bwMode="auto">
            <a:xfrm>
              <a:off x="4754564" y="2820988"/>
              <a:ext cx="6350" cy="1588"/>
            </a:xfrm>
            <a:custGeom>
              <a:avLst/>
              <a:gdLst>
                <a:gd name="T0" fmla="*/ 4 w 8"/>
                <a:gd name="T1" fmla="*/ 0 h 2"/>
                <a:gd name="T2" fmla="*/ 8 w 8"/>
                <a:gd name="T3" fmla="*/ 2 h 2"/>
                <a:gd name="T4" fmla="*/ 0 w 8"/>
                <a:gd name="T5" fmla="*/ 2 h 2"/>
                <a:gd name="T6" fmla="*/ 4 w 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">
                  <a:moveTo>
                    <a:pt x="4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14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0" name="Freeform 11715"/>
            <p:cNvSpPr>
              <a:spLocks/>
            </p:cNvSpPr>
            <p:nvPr/>
          </p:nvSpPr>
          <p:spPr bwMode="auto">
            <a:xfrm>
              <a:off x="4729164" y="2822575"/>
              <a:ext cx="60325" cy="22225"/>
            </a:xfrm>
            <a:custGeom>
              <a:avLst/>
              <a:gdLst>
                <a:gd name="T0" fmla="*/ 41 w 76"/>
                <a:gd name="T1" fmla="*/ 0 h 27"/>
                <a:gd name="T2" fmla="*/ 58 w 76"/>
                <a:gd name="T3" fmla="*/ 4 h 27"/>
                <a:gd name="T4" fmla="*/ 74 w 76"/>
                <a:gd name="T5" fmla="*/ 19 h 27"/>
                <a:gd name="T6" fmla="*/ 76 w 76"/>
                <a:gd name="T7" fmla="*/ 27 h 27"/>
                <a:gd name="T8" fmla="*/ 0 w 76"/>
                <a:gd name="T9" fmla="*/ 27 h 27"/>
                <a:gd name="T10" fmla="*/ 2 w 76"/>
                <a:gd name="T11" fmla="*/ 19 h 27"/>
                <a:gd name="T12" fmla="*/ 15 w 76"/>
                <a:gd name="T13" fmla="*/ 4 h 27"/>
                <a:gd name="T14" fmla="*/ 33 w 76"/>
                <a:gd name="T15" fmla="*/ 0 h 27"/>
                <a:gd name="T16" fmla="*/ 41 w 76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27">
                  <a:moveTo>
                    <a:pt x="41" y="0"/>
                  </a:moveTo>
                  <a:lnTo>
                    <a:pt x="58" y="4"/>
                  </a:lnTo>
                  <a:lnTo>
                    <a:pt x="74" y="19"/>
                  </a:lnTo>
                  <a:lnTo>
                    <a:pt x="76" y="27"/>
                  </a:lnTo>
                  <a:lnTo>
                    <a:pt x="0" y="27"/>
                  </a:lnTo>
                  <a:lnTo>
                    <a:pt x="2" y="19"/>
                  </a:lnTo>
                  <a:lnTo>
                    <a:pt x="15" y="4"/>
                  </a:lnTo>
                  <a:lnTo>
                    <a:pt x="33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14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1" name="Freeform 11716"/>
            <p:cNvSpPr>
              <a:spLocks/>
            </p:cNvSpPr>
            <p:nvPr/>
          </p:nvSpPr>
          <p:spPr bwMode="auto">
            <a:xfrm>
              <a:off x="4725989" y="2844800"/>
              <a:ext cx="66675" cy="20638"/>
            </a:xfrm>
            <a:custGeom>
              <a:avLst/>
              <a:gdLst>
                <a:gd name="T0" fmla="*/ 80 w 84"/>
                <a:gd name="T1" fmla="*/ 0 h 28"/>
                <a:gd name="T2" fmla="*/ 84 w 84"/>
                <a:gd name="T3" fmla="*/ 14 h 28"/>
                <a:gd name="T4" fmla="*/ 80 w 84"/>
                <a:gd name="T5" fmla="*/ 28 h 28"/>
                <a:gd name="T6" fmla="*/ 2 w 84"/>
                <a:gd name="T7" fmla="*/ 28 h 28"/>
                <a:gd name="T8" fmla="*/ 0 w 84"/>
                <a:gd name="T9" fmla="*/ 14 h 28"/>
                <a:gd name="T10" fmla="*/ 0 w 84"/>
                <a:gd name="T11" fmla="*/ 14 h 28"/>
                <a:gd name="T12" fmla="*/ 4 w 84"/>
                <a:gd name="T13" fmla="*/ 0 h 28"/>
                <a:gd name="T14" fmla="*/ 80 w 84"/>
                <a:gd name="T1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8">
                  <a:moveTo>
                    <a:pt x="80" y="0"/>
                  </a:moveTo>
                  <a:lnTo>
                    <a:pt x="84" y="14"/>
                  </a:lnTo>
                  <a:lnTo>
                    <a:pt x="80" y="28"/>
                  </a:lnTo>
                  <a:lnTo>
                    <a:pt x="2" y="2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1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2" name="Freeform 11717"/>
            <p:cNvSpPr>
              <a:spLocks/>
            </p:cNvSpPr>
            <p:nvPr/>
          </p:nvSpPr>
          <p:spPr bwMode="auto">
            <a:xfrm>
              <a:off x="4727576" y="2865438"/>
              <a:ext cx="61913" cy="22225"/>
            </a:xfrm>
            <a:custGeom>
              <a:avLst/>
              <a:gdLst>
                <a:gd name="T0" fmla="*/ 78 w 78"/>
                <a:gd name="T1" fmla="*/ 0 h 27"/>
                <a:gd name="T2" fmla="*/ 76 w 78"/>
                <a:gd name="T3" fmla="*/ 8 h 27"/>
                <a:gd name="T4" fmla="*/ 60 w 78"/>
                <a:gd name="T5" fmla="*/ 21 h 27"/>
                <a:gd name="T6" fmla="*/ 43 w 78"/>
                <a:gd name="T7" fmla="*/ 27 h 27"/>
                <a:gd name="T8" fmla="*/ 35 w 78"/>
                <a:gd name="T9" fmla="*/ 27 h 27"/>
                <a:gd name="T10" fmla="*/ 17 w 78"/>
                <a:gd name="T11" fmla="*/ 21 h 27"/>
                <a:gd name="T12" fmla="*/ 4 w 78"/>
                <a:gd name="T13" fmla="*/ 8 h 27"/>
                <a:gd name="T14" fmla="*/ 0 w 78"/>
                <a:gd name="T15" fmla="*/ 0 h 27"/>
                <a:gd name="T16" fmla="*/ 78 w 78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27">
                  <a:moveTo>
                    <a:pt x="78" y="0"/>
                  </a:moveTo>
                  <a:lnTo>
                    <a:pt x="76" y="8"/>
                  </a:lnTo>
                  <a:lnTo>
                    <a:pt x="60" y="21"/>
                  </a:lnTo>
                  <a:lnTo>
                    <a:pt x="43" y="27"/>
                  </a:lnTo>
                  <a:lnTo>
                    <a:pt x="35" y="27"/>
                  </a:lnTo>
                  <a:lnTo>
                    <a:pt x="17" y="21"/>
                  </a:lnTo>
                  <a:lnTo>
                    <a:pt x="4" y="8"/>
                  </a:lnTo>
                  <a:lnTo>
                    <a:pt x="0" y="0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26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3" name="Freeform 11718"/>
            <p:cNvSpPr>
              <a:spLocks/>
            </p:cNvSpPr>
            <p:nvPr/>
          </p:nvSpPr>
          <p:spPr bwMode="auto">
            <a:xfrm>
              <a:off x="4754564" y="2887663"/>
              <a:ext cx="6350" cy="0"/>
            </a:xfrm>
            <a:custGeom>
              <a:avLst/>
              <a:gdLst>
                <a:gd name="T0" fmla="*/ 0 w 8"/>
                <a:gd name="T1" fmla="*/ 8 w 8"/>
                <a:gd name="T2" fmla="*/ 4 w 8"/>
                <a:gd name="T3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4" name="Freeform 11719"/>
            <p:cNvSpPr>
              <a:spLocks/>
            </p:cNvSpPr>
            <p:nvPr/>
          </p:nvSpPr>
          <p:spPr bwMode="auto">
            <a:xfrm>
              <a:off x="4838701" y="2886075"/>
              <a:ext cx="57150" cy="184150"/>
            </a:xfrm>
            <a:custGeom>
              <a:avLst/>
              <a:gdLst>
                <a:gd name="T0" fmla="*/ 0 w 70"/>
                <a:gd name="T1" fmla="*/ 0 h 231"/>
                <a:gd name="T2" fmla="*/ 62 w 70"/>
                <a:gd name="T3" fmla="*/ 122 h 231"/>
                <a:gd name="T4" fmla="*/ 70 w 70"/>
                <a:gd name="T5" fmla="*/ 231 h 231"/>
                <a:gd name="T6" fmla="*/ 6 w 70"/>
                <a:gd name="T7" fmla="*/ 167 h 231"/>
                <a:gd name="T8" fmla="*/ 0 w 70"/>
                <a:gd name="T9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231">
                  <a:moveTo>
                    <a:pt x="0" y="0"/>
                  </a:moveTo>
                  <a:lnTo>
                    <a:pt x="62" y="122"/>
                  </a:lnTo>
                  <a:lnTo>
                    <a:pt x="70" y="231"/>
                  </a:lnTo>
                  <a:lnTo>
                    <a:pt x="6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5" name="Freeform 11720"/>
            <p:cNvSpPr>
              <a:spLocks/>
            </p:cNvSpPr>
            <p:nvPr/>
          </p:nvSpPr>
          <p:spPr bwMode="auto">
            <a:xfrm>
              <a:off x="4835526" y="2832100"/>
              <a:ext cx="101600" cy="150813"/>
            </a:xfrm>
            <a:custGeom>
              <a:avLst/>
              <a:gdLst>
                <a:gd name="T0" fmla="*/ 51 w 127"/>
                <a:gd name="T1" fmla="*/ 0 h 190"/>
                <a:gd name="T2" fmla="*/ 74 w 127"/>
                <a:gd name="T3" fmla="*/ 4 h 190"/>
                <a:gd name="T4" fmla="*/ 96 w 127"/>
                <a:gd name="T5" fmla="*/ 15 h 190"/>
                <a:gd name="T6" fmla="*/ 112 w 127"/>
                <a:gd name="T7" fmla="*/ 35 h 190"/>
                <a:gd name="T8" fmla="*/ 121 w 127"/>
                <a:gd name="T9" fmla="*/ 58 h 190"/>
                <a:gd name="T10" fmla="*/ 127 w 127"/>
                <a:gd name="T11" fmla="*/ 86 h 190"/>
                <a:gd name="T12" fmla="*/ 127 w 127"/>
                <a:gd name="T13" fmla="*/ 113 h 190"/>
                <a:gd name="T14" fmla="*/ 125 w 127"/>
                <a:gd name="T15" fmla="*/ 139 h 190"/>
                <a:gd name="T16" fmla="*/ 121 w 127"/>
                <a:gd name="T17" fmla="*/ 160 h 190"/>
                <a:gd name="T18" fmla="*/ 112 w 127"/>
                <a:gd name="T19" fmla="*/ 178 h 190"/>
                <a:gd name="T20" fmla="*/ 100 w 127"/>
                <a:gd name="T21" fmla="*/ 186 h 190"/>
                <a:gd name="T22" fmla="*/ 82 w 127"/>
                <a:gd name="T23" fmla="*/ 190 h 190"/>
                <a:gd name="T24" fmla="*/ 63 w 127"/>
                <a:gd name="T25" fmla="*/ 188 h 190"/>
                <a:gd name="T26" fmla="*/ 41 w 127"/>
                <a:gd name="T27" fmla="*/ 186 h 190"/>
                <a:gd name="T28" fmla="*/ 25 w 127"/>
                <a:gd name="T29" fmla="*/ 182 h 190"/>
                <a:gd name="T30" fmla="*/ 12 w 127"/>
                <a:gd name="T31" fmla="*/ 178 h 190"/>
                <a:gd name="T32" fmla="*/ 8 w 127"/>
                <a:gd name="T33" fmla="*/ 176 h 190"/>
                <a:gd name="T34" fmla="*/ 0 w 127"/>
                <a:gd name="T35" fmla="*/ 13 h 190"/>
                <a:gd name="T36" fmla="*/ 4 w 127"/>
                <a:gd name="T37" fmla="*/ 11 h 190"/>
                <a:gd name="T38" fmla="*/ 16 w 127"/>
                <a:gd name="T39" fmla="*/ 5 h 190"/>
                <a:gd name="T40" fmla="*/ 31 w 127"/>
                <a:gd name="T41" fmla="*/ 2 h 190"/>
                <a:gd name="T42" fmla="*/ 51 w 127"/>
                <a:gd name="T43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7" h="190">
                  <a:moveTo>
                    <a:pt x="51" y="0"/>
                  </a:moveTo>
                  <a:lnTo>
                    <a:pt x="74" y="4"/>
                  </a:lnTo>
                  <a:lnTo>
                    <a:pt x="96" y="15"/>
                  </a:lnTo>
                  <a:lnTo>
                    <a:pt x="112" y="35"/>
                  </a:lnTo>
                  <a:lnTo>
                    <a:pt x="121" y="58"/>
                  </a:lnTo>
                  <a:lnTo>
                    <a:pt x="127" y="86"/>
                  </a:lnTo>
                  <a:lnTo>
                    <a:pt x="127" y="113"/>
                  </a:lnTo>
                  <a:lnTo>
                    <a:pt x="125" y="139"/>
                  </a:lnTo>
                  <a:lnTo>
                    <a:pt x="121" y="160"/>
                  </a:lnTo>
                  <a:lnTo>
                    <a:pt x="112" y="178"/>
                  </a:lnTo>
                  <a:lnTo>
                    <a:pt x="100" y="186"/>
                  </a:lnTo>
                  <a:lnTo>
                    <a:pt x="82" y="190"/>
                  </a:lnTo>
                  <a:lnTo>
                    <a:pt x="63" y="188"/>
                  </a:lnTo>
                  <a:lnTo>
                    <a:pt x="41" y="186"/>
                  </a:lnTo>
                  <a:lnTo>
                    <a:pt x="25" y="182"/>
                  </a:lnTo>
                  <a:lnTo>
                    <a:pt x="12" y="178"/>
                  </a:lnTo>
                  <a:lnTo>
                    <a:pt x="8" y="176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16" y="5"/>
                  </a:lnTo>
                  <a:lnTo>
                    <a:pt x="31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6" name="Freeform 11721"/>
            <p:cNvSpPr>
              <a:spLocks/>
            </p:cNvSpPr>
            <p:nvPr/>
          </p:nvSpPr>
          <p:spPr bwMode="auto">
            <a:xfrm>
              <a:off x="4859339" y="2871788"/>
              <a:ext cx="22225" cy="22225"/>
            </a:xfrm>
            <a:custGeom>
              <a:avLst/>
              <a:gdLst>
                <a:gd name="T0" fmla="*/ 14 w 28"/>
                <a:gd name="T1" fmla="*/ 0 h 27"/>
                <a:gd name="T2" fmla="*/ 18 w 28"/>
                <a:gd name="T3" fmla="*/ 2 h 27"/>
                <a:gd name="T4" fmla="*/ 24 w 28"/>
                <a:gd name="T5" fmla="*/ 3 h 27"/>
                <a:gd name="T6" fmla="*/ 26 w 28"/>
                <a:gd name="T7" fmla="*/ 7 h 27"/>
                <a:gd name="T8" fmla="*/ 28 w 28"/>
                <a:gd name="T9" fmla="*/ 13 h 27"/>
                <a:gd name="T10" fmla="*/ 26 w 28"/>
                <a:gd name="T11" fmla="*/ 19 h 27"/>
                <a:gd name="T12" fmla="*/ 24 w 28"/>
                <a:gd name="T13" fmla="*/ 23 h 27"/>
                <a:gd name="T14" fmla="*/ 18 w 28"/>
                <a:gd name="T15" fmla="*/ 27 h 27"/>
                <a:gd name="T16" fmla="*/ 14 w 28"/>
                <a:gd name="T17" fmla="*/ 27 h 27"/>
                <a:gd name="T18" fmla="*/ 8 w 28"/>
                <a:gd name="T19" fmla="*/ 27 h 27"/>
                <a:gd name="T20" fmla="*/ 4 w 28"/>
                <a:gd name="T21" fmla="*/ 23 h 27"/>
                <a:gd name="T22" fmla="*/ 0 w 28"/>
                <a:gd name="T23" fmla="*/ 19 h 27"/>
                <a:gd name="T24" fmla="*/ 0 w 28"/>
                <a:gd name="T25" fmla="*/ 13 h 27"/>
                <a:gd name="T26" fmla="*/ 0 w 28"/>
                <a:gd name="T27" fmla="*/ 7 h 27"/>
                <a:gd name="T28" fmla="*/ 4 w 28"/>
                <a:gd name="T29" fmla="*/ 3 h 27"/>
                <a:gd name="T30" fmla="*/ 8 w 28"/>
                <a:gd name="T31" fmla="*/ 2 h 27"/>
                <a:gd name="T32" fmla="*/ 14 w 28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7">
                  <a:moveTo>
                    <a:pt x="14" y="0"/>
                  </a:moveTo>
                  <a:lnTo>
                    <a:pt x="18" y="2"/>
                  </a:lnTo>
                  <a:lnTo>
                    <a:pt x="24" y="3"/>
                  </a:lnTo>
                  <a:lnTo>
                    <a:pt x="26" y="7"/>
                  </a:lnTo>
                  <a:lnTo>
                    <a:pt x="28" y="13"/>
                  </a:lnTo>
                  <a:lnTo>
                    <a:pt x="26" y="19"/>
                  </a:lnTo>
                  <a:lnTo>
                    <a:pt x="24" y="23"/>
                  </a:lnTo>
                  <a:lnTo>
                    <a:pt x="18" y="27"/>
                  </a:lnTo>
                  <a:lnTo>
                    <a:pt x="14" y="27"/>
                  </a:lnTo>
                  <a:lnTo>
                    <a:pt x="8" y="27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7" name="Freeform 11722"/>
            <p:cNvSpPr>
              <a:spLocks/>
            </p:cNvSpPr>
            <p:nvPr/>
          </p:nvSpPr>
          <p:spPr bwMode="auto">
            <a:xfrm>
              <a:off x="4865689" y="2874963"/>
              <a:ext cx="14288" cy="14288"/>
            </a:xfrm>
            <a:custGeom>
              <a:avLst/>
              <a:gdLst>
                <a:gd name="T0" fmla="*/ 8 w 18"/>
                <a:gd name="T1" fmla="*/ 0 h 18"/>
                <a:gd name="T2" fmla="*/ 14 w 18"/>
                <a:gd name="T3" fmla="*/ 0 h 18"/>
                <a:gd name="T4" fmla="*/ 16 w 18"/>
                <a:gd name="T5" fmla="*/ 4 h 18"/>
                <a:gd name="T6" fmla="*/ 18 w 18"/>
                <a:gd name="T7" fmla="*/ 8 h 18"/>
                <a:gd name="T8" fmla="*/ 16 w 18"/>
                <a:gd name="T9" fmla="*/ 14 h 18"/>
                <a:gd name="T10" fmla="*/ 14 w 18"/>
                <a:gd name="T11" fmla="*/ 16 h 18"/>
                <a:gd name="T12" fmla="*/ 8 w 18"/>
                <a:gd name="T13" fmla="*/ 18 h 18"/>
                <a:gd name="T14" fmla="*/ 4 w 18"/>
                <a:gd name="T15" fmla="*/ 16 h 18"/>
                <a:gd name="T16" fmla="*/ 0 w 18"/>
                <a:gd name="T17" fmla="*/ 14 h 18"/>
                <a:gd name="T18" fmla="*/ 0 w 18"/>
                <a:gd name="T19" fmla="*/ 8 h 18"/>
                <a:gd name="T20" fmla="*/ 0 w 18"/>
                <a:gd name="T21" fmla="*/ 4 h 18"/>
                <a:gd name="T22" fmla="*/ 4 w 18"/>
                <a:gd name="T23" fmla="*/ 0 h 18"/>
                <a:gd name="T24" fmla="*/ 8 w 18"/>
                <a:gd name="T2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14" y="0"/>
                  </a:lnTo>
                  <a:lnTo>
                    <a:pt x="16" y="4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4" y="16"/>
                  </a:lnTo>
                  <a:lnTo>
                    <a:pt x="8" y="18"/>
                  </a:lnTo>
                  <a:lnTo>
                    <a:pt x="4" y="16"/>
                  </a:lnTo>
                  <a:lnTo>
                    <a:pt x="0" y="14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8" name="Freeform 11723"/>
            <p:cNvSpPr>
              <a:spLocks/>
            </p:cNvSpPr>
            <p:nvPr/>
          </p:nvSpPr>
          <p:spPr bwMode="auto">
            <a:xfrm>
              <a:off x="4876801" y="2884488"/>
              <a:ext cx="3175" cy="3175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2 h 4"/>
                <a:gd name="T4" fmla="*/ 2 w 4"/>
                <a:gd name="T5" fmla="*/ 4 h 4"/>
                <a:gd name="T6" fmla="*/ 0 w 4"/>
                <a:gd name="T7" fmla="*/ 2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9" name="Freeform 11724"/>
            <p:cNvSpPr>
              <a:spLocks/>
            </p:cNvSpPr>
            <p:nvPr/>
          </p:nvSpPr>
          <p:spPr bwMode="auto">
            <a:xfrm>
              <a:off x="4857751" y="2871788"/>
              <a:ext cx="28575" cy="7938"/>
            </a:xfrm>
            <a:custGeom>
              <a:avLst/>
              <a:gdLst>
                <a:gd name="T0" fmla="*/ 20 w 36"/>
                <a:gd name="T1" fmla="*/ 0 h 9"/>
                <a:gd name="T2" fmla="*/ 24 w 36"/>
                <a:gd name="T3" fmla="*/ 0 h 9"/>
                <a:gd name="T4" fmla="*/ 26 w 36"/>
                <a:gd name="T5" fmla="*/ 2 h 9"/>
                <a:gd name="T6" fmla="*/ 30 w 36"/>
                <a:gd name="T7" fmla="*/ 3 h 9"/>
                <a:gd name="T8" fmla="*/ 34 w 36"/>
                <a:gd name="T9" fmla="*/ 7 h 9"/>
                <a:gd name="T10" fmla="*/ 36 w 36"/>
                <a:gd name="T11" fmla="*/ 7 h 9"/>
                <a:gd name="T12" fmla="*/ 36 w 36"/>
                <a:gd name="T13" fmla="*/ 9 h 9"/>
                <a:gd name="T14" fmla="*/ 32 w 36"/>
                <a:gd name="T15" fmla="*/ 7 h 9"/>
                <a:gd name="T16" fmla="*/ 22 w 36"/>
                <a:gd name="T17" fmla="*/ 5 h 9"/>
                <a:gd name="T18" fmla="*/ 10 w 36"/>
                <a:gd name="T19" fmla="*/ 5 h 9"/>
                <a:gd name="T20" fmla="*/ 0 w 36"/>
                <a:gd name="T21" fmla="*/ 7 h 9"/>
                <a:gd name="T22" fmla="*/ 6 w 36"/>
                <a:gd name="T23" fmla="*/ 3 h 9"/>
                <a:gd name="T24" fmla="*/ 10 w 36"/>
                <a:gd name="T25" fmla="*/ 2 h 9"/>
                <a:gd name="T26" fmla="*/ 14 w 36"/>
                <a:gd name="T27" fmla="*/ 0 h 9"/>
                <a:gd name="T28" fmla="*/ 16 w 36"/>
                <a:gd name="T29" fmla="*/ 0 h 9"/>
                <a:gd name="T30" fmla="*/ 20 w 36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9">
                  <a:moveTo>
                    <a:pt x="20" y="0"/>
                  </a:moveTo>
                  <a:lnTo>
                    <a:pt x="24" y="0"/>
                  </a:lnTo>
                  <a:lnTo>
                    <a:pt x="26" y="2"/>
                  </a:lnTo>
                  <a:lnTo>
                    <a:pt x="30" y="3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2" y="7"/>
                  </a:lnTo>
                  <a:lnTo>
                    <a:pt x="22" y="5"/>
                  </a:lnTo>
                  <a:lnTo>
                    <a:pt x="10" y="5"/>
                  </a:lnTo>
                  <a:lnTo>
                    <a:pt x="0" y="7"/>
                  </a:lnTo>
                  <a:lnTo>
                    <a:pt x="6" y="3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0" name="Freeform 11725"/>
            <p:cNvSpPr>
              <a:spLocks/>
            </p:cNvSpPr>
            <p:nvPr/>
          </p:nvSpPr>
          <p:spPr bwMode="auto">
            <a:xfrm>
              <a:off x="4902201" y="2871788"/>
              <a:ext cx="20638" cy="22225"/>
            </a:xfrm>
            <a:custGeom>
              <a:avLst/>
              <a:gdLst>
                <a:gd name="T0" fmla="*/ 14 w 28"/>
                <a:gd name="T1" fmla="*/ 0 h 27"/>
                <a:gd name="T2" fmla="*/ 20 w 28"/>
                <a:gd name="T3" fmla="*/ 2 h 27"/>
                <a:gd name="T4" fmla="*/ 24 w 28"/>
                <a:gd name="T5" fmla="*/ 3 h 27"/>
                <a:gd name="T6" fmla="*/ 28 w 28"/>
                <a:gd name="T7" fmla="*/ 9 h 27"/>
                <a:gd name="T8" fmla="*/ 28 w 28"/>
                <a:gd name="T9" fmla="*/ 13 h 27"/>
                <a:gd name="T10" fmla="*/ 28 w 28"/>
                <a:gd name="T11" fmla="*/ 19 h 27"/>
                <a:gd name="T12" fmla="*/ 24 w 28"/>
                <a:gd name="T13" fmla="*/ 23 h 27"/>
                <a:gd name="T14" fmla="*/ 20 w 28"/>
                <a:gd name="T15" fmla="*/ 27 h 27"/>
                <a:gd name="T16" fmla="*/ 14 w 28"/>
                <a:gd name="T17" fmla="*/ 27 h 27"/>
                <a:gd name="T18" fmla="*/ 10 w 28"/>
                <a:gd name="T19" fmla="*/ 27 h 27"/>
                <a:gd name="T20" fmla="*/ 4 w 28"/>
                <a:gd name="T21" fmla="*/ 23 h 27"/>
                <a:gd name="T22" fmla="*/ 2 w 28"/>
                <a:gd name="T23" fmla="*/ 19 h 27"/>
                <a:gd name="T24" fmla="*/ 0 w 28"/>
                <a:gd name="T25" fmla="*/ 13 h 27"/>
                <a:gd name="T26" fmla="*/ 2 w 28"/>
                <a:gd name="T27" fmla="*/ 9 h 27"/>
                <a:gd name="T28" fmla="*/ 4 w 28"/>
                <a:gd name="T29" fmla="*/ 3 h 27"/>
                <a:gd name="T30" fmla="*/ 10 w 28"/>
                <a:gd name="T31" fmla="*/ 2 h 27"/>
                <a:gd name="T32" fmla="*/ 14 w 28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7">
                  <a:moveTo>
                    <a:pt x="14" y="0"/>
                  </a:moveTo>
                  <a:lnTo>
                    <a:pt x="20" y="2"/>
                  </a:lnTo>
                  <a:lnTo>
                    <a:pt x="24" y="3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9"/>
                  </a:lnTo>
                  <a:lnTo>
                    <a:pt x="24" y="23"/>
                  </a:lnTo>
                  <a:lnTo>
                    <a:pt x="20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4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2" y="9"/>
                  </a:lnTo>
                  <a:lnTo>
                    <a:pt x="4" y="3"/>
                  </a:lnTo>
                  <a:lnTo>
                    <a:pt x="1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1" name="Freeform 11726"/>
            <p:cNvSpPr>
              <a:spLocks/>
            </p:cNvSpPr>
            <p:nvPr/>
          </p:nvSpPr>
          <p:spPr bwMode="auto">
            <a:xfrm>
              <a:off x="4908551" y="2874963"/>
              <a:ext cx="12700" cy="14288"/>
            </a:xfrm>
            <a:custGeom>
              <a:avLst/>
              <a:gdLst>
                <a:gd name="T0" fmla="*/ 10 w 18"/>
                <a:gd name="T1" fmla="*/ 0 h 18"/>
                <a:gd name="T2" fmla="*/ 14 w 18"/>
                <a:gd name="T3" fmla="*/ 0 h 18"/>
                <a:gd name="T4" fmla="*/ 18 w 18"/>
                <a:gd name="T5" fmla="*/ 4 h 18"/>
                <a:gd name="T6" fmla="*/ 18 w 18"/>
                <a:gd name="T7" fmla="*/ 10 h 18"/>
                <a:gd name="T8" fmla="*/ 18 w 18"/>
                <a:gd name="T9" fmla="*/ 14 h 18"/>
                <a:gd name="T10" fmla="*/ 14 w 18"/>
                <a:gd name="T11" fmla="*/ 18 h 18"/>
                <a:gd name="T12" fmla="*/ 10 w 18"/>
                <a:gd name="T13" fmla="*/ 18 h 18"/>
                <a:gd name="T14" fmla="*/ 4 w 18"/>
                <a:gd name="T15" fmla="*/ 18 h 18"/>
                <a:gd name="T16" fmla="*/ 2 w 18"/>
                <a:gd name="T17" fmla="*/ 14 h 18"/>
                <a:gd name="T18" fmla="*/ 0 w 18"/>
                <a:gd name="T19" fmla="*/ 10 h 18"/>
                <a:gd name="T20" fmla="*/ 2 w 18"/>
                <a:gd name="T21" fmla="*/ 4 h 18"/>
                <a:gd name="T22" fmla="*/ 4 w 18"/>
                <a:gd name="T23" fmla="*/ 0 h 18"/>
                <a:gd name="T24" fmla="*/ 10 w 18"/>
                <a:gd name="T2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4" y="0"/>
                  </a:lnTo>
                  <a:lnTo>
                    <a:pt x="18" y="4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2" y="4"/>
                  </a:lnTo>
                  <a:lnTo>
                    <a:pt x="4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2" name="Freeform 11727"/>
            <p:cNvSpPr>
              <a:spLocks/>
            </p:cNvSpPr>
            <p:nvPr/>
          </p:nvSpPr>
          <p:spPr bwMode="auto">
            <a:xfrm>
              <a:off x="4918076" y="2882900"/>
              <a:ext cx="3175" cy="3175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2 h 4"/>
                <a:gd name="T4" fmla="*/ 2 w 4"/>
                <a:gd name="T5" fmla="*/ 4 h 4"/>
                <a:gd name="T6" fmla="*/ 0 w 4"/>
                <a:gd name="T7" fmla="*/ 2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3" name="Freeform 11728"/>
            <p:cNvSpPr>
              <a:spLocks/>
            </p:cNvSpPr>
            <p:nvPr/>
          </p:nvSpPr>
          <p:spPr bwMode="auto">
            <a:xfrm>
              <a:off x="4900614" y="2871788"/>
              <a:ext cx="28575" cy="7938"/>
            </a:xfrm>
            <a:custGeom>
              <a:avLst/>
              <a:gdLst>
                <a:gd name="T0" fmla="*/ 20 w 37"/>
                <a:gd name="T1" fmla="*/ 0 h 9"/>
                <a:gd name="T2" fmla="*/ 24 w 37"/>
                <a:gd name="T3" fmla="*/ 0 h 9"/>
                <a:gd name="T4" fmla="*/ 28 w 37"/>
                <a:gd name="T5" fmla="*/ 2 h 9"/>
                <a:gd name="T6" fmla="*/ 32 w 37"/>
                <a:gd name="T7" fmla="*/ 3 h 9"/>
                <a:gd name="T8" fmla="*/ 34 w 37"/>
                <a:gd name="T9" fmla="*/ 7 h 9"/>
                <a:gd name="T10" fmla="*/ 35 w 37"/>
                <a:gd name="T11" fmla="*/ 9 h 9"/>
                <a:gd name="T12" fmla="*/ 37 w 37"/>
                <a:gd name="T13" fmla="*/ 9 h 9"/>
                <a:gd name="T14" fmla="*/ 34 w 37"/>
                <a:gd name="T15" fmla="*/ 7 h 9"/>
                <a:gd name="T16" fmla="*/ 24 w 37"/>
                <a:gd name="T17" fmla="*/ 7 h 9"/>
                <a:gd name="T18" fmla="*/ 10 w 37"/>
                <a:gd name="T19" fmla="*/ 5 h 9"/>
                <a:gd name="T20" fmla="*/ 0 w 37"/>
                <a:gd name="T21" fmla="*/ 7 h 9"/>
                <a:gd name="T22" fmla="*/ 6 w 37"/>
                <a:gd name="T23" fmla="*/ 3 h 9"/>
                <a:gd name="T24" fmla="*/ 12 w 37"/>
                <a:gd name="T25" fmla="*/ 2 h 9"/>
                <a:gd name="T26" fmla="*/ 14 w 37"/>
                <a:gd name="T27" fmla="*/ 0 h 9"/>
                <a:gd name="T28" fmla="*/ 18 w 37"/>
                <a:gd name="T29" fmla="*/ 0 h 9"/>
                <a:gd name="T30" fmla="*/ 20 w 37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9">
                  <a:moveTo>
                    <a:pt x="20" y="0"/>
                  </a:moveTo>
                  <a:lnTo>
                    <a:pt x="24" y="0"/>
                  </a:lnTo>
                  <a:lnTo>
                    <a:pt x="28" y="2"/>
                  </a:lnTo>
                  <a:lnTo>
                    <a:pt x="32" y="3"/>
                  </a:lnTo>
                  <a:lnTo>
                    <a:pt x="34" y="7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4" y="7"/>
                  </a:lnTo>
                  <a:lnTo>
                    <a:pt x="24" y="7"/>
                  </a:lnTo>
                  <a:lnTo>
                    <a:pt x="10" y="5"/>
                  </a:lnTo>
                  <a:lnTo>
                    <a:pt x="0" y="7"/>
                  </a:lnTo>
                  <a:lnTo>
                    <a:pt x="6" y="3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4" name="Freeform 11729"/>
            <p:cNvSpPr>
              <a:spLocks/>
            </p:cNvSpPr>
            <p:nvPr/>
          </p:nvSpPr>
          <p:spPr bwMode="auto">
            <a:xfrm>
              <a:off x="4873626" y="2935288"/>
              <a:ext cx="41275" cy="17463"/>
            </a:xfrm>
            <a:custGeom>
              <a:avLst/>
              <a:gdLst>
                <a:gd name="T0" fmla="*/ 0 w 53"/>
                <a:gd name="T1" fmla="*/ 0 h 21"/>
                <a:gd name="T2" fmla="*/ 18 w 53"/>
                <a:gd name="T3" fmla="*/ 6 h 21"/>
                <a:gd name="T4" fmla="*/ 35 w 53"/>
                <a:gd name="T5" fmla="*/ 8 h 21"/>
                <a:gd name="T6" fmla="*/ 47 w 53"/>
                <a:gd name="T7" fmla="*/ 8 h 21"/>
                <a:gd name="T8" fmla="*/ 53 w 53"/>
                <a:gd name="T9" fmla="*/ 8 h 21"/>
                <a:gd name="T10" fmla="*/ 51 w 53"/>
                <a:gd name="T11" fmla="*/ 10 h 21"/>
                <a:gd name="T12" fmla="*/ 45 w 53"/>
                <a:gd name="T13" fmla="*/ 16 h 21"/>
                <a:gd name="T14" fmla="*/ 37 w 53"/>
                <a:gd name="T15" fmla="*/ 20 h 21"/>
                <a:gd name="T16" fmla="*/ 27 w 53"/>
                <a:gd name="T17" fmla="*/ 21 h 21"/>
                <a:gd name="T18" fmla="*/ 14 w 53"/>
                <a:gd name="T19" fmla="*/ 16 h 21"/>
                <a:gd name="T20" fmla="*/ 0 w 53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1">
                  <a:moveTo>
                    <a:pt x="0" y="0"/>
                  </a:moveTo>
                  <a:lnTo>
                    <a:pt x="18" y="6"/>
                  </a:lnTo>
                  <a:lnTo>
                    <a:pt x="35" y="8"/>
                  </a:lnTo>
                  <a:lnTo>
                    <a:pt x="47" y="8"/>
                  </a:lnTo>
                  <a:lnTo>
                    <a:pt x="53" y="8"/>
                  </a:lnTo>
                  <a:lnTo>
                    <a:pt x="51" y="10"/>
                  </a:lnTo>
                  <a:lnTo>
                    <a:pt x="45" y="16"/>
                  </a:lnTo>
                  <a:lnTo>
                    <a:pt x="37" y="20"/>
                  </a:lnTo>
                  <a:lnTo>
                    <a:pt x="27" y="21"/>
                  </a:lnTo>
                  <a:lnTo>
                    <a:pt x="14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5" name="Freeform 11730"/>
            <p:cNvSpPr>
              <a:spLocks/>
            </p:cNvSpPr>
            <p:nvPr/>
          </p:nvSpPr>
          <p:spPr bwMode="auto">
            <a:xfrm>
              <a:off x="4902201" y="2857500"/>
              <a:ext cx="23813" cy="7938"/>
            </a:xfrm>
            <a:custGeom>
              <a:avLst/>
              <a:gdLst>
                <a:gd name="T0" fmla="*/ 10 w 32"/>
                <a:gd name="T1" fmla="*/ 0 h 10"/>
                <a:gd name="T2" fmla="*/ 14 w 32"/>
                <a:gd name="T3" fmla="*/ 0 h 10"/>
                <a:gd name="T4" fmla="*/ 20 w 32"/>
                <a:gd name="T5" fmla="*/ 2 h 10"/>
                <a:gd name="T6" fmla="*/ 24 w 32"/>
                <a:gd name="T7" fmla="*/ 4 h 10"/>
                <a:gd name="T8" fmla="*/ 28 w 32"/>
                <a:gd name="T9" fmla="*/ 6 h 10"/>
                <a:gd name="T10" fmla="*/ 32 w 32"/>
                <a:gd name="T11" fmla="*/ 10 h 10"/>
                <a:gd name="T12" fmla="*/ 28 w 32"/>
                <a:gd name="T13" fmla="*/ 6 h 10"/>
                <a:gd name="T14" fmla="*/ 22 w 32"/>
                <a:gd name="T15" fmla="*/ 6 h 10"/>
                <a:gd name="T16" fmla="*/ 18 w 32"/>
                <a:gd name="T17" fmla="*/ 6 h 10"/>
                <a:gd name="T18" fmla="*/ 12 w 32"/>
                <a:gd name="T19" fmla="*/ 6 h 10"/>
                <a:gd name="T20" fmla="*/ 8 w 32"/>
                <a:gd name="T21" fmla="*/ 6 h 10"/>
                <a:gd name="T22" fmla="*/ 4 w 32"/>
                <a:gd name="T23" fmla="*/ 6 h 10"/>
                <a:gd name="T24" fmla="*/ 2 w 32"/>
                <a:gd name="T25" fmla="*/ 6 h 10"/>
                <a:gd name="T26" fmla="*/ 0 w 32"/>
                <a:gd name="T27" fmla="*/ 4 h 10"/>
                <a:gd name="T28" fmla="*/ 2 w 32"/>
                <a:gd name="T29" fmla="*/ 2 h 10"/>
                <a:gd name="T30" fmla="*/ 6 w 32"/>
                <a:gd name="T31" fmla="*/ 0 h 10"/>
                <a:gd name="T32" fmla="*/ 10 w 32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0">
                  <a:moveTo>
                    <a:pt x="10" y="0"/>
                  </a:moveTo>
                  <a:lnTo>
                    <a:pt x="14" y="0"/>
                  </a:lnTo>
                  <a:lnTo>
                    <a:pt x="20" y="2"/>
                  </a:lnTo>
                  <a:lnTo>
                    <a:pt x="24" y="4"/>
                  </a:lnTo>
                  <a:lnTo>
                    <a:pt x="28" y="6"/>
                  </a:lnTo>
                  <a:lnTo>
                    <a:pt x="32" y="10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6" name="Freeform 11731"/>
            <p:cNvSpPr>
              <a:spLocks/>
            </p:cNvSpPr>
            <p:nvPr/>
          </p:nvSpPr>
          <p:spPr bwMode="auto">
            <a:xfrm>
              <a:off x="4856164" y="2855913"/>
              <a:ext cx="25400" cy="4763"/>
            </a:xfrm>
            <a:custGeom>
              <a:avLst/>
              <a:gdLst>
                <a:gd name="T0" fmla="*/ 24 w 32"/>
                <a:gd name="T1" fmla="*/ 0 h 8"/>
                <a:gd name="T2" fmla="*/ 28 w 32"/>
                <a:gd name="T3" fmla="*/ 0 h 8"/>
                <a:gd name="T4" fmla="*/ 30 w 32"/>
                <a:gd name="T5" fmla="*/ 2 h 8"/>
                <a:gd name="T6" fmla="*/ 32 w 32"/>
                <a:gd name="T7" fmla="*/ 4 h 8"/>
                <a:gd name="T8" fmla="*/ 32 w 32"/>
                <a:gd name="T9" fmla="*/ 6 h 8"/>
                <a:gd name="T10" fmla="*/ 28 w 32"/>
                <a:gd name="T11" fmla="*/ 6 h 8"/>
                <a:gd name="T12" fmla="*/ 24 w 32"/>
                <a:gd name="T13" fmla="*/ 6 h 8"/>
                <a:gd name="T14" fmla="*/ 20 w 32"/>
                <a:gd name="T15" fmla="*/ 6 h 8"/>
                <a:gd name="T16" fmla="*/ 16 w 32"/>
                <a:gd name="T17" fmla="*/ 4 h 8"/>
                <a:gd name="T18" fmla="*/ 10 w 32"/>
                <a:gd name="T19" fmla="*/ 4 h 8"/>
                <a:gd name="T20" fmla="*/ 6 w 32"/>
                <a:gd name="T21" fmla="*/ 6 h 8"/>
                <a:gd name="T22" fmla="*/ 0 w 32"/>
                <a:gd name="T23" fmla="*/ 8 h 8"/>
                <a:gd name="T24" fmla="*/ 4 w 32"/>
                <a:gd name="T25" fmla="*/ 4 h 8"/>
                <a:gd name="T26" fmla="*/ 8 w 32"/>
                <a:gd name="T27" fmla="*/ 2 h 8"/>
                <a:gd name="T28" fmla="*/ 14 w 32"/>
                <a:gd name="T29" fmla="*/ 2 h 8"/>
                <a:gd name="T30" fmla="*/ 18 w 32"/>
                <a:gd name="T31" fmla="*/ 0 h 8"/>
                <a:gd name="T32" fmla="*/ 24 w 32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8">
                  <a:moveTo>
                    <a:pt x="24" y="0"/>
                  </a:moveTo>
                  <a:lnTo>
                    <a:pt x="28" y="0"/>
                  </a:lnTo>
                  <a:lnTo>
                    <a:pt x="30" y="2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16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2"/>
                  </a:lnTo>
                  <a:lnTo>
                    <a:pt x="18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7" name="Freeform 11732"/>
            <p:cNvSpPr>
              <a:spLocks/>
            </p:cNvSpPr>
            <p:nvPr/>
          </p:nvSpPr>
          <p:spPr bwMode="auto">
            <a:xfrm>
              <a:off x="4819651" y="2887663"/>
              <a:ext cx="26988" cy="28575"/>
            </a:xfrm>
            <a:custGeom>
              <a:avLst/>
              <a:gdLst>
                <a:gd name="T0" fmla="*/ 18 w 36"/>
                <a:gd name="T1" fmla="*/ 0 h 35"/>
                <a:gd name="T2" fmla="*/ 24 w 36"/>
                <a:gd name="T3" fmla="*/ 2 h 35"/>
                <a:gd name="T4" fmla="*/ 30 w 36"/>
                <a:gd name="T5" fmla="*/ 6 h 35"/>
                <a:gd name="T6" fmla="*/ 34 w 36"/>
                <a:gd name="T7" fmla="*/ 12 h 35"/>
                <a:gd name="T8" fmla="*/ 36 w 36"/>
                <a:gd name="T9" fmla="*/ 18 h 35"/>
                <a:gd name="T10" fmla="*/ 34 w 36"/>
                <a:gd name="T11" fmla="*/ 24 h 35"/>
                <a:gd name="T12" fmla="*/ 30 w 36"/>
                <a:gd name="T13" fmla="*/ 30 h 35"/>
                <a:gd name="T14" fmla="*/ 24 w 36"/>
                <a:gd name="T15" fmla="*/ 33 h 35"/>
                <a:gd name="T16" fmla="*/ 18 w 36"/>
                <a:gd name="T17" fmla="*/ 35 h 35"/>
                <a:gd name="T18" fmla="*/ 10 w 36"/>
                <a:gd name="T19" fmla="*/ 33 h 35"/>
                <a:gd name="T20" fmla="*/ 6 w 36"/>
                <a:gd name="T21" fmla="*/ 30 h 35"/>
                <a:gd name="T22" fmla="*/ 2 w 36"/>
                <a:gd name="T23" fmla="*/ 24 h 35"/>
                <a:gd name="T24" fmla="*/ 0 w 36"/>
                <a:gd name="T25" fmla="*/ 18 h 35"/>
                <a:gd name="T26" fmla="*/ 2 w 36"/>
                <a:gd name="T27" fmla="*/ 12 h 35"/>
                <a:gd name="T28" fmla="*/ 6 w 36"/>
                <a:gd name="T29" fmla="*/ 6 h 35"/>
                <a:gd name="T30" fmla="*/ 10 w 36"/>
                <a:gd name="T31" fmla="*/ 2 h 35"/>
                <a:gd name="T32" fmla="*/ 18 w 36"/>
                <a:gd name="T3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35">
                  <a:moveTo>
                    <a:pt x="18" y="0"/>
                  </a:moveTo>
                  <a:lnTo>
                    <a:pt x="24" y="2"/>
                  </a:lnTo>
                  <a:lnTo>
                    <a:pt x="30" y="6"/>
                  </a:lnTo>
                  <a:lnTo>
                    <a:pt x="34" y="12"/>
                  </a:lnTo>
                  <a:lnTo>
                    <a:pt x="36" y="18"/>
                  </a:lnTo>
                  <a:lnTo>
                    <a:pt x="34" y="24"/>
                  </a:lnTo>
                  <a:lnTo>
                    <a:pt x="30" y="30"/>
                  </a:lnTo>
                  <a:lnTo>
                    <a:pt x="24" y="33"/>
                  </a:lnTo>
                  <a:lnTo>
                    <a:pt x="18" y="35"/>
                  </a:lnTo>
                  <a:lnTo>
                    <a:pt x="10" y="33"/>
                  </a:lnTo>
                  <a:lnTo>
                    <a:pt x="6" y="30"/>
                  </a:lnTo>
                  <a:lnTo>
                    <a:pt x="2" y="24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8" name="Freeform 11733"/>
            <p:cNvSpPr>
              <a:spLocks/>
            </p:cNvSpPr>
            <p:nvPr/>
          </p:nvSpPr>
          <p:spPr bwMode="auto">
            <a:xfrm>
              <a:off x="4894264" y="2868613"/>
              <a:ext cx="17463" cy="60325"/>
            </a:xfrm>
            <a:custGeom>
              <a:avLst/>
              <a:gdLst>
                <a:gd name="T0" fmla="*/ 2 w 24"/>
                <a:gd name="T1" fmla="*/ 0 h 74"/>
                <a:gd name="T2" fmla="*/ 8 w 24"/>
                <a:gd name="T3" fmla="*/ 2 h 74"/>
                <a:gd name="T4" fmla="*/ 6 w 24"/>
                <a:gd name="T5" fmla="*/ 6 h 74"/>
                <a:gd name="T6" fmla="*/ 4 w 24"/>
                <a:gd name="T7" fmla="*/ 15 h 74"/>
                <a:gd name="T8" fmla="*/ 4 w 24"/>
                <a:gd name="T9" fmla="*/ 25 h 74"/>
                <a:gd name="T10" fmla="*/ 6 w 24"/>
                <a:gd name="T11" fmla="*/ 37 h 74"/>
                <a:gd name="T12" fmla="*/ 14 w 24"/>
                <a:gd name="T13" fmla="*/ 45 h 74"/>
                <a:gd name="T14" fmla="*/ 20 w 24"/>
                <a:gd name="T15" fmla="*/ 49 h 74"/>
                <a:gd name="T16" fmla="*/ 24 w 24"/>
                <a:gd name="T17" fmla="*/ 53 h 74"/>
                <a:gd name="T18" fmla="*/ 24 w 24"/>
                <a:gd name="T19" fmla="*/ 58 h 74"/>
                <a:gd name="T20" fmla="*/ 24 w 24"/>
                <a:gd name="T21" fmla="*/ 62 h 74"/>
                <a:gd name="T22" fmla="*/ 22 w 24"/>
                <a:gd name="T23" fmla="*/ 66 h 74"/>
                <a:gd name="T24" fmla="*/ 20 w 24"/>
                <a:gd name="T25" fmla="*/ 70 h 74"/>
                <a:gd name="T26" fmla="*/ 18 w 24"/>
                <a:gd name="T27" fmla="*/ 72 h 74"/>
                <a:gd name="T28" fmla="*/ 18 w 24"/>
                <a:gd name="T29" fmla="*/ 74 h 74"/>
                <a:gd name="T30" fmla="*/ 14 w 24"/>
                <a:gd name="T31" fmla="*/ 70 h 74"/>
                <a:gd name="T32" fmla="*/ 16 w 24"/>
                <a:gd name="T33" fmla="*/ 68 h 74"/>
                <a:gd name="T34" fmla="*/ 16 w 24"/>
                <a:gd name="T35" fmla="*/ 68 h 74"/>
                <a:gd name="T36" fmla="*/ 18 w 24"/>
                <a:gd name="T37" fmla="*/ 64 h 74"/>
                <a:gd name="T38" fmla="*/ 20 w 24"/>
                <a:gd name="T39" fmla="*/ 62 h 74"/>
                <a:gd name="T40" fmla="*/ 20 w 24"/>
                <a:gd name="T41" fmla="*/ 58 h 74"/>
                <a:gd name="T42" fmla="*/ 18 w 24"/>
                <a:gd name="T43" fmla="*/ 55 h 74"/>
                <a:gd name="T44" fmla="*/ 16 w 24"/>
                <a:gd name="T45" fmla="*/ 53 h 74"/>
                <a:gd name="T46" fmla="*/ 12 w 24"/>
                <a:gd name="T47" fmla="*/ 49 h 74"/>
                <a:gd name="T48" fmla="*/ 2 w 24"/>
                <a:gd name="T49" fmla="*/ 41 h 74"/>
                <a:gd name="T50" fmla="*/ 0 w 24"/>
                <a:gd name="T51" fmla="*/ 27 h 74"/>
                <a:gd name="T52" fmla="*/ 0 w 24"/>
                <a:gd name="T53" fmla="*/ 15 h 74"/>
                <a:gd name="T54" fmla="*/ 2 w 24"/>
                <a:gd name="T55" fmla="*/ 6 h 74"/>
                <a:gd name="T56" fmla="*/ 2 w 24"/>
                <a:gd name="T5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74">
                  <a:moveTo>
                    <a:pt x="2" y="0"/>
                  </a:moveTo>
                  <a:lnTo>
                    <a:pt x="8" y="2"/>
                  </a:lnTo>
                  <a:lnTo>
                    <a:pt x="6" y="6"/>
                  </a:lnTo>
                  <a:lnTo>
                    <a:pt x="4" y="15"/>
                  </a:lnTo>
                  <a:lnTo>
                    <a:pt x="4" y="25"/>
                  </a:lnTo>
                  <a:lnTo>
                    <a:pt x="6" y="37"/>
                  </a:lnTo>
                  <a:lnTo>
                    <a:pt x="14" y="45"/>
                  </a:lnTo>
                  <a:lnTo>
                    <a:pt x="20" y="49"/>
                  </a:lnTo>
                  <a:lnTo>
                    <a:pt x="24" y="53"/>
                  </a:lnTo>
                  <a:lnTo>
                    <a:pt x="24" y="58"/>
                  </a:lnTo>
                  <a:lnTo>
                    <a:pt x="24" y="62"/>
                  </a:lnTo>
                  <a:lnTo>
                    <a:pt x="22" y="66"/>
                  </a:lnTo>
                  <a:lnTo>
                    <a:pt x="20" y="70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4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64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18" y="55"/>
                  </a:lnTo>
                  <a:lnTo>
                    <a:pt x="16" y="53"/>
                  </a:lnTo>
                  <a:lnTo>
                    <a:pt x="12" y="49"/>
                  </a:lnTo>
                  <a:lnTo>
                    <a:pt x="2" y="41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2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ECB35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9" name="Freeform 11734"/>
            <p:cNvSpPr>
              <a:spLocks/>
            </p:cNvSpPr>
            <p:nvPr/>
          </p:nvSpPr>
          <p:spPr bwMode="auto">
            <a:xfrm>
              <a:off x="4892676" y="3089275"/>
              <a:ext cx="133350" cy="241300"/>
            </a:xfrm>
            <a:custGeom>
              <a:avLst/>
              <a:gdLst>
                <a:gd name="T0" fmla="*/ 124 w 169"/>
                <a:gd name="T1" fmla="*/ 0 h 304"/>
                <a:gd name="T2" fmla="*/ 169 w 169"/>
                <a:gd name="T3" fmla="*/ 255 h 304"/>
                <a:gd name="T4" fmla="*/ 44 w 169"/>
                <a:gd name="T5" fmla="*/ 304 h 304"/>
                <a:gd name="T6" fmla="*/ 0 w 169"/>
                <a:gd name="T7" fmla="*/ 22 h 304"/>
                <a:gd name="T8" fmla="*/ 75 w 169"/>
                <a:gd name="T9" fmla="*/ 8 h 304"/>
                <a:gd name="T10" fmla="*/ 124 w 169"/>
                <a:gd name="T11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304">
                  <a:moveTo>
                    <a:pt x="124" y="0"/>
                  </a:moveTo>
                  <a:lnTo>
                    <a:pt x="169" y="255"/>
                  </a:lnTo>
                  <a:lnTo>
                    <a:pt x="44" y="304"/>
                  </a:lnTo>
                  <a:lnTo>
                    <a:pt x="0" y="22"/>
                  </a:lnTo>
                  <a:lnTo>
                    <a:pt x="75" y="8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FF8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0" name="Freeform 11735"/>
            <p:cNvSpPr>
              <a:spLocks/>
            </p:cNvSpPr>
            <p:nvPr/>
          </p:nvSpPr>
          <p:spPr bwMode="auto">
            <a:xfrm>
              <a:off x="4965701" y="3175000"/>
              <a:ext cx="60325" cy="58738"/>
            </a:xfrm>
            <a:custGeom>
              <a:avLst/>
              <a:gdLst>
                <a:gd name="T0" fmla="*/ 49 w 76"/>
                <a:gd name="T1" fmla="*/ 0 h 72"/>
                <a:gd name="T2" fmla="*/ 66 w 76"/>
                <a:gd name="T3" fmla="*/ 2 h 72"/>
                <a:gd name="T4" fmla="*/ 76 w 76"/>
                <a:gd name="T5" fmla="*/ 41 h 72"/>
                <a:gd name="T6" fmla="*/ 72 w 76"/>
                <a:gd name="T7" fmla="*/ 66 h 72"/>
                <a:gd name="T8" fmla="*/ 35 w 76"/>
                <a:gd name="T9" fmla="*/ 72 h 72"/>
                <a:gd name="T10" fmla="*/ 0 w 76"/>
                <a:gd name="T11" fmla="*/ 51 h 72"/>
                <a:gd name="T12" fmla="*/ 0 w 76"/>
                <a:gd name="T13" fmla="*/ 19 h 72"/>
                <a:gd name="T14" fmla="*/ 27 w 76"/>
                <a:gd name="T15" fmla="*/ 13 h 72"/>
                <a:gd name="T16" fmla="*/ 49 w 76"/>
                <a:gd name="T1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72">
                  <a:moveTo>
                    <a:pt x="49" y="0"/>
                  </a:moveTo>
                  <a:lnTo>
                    <a:pt x="66" y="2"/>
                  </a:lnTo>
                  <a:lnTo>
                    <a:pt x="76" y="41"/>
                  </a:lnTo>
                  <a:lnTo>
                    <a:pt x="72" y="66"/>
                  </a:lnTo>
                  <a:lnTo>
                    <a:pt x="35" y="72"/>
                  </a:lnTo>
                  <a:lnTo>
                    <a:pt x="0" y="51"/>
                  </a:lnTo>
                  <a:lnTo>
                    <a:pt x="0" y="19"/>
                  </a:lnTo>
                  <a:lnTo>
                    <a:pt x="27" y="1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1" name="Freeform 11736"/>
            <p:cNvSpPr>
              <a:spLocks/>
            </p:cNvSpPr>
            <p:nvPr/>
          </p:nvSpPr>
          <p:spPr bwMode="auto">
            <a:xfrm>
              <a:off x="4786314" y="3024188"/>
              <a:ext cx="192088" cy="233363"/>
            </a:xfrm>
            <a:custGeom>
              <a:avLst/>
              <a:gdLst>
                <a:gd name="T0" fmla="*/ 43 w 241"/>
                <a:gd name="T1" fmla="*/ 0 h 294"/>
                <a:gd name="T2" fmla="*/ 67 w 241"/>
                <a:gd name="T3" fmla="*/ 35 h 294"/>
                <a:gd name="T4" fmla="*/ 143 w 241"/>
                <a:gd name="T5" fmla="*/ 229 h 294"/>
                <a:gd name="T6" fmla="*/ 241 w 241"/>
                <a:gd name="T7" fmla="*/ 205 h 294"/>
                <a:gd name="T8" fmla="*/ 239 w 241"/>
                <a:gd name="T9" fmla="*/ 241 h 294"/>
                <a:gd name="T10" fmla="*/ 151 w 241"/>
                <a:gd name="T11" fmla="*/ 290 h 294"/>
                <a:gd name="T12" fmla="*/ 120 w 241"/>
                <a:gd name="T13" fmla="*/ 294 h 294"/>
                <a:gd name="T14" fmla="*/ 0 w 241"/>
                <a:gd name="T15" fmla="*/ 82 h 294"/>
                <a:gd name="T16" fmla="*/ 12 w 241"/>
                <a:gd name="T17" fmla="*/ 17 h 294"/>
                <a:gd name="T18" fmla="*/ 43 w 241"/>
                <a:gd name="T1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" h="294">
                  <a:moveTo>
                    <a:pt x="43" y="0"/>
                  </a:moveTo>
                  <a:lnTo>
                    <a:pt x="67" y="35"/>
                  </a:lnTo>
                  <a:lnTo>
                    <a:pt x="143" y="229"/>
                  </a:lnTo>
                  <a:lnTo>
                    <a:pt x="241" y="205"/>
                  </a:lnTo>
                  <a:lnTo>
                    <a:pt x="239" y="241"/>
                  </a:lnTo>
                  <a:lnTo>
                    <a:pt x="151" y="290"/>
                  </a:lnTo>
                  <a:lnTo>
                    <a:pt x="120" y="294"/>
                  </a:lnTo>
                  <a:lnTo>
                    <a:pt x="0" y="82"/>
                  </a:lnTo>
                  <a:lnTo>
                    <a:pt x="12" y="17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DBA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2" name="Freeform 11737"/>
            <p:cNvSpPr>
              <a:spLocks/>
            </p:cNvSpPr>
            <p:nvPr/>
          </p:nvSpPr>
          <p:spPr bwMode="auto">
            <a:xfrm>
              <a:off x="4783139" y="3016250"/>
              <a:ext cx="92075" cy="146050"/>
            </a:xfrm>
            <a:custGeom>
              <a:avLst/>
              <a:gdLst>
                <a:gd name="T0" fmla="*/ 20 w 116"/>
                <a:gd name="T1" fmla="*/ 0 h 182"/>
                <a:gd name="T2" fmla="*/ 47 w 116"/>
                <a:gd name="T3" fmla="*/ 0 h 182"/>
                <a:gd name="T4" fmla="*/ 84 w 116"/>
                <a:gd name="T5" fmla="*/ 19 h 182"/>
                <a:gd name="T6" fmla="*/ 116 w 116"/>
                <a:gd name="T7" fmla="*/ 135 h 182"/>
                <a:gd name="T8" fmla="*/ 47 w 116"/>
                <a:gd name="T9" fmla="*/ 182 h 182"/>
                <a:gd name="T10" fmla="*/ 4 w 116"/>
                <a:gd name="T11" fmla="*/ 90 h 182"/>
                <a:gd name="T12" fmla="*/ 0 w 116"/>
                <a:gd name="T13" fmla="*/ 35 h 182"/>
                <a:gd name="T14" fmla="*/ 20 w 116"/>
                <a:gd name="T1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182">
                  <a:moveTo>
                    <a:pt x="20" y="0"/>
                  </a:moveTo>
                  <a:lnTo>
                    <a:pt x="47" y="0"/>
                  </a:lnTo>
                  <a:lnTo>
                    <a:pt x="84" y="19"/>
                  </a:lnTo>
                  <a:lnTo>
                    <a:pt x="116" y="135"/>
                  </a:lnTo>
                  <a:lnTo>
                    <a:pt x="47" y="182"/>
                  </a:lnTo>
                  <a:lnTo>
                    <a:pt x="4" y="90"/>
                  </a:lnTo>
                  <a:lnTo>
                    <a:pt x="0" y="35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3" name="Freeform 11738"/>
            <p:cNvSpPr>
              <a:spLocks/>
            </p:cNvSpPr>
            <p:nvPr/>
          </p:nvSpPr>
          <p:spPr bwMode="auto">
            <a:xfrm>
              <a:off x="4802189" y="3033713"/>
              <a:ext cx="60325" cy="104775"/>
            </a:xfrm>
            <a:custGeom>
              <a:avLst/>
              <a:gdLst>
                <a:gd name="T0" fmla="*/ 23 w 76"/>
                <a:gd name="T1" fmla="*/ 0 h 132"/>
                <a:gd name="T2" fmla="*/ 76 w 76"/>
                <a:gd name="T3" fmla="*/ 108 h 132"/>
                <a:gd name="T4" fmla="*/ 39 w 76"/>
                <a:gd name="T5" fmla="*/ 132 h 132"/>
                <a:gd name="T6" fmla="*/ 37 w 76"/>
                <a:gd name="T7" fmla="*/ 130 h 132"/>
                <a:gd name="T8" fmla="*/ 31 w 76"/>
                <a:gd name="T9" fmla="*/ 122 h 132"/>
                <a:gd name="T10" fmla="*/ 23 w 76"/>
                <a:gd name="T11" fmla="*/ 108 h 132"/>
                <a:gd name="T12" fmla="*/ 13 w 76"/>
                <a:gd name="T13" fmla="*/ 93 h 132"/>
                <a:gd name="T14" fmla="*/ 6 w 76"/>
                <a:gd name="T15" fmla="*/ 77 h 132"/>
                <a:gd name="T16" fmla="*/ 0 w 76"/>
                <a:gd name="T17" fmla="*/ 61 h 132"/>
                <a:gd name="T18" fmla="*/ 0 w 76"/>
                <a:gd name="T19" fmla="*/ 42 h 132"/>
                <a:gd name="T20" fmla="*/ 4 w 76"/>
                <a:gd name="T21" fmla="*/ 26 h 132"/>
                <a:gd name="T22" fmla="*/ 13 w 76"/>
                <a:gd name="T23" fmla="*/ 12 h 132"/>
                <a:gd name="T24" fmla="*/ 21 w 76"/>
                <a:gd name="T25" fmla="*/ 2 h 132"/>
                <a:gd name="T26" fmla="*/ 23 w 76"/>
                <a:gd name="T2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132">
                  <a:moveTo>
                    <a:pt x="23" y="0"/>
                  </a:moveTo>
                  <a:lnTo>
                    <a:pt x="76" y="108"/>
                  </a:lnTo>
                  <a:lnTo>
                    <a:pt x="39" y="132"/>
                  </a:lnTo>
                  <a:lnTo>
                    <a:pt x="37" y="130"/>
                  </a:lnTo>
                  <a:lnTo>
                    <a:pt x="31" y="122"/>
                  </a:lnTo>
                  <a:lnTo>
                    <a:pt x="23" y="108"/>
                  </a:lnTo>
                  <a:lnTo>
                    <a:pt x="13" y="93"/>
                  </a:lnTo>
                  <a:lnTo>
                    <a:pt x="6" y="77"/>
                  </a:lnTo>
                  <a:lnTo>
                    <a:pt x="0" y="61"/>
                  </a:lnTo>
                  <a:lnTo>
                    <a:pt x="0" y="42"/>
                  </a:lnTo>
                  <a:lnTo>
                    <a:pt x="4" y="26"/>
                  </a:lnTo>
                  <a:lnTo>
                    <a:pt x="13" y="12"/>
                  </a:lnTo>
                  <a:lnTo>
                    <a:pt x="21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18" name="Group 1717"/>
          <p:cNvGrpSpPr/>
          <p:nvPr/>
        </p:nvGrpSpPr>
        <p:grpSpPr>
          <a:xfrm>
            <a:off x="6073193" y="4129940"/>
            <a:ext cx="233106" cy="435778"/>
            <a:chOff x="7810500" y="5173663"/>
            <a:chExt cx="571500" cy="1068388"/>
          </a:xfrm>
        </p:grpSpPr>
        <p:sp>
          <p:nvSpPr>
            <p:cNvPr id="1719" name="Freeform 932"/>
            <p:cNvSpPr>
              <a:spLocks/>
            </p:cNvSpPr>
            <p:nvPr/>
          </p:nvSpPr>
          <p:spPr bwMode="auto">
            <a:xfrm>
              <a:off x="7948613" y="5186363"/>
              <a:ext cx="68262" cy="219075"/>
            </a:xfrm>
            <a:custGeom>
              <a:avLst/>
              <a:gdLst>
                <a:gd name="T0" fmla="*/ 33 w 43"/>
                <a:gd name="T1" fmla="*/ 0 h 138"/>
                <a:gd name="T2" fmla="*/ 43 w 43"/>
                <a:gd name="T3" fmla="*/ 5 h 138"/>
                <a:gd name="T4" fmla="*/ 43 w 43"/>
                <a:gd name="T5" fmla="*/ 5 h 138"/>
                <a:gd name="T6" fmla="*/ 41 w 43"/>
                <a:gd name="T7" fmla="*/ 5 h 138"/>
                <a:gd name="T8" fmla="*/ 40 w 43"/>
                <a:gd name="T9" fmla="*/ 7 h 138"/>
                <a:gd name="T10" fmla="*/ 40 w 43"/>
                <a:gd name="T11" fmla="*/ 9 h 138"/>
                <a:gd name="T12" fmla="*/ 40 w 43"/>
                <a:gd name="T13" fmla="*/ 12 h 138"/>
                <a:gd name="T14" fmla="*/ 41 w 43"/>
                <a:gd name="T15" fmla="*/ 15 h 138"/>
                <a:gd name="T16" fmla="*/ 41 w 43"/>
                <a:gd name="T17" fmla="*/ 23 h 138"/>
                <a:gd name="T18" fmla="*/ 36 w 43"/>
                <a:gd name="T19" fmla="*/ 33 h 138"/>
                <a:gd name="T20" fmla="*/ 28 w 43"/>
                <a:gd name="T21" fmla="*/ 45 h 138"/>
                <a:gd name="T22" fmla="*/ 22 w 43"/>
                <a:gd name="T23" fmla="*/ 55 h 138"/>
                <a:gd name="T24" fmla="*/ 20 w 43"/>
                <a:gd name="T25" fmla="*/ 63 h 138"/>
                <a:gd name="T26" fmla="*/ 23 w 43"/>
                <a:gd name="T27" fmla="*/ 74 h 138"/>
                <a:gd name="T28" fmla="*/ 30 w 43"/>
                <a:gd name="T29" fmla="*/ 86 h 138"/>
                <a:gd name="T30" fmla="*/ 36 w 43"/>
                <a:gd name="T31" fmla="*/ 97 h 138"/>
                <a:gd name="T32" fmla="*/ 41 w 43"/>
                <a:gd name="T33" fmla="*/ 105 h 138"/>
                <a:gd name="T34" fmla="*/ 43 w 43"/>
                <a:gd name="T35" fmla="*/ 107 h 138"/>
                <a:gd name="T36" fmla="*/ 41 w 43"/>
                <a:gd name="T37" fmla="*/ 120 h 138"/>
                <a:gd name="T38" fmla="*/ 35 w 43"/>
                <a:gd name="T39" fmla="*/ 128 h 138"/>
                <a:gd name="T40" fmla="*/ 23 w 43"/>
                <a:gd name="T41" fmla="*/ 133 h 138"/>
                <a:gd name="T42" fmla="*/ 13 w 43"/>
                <a:gd name="T43" fmla="*/ 137 h 138"/>
                <a:gd name="T44" fmla="*/ 5 w 43"/>
                <a:gd name="T45" fmla="*/ 138 h 138"/>
                <a:gd name="T46" fmla="*/ 2 w 43"/>
                <a:gd name="T47" fmla="*/ 138 h 138"/>
                <a:gd name="T48" fmla="*/ 8 w 43"/>
                <a:gd name="T49" fmla="*/ 122 h 138"/>
                <a:gd name="T50" fmla="*/ 8 w 43"/>
                <a:gd name="T51" fmla="*/ 107 h 138"/>
                <a:gd name="T52" fmla="*/ 5 w 43"/>
                <a:gd name="T53" fmla="*/ 91 h 138"/>
                <a:gd name="T54" fmla="*/ 2 w 43"/>
                <a:gd name="T55" fmla="*/ 73 h 138"/>
                <a:gd name="T56" fmla="*/ 0 w 43"/>
                <a:gd name="T57" fmla="*/ 50 h 138"/>
                <a:gd name="T58" fmla="*/ 2 w 43"/>
                <a:gd name="T59" fmla="*/ 30 h 138"/>
                <a:gd name="T60" fmla="*/ 8 w 43"/>
                <a:gd name="T61" fmla="*/ 17 h 138"/>
                <a:gd name="T62" fmla="*/ 17 w 43"/>
                <a:gd name="T63" fmla="*/ 7 h 138"/>
                <a:gd name="T64" fmla="*/ 23 w 43"/>
                <a:gd name="T65" fmla="*/ 2 h 138"/>
                <a:gd name="T66" fmla="*/ 30 w 43"/>
                <a:gd name="T67" fmla="*/ 0 h 138"/>
                <a:gd name="T68" fmla="*/ 33 w 43"/>
                <a:gd name="T6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" h="138">
                  <a:moveTo>
                    <a:pt x="33" y="0"/>
                  </a:moveTo>
                  <a:lnTo>
                    <a:pt x="43" y="5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12"/>
                  </a:lnTo>
                  <a:lnTo>
                    <a:pt x="41" y="15"/>
                  </a:lnTo>
                  <a:lnTo>
                    <a:pt x="41" y="23"/>
                  </a:lnTo>
                  <a:lnTo>
                    <a:pt x="36" y="33"/>
                  </a:lnTo>
                  <a:lnTo>
                    <a:pt x="28" y="45"/>
                  </a:lnTo>
                  <a:lnTo>
                    <a:pt x="22" y="55"/>
                  </a:lnTo>
                  <a:lnTo>
                    <a:pt x="20" y="63"/>
                  </a:lnTo>
                  <a:lnTo>
                    <a:pt x="23" y="74"/>
                  </a:lnTo>
                  <a:lnTo>
                    <a:pt x="30" y="86"/>
                  </a:lnTo>
                  <a:lnTo>
                    <a:pt x="36" y="97"/>
                  </a:lnTo>
                  <a:lnTo>
                    <a:pt x="41" y="105"/>
                  </a:lnTo>
                  <a:lnTo>
                    <a:pt x="43" y="107"/>
                  </a:lnTo>
                  <a:lnTo>
                    <a:pt x="41" y="120"/>
                  </a:lnTo>
                  <a:lnTo>
                    <a:pt x="35" y="128"/>
                  </a:lnTo>
                  <a:lnTo>
                    <a:pt x="23" y="133"/>
                  </a:lnTo>
                  <a:lnTo>
                    <a:pt x="13" y="137"/>
                  </a:lnTo>
                  <a:lnTo>
                    <a:pt x="5" y="138"/>
                  </a:lnTo>
                  <a:lnTo>
                    <a:pt x="2" y="138"/>
                  </a:lnTo>
                  <a:lnTo>
                    <a:pt x="8" y="122"/>
                  </a:lnTo>
                  <a:lnTo>
                    <a:pt x="8" y="107"/>
                  </a:lnTo>
                  <a:lnTo>
                    <a:pt x="5" y="91"/>
                  </a:lnTo>
                  <a:lnTo>
                    <a:pt x="2" y="73"/>
                  </a:lnTo>
                  <a:lnTo>
                    <a:pt x="0" y="50"/>
                  </a:lnTo>
                  <a:lnTo>
                    <a:pt x="2" y="30"/>
                  </a:lnTo>
                  <a:lnTo>
                    <a:pt x="8" y="17"/>
                  </a:lnTo>
                  <a:lnTo>
                    <a:pt x="17" y="7"/>
                  </a:lnTo>
                  <a:lnTo>
                    <a:pt x="23" y="2"/>
                  </a:lnTo>
                  <a:lnTo>
                    <a:pt x="3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0" name="Freeform 933"/>
            <p:cNvSpPr>
              <a:spLocks/>
            </p:cNvSpPr>
            <p:nvPr/>
          </p:nvSpPr>
          <p:spPr bwMode="auto">
            <a:xfrm>
              <a:off x="7899400" y="5614988"/>
              <a:ext cx="223837" cy="515938"/>
            </a:xfrm>
            <a:custGeom>
              <a:avLst/>
              <a:gdLst>
                <a:gd name="T0" fmla="*/ 105 w 141"/>
                <a:gd name="T1" fmla="*/ 1 h 325"/>
                <a:gd name="T2" fmla="*/ 132 w 141"/>
                <a:gd name="T3" fmla="*/ 13 h 325"/>
                <a:gd name="T4" fmla="*/ 141 w 141"/>
                <a:gd name="T5" fmla="*/ 37 h 325"/>
                <a:gd name="T6" fmla="*/ 140 w 141"/>
                <a:gd name="T7" fmla="*/ 75 h 325"/>
                <a:gd name="T8" fmla="*/ 135 w 141"/>
                <a:gd name="T9" fmla="*/ 128 h 325"/>
                <a:gd name="T10" fmla="*/ 132 w 141"/>
                <a:gd name="T11" fmla="*/ 164 h 325"/>
                <a:gd name="T12" fmla="*/ 128 w 141"/>
                <a:gd name="T13" fmla="*/ 190 h 325"/>
                <a:gd name="T14" fmla="*/ 127 w 141"/>
                <a:gd name="T15" fmla="*/ 221 h 325"/>
                <a:gd name="T16" fmla="*/ 122 w 141"/>
                <a:gd name="T17" fmla="*/ 276 h 325"/>
                <a:gd name="T18" fmla="*/ 112 w 141"/>
                <a:gd name="T19" fmla="*/ 323 h 325"/>
                <a:gd name="T20" fmla="*/ 90 w 141"/>
                <a:gd name="T21" fmla="*/ 317 h 325"/>
                <a:gd name="T22" fmla="*/ 89 w 141"/>
                <a:gd name="T23" fmla="*/ 299 h 325"/>
                <a:gd name="T24" fmla="*/ 89 w 141"/>
                <a:gd name="T25" fmla="*/ 259 h 325"/>
                <a:gd name="T26" fmla="*/ 89 w 141"/>
                <a:gd name="T27" fmla="*/ 223 h 325"/>
                <a:gd name="T28" fmla="*/ 89 w 141"/>
                <a:gd name="T29" fmla="*/ 189 h 325"/>
                <a:gd name="T30" fmla="*/ 87 w 141"/>
                <a:gd name="T31" fmla="*/ 147 h 325"/>
                <a:gd name="T32" fmla="*/ 87 w 141"/>
                <a:gd name="T33" fmla="*/ 116 h 325"/>
                <a:gd name="T34" fmla="*/ 77 w 141"/>
                <a:gd name="T35" fmla="*/ 143 h 325"/>
                <a:gd name="T36" fmla="*/ 67 w 141"/>
                <a:gd name="T37" fmla="*/ 184 h 325"/>
                <a:gd name="T38" fmla="*/ 59 w 141"/>
                <a:gd name="T39" fmla="*/ 208 h 325"/>
                <a:gd name="T40" fmla="*/ 53 w 141"/>
                <a:gd name="T41" fmla="*/ 230 h 325"/>
                <a:gd name="T42" fmla="*/ 44 w 141"/>
                <a:gd name="T43" fmla="*/ 262 h 325"/>
                <a:gd name="T44" fmla="*/ 28 w 141"/>
                <a:gd name="T45" fmla="*/ 320 h 325"/>
                <a:gd name="T46" fmla="*/ 8 w 141"/>
                <a:gd name="T47" fmla="*/ 322 h 325"/>
                <a:gd name="T48" fmla="*/ 5 w 141"/>
                <a:gd name="T49" fmla="*/ 276 h 325"/>
                <a:gd name="T50" fmla="*/ 15 w 141"/>
                <a:gd name="T51" fmla="*/ 225 h 325"/>
                <a:gd name="T52" fmla="*/ 21 w 141"/>
                <a:gd name="T53" fmla="*/ 187 h 325"/>
                <a:gd name="T54" fmla="*/ 28 w 141"/>
                <a:gd name="T55" fmla="*/ 149 h 325"/>
                <a:gd name="T56" fmla="*/ 36 w 141"/>
                <a:gd name="T57" fmla="*/ 92 h 325"/>
                <a:gd name="T58" fmla="*/ 36 w 141"/>
                <a:gd name="T59" fmla="*/ 77 h 325"/>
                <a:gd name="T60" fmla="*/ 43 w 141"/>
                <a:gd name="T61" fmla="*/ 46 h 325"/>
                <a:gd name="T62" fmla="*/ 56 w 141"/>
                <a:gd name="T63" fmla="*/ 14 h 325"/>
                <a:gd name="T64" fmla="*/ 82 w 141"/>
                <a:gd name="T65" fmla="*/ 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325">
                  <a:moveTo>
                    <a:pt x="82" y="0"/>
                  </a:moveTo>
                  <a:lnTo>
                    <a:pt x="105" y="1"/>
                  </a:lnTo>
                  <a:lnTo>
                    <a:pt x="122" y="5"/>
                  </a:lnTo>
                  <a:lnTo>
                    <a:pt x="132" y="13"/>
                  </a:lnTo>
                  <a:lnTo>
                    <a:pt x="138" y="23"/>
                  </a:lnTo>
                  <a:lnTo>
                    <a:pt x="141" y="37"/>
                  </a:lnTo>
                  <a:lnTo>
                    <a:pt x="141" y="54"/>
                  </a:lnTo>
                  <a:lnTo>
                    <a:pt x="140" y="75"/>
                  </a:lnTo>
                  <a:lnTo>
                    <a:pt x="136" y="100"/>
                  </a:lnTo>
                  <a:lnTo>
                    <a:pt x="135" y="128"/>
                  </a:lnTo>
                  <a:lnTo>
                    <a:pt x="133" y="147"/>
                  </a:lnTo>
                  <a:lnTo>
                    <a:pt x="132" y="164"/>
                  </a:lnTo>
                  <a:lnTo>
                    <a:pt x="130" y="177"/>
                  </a:lnTo>
                  <a:lnTo>
                    <a:pt x="128" y="190"/>
                  </a:lnTo>
                  <a:lnTo>
                    <a:pt x="128" y="203"/>
                  </a:lnTo>
                  <a:lnTo>
                    <a:pt x="127" y="221"/>
                  </a:lnTo>
                  <a:lnTo>
                    <a:pt x="125" y="244"/>
                  </a:lnTo>
                  <a:lnTo>
                    <a:pt x="122" y="276"/>
                  </a:lnTo>
                  <a:lnTo>
                    <a:pt x="118" y="317"/>
                  </a:lnTo>
                  <a:lnTo>
                    <a:pt x="112" y="323"/>
                  </a:lnTo>
                  <a:lnTo>
                    <a:pt x="100" y="325"/>
                  </a:lnTo>
                  <a:lnTo>
                    <a:pt x="90" y="317"/>
                  </a:lnTo>
                  <a:lnTo>
                    <a:pt x="89" y="312"/>
                  </a:lnTo>
                  <a:lnTo>
                    <a:pt x="89" y="299"/>
                  </a:lnTo>
                  <a:lnTo>
                    <a:pt x="89" y="279"/>
                  </a:lnTo>
                  <a:lnTo>
                    <a:pt x="89" y="259"/>
                  </a:lnTo>
                  <a:lnTo>
                    <a:pt x="89" y="238"/>
                  </a:lnTo>
                  <a:lnTo>
                    <a:pt x="89" y="223"/>
                  </a:lnTo>
                  <a:lnTo>
                    <a:pt x="89" y="208"/>
                  </a:lnTo>
                  <a:lnTo>
                    <a:pt x="89" y="189"/>
                  </a:lnTo>
                  <a:lnTo>
                    <a:pt x="87" y="167"/>
                  </a:lnTo>
                  <a:lnTo>
                    <a:pt x="87" y="147"/>
                  </a:lnTo>
                  <a:lnTo>
                    <a:pt x="87" y="129"/>
                  </a:lnTo>
                  <a:lnTo>
                    <a:pt x="87" y="116"/>
                  </a:lnTo>
                  <a:lnTo>
                    <a:pt x="87" y="111"/>
                  </a:lnTo>
                  <a:lnTo>
                    <a:pt x="77" y="143"/>
                  </a:lnTo>
                  <a:lnTo>
                    <a:pt x="72" y="166"/>
                  </a:lnTo>
                  <a:lnTo>
                    <a:pt x="67" y="184"/>
                  </a:lnTo>
                  <a:lnTo>
                    <a:pt x="62" y="197"/>
                  </a:lnTo>
                  <a:lnTo>
                    <a:pt x="59" y="208"/>
                  </a:lnTo>
                  <a:lnTo>
                    <a:pt x="56" y="218"/>
                  </a:lnTo>
                  <a:lnTo>
                    <a:pt x="53" y="230"/>
                  </a:lnTo>
                  <a:lnTo>
                    <a:pt x="49" y="244"/>
                  </a:lnTo>
                  <a:lnTo>
                    <a:pt x="44" y="262"/>
                  </a:lnTo>
                  <a:lnTo>
                    <a:pt x="38" y="287"/>
                  </a:lnTo>
                  <a:lnTo>
                    <a:pt x="28" y="320"/>
                  </a:lnTo>
                  <a:lnTo>
                    <a:pt x="18" y="325"/>
                  </a:lnTo>
                  <a:lnTo>
                    <a:pt x="8" y="322"/>
                  </a:lnTo>
                  <a:lnTo>
                    <a:pt x="0" y="312"/>
                  </a:lnTo>
                  <a:lnTo>
                    <a:pt x="5" y="276"/>
                  </a:lnTo>
                  <a:lnTo>
                    <a:pt x="10" y="248"/>
                  </a:lnTo>
                  <a:lnTo>
                    <a:pt x="15" y="225"/>
                  </a:lnTo>
                  <a:lnTo>
                    <a:pt x="18" y="205"/>
                  </a:lnTo>
                  <a:lnTo>
                    <a:pt x="21" y="187"/>
                  </a:lnTo>
                  <a:lnTo>
                    <a:pt x="25" y="169"/>
                  </a:lnTo>
                  <a:lnTo>
                    <a:pt x="28" y="149"/>
                  </a:lnTo>
                  <a:lnTo>
                    <a:pt x="31" y="123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77"/>
                  </a:lnTo>
                  <a:lnTo>
                    <a:pt x="39" y="62"/>
                  </a:lnTo>
                  <a:lnTo>
                    <a:pt x="43" y="46"/>
                  </a:lnTo>
                  <a:lnTo>
                    <a:pt x="48" y="29"/>
                  </a:lnTo>
                  <a:lnTo>
                    <a:pt x="56" y="14"/>
                  </a:lnTo>
                  <a:lnTo>
                    <a:pt x="67" y="5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1" name="Freeform 934"/>
            <p:cNvSpPr>
              <a:spLocks/>
            </p:cNvSpPr>
            <p:nvPr/>
          </p:nvSpPr>
          <p:spPr bwMode="auto">
            <a:xfrm>
              <a:off x="8037513" y="6118225"/>
              <a:ext cx="100012" cy="123825"/>
            </a:xfrm>
            <a:custGeom>
              <a:avLst/>
              <a:gdLst>
                <a:gd name="T0" fmla="*/ 31 w 63"/>
                <a:gd name="T1" fmla="*/ 0 h 78"/>
                <a:gd name="T2" fmla="*/ 30 w 63"/>
                <a:gd name="T3" fmla="*/ 14 h 78"/>
                <a:gd name="T4" fmla="*/ 30 w 63"/>
                <a:gd name="T5" fmla="*/ 24 h 78"/>
                <a:gd name="T6" fmla="*/ 31 w 63"/>
                <a:gd name="T7" fmla="*/ 31 h 78"/>
                <a:gd name="T8" fmla="*/ 33 w 63"/>
                <a:gd name="T9" fmla="*/ 36 h 78"/>
                <a:gd name="T10" fmla="*/ 36 w 63"/>
                <a:gd name="T11" fmla="*/ 41 h 78"/>
                <a:gd name="T12" fmla="*/ 40 w 63"/>
                <a:gd name="T13" fmla="*/ 46 h 78"/>
                <a:gd name="T14" fmla="*/ 43 w 63"/>
                <a:gd name="T15" fmla="*/ 51 h 78"/>
                <a:gd name="T16" fmla="*/ 45 w 63"/>
                <a:gd name="T17" fmla="*/ 54 h 78"/>
                <a:gd name="T18" fmla="*/ 46 w 63"/>
                <a:gd name="T19" fmla="*/ 55 h 78"/>
                <a:gd name="T20" fmla="*/ 49 w 63"/>
                <a:gd name="T21" fmla="*/ 55 h 78"/>
                <a:gd name="T22" fmla="*/ 54 w 63"/>
                <a:gd name="T23" fmla="*/ 57 h 78"/>
                <a:gd name="T24" fmla="*/ 58 w 63"/>
                <a:gd name="T25" fmla="*/ 59 h 78"/>
                <a:gd name="T26" fmla="*/ 59 w 63"/>
                <a:gd name="T27" fmla="*/ 62 h 78"/>
                <a:gd name="T28" fmla="*/ 61 w 63"/>
                <a:gd name="T29" fmla="*/ 67 h 78"/>
                <a:gd name="T30" fmla="*/ 63 w 63"/>
                <a:gd name="T31" fmla="*/ 72 h 78"/>
                <a:gd name="T32" fmla="*/ 63 w 63"/>
                <a:gd name="T33" fmla="*/ 78 h 78"/>
                <a:gd name="T34" fmla="*/ 41 w 63"/>
                <a:gd name="T35" fmla="*/ 78 h 78"/>
                <a:gd name="T36" fmla="*/ 40 w 63"/>
                <a:gd name="T37" fmla="*/ 78 h 78"/>
                <a:gd name="T38" fmla="*/ 38 w 63"/>
                <a:gd name="T39" fmla="*/ 77 h 78"/>
                <a:gd name="T40" fmla="*/ 38 w 63"/>
                <a:gd name="T41" fmla="*/ 77 h 78"/>
                <a:gd name="T42" fmla="*/ 36 w 63"/>
                <a:gd name="T43" fmla="*/ 74 h 78"/>
                <a:gd name="T44" fmla="*/ 35 w 63"/>
                <a:gd name="T45" fmla="*/ 72 h 78"/>
                <a:gd name="T46" fmla="*/ 33 w 63"/>
                <a:gd name="T47" fmla="*/ 69 h 78"/>
                <a:gd name="T48" fmla="*/ 28 w 63"/>
                <a:gd name="T49" fmla="*/ 64 h 78"/>
                <a:gd name="T50" fmla="*/ 25 w 63"/>
                <a:gd name="T51" fmla="*/ 59 h 78"/>
                <a:gd name="T52" fmla="*/ 20 w 63"/>
                <a:gd name="T53" fmla="*/ 55 h 78"/>
                <a:gd name="T54" fmla="*/ 17 w 63"/>
                <a:gd name="T55" fmla="*/ 54 h 78"/>
                <a:gd name="T56" fmla="*/ 15 w 63"/>
                <a:gd name="T57" fmla="*/ 54 h 78"/>
                <a:gd name="T58" fmla="*/ 13 w 63"/>
                <a:gd name="T59" fmla="*/ 57 h 78"/>
                <a:gd name="T60" fmla="*/ 12 w 63"/>
                <a:gd name="T61" fmla="*/ 62 h 78"/>
                <a:gd name="T62" fmla="*/ 10 w 63"/>
                <a:gd name="T63" fmla="*/ 69 h 78"/>
                <a:gd name="T64" fmla="*/ 7 w 63"/>
                <a:gd name="T65" fmla="*/ 78 h 78"/>
                <a:gd name="T66" fmla="*/ 0 w 63"/>
                <a:gd name="T67" fmla="*/ 78 h 78"/>
                <a:gd name="T68" fmla="*/ 0 w 63"/>
                <a:gd name="T69" fmla="*/ 72 h 78"/>
                <a:gd name="T70" fmla="*/ 0 w 63"/>
                <a:gd name="T71" fmla="*/ 59 h 78"/>
                <a:gd name="T72" fmla="*/ 2 w 63"/>
                <a:gd name="T73" fmla="*/ 41 h 78"/>
                <a:gd name="T74" fmla="*/ 2 w 63"/>
                <a:gd name="T75" fmla="*/ 21 h 78"/>
                <a:gd name="T76" fmla="*/ 2 w 63"/>
                <a:gd name="T77" fmla="*/ 6 h 78"/>
                <a:gd name="T78" fmla="*/ 3 w 63"/>
                <a:gd name="T79" fmla="*/ 0 h 78"/>
                <a:gd name="T80" fmla="*/ 17 w 63"/>
                <a:gd name="T81" fmla="*/ 1 h 78"/>
                <a:gd name="T82" fmla="*/ 31 w 63"/>
                <a:gd name="T8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" h="78">
                  <a:moveTo>
                    <a:pt x="31" y="0"/>
                  </a:moveTo>
                  <a:lnTo>
                    <a:pt x="30" y="14"/>
                  </a:lnTo>
                  <a:lnTo>
                    <a:pt x="30" y="24"/>
                  </a:lnTo>
                  <a:lnTo>
                    <a:pt x="31" y="31"/>
                  </a:lnTo>
                  <a:lnTo>
                    <a:pt x="33" y="36"/>
                  </a:lnTo>
                  <a:lnTo>
                    <a:pt x="36" y="41"/>
                  </a:lnTo>
                  <a:lnTo>
                    <a:pt x="40" y="46"/>
                  </a:lnTo>
                  <a:lnTo>
                    <a:pt x="43" y="51"/>
                  </a:lnTo>
                  <a:lnTo>
                    <a:pt x="45" y="54"/>
                  </a:lnTo>
                  <a:lnTo>
                    <a:pt x="46" y="55"/>
                  </a:lnTo>
                  <a:lnTo>
                    <a:pt x="49" y="55"/>
                  </a:lnTo>
                  <a:lnTo>
                    <a:pt x="54" y="57"/>
                  </a:lnTo>
                  <a:lnTo>
                    <a:pt x="58" y="59"/>
                  </a:lnTo>
                  <a:lnTo>
                    <a:pt x="59" y="62"/>
                  </a:lnTo>
                  <a:lnTo>
                    <a:pt x="61" y="67"/>
                  </a:lnTo>
                  <a:lnTo>
                    <a:pt x="63" y="72"/>
                  </a:lnTo>
                  <a:lnTo>
                    <a:pt x="63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6" y="74"/>
                  </a:lnTo>
                  <a:lnTo>
                    <a:pt x="35" y="72"/>
                  </a:lnTo>
                  <a:lnTo>
                    <a:pt x="33" y="69"/>
                  </a:lnTo>
                  <a:lnTo>
                    <a:pt x="28" y="64"/>
                  </a:lnTo>
                  <a:lnTo>
                    <a:pt x="25" y="59"/>
                  </a:lnTo>
                  <a:lnTo>
                    <a:pt x="20" y="55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3" y="57"/>
                  </a:lnTo>
                  <a:lnTo>
                    <a:pt x="12" y="62"/>
                  </a:lnTo>
                  <a:lnTo>
                    <a:pt x="10" y="69"/>
                  </a:lnTo>
                  <a:lnTo>
                    <a:pt x="7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59"/>
                  </a:lnTo>
                  <a:lnTo>
                    <a:pt x="2" y="41"/>
                  </a:lnTo>
                  <a:lnTo>
                    <a:pt x="2" y="21"/>
                  </a:lnTo>
                  <a:lnTo>
                    <a:pt x="2" y="6"/>
                  </a:lnTo>
                  <a:lnTo>
                    <a:pt x="3" y="0"/>
                  </a:lnTo>
                  <a:lnTo>
                    <a:pt x="17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2" name="Freeform 935"/>
            <p:cNvSpPr>
              <a:spLocks/>
            </p:cNvSpPr>
            <p:nvPr/>
          </p:nvSpPr>
          <p:spPr bwMode="auto">
            <a:xfrm>
              <a:off x="7810500" y="6110288"/>
              <a:ext cx="133350" cy="131763"/>
            </a:xfrm>
            <a:custGeom>
              <a:avLst/>
              <a:gdLst>
                <a:gd name="T0" fmla="*/ 56 w 84"/>
                <a:gd name="T1" fmla="*/ 0 h 83"/>
                <a:gd name="T2" fmla="*/ 69 w 84"/>
                <a:gd name="T3" fmla="*/ 5 h 83"/>
                <a:gd name="T4" fmla="*/ 84 w 84"/>
                <a:gd name="T5" fmla="*/ 8 h 83"/>
                <a:gd name="T6" fmla="*/ 82 w 84"/>
                <a:gd name="T7" fmla="*/ 13 h 83"/>
                <a:gd name="T8" fmla="*/ 79 w 84"/>
                <a:gd name="T9" fmla="*/ 24 h 83"/>
                <a:gd name="T10" fmla="*/ 74 w 84"/>
                <a:gd name="T11" fmla="*/ 39 h 83"/>
                <a:gd name="T12" fmla="*/ 69 w 84"/>
                <a:gd name="T13" fmla="*/ 54 h 83"/>
                <a:gd name="T14" fmla="*/ 64 w 84"/>
                <a:gd name="T15" fmla="*/ 69 h 83"/>
                <a:gd name="T16" fmla="*/ 61 w 84"/>
                <a:gd name="T17" fmla="*/ 79 h 83"/>
                <a:gd name="T18" fmla="*/ 59 w 84"/>
                <a:gd name="T19" fmla="*/ 83 h 83"/>
                <a:gd name="T20" fmla="*/ 53 w 84"/>
                <a:gd name="T21" fmla="*/ 82 h 83"/>
                <a:gd name="T22" fmla="*/ 54 w 84"/>
                <a:gd name="T23" fmla="*/ 72 h 83"/>
                <a:gd name="T24" fmla="*/ 54 w 84"/>
                <a:gd name="T25" fmla="*/ 65 h 83"/>
                <a:gd name="T26" fmla="*/ 54 w 84"/>
                <a:gd name="T27" fmla="*/ 60 h 83"/>
                <a:gd name="T28" fmla="*/ 54 w 84"/>
                <a:gd name="T29" fmla="*/ 57 h 83"/>
                <a:gd name="T30" fmla="*/ 54 w 84"/>
                <a:gd name="T31" fmla="*/ 56 h 83"/>
                <a:gd name="T32" fmla="*/ 51 w 84"/>
                <a:gd name="T33" fmla="*/ 54 h 83"/>
                <a:gd name="T34" fmla="*/ 48 w 84"/>
                <a:gd name="T35" fmla="*/ 56 h 83"/>
                <a:gd name="T36" fmla="*/ 44 w 84"/>
                <a:gd name="T37" fmla="*/ 57 h 83"/>
                <a:gd name="T38" fmla="*/ 38 w 84"/>
                <a:gd name="T39" fmla="*/ 60 h 83"/>
                <a:gd name="T40" fmla="*/ 33 w 84"/>
                <a:gd name="T41" fmla="*/ 64 h 83"/>
                <a:gd name="T42" fmla="*/ 28 w 84"/>
                <a:gd name="T43" fmla="*/ 67 h 83"/>
                <a:gd name="T44" fmla="*/ 26 w 84"/>
                <a:gd name="T45" fmla="*/ 69 h 83"/>
                <a:gd name="T46" fmla="*/ 25 w 84"/>
                <a:gd name="T47" fmla="*/ 70 h 83"/>
                <a:gd name="T48" fmla="*/ 23 w 84"/>
                <a:gd name="T49" fmla="*/ 70 h 83"/>
                <a:gd name="T50" fmla="*/ 21 w 84"/>
                <a:gd name="T51" fmla="*/ 70 h 83"/>
                <a:gd name="T52" fmla="*/ 0 w 84"/>
                <a:gd name="T53" fmla="*/ 62 h 83"/>
                <a:gd name="T54" fmla="*/ 3 w 84"/>
                <a:gd name="T55" fmla="*/ 57 h 83"/>
                <a:gd name="T56" fmla="*/ 7 w 84"/>
                <a:gd name="T57" fmla="*/ 52 h 83"/>
                <a:gd name="T58" fmla="*/ 8 w 84"/>
                <a:gd name="T59" fmla="*/ 49 h 83"/>
                <a:gd name="T60" fmla="*/ 11 w 84"/>
                <a:gd name="T61" fmla="*/ 46 h 83"/>
                <a:gd name="T62" fmla="*/ 16 w 84"/>
                <a:gd name="T63" fmla="*/ 46 h 83"/>
                <a:gd name="T64" fmla="*/ 20 w 84"/>
                <a:gd name="T65" fmla="*/ 46 h 83"/>
                <a:gd name="T66" fmla="*/ 23 w 84"/>
                <a:gd name="T67" fmla="*/ 47 h 83"/>
                <a:gd name="T68" fmla="*/ 26 w 84"/>
                <a:gd name="T69" fmla="*/ 46 h 83"/>
                <a:gd name="T70" fmla="*/ 30 w 84"/>
                <a:gd name="T71" fmla="*/ 44 h 83"/>
                <a:gd name="T72" fmla="*/ 33 w 84"/>
                <a:gd name="T73" fmla="*/ 41 h 83"/>
                <a:gd name="T74" fmla="*/ 38 w 84"/>
                <a:gd name="T75" fmla="*/ 36 h 83"/>
                <a:gd name="T76" fmla="*/ 43 w 84"/>
                <a:gd name="T77" fmla="*/ 33 h 83"/>
                <a:gd name="T78" fmla="*/ 46 w 84"/>
                <a:gd name="T79" fmla="*/ 28 h 83"/>
                <a:gd name="T80" fmla="*/ 49 w 84"/>
                <a:gd name="T81" fmla="*/ 23 h 83"/>
                <a:gd name="T82" fmla="*/ 51 w 84"/>
                <a:gd name="T83" fmla="*/ 14 h 83"/>
                <a:gd name="T84" fmla="*/ 56 w 84"/>
                <a:gd name="T8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83">
                  <a:moveTo>
                    <a:pt x="56" y="0"/>
                  </a:moveTo>
                  <a:lnTo>
                    <a:pt x="69" y="5"/>
                  </a:lnTo>
                  <a:lnTo>
                    <a:pt x="84" y="8"/>
                  </a:lnTo>
                  <a:lnTo>
                    <a:pt x="82" y="13"/>
                  </a:lnTo>
                  <a:lnTo>
                    <a:pt x="79" y="24"/>
                  </a:lnTo>
                  <a:lnTo>
                    <a:pt x="74" y="39"/>
                  </a:lnTo>
                  <a:lnTo>
                    <a:pt x="69" y="54"/>
                  </a:lnTo>
                  <a:lnTo>
                    <a:pt x="64" y="69"/>
                  </a:lnTo>
                  <a:lnTo>
                    <a:pt x="61" y="79"/>
                  </a:lnTo>
                  <a:lnTo>
                    <a:pt x="59" y="83"/>
                  </a:lnTo>
                  <a:lnTo>
                    <a:pt x="53" y="82"/>
                  </a:lnTo>
                  <a:lnTo>
                    <a:pt x="54" y="72"/>
                  </a:lnTo>
                  <a:lnTo>
                    <a:pt x="54" y="65"/>
                  </a:lnTo>
                  <a:lnTo>
                    <a:pt x="54" y="60"/>
                  </a:lnTo>
                  <a:lnTo>
                    <a:pt x="54" y="57"/>
                  </a:lnTo>
                  <a:lnTo>
                    <a:pt x="54" y="56"/>
                  </a:lnTo>
                  <a:lnTo>
                    <a:pt x="51" y="54"/>
                  </a:lnTo>
                  <a:lnTo>
                    <a:pt x="48" y="56"/>
                  </a:lnTo>
                  <a:lnTo>
                    <a:pt x="44" y="57"/>
                  </a:lnTo>
                  <a:lnTo>
                    <a:pt x="38" y="60"/>
                  </a:lnTo>
                  <a:lnTo>
                    <a:pt x="33" y="64"/>
                  </a:lnTo>
                  <a:lnTo>
                    <a:pt x="28" y="67"/>
                  </a:lnTo>
                  <a:lnTo>
                    <a:pt x="26" y="69"/>
                  </a:lnTo>
                  <a:lnTo>
                    <a:pt x="25" y="70"/>
                  </a:lnTo>
                  <a:lnTo>
                    <a:pt x="23" y="70"/>
                  </a:lnTo>
                  <a:lnTo>
                    <a:pt x="21" y="70"/>
                  </a:lnTo>
                  <a:lnTo>
                    <a:pt x="0" y="62"/>
                  </a:lnTo>
                  <a:lnTo>
                    <a:pt x="3" y="57"/>
                  </a:lnTo>
                  <a:lnTo>
                    <a:pt x="7" y="52"/>
                  </a:lnTo>
                  <a:lnTo>
                    <a:pt x="8" y="49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20" y="46"/>
                  </a:lnTo>
                  <a:lnTo>
                    <a:pt x="23" y="47"/>
                  </a:lnTo>
                  <a:lnTo>
                    <a:pt x="26" y="46"/>
                  </a:lnTo>
                  <a:lnTo>
                    <a:pt x="30" y="44"/>
                  </a:lnTo>
                  <a:lnTo>
                    <a:pt x="33" y="41"/>
                  </a:lnTo>
                  <a:lnTo>
                    <a:pt x="38" y="36"/>
                  </a:lnTo>
                  <a:lnTo>
                    <a:pt x="43" y="33"/>
                  </a:lnTo>
                  <a:lnTo>
                    <a:pt x="46" y="28"/>
                  </a:lnTo>
                  <a:lnTo>
                    <a:pt x="49" y="23"/>
                  </a:lnTo>
                  <a:lnTo>
                    <a:pt x="51" y="1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3" name="Freeform 936"/>
            <p:cNvSpPr>
              <a:spLocks/>
            </p:cNvSpPr>
            <p:nvPr/>
          </p:nvSpPr>
          <p:spPr bwMode="auto">
            <a:xfrm>
              <a:off x="8001000" y="5395913"/>
              <a:ext cx="100012" cy="252413"/>
            </a:xfrm>
            <a:custGeom>
              <a:avLst/>
              <a:gdLst>
                <a:gd name="T0" fmla="*/ 48 w 63"/>
                <a:gd name="T1" fmla="*/ 0 h 159"/>
                <a:gd name="T2" fmla="*/ 54 w 63"/>
                <a:gd name="T3" fmla="*/ 36 h 159"/>
                <a:gd name="T4" fmla="*/ 59 w 63"/>
                <a:gd name="T5" fmla="*/ 75 h 159"/>
                <a:gd name="T6" fmla="*/ 63 w 63"/>
                <a:gd name="T7" fmla="*/ 115 h 159"/>
                <a:gd name="T8" fmla="*/ 63 w 63"/>
                <a:gd name="T9" fmla="*/ 152 h 159"/>
                <a:gd name="T10" fmla="*/ 43 w 63"/>
                <a:gd name="T11" fmla="*/ 159 h 159"/>
                <a:gd name="T12" fmla="*/ 21 w 63"/>
                <a:gd name="T13" fmla="*/ 157 h 159"/>
                <a:gd name="T14" fmla="*/ 0 w 63"/>
                <a:gd name="T15" fmla="*/ 151 h 159"/>
                <a:gd name="T16" fmla="*/ 0 w 63"/>
                <a:gd name="T17" fmla="*/ 116 h 159"/>
                <a:gd name="T18" fmla="*/ 0 w 63"/>
                <a:gd name="T19" fmla="*/ 90 h 159"/>
                <a:gd name="T20" fmla="*/ 0 w 63"/>
                <a:gd name="T21" fmla="*/ 69 h 159"/>
                <a:gd name="T22" fmla="*/ 2 w 63"/>
                <a:gd name="T23" fmla="*/ 47 h 159"/>
                <a:gd name="T24" fmla="*/ 3 w 63"/>
                <a:gd name="T25" fmla="*/ 28 h 159"/>
                <a:gd name="T26" fmla="*/ 7 w 63"/>
                <a:gd name="T27" fmla="*/ 1 h 159"/>
                <a:gd name="T28" fmla="*/ 17 w 63"/>
                <a:gd name="T29" fmla="*/ 10 h 159"/>
                <a:gd name="T30" fmla="*/ 28 w 63"/>
                <a:gd name="T31" fmla="*/ 13 h 159"/>
                <a:gd name="T32" fmla="*/ 40 w 63"/>
                <a:gd name="T33" fmla="*/ 10 h 159"/>
                <a:gd name="T34" fmla="*/ 48 w 63"/>
                <a:gd name="T35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159">
                  <a:moveTo>
                    <a:pt x="48" y="0"/>
                  </a:moveTo>
                  <a:lnTo>
                    <a:pt x="54" y="36"/>
                  </a:lnTo>
                  <a:lnTo>
                    <a:pt x="59" y="75"/>
                  </a:lnTo>
                  <a:lnTo>
                    <a:pt x="63" y="115"/>
                  </a:lnTo>
                  <a:lnTo>
                    <a:pt x="63" y="152"/>
                  </a:lnTo>
                  <a:lnTo>
                    <a:pt x="43" y="159"/>
                  </a:lnTo>
                  <a:lnTo>
                    <a:pt x="21" y="157"/>
                  </a:lnTo>
                  <a:lnTo>
                    <a:pt x="0" y="151"/>
                  </a:lnTo>
                  <a:lnTo>
                    <a:pt x="0" y="116"/>
                  </a:lnTo>
                  <a:lnTo>
                    <a:pt x="0" y="90"/>
                  </a:lnTo>
                  <a:lnTo>
                    <a:pt x="0" y="69"/>
                  </a:lnTo>
                  <a:lnTo>
                    <a:pt x="2" y="47"/>
                  </a:lnTo>
                  <a:lnTo>
                    <a:pt x="3" y="28"/>
                  </a:lnTo>
                  <a:lnTo>
                    <a:pt x="7" y="1"/>
                  </a:lnTo>
                  <a:lnTo>
                    <a:pt x="17" y="10"/>
                  </a:lnTo>
                  <a:lnTo>
                    <a:pt x="28" y="13"/>
                  </a:lnTo>
                  <a:lnTo>
                    <a:pt x="40" y="1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6F6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4" name="Freeform 937"/>
            <p:cNvSpPr>
              <a:spLocks/>
            </p:cNvSpPr>
            <p:nvPr/>
          </p:nvSpPr>
          <p:spPr bwMode="auto">
            <a:xfrm>
              <a:off x="8001000" y="5635625"/>
              <a:ext cx="100012" cy="25400"/>
            </a:xfrm>
            <a:custGeom>
              <a:avLst/>
              <a:gdLst>
                <a:gd name="T0" fmla="*/ 0 w 63"/>
                <a:gd name="T1" fmla="*/ 0 h 16"/>
                <a:gd name="T2" fmla="*/ 31 w 63"/>
                <a:gd name="T3" fmla="*/ 5 h 16"/>
                <a:gd name="T4" fmla="*/ 63 w 63"/>
                <a:gd name="T5" fmla="*/ 1 h 16"/>
                <a:gd name="T6" fmla="*/ 63 w 63"/>
                <a:gd name="T7" fmla="*/ 11 h 16"/>
                <a:gd name="T8" fmla="*/ 49 w 63"/>
                <a:gd name="T9" fmla="*/ 15 h 16"/>
                <a:gd name="T10" fmla="*/ 35 w 63"/>
                <a:gd name="T11" fmla="*/ 16 h 16"/>
                <a:gd name="T12" fmla="*/ 18 w 63"/>
                <a:gd name="T13" fmla="*/ 15 h 16"/>
                <a:gd name="T14" fmla="*/ 0 w 63"/>
                <a:gd name="T15" fmla="*/ 11 h 16"/>
                <a:gd name="T16" fmla="*/ 0 w 63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6">
                  <a:moveTo>
                    <a:pt x="0" y="0"/>
                  </a:moveTo>
                  <a:lnTo>
                    <a:pt x="31" y="5"/>
                  </a:lnTo>
                  <a:lnTo>
                    <a:pt x="63" y="1"/>
                  </a:lnTo>
                  <a:lnTo>
                    <a:pt x="63" y="11"/>
                  </a:lnTo>
                  <a:lnTo>
                    <a:pt x="49" y="15"/>
                  </a:lnTo>
                  <a:lnTo>
                    <a:pt x="35" y="16"/>
                  </a:lnTo>
                  <a:lnTo>
                    <a:pt x="18" y="15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DDC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5" name="Freeform 938"/>
            <p:cNvSpPr>
              <a:spLocks/>
            </p:cNvSpPr>
            <p:nvPr/>
          </p:nvSpPr>
          <p:spPr bwMode="auto">
            <a:xfrm>
              <a:off x="8074025" y="5376863"/>
              <a:ext cx="84137" cy="398463"/>
            </a:xfrm>
            <a:custGeom>
              <a:avLst/>
              <a:gdLst>
                <a:gd name="T0" fmla="*/ 0 w 53"/>
                <a:gd name="T1" fmla="*/ 0 h 251"/>
                <a:gd name="T2" fmla="*/ 30 w 53"/>
                <a:gd name="T3" fmla="*/ 7 h 251"/>
                <a:gd name="T4" fmla="*/ 40 w 53"/>
                <a:gd name="T5" fmla="*/ 25 h 251"/>
                <a:gd name="T6" fmla="*/ 45 w 53"/>
                <a:gd name="T7" fmla="*/ 45 h 251"/>
                <a:gd name="T8" fmla="*/ 48 w 53"/>
                <a:gd name="T9" fmla="*/ 64 h 251"/>
                <a:gd name="T10" fmla="*/ 48 w 53"/>
                <a:gd name="T11" fmla="*/ 82 h 251"/>
                <a:gd name="T12" fmla="*/ 45 w 53"/>
                <a:gd name="T13" fmla="*/ 94 h 251"/>
                <a:gd name="T14" fmla="*/ 46 w 53"/>
                <a:gd name="T15" fmla="*/ 107 h 251"/>
                <a:gd name="T16" fmla="*/ 48 w 53"/>
                <a:gd name="T17" fmla="*/ 127 h 251"/>
                <a:gd name="T18" fmla="*/ 51 w 53"/>
                <a:gd name="T19" fmla="*/ 151 h 251"/>
                <a:gd name="T20" fmla="*/ 53 w 53"/>
                <a:gd name="T21" fmla="*/ 178 h 251"/>
                <a:gd name="T22" fmla="*/ 53 w 53"/>
                <a:gd name="T23" fmla="*/ 194 h 251"/>
                <a:gd name="T24" fmla="*/ 53 w 53"/>
                <a:gd name="T25" fmla="*/ 210 h 251"/>
                <a:gd name="T26" fmla="*/ 51 w 53"/>
                <a:gd name="T27" fmla="*/ 224 h 251"/>
                <a:gd name="T28" fmla="*/ 46 w 53"/>
                <a:gd name="T29" fmla="*/ 235 h 251"/>
                <a:gd name="T30" fmla="*/ 38 w 53"/>
                <a:gd name="T31" fmla="*/ 245 h 251"/>
                <a:gd name="T32" fmla="*/ 23 w 53"/>
                <a:gd name="T33" fmla="*/ 251 h 251"/>
                <a:gd name="T34" fmla="*/ 18 w 53"/>
                <a:gd name="T35" fmla="*/ 204 h 251"/>
                <a:gd name="T36" fmla="*/ 15 w 53"/>
                <a:gd name="T37" fmla="*/ 166 h 251"/>
                <a:gd name="T38" fmla="*/ 13 w 53"/>
                <a:gd name="T39" fmla="*/ 135 h 251"/>
                <a:gd name="T40" fmla="*/ 10 w 53"/>
                <a:gd name="T41" fmla="*/ 107 h 251"/>
                <a:gd name="T42" fmla="*/ 8 w 53"/>
                <a:gd name="T43" fmla="*/ 82 h 251"/>
                <a:gd name="T44" fmla="*/ 7 w 53"/>
                <a:gd name="T45" fmla="*/ 58 h 251"/>
                <a:gd name="T46" fmla="*/ 3 w 53"/>
                <a:gd name="T47" fmla="*/ 30 h 251"/>
                <a:gd name="T48" fmla="*/ 0 w 53"/>
                <a:gd name="T4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251">
                  <a:moveTo>
                    <a:pt x="0" y="0"/>
                  </a:moveTo>
                  <a:lnTo>
                    <a:pt x="30" y="7"/>
                  </a:lnTo>
                  <a:lnTo>
                    <a:pt x="40" y="25"/>
                  </a:lnTo>
                  <a:lnTo>
                    <a:pt x="45" y="45"/>
                  </a:lnTo>
                  <a:lnTo>
                    <a:pt x="48" y="64"/>
                  </a:lnTo>
                  <a:lnTo>
                    <a:pt x="48" y="82"/>
                  </a:lnTo>
                  <a:lnTo>
                    <a:pt x="45" y="94"/>
                  </a:lnTo>
                  <a:lnTo>
                    <a:pt x="46" y="107"/>
                  </a:lnTo>
                  <a:lnTo>
                    <a:pt x="48" y="127"/>
                  </a:lnTo>
                  <a:lnTo>
                    <a:pt x="51" y="151"/>
                  </a:lnTo>
                  <a:lnTo>
                    <a:pt x="53" y="178"/>
                  </a:lnTo>
                  <a:lnTo>
                    <a:pt x="53" y="194"/>
                  </a:lnTo>
                  <a:lnTo>
                    <a:pt x="53" y="210"/>
                  </a:lnTo>
                  <a:lnTo>
                    <a:pt x="51" y="224"/>
                  </a:lnTo>
                  <a:lnTo>
                    <a:pt x="46" y="235"/>
                  </a:lnTo>
                  <a:lnTo>
                    <a:pt x="38" y="245"/>
                  </a:lnTo>
                  <a:lnTo>
                    <a:pt x="23" y="251"/>
                  </a:lnTo>
                  <a:lnTo>
                    <a:pt x="18" y="204"/>
                  </a:lnTo>
                  <a:lnTo>
                    <a:pt x="15" y="166"/>
                  </a:lnTo>
                  <a:lnTo>
                    <a:pt x="13" y="135"/>
                  </a:lnTo>
                  <a:lnTo>
                    <a:pt x="10" y="107"/>
                  </a:lnTo>
                  <a:lnTo>
                    <a:pt x="8" y="82"/>
                  </a:lnTo>
                  <a:lnTo>
                    <a:pt x="7" y="58"/>
                  </a:lnTo>
                  <a:lnTo>
                    <a:pt x="3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6" name="Freeform 939"/>
            <p:cNvSpPr>
              <a:spLocks/>
            </p:cNvSpPr>
            <p:nvPr/>
          </p:nvSpPr>
          <p:spPr bwMode="auto">
            <a:xfrm>
              <a:off x="7931150" y="5380038"/>
              <a:ext cx="82550" cy="385763"/>
            </a:xfrm>
            <a:custGeom>
              <a:avLst/>
              <a:gdLst>
                <a:gd name="T0" fmla="*/ 49 w 52"/>
                <a:gd name="T1" fmla="*/ 0 h 243"/>
                <a:gd name="T2" fmla="*/ 51 w 52"/>
                <a:gd name="T3" fmla="*/ 43 h 243"/>
                <a:gd name="T4" fmla="*/ 52 w 52"/>
                <a:gd name="T5" fmla="*/ 79 h 243"/>
                <a:gd name="T6" fmla="*/ 51 w 52"/>
                <a:gd name="T7" fmla="*/ 110 h 243"/>
                <a:gd name="T8" fmla="*/ 49 w 52"/>
                <a:gd name="T9" fmla="*/ 138 h 243"/>
                <a:gd name="T10" fmla="*/ 46 w 52"/>
                <a:gd name="T11" fmla="*/ 169 h 243"/>
                <a:gd name="T12" fmla="*/ 39 w 52"/>
                <a:gd name="T13" fmla="*/ 202 h 243"/>
                <a:gd name="T14" fmla="*/ 33 w 52"/>
                <a:gd name="T15" fmla="*/ 243 h 243"/>
                <a:gd name="T16" fmla="*/ 16 w 52"/>
                <a:gd name="T17" fmla="*/ 238 h 243"/>
                <a:gd name="T18" fmla="*/ 6 w 52"/>
                <a:gd name="T19" fmla="*/ 230 h 243"/>
                <a:gd name="T20" fmla="*/ 1 w 52"/>
                <a:gd name="T21" fmla="*/ 220 h 243"/>
                <a:gd name="T22" fmla="*/ 0 w 52"/>
                <a:gd name="T23" fmla="*/ 205 h 243"/>
                <a:gd name="T24" fmla="*/ 0 w 52"/>
                <a:gd name="T25" fmla="*/ 177 h 243"/>
                <a:gd name="T26" fmla="*/ 1 w 52"/>
                <a:gd name="T27" fmla="*/ 154 h 243"/>
                <a:gd name="T28" fmla="*/ 3 w 52"/>
                <a:gd name="T29" fmla="*/ 136 h 243"/>
                <a:gd name="T30" fmla="*/ 6 w 52"/>
                <a:gd name="T31" fmla="*/ 116 h 243"/>
                <a:gd name="T32" fmla="*/ 11 w 52"/>
                <a:gd name="T33" fmla="*/ 93 h 243"/>
                <a:gd name="T34" fmla="*/ 6 w 52"/>
                <a:gd name="T35" fmla="*/ 72 h 243"/>
                <a:gd name="T36" fmla="*/ 5 w 52"/>
                <a:gd name="T37" fmla="*/ 47 h 243"/>
                <a:gd name="T38" fmla="*/ 8 w 52"/>
                <a:gd name="T39" fmla="*/ 23 h 243"/>
                <a:gd name="T40" fmla="*/ 14 w 52"/>
                <a:gd name="T41" fmla="*/ 3 h 243"/>
                <a:gd name="T42" fmla="*/ 34 w 52"/>
                <a:gd name="T43" fmla="*/ 0 h 243"/>
                <a:gd name="T44" fmla="*/ 49 w 52"/>
                <a:gd name="T4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243">
                  <a:moveTo>
                    <a:pt x="49" y="0"/>
                  </a:moveTo>
                  <a:lnTo>
                    <a:pt x="51" y="43"/>
                  </a:lnTo>
                  <a:lnTo>
                    <a:pt x="52" y="79"/>
                  </a:lnTo>
                  <a:lnTo>
                    <a:pt x="51" y="110"/>
                  </a:lnTo>
                  <a:lnTo>
                    <a:pt x="49" y="138"/>
                  </a:lnTo>
                  <a:lnTo>
                    <a:pt x="46" y="169"/>
                  </a:lnTo>
                  <a:lnTo>
                    <a:pt x="39" y="202"/>
                  </a:lnTo>
                  <a:lnTo>
                    <a:pt x="33" y="243"/>
                  </a:lnTo>
                  <a:lnTo>
                    <a:pt x="16" y="238"/>
                  </a:lnTo>
                  <a:lnTo>
                    <a:pt x="6" y="230"/>
                  </a:lnTo>
                  <a:lnTo>
                    <a:pt x="1" y="220"/>
                  </a:lnTo>
                  <a:lnTo>
                    <a:pt x="0" y="205"/>
                  </a:lnTo>
                  <a:lnTo>
                    <a:pt x="0" y="177"/>
                  </a:lnTo>
                  <a:lnTo>
                    <a:pt x="1" y="154"/>
                  </a:lnTo>
                  <a:lnTo>
                    <a:pt x="3" y="136"/>
                  </a:lnTo>
                  <a:lnTo>
                    <a:pt x="6" y="116"/>
                  </a:lnTo>
                  <a:lnTo>
                    <a:pt x="11" y="93"/>
                  </a:lnTo>
                  <a:lnTo>
                    <a:pt x="6" y="72"/>
                  </a:lnTo>
                  <a:lnTo>
                    <a:pt x="5" y="47"/>
                  </a:lnTo>
                  <a:lnTo>
                    <a:pt x="8" y="23"/>
                  </a:lnTo>
                  <a:lnTo>
                    <a:pt x="14" y="3"/>
                  </a:lnTo>
                  <a:lnTo>
                    <a:pt x="34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7" name="Freeform 940"/>
            <p:cNvSpPr>
              <a:spLocks/>
            </p:cNvSpPr>
            <p:nvPr/>
          </p:nvSpPr>
          <p:spPr bwMode="auto">
            <a:xfrm>
              <a:off x="8285163" y="5481638"/>
              <a:ext cx="96837" cy="28575"/>
            </a:xfrm>
            <a:custGeom>
              <a:avLst/>
              <a:gdLst>
                <a:gd name="T0" fmla="*/ 10 w 61"/>
                <a:gd name="T1" fmla="*/ 0 h 18"/>
                <a:gd name="T2" fmla="*/ 14 w 61"/>
                <a:gd name="T3" fmla="*/ 2 h 18"/>
                <a:gd name="T4" fmla="*/ 20 w 61"/>
                <a:gd name="T5" fmla="*/ 2 h 18"/>
                <a:gd name="T6" fmla="*/ 30 w 61"/>
                <a:gd name="T7" fmla="*/ 3 h 18"/>
                <a:gd name="T8" fmla="*/ 38 w 61"/>
                <a:gd name="T9" fmla="*/ 5 h 18"/>
                <a:gd name="T10" fmla="*/ 43 w 61"/>
                <a:gd name="T11" fmla="*/ 5 h 18"/>
                <a:gd name="T12" fmla="*/ 46 w 61"/>
                <a:gd name="T13" fmla="*/ 5 h 18"/>
                <a:gd name="T14" fmla="*/ 50 w 61"/>
                <a:gd name="T15" fmla="*/ 3 h 18"/>
                <a:gd name="T16" fmla="*/ 53 w 61"/>
                <a:gd name="T17" fmla="*/ 3 h 18"/>
                <a:gd name="T18" fmla="*/ 58 w 61"/>
                <a:gd name="T19" fmla="*/ 3 h 18"/>
                <a:gd name="T20" fmla="*/ 60 w 61"/>
                <a:gd name="T21" fmla="*/ 3 h 18"/>
                <a:gd name="T22" fmla="*/ 61 w 61"/>
                <a:gd name="T23" fmla="*/ 5 h 18"/>
                <a:gd name="T24" fmla="*/ 61 w 61"/>
                <a:gd name="T25" fmla="*/ 6 h 18"/>
                <a:gd name="T26" fmla="*/ 60 w 61"/>
                <a:gd name="T27" fmla="*/ 6 h 18"/>
                <a:gd name="T28" fmla="*/ 58 w 61"/>
                <a:gd name="T29" fmla="*/ 8 h 18"/>
                <a:gd name="T30" fmla="*/ 58 w 61"/>
                <a:gd name="T31" fmla="*/ 8 h 18"/>
                <a:gd name="T32" fmla="*/ 56 w 61"/>
                <a:gd name="T33" fmla="*/ 10 h 18"/>
                <a:gd name="T34" fmla="*/ 53 w 61"/>
                <a:gd name="T35" fmla="*/ 11 h 18"/>
                <a:gd name="T36" fmla="*/ 50 w 61"/>
                <a:gd name="T37" fmla="*/ 13 h 18"/>
                <a:gd name="T38" fmla="*/ 45 w 61"/>
                <a:gd name="T39" fmla="*/ 15 h 18"/>
                <a:gd name="T40" fmla="*/ 42 w 61"/>
                <a:gd name="T41" fmla="*/ 16 h 18"/>
                <a:gd name="T42" fmla="*/ 40 w 61"/>
                <a:gd name="T43" fmla="*/ 18 h 18"/>
                <a:gd name="T44" fmla="*/ 38 w 61"/>
                <a:gd name="T45" fmla="*/ 18 h 18"/>
                <a:gd name="T46" fmla="*/ 33 w 61"/>
                <a:gd name="T47" fmla="*/ 16 h 18"/>
                <a:gd name="T48" fmla="*/ 30 w 61"/>
                <a:gd name="T49" fmla="*/ 16 h 18"/>
                <a:gd name="T50" fmla="*/ 25 w 61"/>
                <a:gd name="T51" fmla="*/ 15 h 18"/>
                <a:gd name="T52" fmla="*/ 22 w 61"/>
                <a:gd name="T53" fmla="*/ 13 h 18"/>
                <a:gd name="T54" fmla="*/ 17 w 61"/>
                <a:gd name="T55" fmla="*/ 13 h 18"/>
                <a:gd name="T56" fmla="*/ 14 w 61"/>
                <a:gd name="T57" fmla="*/ 13 h 18"/>
                <a:gd name="T58" fmla="*/ 10 w 61"/>
                <a:gd name="T59" fmla="*/ 13 h 18"/>
                <a:gd name="T60" fmla="*/ 9 w 61"/>
                <a:gd name="T61" fmla="*/ 13 h 18"/>
                <a:gd name="T62" fmla="*/ 7 w 61"/>
                <a:gd name="T63" fmla="*/ 15 h 18"/>
                <a:gd name="T64" fmla="*/ 7 w 61"/>
                <a:gd name="T65" fmla="*/ 15 h 18"/>
                <a:gd name="T66" fmla="*/ 5 w 61"/>
                <a:gd name="T67" fmla="*/ 15 h 18"/>
                <a:gd name="T68" fmla="*/ 4 w 61"/>
                <a:gd name="T69" fmla="*/ 16 h 18"/>
                <a:gd name="T70" fmla="*/ 2 w 61"/>
                <a:gd name="T71" fmla="*/ 18 h 18"/>
                <a:gd name="T72" fmla="*/ 2 w 61"/>
                <a:gd name="T73" fmla="*/ 18 h 18"/>
                <a:gd name="T74" fmla="*/ 0 w 61"/>
                <a:gd name="T75" fmla="*/ 16 h 18"/>
                <a:gd name="T76" fmla="*/ 2 w 61"/>
                <a:gd name="T77" fmla="*/ 15 h 18"/>
                <a:gd name="T78" fmla="*/ 4 w 61"/>
                <a:gd name="T79" fmla="*/ 11 h 18"/>
                <a:gd name="T80" fmla="*/ 5 w 61"/>
                <a:gd name="T81" fmla="*/ 6 h 18"/>
                <a:gd name="T82" fmla="*/ 7 w 61"/>
                <a:gd name="T83" fmla="*/ 3 h 18"/>
                <a:gd name="T84" fmla="*/ 9 w 61"/>
                <a:gd name="T85" fmla="*/ 2 h 18"/>
                <a:gd name="T86" fmla="*/ 10 w 61"/>
                <a:gd name="T8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" h="18">
                  <a:moveTo>
                    <a:pt x="10" y="0"/>
                  </a:moveTo>
                  <a:lnTo>
                    <a:pt x="14" y="2"/>
                  </a:lnTo>
                  <a:lnTo>
                    <a:pt x="20" y="2"/>
                  </a:lnTo>
                  <a:lnTo>
                    <a:pt x="30" y="3"/>
                  </a:lnTo>
                  <a:lnTo>
                    <a:pt x="38" y="5"/>
                  </a:lnTo>
                  <a:lnTo>
                    <a:pt x="43" y="5"/>
                  </a:lnTo>
                  <a:lnTo>
                    <a:pt x="46" y="5"/>
                  </a:lnTo>
                  <a:lnTo>
                    <a:pt x="50" y="3"/>
                  </a:lnTo>
                  <a:lnTo>
                    <a:pt x="53" y="3"/>
                  </a:lnTo>
                  <a:lnTo>
                    <a:pt x="58" y="3"/>
                  </a:lnTo>
                  <a:lnTo>
                    <a:pt x="60" y="3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6" y="10"/>
                  </a:lnTo>
                  <a:lnTo>
                    <a:pt x="53" y="11"/>
                  </a:lnTo>
                  <a:lnTo>
                    <a:pt x="50" y="13"/>
                  </a:lnTo>
                  <a:lnTo>
                    <a:pt x="45" y="15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8" y="18"/>
                  </a:lnTo>
                  <a:lnTo>
                    <a:pt x="33" y="16"/>
                  </a:lnTo>
                  <a:lnTo>
                    <a:pt x="30" y="16"/>
                  </a:lnTo>
                  <a:lnTo>
                    <a:pt x="25" y="15"/>
                  </a:lnTo>
                  <a:lnTo>
                    <a:pt x="22" y="13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5" y="15"/>
                  </a:lnTo>
                  <a:lnTo>
                    <a:pt x="4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5" y="6"/>
                  </a:lnTo>
                  <a:lnTo>
                    <a:pt x="7" y="3"/>
                  </a:lnTo>
                  <a:lnTo>
                    <a:pt x="9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8" name="Freeform 941"/>
            <p:cNvSpPr>
              <a:spLocks/>
            </p:cNvSpPr>
            <p:nvPr/>
          </p:nvSpPr>
          <p:spPr bwMode="auto">
            <a:xfrm>
              <a:off x="8121650" y="5387975"/>
              <a:ext cx="182562" cy="195263"/>
            </a:xfrm>
            <a:custGeom>
              <a:avLst/>
              <a:gdLst>
                <a:gd name="T0" fmla="*/ 0 w 115"/>
                <a:gd name="T1" fmla="*/ 0 h 123"/>
                <a:gd name="T2" fmla="*/ 10 w 115"/>
                <a:gd name="T3" fmla="*/ 5 h 123"/>
                <a:gd name="T4" fmla="*/ 19 w 115"/>
                <a:gd name="T5" fmla="*/ 18 h 123"/>
                <a:gd name="T6" fmla="*/ 31 w 115"/>
                <a:gd name="T7" fmla="*/ 34 h 123"/>
                <a:gd name="T8" fmla="*/ 41 w 115"/>
                <a:gd name="T9" fmla="*/ 56 h 123"/>
                <a:gd name="T10" fmla="*/ 54 w 115"/>
                <a:gd name="T11" fmla="*/ 75 h 123"/>
                <a:gd name="T12" fmla="*/ 56 w 115"/>
                <a:gd name="T13" fmla="*/ 79 h 123"/>
                <a:gd name="T14" fmla="*/ 59 w 115"/>
                <a:gd name="T15" fmla="*/ 80 h 123"/>
                <a:gd name="T16" fmla="*/ 62 w 115"/>
                <a:gd name="T17" fmla="*/ 77 h 123"/>
                <a:gd name="T18" fmla="*/ 69 w 115"/>
                <a:gd name="T19" fmla="*/ 72 h 123"/>
                <a:gd name="T20" fmla="*/ 79 w 115"/>
                <a:gd name="T21" fmla="*/ 62 h 123"/>
                <a:gd name="T22" fmla="*/ 94 w 115"/>
                <a:gd name="T23" fmla="*/ 51 h 123"/>
                <a:gd name="T24" fmla="*/ 102 w 115"/>
                <a:gd name="T25" fmla="*/ 62 h 123"/>
                <a:gd name="T26" fmla="*/ 108 w 115"/>
                <a:gd name="T27" fmla="*/ 74 h 123"/>
                <a:gd name="T28" fmla="*/ 115 w 115"/>
                <a:gd name="T29" fmla="*/ 90 h 123"/>
                <a:gd name="T30" fmla="*/ 105 w 115"/>
                <a:gd name="T31" fmla="*/ 95 h 123"/>
                <a:gd name="T32" fmla="*/ 94 w 115"/>
                <a:gd name="T33" fmla="*/ 103 h 123"/>
                <a:gd name="T34" fmla="*/ 80 w 115"/>
                <a:gd name="T35" fmla="*/ 111 h 123"/>
                <a:gd name="T36" fmla="*/ 67 w 115"/>
                <a:gd name="T37" fmla="*/ 118 h 123"/>
                <a:gd name="T38" fmla="*/ 56 w 115"/>
                <a:gd name="T39" fmla="*/ 123 h 123"/>
                <a:gd name="T40" fmla="*/ 47 w 115"/>
                <a:gd name="T41" fmla="*/ 123 h 123"/>
                <a:gd name="T42" fmla="*/ 41 w 115"/>
                <a:gd name="T43" fmla="*/ 120 h 123"/>
                <a:gd name="T44" fmla="*/ 33 w 115"/>
                <a:gd name="T45" fmla="*/ 110 h 123"/>
                <a:gd name="T46" fmla="*/ 23 w 115"/>
                <a:gd name="T47" fmla="*/ 98 h 123"/>
                <a:gd name="T48" fmla="*/ 15 w 115"/>
                <a:gd name="T49" fmla="*/ 87 h 123"/>
                <a:gd name="T50" fmla="*/ 6 w 115"/>
                <a:gd name="T51" fmla="*/ 56 h 123"/>
                <a:gd name="T52" fmla="*/ 3 w 115"/>
                <a:gd name="T53" fmla="*/ 28 h 123"/>
                <a:gd name="T54" fmla="*/ 0 w 115"/>
                <a:gd name="T5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5" h="123">
                  <a:moveTo>
                    <a:pt x="0" y="0"/>
                  </a:moveTo>
                  <a:lnTo>
                    <a:pt x="10" y="5"/>
                  </a:lnTo>
                  <a:lnTo>
                    <a:pt x="19" y="18"/>
                  </a:lnTo>
                  <a:lnTo>
                    <a:pt x="31" y="34"/>
                  </a:lnTo>
                  <a:lnTo>
                    <a:pt x="41" y="56"/>
                  </a:lnTo>
                  <a:lnTo>
                    <a:pt x="54" y="75"/>
                  </a:lnTo>
                  <a:lnTo>
                    <a:pt x="56" y="79"/>
                  </a:lnTo>
                  <a:lnTo>
                    <a:pt x="59" y="80"/>
                  </a:lnTo>
                  <a:lnTo>
                    <a:pt x="62" y="77"/>
                  </a:lnTo>
                  <a:lnTo>
                    <a:pt x="69" y="72"/>
                  </a:lnTo>
                  <a:lnTo>
                    <a:pt x="79" y="62"/>
                  </a:lnTo>
                  <a:lnTo>
                    <a:pt x="94" y="51"/>
                  </a:lnTo>
                  <a:lnTo>
                    <a:pt x="102" y="62"/>
                  </a:lnTo>
                  <a:lnTo>
                    <a:pt x="108" y="74"/>
                  </a:lnTo>
                  <a:lnTo>
                    <a:pt x="115" y="90"/>
                  </a:lnTo>
                  <a:lnTo>
                    <a:pt x="105" y="95"/>
                  </a:lnTo>
                  <a:lnTo>
                    <a:pt x="94" y="103"/>
                  </a:lnTo>
                  <a:lnTo>
                    <a:pt x="80" y="111"/>
                  </a:lnTo>
                  <a:lnTo>
                    <a:pt x="67" y="118"/>
                  </a:lnTo>
                  <a:lnTo>
                    <a:pt x="56" y="123"/>
                  </a:lnTo>
                  <a:lnTo>
                    <a:pt x="47" y="123"/>
                  </a:lnTo>
                  <a:lnTo>
                    <a:pt x="41" y="120"/>
                  </a:lnTo>
                  <a:lnTo>
                    <a:pt x="33" y="110"/>
                  </a:lnTo>
                  <a:lnTo>
                    <a:pt x="23" y="98"/>
                  </a:lnTo>
                  <a:lnTo>
                    <a:pt x="15" y="87"/>
                  </a:lnTo>
                  <a:lnTo>
                    <a:pt x="6" y="56"/>
                  </a:lnTo>
                  <a:lnTo>
                    <a:pt x="3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9" name="Freeform 942"/>
            <p:cNvSpPr>
              <a:spLocks/>
            </p:cNvSpPr>
            <p:nvPr/>
          </p:nvSpPr>
          <p:spPr bwMode="auto">
            <a:xfrm>
              <a:off x="7907338" y="5688013"/>
              <a:ext cx="69850" cy="80963"/>
            </a:xfrm>
            <a:custGeom>
              <a:avLst/>
              <a:gdLst>
                <a:gd name="T0" fmla="*/ 18 w 44"/>
                <a:gd name="T1" fmla="*/ 0 h 51"/>
                <a:gd name="T2" fmla="*/ 18 w 44"/>
                <a:gd name="T3" fmla="*/ 0 h 51"/>
                <a:gd name="T4" fmla="*/ 18 w 44"/>
                <a:gd name="T5" fmla="*/ 3 h 51"/>
                <a:gd name="T6" fmla="*/ 18 w 44"/>
                <a:gd name="T7" fmla="*/ 6 h 51"/>
                <a:gd name="T8" fmla="*/ 18 w 44"/>
                <a:gd name="T9" fmla="*/ 10 h 51"/>
                <a:gd name="T10" fmla="*/ 18 w 44"/>
                <a:gd name="T11" fmla="*/ 13 h 51"/>
                <a:gd name="T12" fmla="*/ 18 w 44"/>
                <a:gd name="T13" fmla="*/ 14 h 51"/>
                <a:gd name="T14" fmla="*/ 21 w 44"/>
                <a:gd name="T15" fmla="*/ 16 h 51"/>
                <a:gd name="T16" fmla="*/ 25 w 44"/>
                <a:gd name="T17" fmla="*/ 18 h 51"/>
                <a:gd name="T18" fmla="*/ 26 w 44"/>
                <a:gd name="T19" fmla="*/ 19 h 51"/>
                <a:gd name="T20" fmla="*/ 29 w 44"/>
                <a:gd name="T21" fmla="*/ 19 h 51"/>
                <a:gd name="T22" fmla="*/ 33 w 44"/>
                <a:gd name="T23" fmla="*/ 21 h 51"/>
                <a:gd name="T24" fmla="*/ 36 w 44"/>
                <a:gd name="T25" fmla="*/ 24 h 51"/>
                <a:gd name="T26" fmla="*/ 39 w 44"/>
                <a:gd name="T27" fmla="*/ 26 h 51"/>
                <a:gd name="T28" fmla="*/ 41 w 44"/>
                <a:gd name="T29" fmla="*/ 29 h 51"/>
                <a:gd name="T30" fmla="*/ 43 w 44"/>
                <a:gd name="T31" fmla="*/ 33 h 51"/>
                <a:gd name="T32" fmla="*/ 43 w 44"/>
                <a:gd name="T33" fmla="*/ 36 h 51"/>
                <a:gd name="T34" fmla="*/ 44 w 44"/>
                <a:gd name="T35" fmla="*/ 41 h 51"/>
                <a:gd name="T36" fmla="*/ 43 w 44"/>
                <a:gd name="T37" fmla="*/ 46 h 51"/>
                <a:gd name="T38" fmla="*/ 43 w 44"/>
                <a:gd name="T39" fmla="*/ 49 h 51"/>
                <a:gd name="T40" fmla="*/ 41 w 44"/>
                <a:gd name="T41" fmla="*/ 51 h 51"/>
                <a:gd name="T42" fmla="*/ 38 w 44"/>
                <a:gd name="T43" fmla="*/ 51 h 51"/>
                <a:gd name="T44" fmla="*/ 36 w 44"/>
                <a:gd name="T45" fmla="*/ 51 h 51"/>
                <a:gd name="T46" fmla="*/ 31 w 44"/>
                <a:gd name="T47" fmla="*/ 51 h 51"/>
                <a:gd name="T48" fmla="*/ 28 w 44"/>
                <a:gd name="T49" fmla="*/ 47 h 51"/>
                <a:gd name="T50" fmla="*/ 26 w 44"/>
                <a:gd name="T51" fmla="*/ 44 h 51"/>
                <a:gd name="T52" fmla="*/ 25 w 44"/>
                <a:gd name="T53" fmla="*/ 41 h 51"/>
                <a:gd name="T54" fmla="*/ 21 w 44"/>
                <a:gd name="T55" fmla="*/ 37 h 51"/>
                <a:gd name="T56" fmla="*/ 16 w 44"/>
                <a:gd name="T57" fmla="*/ 34 h 51"/>
                <a:gd name="T58" fmla="*/ 13 w 44"/>
                <a:gd name="T59" fmla="*/ 34 h 51"/>
                <a:gd name="T60" fmla="*/ 11 w 44"/>
                <a:gd name="T61" fmla="*/ 33 h 51"/>
                <a:gd name="T62" fmla="*/ 8 w 44"/>
                <a:gd name="T63" fmla="*/ 31 h 51"/>
                <a:gd name="T64" fmla="*/ 5 w 44"/>
                <a:gd name="T65" fmla="*/ 28 h 51"/>
                <a:gd name="T66" fmla="*/ 3 w 44"/>
                <a:gd name="T67" fmla="*/ 24 h 51"/>
                <a:gd name="T68" fmla="*/ 3 w 44"/>
                <a:gd name="T69" fmla="*/ 21 h 51"/>
                <a:gd name="T70" fmla="*/ 1 w 44"/>
                <a:gd name="T71" fmla="*/ 16 h 51"/>
                <a:gd name="T72" fmla="*/ 1 w 44"/>
                <a:gd name="T73" fmla="*/ 13 h 51"/>
                <a:gd name="T74" fmla="*/ 1 w 44"/>
                <a:gd name="T75" fmla="*/ 10 h 51"/>
                <a:gd name="T76" fmla="*/ 0 w 44"/>
                <a:gd name="T77" fmla="*/ 6 h 51"/>
                <a:gd name="T78" fmla="*/ 0 w 44"/>
                <a:gd name="T79" fmla="*/ 5 h 51"/>
                <a:gd name="T80" fmla="*/ 18 w 44"/>
                <a:gd name="T8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4" h="51">
                  <a:moveTo>
                    <a:pt x="18" y="0"/>
                  </a:moveTo>
                  <a:lnTo>
                    <a:pt x="18" y="0"/>
                  </a:lnTo>
                  <a:lnTo>
                    <a:pt x="18" y="3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21" y="16"/>
                  </a:lnTo>
                  <a:lnTo>
                    <a:pt x="25" y="18"/>
                  </a:lnTo>
                  <a:lnTo>
                    <a:pt x="26" y="19"/>
                  </a:lnTo>
                  <a:lnTo>
                    <a:pt x="29" y="19"/>
                  </a:lnTo>
                  <a:lnTo>
                    <a:pt x="33" y="21"/>
                  </a:lnTo>
                  <a:lnTo>
                    <a:pt x="36" y="24"/>
                  </a:lnTo>
                  <a:lnTo>
                    <a:pt x="39" y="26"/>
                  </a:lnTo>
                  <a:lnTo>
                    <a:pt x="41" y="29"/>
                  </a:lnTo>
                  <a:lnTo>
                    <a:pt x="43" y="33"/>
                  </a:lnTo>
                  <a:lnTo>
                    <a:pt x="43" y="36"/>
                  </a:lnTo>
                  <a:lnTo>
                    <a:pt x="44" y="41"/>
                  </a:lnTo>
                  <a:lnTo>
                    <a:pt x="43" y="46"/>
                  </a:lnTo>
                  <a:lnTo>
                    <a:pt x="43" y="49"/>
                  </a:lnTo>
                  <a:lnTo>
                    <a:pt x="41" y="51"/>
                  </a:lnTo>
                  <a:lnTo>
                    <a:pt x="38" y="51"/>
                  </a:lnTo>
                  <a:lnTo>
                    <a:pt x="36" y="51"/>
                  </a:lnTo>
                  <a:lnTo>
                    <a:pt x="31" y="51"/>
                  </a:lnTo>
                  <a:lnTo>
                    <a:pt x="28" y="47"/>
                  </a:lnTo>
                  <a:lnTo>
                    <a:pt x="26" y="44"/>
                  </a:lnTo>
                  <a:lnTo>
                    <a:pt x="25" y="41"/>
                  </a:lnTo>
                  <a:lnTo>
                    <a:pt x="21" y="37"/>
                  </a:lnTo>
                  <a:lnTo>
                    <a:pt x="16" y="34"/>
                  </a:lnTo>
                  <a:lnTo>
                    <a:pt x="13" y="34"/>
                  </a:lnTo>
                  <a:lnTo>
                    <a:pt x="11" y="33"/>
                  </a:lnTo>
                  <a:lnTo>
                    <a:pt x="8" y="31"/>
                  </a:lnTo>
                  <a:lnTo>
                    <a:pt x="5" y="28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1" y="10"/>
                  </a:lnTo>
                  <a:lnTo>
                    <a:pt x="0" y="6"/>
                  </a:lnTo>
                  <a:lnTo>
                    <a:pt x="0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0" name="Freeform 943"/>
            <p:cNvSpPr>
              <a:spLocks/>
            </p:cNvSpPr>
            <p:nvPr/>
          </p:nvSpPr>
          <p:spPr bwMode="auto">
            <a:xfrm>
              <a:off x="7875588" y="5384800"/>
              <a:ext cx="80962" cy="325438"/>
            </a:xfrm>
            <a:custGeom>
              <a:avLst/>
              <a:gdLst>
                <a:gd name="T0" fmla="*/ 49 w 51"/>
                <a:gd name="T1" fmla="*/ 0 h 205"/>
                <a:gd name="T2" fmla="*/ 51 w 51"/>
                <a:gd name="T3" fmla="*/ 31 h 205"/>
                <a:gd name="T4" fmla="*/ 49 w 51"/>
                <a:gd name="T5" fmla="*/ 59 h 205"/>
                <a:gd name="T6" fmla="*/ 46 w 51"/>
                <a:gd name="T7" fmla="*/ 90 h 205"/>
                <a:gd name="T8" fmla="*/ 43 w 51"/>
                <a:gd name="T9" fmla="*/ 115 h 205"/>
                <a:gd name="T10" fmla="*/ 41 w 51"/>
                <a:gd name="T11" fmla="*/ 135 h 205"/>
                <a:gd name="T12" fmla="*/ 41 w 51"/>
                <a:gd name="T13" fmla="*/ 151 h 205"/>
                <a:gd name="T14" fmla="*/ 43 w 51"/>
                <a:gd name="T15" fmla="*/ 171 h 205"/>
                <a:gd name="T16" fmla="*/ 46 w 51"/>
                <a:gd name="T17" fmla="*/ 196 h 205"/>
                <a:gd name="T18" fmla="*/ 35 w 51"/>
                <a:gd name="T19" fmla="*/ 202 h 205"/>
                <a:gd name="T20" fmla="*/ 23 w 51"/>
                <a:gd name="T21" fmla="*/ 205 h 205"/>
                <a:gd name="T22" fmla="*/ 7 w 51"/>
                <a:gd name="T23" fmla="*/ 205 h 205"/>
                <a:gd name="T24" fmla="*/ 2 w 51"/>
                <a:gd name="T25" fmla="*/ 179 h 205"/>
                <a:gd name="T26" fmla="*/ 0 w 51"/>
                <a:gd name="T27" fmla="*/ 150 h 205"/>
                <a:gd name="T28" fmla="*/ 2 w 51"/>
                <a:gd name="T29" fmla="*/ 120 h 205"/>
                <a:gd name="T30" fmla="*/ 7 w 51"/>
                <a:gd name="T31" fmla="*/ 89 h 205"/>
                <a:gd name="T32" fmla="*/ 13 w 51"/>
                <a:gd name="T33" fmla="*/ 61 h 205"/>
                <a:gd name="T34" fmla="*/ 20 w 51"/>
                <a:gd name="T35" fmla="*/ 38 h 205"/>
                <a:gd name="T36" fmla="*/ 26 w 51"/>
                <a:gd name="T37" fmla="*/ 22 h 205"/>
                <a:gd name="T38" fmla="*/ 36 w 51"/>
                <a:gd name="T39" fmla="*/ 8 h 205"/>
                <a:gd name="T40" fmla="*/ 49 w 51"/>
                <a:gd name="T4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205">
                  <a:moveTo>
                    <a:pt x="49" y="0"/>
                  </a:moveTo>
                  <a:lnTo>
                    <a:pt x="51" y="31"/>
                  </a:lnTo>
                  <a:lnTo>
                    <a:pt x="49" y="59"/>
                  </a:lnTo>
                  <a:lnTo>
                    <a:pt x="46" y="90"/>
                  </a:lnTo>
                  <a:lnTo>
                    <a:pt x="43" y="115"/>
                  </a:lnTo>
                  <a:lnTo>
                    <a:pt x="41" y="135"/>
                  </a:lnTo>
                  <a:lnTo>
                    <a:pt x="41" y="151"/>
                  </a:lnTo>
                  <a:lnTo>
                    <a:pt x="43" y="171"/>
                  </a:lnTo>
                  <a:lnTo>
                    <a:pt x="46" y="196"/>
                  </a:lnTo>
                  <a:lnTo>
                    <a:pt x="35" y="202"/>
                  </a:lnTo>
                  <a:lnTo>
                    <a:pt x="23" y="205"/>
                  </a:lnTo>
                  <a:lnTo>
                    <a:pt x="7" y="205"/>
                  </a:lnTo>
                  <a:lnTo>
                    <a:pt x="2" y="179"/>
                  </a:lnTo>
                  <a:lnTo>
                    <a:pt x="0" y="150"/>
                  </a:lnTo>
                  <a:lnTo>
                    <a:pt x="2" y="120"/>
                  </a:lnTo>
                  <a:lnTo>
                    <a:pt x="7" y="89"/>
                  </a:lnTo>
                  <a:lnTo>
                    <a:pt x="13" y="61"/>
                  </a:lnTo>
                  <a:lnTo>
                    <a:pt x="20" y="38"/>
                  </a:lnTo>
                  <a:lnTo>
                    <a:pt x="26" y="22"/>
                  </a:lnTo>
                  <a:lnTo>
                    <a:pt x="36" y="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1" name="Freeform 944"/>
            <p:cNvSpPr>
              <a:spLocks/>
            </p:cNvSpPr>
            <p:nvPr/>
          </p:nvSpPr>
          <p:spPr bwMode="auto">
            <a:xfrm>
              <a:off x="8001000" y="5173663"/>
              <a:ext cx="153987" cy="300038"/>
            </a:xfrm>
            <a:custGeom>
              <a:avLst/>
              <a:gdLst>
                <a:gd name="T0" fmla="*/ 43 w 97"/>
                <a:gd name="T1" fmla="*/ 0 h 189"/>
                <a:gd name="T2" fmla="*/ 59 w 97"/>
                <a:gd name="T3" fmla="*/ 7 h 189"/>
                <a:gd name="T4" fmla="*/ 72 w 97"/>
                <a:gd name="T5" fmla="*/ 17 h 189"/>
                <a:gd name="T6" fmla="*/ 82 w 97"/>
                <a:gd name="T7" fmla="*/ 28 h 189"/>
                <a:gd name="T8" fmla="*/ 89 w 97"/>
                <a:gd name="T9" fmla="*/ 43 h 189"/>
                <a:gd name="T10" fmla="*/ 92 w 97"/>
                <a:gd name="T11" fmla="*/ 54 h 189"/>
                <a:gd name="T12" fmla="*/ 91 w 97"/>
                <a:gd name="T13" fmla="*/ 66 h 189"/>
                <a:gd name="T14" fmla="*/ 86 w 97"/>
                <a:gd name="T15" fmla="*/ 84 h 189"/>
                <a:gd name="T16" fmla="*/ 84 w 97"/>
                <a:gd name="T17" fmla="*/ 100 h 189"/>
                <a:gd name="T18" fmla="*/ 84 w 97"/>
                <a:gd name="T19" fmla="*/ 120 h 189"/>
                <a:gd name="T20" fmla="*/ 91 w 97"/>
                <a:gd name="T21" fmla="*/ 140 h 189"/>
                <a:gd name="T22" fmla="*/ 95 w 97"/>
                <a:gd name="T23" fmla="*/ 156 h 189"/>
                <a:gd name="T24" fmla="*/ 97 w 97"/>
                <a:gd name="T25" fmla="*/ 169 h 189"/>
                <a:gd name="T26" fmla="*/ 95 w 97"/>
                <a:gd name="T27" fmla="*/ 179 h 189"/>
                <a:gd name="T28" fmla="*/ 92 w 97"/>
                <a:gd name="T29" fmla="*/ 186 h 189"/>
                <a:gd name="T30" fmla="*/ 91 w 97"/>
                <a:gd name="T31" fmla="*/ 189 h 189"/>
                <a:gd name="T32" fmla="*/ 81 w 97"/>
                <a:gd name="T33" fmla="*/ 184 h 189"/>
                <a:gd name="T34" fmla="*/ 69 w 97"/>
                <a:gd name="T35" fmla="*/ 174 h 189"/>
                <a:gd name="T36" fmla="*/ 58 w 97"/>
                <a:gd name="T37" fmla="*/ 161 h 189"/>
                <a:gd name="T38" fmla="*/ 48 w 97"/>
                <a:gd name="T39" fmla="*/ 148 h 189"/>
                <a:gd name="T40" fmla="*/ 41 w 97"/>
                <a:gd name="T41" fmla="*/ 138 h 189"/>
                <a:gd name="T42" fmla="*/ 38 w 97"/>
                <a:gd name="T43" fmla="*/ 132 h 189"/>
                <a:gd name="T44" fmla="*/ 35 w 97"/>
                <a:gd name="T45" fmla="*/ 130 h 189"/>
                <a:gd name="T46" fmla="*/ 35 w 97"/>
                <a:gd name="T47" fmla="*/ 127 h 189"/>
                <a:gd name="T48" fmla="*/ 33 w 97"/>
                <a:gd name="T49" fmla="*/ 123 h 189"/>
                <a:gd name="T50" fmla="*/ 33 w 97"/>
                <a:gd name="T51" fmla="*/ 118 h 189"/>
                <a:gd name="T52" fmla="*/ 33 w 97"/>
                <a:gd name="T53" fmla="*/ 117 h 189"/>
                <a:gd name="T54" fmla="*/ 35 w 97"/>
                <a:gd name="T55" fmla="*/ 112 h 189"/>
                <a:gd name="T56" fmla="*/ 38 w 97"/>
                <a:gd name="T57" fmla="*/ 102 h 189"/>
                <a:gd name="T58" fmla="*/ 43 w 97"/>
                <a:gd name="T59" fmla="*/ 92 h 189"/>
                <a:gd name="T60" fmla="*/ 49 w 97"/>
                <a:gd name="T61" fmla="*/ 81 h 189"/>
                <a:gd name="T62" fmla="*/ 53 w 97"/>
                <a:gd name="T63" fmla="*/ 71 h 189"/>
                <a:gd name="T64" fmla="*/ 53 w 97"/>
                <a:gd name="T65" fmla="*/ 66 h 189"/>
                <a:gd name="T66" fmla="*/ 48 w 97"/>
                <a:gd name="T67" fmla="*/ 59 h 189"/>
                <a:gd name="T68" fmla="*/ 36 w 97"/>
                <a:gd name="T69" fmla="*/ 53 h 189"/>
                <a:gd name="T70" fmla="*/ 23 w 97"/>
                <a:gd name="T71" fmla="*/ 46 h 189"/>
                <a:gd name="T72" fmla="*/ 18 w 97"/>
                <a:gd name="T73" fmla="*/ 43 h 189"/>
                <a:gd name="T74" fmla="*/ 15 w 97"/>
                <a:gd name="T75" fmla="*/ 38 h 189"/>
                <a:gd name="T76" fmla="*/ 12 w 97"/>
                <a:gd name="T77" fmla="*/ 35 h 189"/>
                <a:gd name="T78" fmla="*/ 10 w 97"/>
                <a:gd name="T79" fmla="*/ 30 h 189"/>
                <a:gd name="T80" fmla="*/ 8 w 97"/>
                <a:gd name="T81" fmla="*/ 26 h 189"/>
                <a:gd name="T82" fmla="*/ 8 w 97"/>
                <a:gd name="T83" fmla="*/ 25 h 189"/>
                <a:gd name="T84" fmla="*/ 8 w 97"/>
                <a:gd name="T85" fmla="*/ 23 h 189"/>
                <a:gd name="T86" fmla="*/ 0 w 97"/>
                <a:gd name="T87" fmla="*/ 8 h 189"/>
                <a:gd name="T88" fmla="*/ 23 w 97"/>
                <a:gd name="T89" fmla="*/ 0 h 189"/>
                <a:gd name="T90" fmla="*/ 43 w 97"/>
                <a:gd name="T9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189">
                  <a:moveTo>
                    <a:pt x="43" y="0"/>
                  </a:moveTo>
                  <a:lnTo>
                    <a:pt x="59" y="7"/>
                  </a:lnTo>
                  <a:lnTo>
                    <a:pt x="72" y="17"/>
                  </a:lnTo>
                  <a:lnTo>
                    <a:pt x="82" y="28"/>
                  </a:lnTo>
                  <a:lnTo>
                    <a:pt x="89" y="43"/>
                  </a:lnTo>
                  <a:lnTo>
                    <a:pt x="92" y="54"/>
                  </a:lnTo>
                  <a:lnTo>
                    <a:pt x="91" y="66"/>
                  </a:lnTo>
                  <a:lnTo>
                    <a:pt x="86" y="84"/>
                  </a:lnTo>
                  <a:lnTo>
                    <a:pt x="84" y="100"/>
                  </a:lnTo>
                  <a:lnTo>
                    <a:pt x="84" y="120"/>
                  </a:lnTo>
                  <a:lnTo>
                    <a:pt x="91" y="140"/>
                  </a:lnTo>
                  <a:lnTo>
                    <a:pt x="95" y="156"/>
                  </a:lnTo>
                  <a:lnTo>
                    <a:pt x="97" y="169"/>
                  </a:lnTo>
                  <a:lnTo>
                    <a:pt x="95" y="179"/>
                  </a:lnTo>
                  <a:lnTo>
                    <a:pt x="92" y="186"/>
                  </a:lnTo>
                  <a:lnTo>
                    <a:pt x="91" y="189"/>
                  </a:lnTo>
                  <a:lnTo>
                    <a:pt x="81" y="184"/>
                  </a:lnTo>
                  <a:lnTo>
                    <a:pt x="69" y="174"/>
                  </a:lnTo>
                  <a:lnTo>
                    <a:pt x="58" y="161"/>
                  </a:lnTo>
                  <a:lnTo>
                    <a:pt x="48" y="148"/>
                  </a:lnTo>
                  <a:lnTo>
                    <a:pt x="41" y="138"/>
                  </a:lnTo>
                  <a:lnTo>
                    <a:pt x="38" y="132"/>
                  </a:lnTo>
                  <a:lnTo>
                    <a:pt x="35" y="130"/>
                  </a:lnTo>
                  <a:lnTo>
                    <a:pt x="35" y="127"/>
                  </a:lnTo>
                  <a:lnTo>
                    <a:pt x="33" y="123"/>
                  </a:lnTo>
                  <a:lnTo>
                    <a:pt x="33" y="118"/>
                  </a:lnTo>
                  <a:lnTo>
                    <a:pt x="33" y="117"/>
                  </a:lnTo>
                  <a:lnTo>
                    <a:pt x="35" y="112"/>
                  </a:lnTo>
                  <a:lnTo>
                    <a:pt x="38" y="102"/>
                  </a:lnTo>
                  <a:lnTo>
                    <a:pt x="43" y="92"/>
                  </a:lnTo>
                  <a:lnTo>
                    <a:pt x="49" y="81"/>
                  </a:lnTo>
                  <a:lnTo>
                    <a:pt x="53" y="71"/>
                  </a:lnTo>
                  <a:lnTo>
                    <a:pt x="53" y="66"/>
                  </a:lnTo>
                  <a:lnTo>
                    <a:pt x="48" y="59"/>
                  </a:lnTo>
                  <a:lnTo>
                    <a:pt x="36" y="53"/>
                  </a:lnTo>
                  <a:lnTo>
                    <a:pt x="23" y="46"/>
                  </a:lnTo>
                  <a:lnTo>
                    <a:pt x="18" y="43"/>
                  </a:lnTo>
                  <a:lnTo>
                    <a:pt x="15" y="38"/>
                  </a:lnTo>
                  <a:lnTo>
                    <a:pt x="12" y="35"/>
                  </a:lnTo>
                  <a:lnTo>
                    <a:pt x="10" y="30"/>
                  </a:lnTo>
                  <a:lnTo>
                    <a:pt x="8" y="26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0" y="8"/>
                  </a:lnTo>
                  <a:lnTo>
                    <a:pt x="2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2" name="Freeform 945"/>
            <p:cNvSpPr>
              <a:spLocks/>
            </p:cNvSpPr>
            <p:nvPr/>
          </p:nvSpPr>
          <p:spPr bwMode="auto">
            <a:xfrm>
              <a:off x="7972425" y="5210175"/>
              <a:ext cx="128587" cy="150813"/>
            </a:xfrm>
            <a:custGeom>
              <a:avLst/>
              <a:gdLst>
                <a:gd name="T0" fmla="*/ 26 w 81"/>
                <a:gd name="T1" fmla="*/ 0 h 95"/>
                <a:gd name="T2" fmla="*/ 30 w 81"/>
                <a:gd name="T3" fmla="*/ 2 h 95"/>
                <a:gd name="T4" fmla="*/ 36 w 81"/>
                <a:gd name="T5" fmla="*/ 8 h 95"/>
                <a:gd name="T6" fmla="*/ 48 w 81"/>
                <a:gd name="T7" fmla="*/ 17 h 95"/>
                <a:gd name="T8" fmla="*/ 64 w 81"/>
                <a:gd name="T9" fmla="*/ 25 h 95"/>
                <a:gd name="T10" fmla="*/ 81 w 81"/>
                <a:gd name="T11" fmla="*/ 31 h 95"/>
                <a:gd name="T12" fmla="*/ 81 w 81"/>
                <a:gd name="T13" fmla="*/ 35 h 95"/>
                <a:gd name="T14" fmla="*/ 81 w 81"/>
                <a:gd name="T15" fmla="*/ 41 h 95"/>
                <a:gd name="T16" fmla="*/ 81 w 81"/>
                <a:gd name="T17" fmla="*/ 51 h 95"/>
                <a:gd name="T18" fmla="*/ 77 w 81"/>
                <a:gd name="T19" fmla="*/ 63 h 95"/>
                <a:gd name="T20" fmla="*/ 72 w 81"/>
                <a:gd name="T21" fmla="*/ 74 h 95"/>
                <a:gd name="T22" fmla="*/ 66 w 81"/>
                <a:gd name="T23" fmla="*/ 84 h 95"/>
                <a:gd name="T24" fmla="*/ 54 w 81"/>
                <a:gd name="T25" fmla="*/ 92 h 95"/>
                <a:gd name="T26" fmla="*/ 39 w 81"/>
                <a:gd name="T27" fmla="*/ 95 h 95"/>
                <a:gd name="T28" fmla="*/ 25 w 81"/>
                <a:gd name="T29" fmla="*/ 92 h 95"/>
                <a:gd name="T30" fmla="*/ 15 w 81"/>
                <a:gd name="T31" fmla="*/ 84 h 95"/>
                <a:gd name="T32" fmla="*/ 7 w 81"/>
                <a:gd name="T33" fmla="*/ 74 h 95"/>
                <a:gd name="T34" fmla="*/ 3 w 81"/>
                <a:gd name="T35" fmla="*/ 63 h 95"/>
                <a:gd name="T36" fmla="*/ 0 w 81"/>
                <a:gd name="T37" fmla="*/ 51 h 95"/>
                <a:gd name="T38" fmla="*/ 0 w 81"/>
                <a:gd name="T39" fmla="*/ 41 h 95"/>
                <a:gd name="T40" fmla="*/ 0 w 81"/>
                <a:gd name="T41" fmla="*/ 35 h 95"/>
                <a:gd name="T42" fmla="*/ 0 w 81"/>
                <a:gd name="T43" fmla="*/ 31 h 95"/>
                <a:gd name="T44" fmla="*/ 2 w 81"/>
                <a:gd name="T45" fmla="*/ 30 h 95"/>
                <a:gd name="T46" fmla="*/ 8 w 81"/>
                <a:gd name="T47" fmla="*/ 25 h 95"/>
                <a:gd name="T48" fmla="*/ 16 w 81"/>
                <a:gd name="T49" fmla="*/ 17 h 95"/>
                <a:gd name="T50" fmla="*/ 23 w 81"/>
                <a:gd name="T51" fmla="*/ 8 h 95"/>
                <a:gd name="T52" fmla="*/ 26 w 81"/>
                <a:gd name="T5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1" h="95">
                  <a:moveTo>
                    <a:pt x="26" y="0"/>
                  </a:moveTo>
                  <a:lnTo>
                    <a:pt x="30" y="2"/>
                  </a:lnTo>
                  <a:lnTo>
                    <a:pt x="36" y="8"/>
                  </a:lnTo>
                  <a:lnTo>
                    <a:pt x="48" y="17"/>
                  </a:lnTo>
                  <a:lnTo>
                    <a:pt x="64" y="25"/>
                  </a:lnTo>
                  <a:lnTo>
                    <a:pt x="81" y="31"/>
                  </a:lnTo>
                  <a:lnTo>
                    <a:pt x="81" y="35"/>
                  </a:lnTo>
                  <a:lnTo>
                    <a:pt x="81" y="41"/>
                  </a:lnTo>
                  <a:lnTo>
                    <a:pt x="81" y="51"/>
                  </a:lnTo>
                  <a:lnTo>
                    <a:pt x="77" y="63"/>
                  </a:lnTo>
                  <a:lnTo>
                    <a:pt x="72" y="74"/>
                  </a:lnTo>
                  <a:lnTo>
                    <a:pt x="66" y="84"/>
                  </a:lnTo>
                  <a:lnTo>
                    <a:pt x="54" y="92"/>
                  </a:lnTo>
                  <a:lnTo>
                    <a:pt x="39" y="95"/>
                  </a:lnTo>
                  <a:lnTo>
                    <a:pt x="25" y="92"/>
                  </a:lnTo>
                  <a:lnTo>
                    <a:pt x="15" y="84"/>
                  </a:lnTo>
                  <a:lnTo>
                    <a:pt x="7" y="74"/>
                  </a:lnTo>
                  <a:lnTo>
                    <a:pt x="3" y="63"/>
                  </a:lnTo>
                  <a:lnTo>
                    <a:pt x="0" y="51"/>
                  </a:lnTo>
                  <a:lnTo>
                    <a:pt x="0" y="41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2" y="30"/>
                  </a:lnTo>
                  <a:lnTo>
                    <a:pt x="8" y="25"/>
                  </a:lnTo>
                  <a:lnTo>
                    <a:pt x="16" y="17"/>
                  </a:lnTo>
                  <a:lnTo>
                    <a:pt x="23" y="8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349" name="Group 4348"/>
          <p:cNvGrpSpPr/>
          <p:nvPr/>
        </p:nvGrpSpPr>
        <p:grpSpPr>
          <a:xfrm>
            <a:off x="6870627" y="5613938"/>
            <a:ext cx="134282" cy="439845"/>
            <a:chOff x="-4251325" y="3627438"/>
            <a:chExt cx="823913" cy="2725738"/>
          </a:xfrm>
        </p:grpSpPr>
        <p:sp>
          <p:nvSpPr>
            <p:cNvPr id="4350" name="Freeform 222"/>
            <p:cNvSpPr>
              <a:spLocks/>
            </p:cNvSpPr>
            <p:nvPr/>
          </p:nvSpPr>
          <p:spPr bwMode="auto">
            <a:xfrm>
              <a:off x="-4035425" y="5373688"/>
              <a:ext cx="133350" cy="798513"/>
            </a:xfrm>
            <a:custGeom>
              <a:avLst/>
              <a:gdLst>
                <a:gd name="T0" fmla="*/ 22 w 84"/>
                <a:gd name="T1" fmla="*/ 0 h 503"/>
                <a:gd name="T2" fmla="*/ 28 w 84"/>
                <a:gd name="T3" fmla="*/ 3 h 503"/>
                <a:gd name="T4" fmla="*/ 36 w 84"/>
                <a:gd name="T5" fmla="*/ 10 h 503"/>
                <a:gd name="T6" fmla="*/ 44 w 84"/>
                <a:gd name="T7" fmla="*/ 21 h 503"/>
                <a:gd name="T8" fmla="*/ 52 w 84"/>
                <a:gd name="T9" fmla="*/ 36 h 503"/>
                <a:gd name="T10" fmla="*/ 59 w 84"/>
                <a:gd name="T11" fmla="*/ 54 h 503"/>
                <a:gd name="T12" fmla="*/ 66 w 84"/>
                <a:gd name="T13" fmla="*/ 74 h 503"/>
                <a:gd name="T14" fmla="*/ 72 w 84"/>
                <a:gd name="T15" fmla="*/ 96 h 503"/>
                <a:gd name="T16" fmla="*/ 77 w 84"/>
                <a:gd name="T17" fmla="*/ 120 h 503"/>
                <a:gd name="T18" fmla="*/ 81 w 84"/>
                <a:gd name="T19" fmla="*/ 145 h 503"/>
                <a:gd name="T20" fmla="*/ 82 w 84"/>
                <a:gd name="T21" fmla="*/ 170 h 503"/>
                <a:gd name="T22" fmla="*/ 84 w 84"/>
                <a:gd name="T23" fmla="*/ 196 h 503"/>
                <a:gd name="T24" fmla="*/ 81 w 84"/>
                <a:gd name="T25" fmla="*/ 223 h 503"/>
                <a:gd name="T26" fmla="*/ 80 w 84"/>
                <a:gd name="T27" fmla="*/ 240 h 503"/>
                <a:gd name="T28" fmla="*/ 78 w 84"/>
                <a:gd name="T29" fmla="*/ 261 h 503"/>
                <a:gd name="T30" fmla="*/ 77 w 84"/>
                <a:gd name="T31" fmla="*/ 288 h 503"/>
                <a:gd name="T32" fmla="*/ 76 w 84"/>
                <a:gd name="T33" fmla="*/ 318 h 503"/>
                <a:gd name="T34" fmla="*/ 73 w 84"/>
                <a:gd name="T35" fmla="*/ 350 h 503"/>
                <a:gd name="T36" fmla="*/ 71 w 84"/>
                <a:gd name="T37" fmla="*/ 381 h 503"/>
                <a:gd name="T38" fmla="*/ 67 w 84"/>
                <a:gd name="T39" fmla="*/ 411 h 503"/>
                <a:gd name="T40" fmla="*/ 63 w 84"/>
                <a:gd name="T41" fmla="*/ 440 h 503"/>
                <a:gd name="T42" fmla="*/ 58 w 84"/>
                <a:gd name="T43" fmla="*/ 464 h 503"/>
                <a:gd name="T44" fmla="*/ 50 w 84"/>
                <a:gd name="T45" fmla="*/ 485 h 503"/>
                <a:gd name="T46" fmla="*/ 43 w 84"/>
                <a:gd name="T47" fmla="*/ 497 h 503"/>
                <a:gd name="T48" fmla="*/ 35 w 84"/>
                <a:gd name="T49" fmla="*/ 503 h 503"/>
                <a:gd name="T50" fmla="*/ 28 w 84"/>
                <a:gd name="T51" fmla="*/ 500 h 503"/>
                <a:gd name="T52" fmla="*/ 23 w 84"/>
                <a:gd name="T53" fmla="*/ 491 h 503"/>
                <a:gd name="T54" fmla="*/ 19 w 84"/>
                <a:gd name="T55" fmla="*/ 476 h 503"/>
                <a:gd name="T56" fmla="*/ 16 w 84"/>
                <a:gd name="T57" fmla="*/ 455 h 503"/>
                <a:gd name="T58" fmla="*/ 13 w 84"/>
                <a:gd name="T59" fmla="*/ 431 h 503"/>
                <a:gd name="T60" fmla="*/ 10 w 84"/>
                <a:gd name="T61" fmla="*/ 403 h 503"/>
                <a:gd name="T62" fmla="*/ 9 w 84"/>
                <a:gd name="T63" fmla="*/ 372 h 503"/>
                <a:gd name="T64" fmla="*/ 8 w 84"/>
                <a:gd name="T65" fmla="*/ 340 h 503"/>
                <a:gd name="T66" fmla="*/ 7 w 84"/>
                <a:gd name="T67" fmla="*/ 306 h 503"/>
                <a:gd name="T68" fmla="*/ 7 w 84"/>
                <a:gd name="T69" fmla="*/ 273 h 503"/>
                <a:gd name="T70" fmla="*/ 5 w 84"/>
                <a:gd name="T71" fmla="*/ 241 h 503"/>
                <a:gd name="T72" fmla="*/ 5 w 84"/>
                <a:gd name="T73" fmla="*/ 211 h 503"/>
                <a:gd name="T74" fmla="*/ 4 w 84"/>
                <a:gd name="T75" fmla="*/ 183 h 503"/>
                <a:gd name="T76" fmla="*/ 4 w 84"/>
                <a:gd name="T77" fmla="*/ 159 h 503"/>
                <a:gd name="T78" fmla="*/ 3 w 84"/>
                <a:gd name="T79" fmla="*/ 138 h 503"/>
                <a:gd name="T80" fmla="*/ 0 w 84"/>
                <a:gd name="T81" fmla="*/ 98 h 503"/>
                <a:gd name="T82" fmla="*/ 0 w 84"/>
                <a:gd name="T83" fmla="*/ 66 h 503"/>
                <a:gd name="T84" fmla="*/ 1 w 84"/>
                <a:gd name="T85" fmla="*/ 41 h 503"/>
                <a:gd name="T86" fmla="*/ 4 w 84"/>
                <a:gd name="T87" fmla="*/ 21 h 503"/>
                <a:gd name="T88" fmla="*/ 9 w 84"/>
                <a:gd name="T89" fmla="*/ 9 h 503"/>
                <a:gd name="T90" fmla="*/ 14 w 84"/>
                <a:gd name="T91" fmla="*/ 2 h 503"/>
                <a:gd name="T92" fmla="*/ 22 w 84"/>
                <a:gd name="T9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4" h="503">
                  <a:moveTo>
                    <a:pt x="22" y="0"/>
                  </a:moveTo>
                  <a:lnTo>
                    <a:pt x="28" y="3"/>
                  </a:lnTo>
                  <a:lnTo>
                    <a:pt x="36" y="10"/>
                  </a:lnTo>
                  <a:lnTo>
                    <a:pt x="44" y="21"/>
                  </a:lnTo>
                  <a:lnTo>
                    <a:pt x="52" y="36"/>
                  </a:lnTo>
                  <a:lnTo>
                    <a:pt x="59" y="54"/>
                  </a:lnTo>
                  <a:lnTo>
                    <a:pt x="66" y="74"/>
                  </a:lnTo>
                  <a:lnTo>
                    <a:pt x="72" y="96"/>
                  </a:lnTo>
                  <a:lnTo>
                    <a:pt x="77" y="120"/>
                  </a:lnTo>
                  <a:lnTo>
                    <a:pt x="81" y="145"/>
                  </a:lnTo>
                  <a:lnTo>
                    <a:pt x="82" y="170"/>
                  </a:lnTo>
                  <a:lnTo>
                    <a:pt x="84" y="196"/>
                  </a:lnTo>
                  <a:lnTo>
                    <a:pt x="81" y="223"/>
                  </a:lnTo>
                  <a:lnTo>
                    <a:pt x="80" y="240"/>
                  </a:lnTo>
                  <a:lnTo>
                    <a:pt x="78" y="261"/>
                  </a:lnTo>
                  <a:lnTo>
                    <a:pt x="77" y="288"/>
                  </a:lnTo>
                  <a:lnTo>
                    <a:pt x="76" y="318"/>
                  </a:lnTo>
                  <a:lnTo>
                    <a:pt x="73" y="350"/>
                  </a:lnTo>
                  <a:lnTo>
                    <a:pt x="71" y="381"/>
                  </a:lnTo>
                  <a:lnTo>
                    <a:pt x="67" y="411"/>
                  </a:lnTo>
                  <a:lnTo>
                    <a:pt x="63" y="440"/>
                  </a:lnTo>
                  <a:lnTo>
                    <a:pt x="58" y="464"/>
                  </a:lnTo>
                  <a:lnTo>
                    <a:pt x="50" y="485"/>
                  </a:lnTo>
                  <a:lnTo>
                    <a:pt x="43" y="497"/>
                  </a:lnTo>
                  <a:lnTo>
                    <a:pt x="35" y="503"/>
                  </a:lnTo>
                  <a:lnTo>
                    <a:pt x="28" y="500"/>
                  </a:lnTo>
                  <a:lnTo>
                    <a:pt x="23" y="491"/>
                  </a:lnTo>
                  <a:lnTo>
                    <a:pt x="19" y="476"/>
                  </a:lnTo>
                  <a:lnTo>
                    <a:pt x="16" y="455"/>
                  </a:lnTo>
                  <a:lnTo>
                    <a:pt x="13" y="431"/>
                  </a:lnTo>
                  <a:lnTo>
                    <a:pt x="10" y="403"/>
                  </a:lnTo>
                  <a:lnTo>
                    <a:pt x="9" y="372"/>
                  </a:lnTo>
                  <a:lnTo>
                    <a:pt x="8" y="340"/>
                  </a:lnTo>
                  <a:lnTo>
                    <a:pt x="7" y="306"/>
                  </a:lnTo>
                  <a:lnTo>
                    <a:pt x="7" y="273"/>
                  </a:lnTo>
                  <a:lnTo>
                    <a:pt x="5" y="241"/>
                  </a:lnTo>
                  <a:lnTo>
                    <a:pt x="5" y="211"/>
                  </a:lnTo>
                  <a:lnTo>
                    <a:pt x="4" y="183"/>
                  </a:lnTo>
                  <a:lnTo>
                    <a:pt x="4" y="159"/>
                  </a:lnTo>
                  <a:lnTo>
                    <a:pt x="3" y="138"/>
                  </a:lnTo>
                  <a:lnTo>
                    <a:pt x="0" y="98"/>
                  </a:lnTo>
                  <a:lnTo>
                    <a:pt x="0" y="66"/>
                  </a:lnTo>
                  <a:lnTo>
                    <a:pt x="1" y="41"/>
                  </a:lnTo>
                  <a:lnTo>
                    <a:pt x="4" y="21"/>
                  </a:lnTo>
                  <a:lnTo>
                    <a:pt x="9" y="9"/>
                  </a:lnTo>
                  <a:lnTo>
                    <a:pt x="14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1" name="Freeform 223"/>
            <p:cNvSpPr>
              <a:spLocks/>
            </p:cNvSpPr>
            <p:nvPr/>
          </p:nvSpPr>
          <p:spPr bwMode="auto">
            <a:xfrm>
              <a:off x="-3863975" y="5373688"/>
              <a:ext cx="138113" cy="798513"/>
            </a:xfrm>
            <a:custGeom>
              <a:avLst/>
              <a:gdLst>
                <a:gd name="T0" fmla="*/ 67 w 87"/>
                <a:gd name="T1" fmla="*/ 0 h 503"/>
                <a:gd name="T2" fmla="*/ 73 w 87"/>
                <a:gd name="T3" fmla="*/ 2 h 503"/>
                <a:gd name="T4" fmla="*/ 78 w 87"/>
                <a:gd name="T5" fmla="*/ 11 h 503"/>
                <a:gd name="T6" fmla="*/ 83 w 87"/>
                <a:gd name="T7" fmla="*/ 24 h 503"/>
                <a:gd name="T8" fmla="*/ 86 w 87"/>
                <a:gd name="T9" fmla="*/ 43 h 503"/>
                <a:gd name="T10" fmla="*/ 87 w 87"/>
                <a:gd name="T11" fmla="*/ 69 h 503"/>
                <a:gd name="T12" fmla="*/ 87 w 87"/>
                <a:gd name="T13" fmla="*/ 100 h 503"/>
                <a:gd name="T14" fmla="*/ 85 w 87"/>
                <a:gd name="T15" fmla="*/ 138 h 503"/>
                <a:gd name="T16" fmla="*/ 83 w 87"/>
                <a:gd name="T17" fmla="*/ 159 h 503"/>
                <a:gd name="T18" fmla="*/ 82 w 87"/>
                <a:gd name="T19" fmla="*/ 183 h 503"/>
                <a:gd name="T20" fmla="*/ 82 w 87"/>
                <a:gd name="T21" fmla="*/ 211 h 503"/>
                <a:gd name="T22" fmla="*/ 81 w 87"/>
                <a:gd name="T23" fmla="*/ 241 h 503"/>
                <a:gd name="T24" fmla="*/ 81 w 87"/>
                <a:gd name="T25" fmla="*/ 273 h 503"/>
                <a:gd name="T26" fmla="*/ 80 w 87"/>
                <a:gd name="T27" fmla="*/ 306 h 503"/>
                <a:gd name="T28" fmla="*/ 80 w 87"/>
                <a:gd name="T29" fmla="*/ 340 h 503"/>
                <a:gd name="T30" fmla="*/ 78 w 87"/>
                <a:gd name="T31" fmla="*/ 372 h 503"/>
                <a:gd name="T32" fmla="*/ 76 w 87"/>
                <a:gd name="T33" fmla="*/ 403 h 503"/>
                <a:gd name="T34" fmla="*/ 74 w 87"/>
                <a:gd name="T35" fmla="*/ 431 h 503"/>
                <a:gd name="T36" fmla="*/ 72 w 87"/>
                <a:gd name="T37" fmla="*/ 455 h 503"/>
                <a:gd name="T38" fmla="*/ 68 w 87"/>
                <a:gd name="T39" fmla="*/ 476 h 503"/>
                <a:gd name="T40" fmla="*/ 63 w 87"/>
                <a:gd name="T41" fmla="*/ 491 h 503"/>
                <a:gd name="T42" fmla="*/ 58 w 87"/>
                <a:gd name="T43" fmla="*/ 500 h 503"/>
                <a:gd name="T44" fmla="*/ 51 w 87"/>
                <a:gd name="T45" fmla="*/ 503 h 503"/>
                <a:gd name="T46" fmla="*/ 45 w 87"/>
                <a:gd name="T47" fmla="*/ 497 h 503"/>
                <a:gd name="T48" fmla="*/ 36 w 87"/>
                <a:gd name="T49" fmla="*/ 485 h 503"/>
                <a:gd name="T50" fmla="*/ 29 w 87"/>
                <a:gd name="T51" fmla="*/ 464 h 503"/>
                <a:gd name="T52" fmla="*/ 23 w 87"/>
                <a:gd name="T53" fmla="*/ 440 h 503"/>
                <a:gd name="T54" fmla="*/ 19 w 87"/>
                <a:gd name="T55" fmla="*/ 411 h 503"/>
                <a:gd name="T56" fmla="*/ 15 w 87"/>
                <a:gd name="T57" fmla="*/ 381 h 503"/>
                <a:gd name="T58" fmla="*/ 12 w 87"/>
                <a:gd name="T59" fmla="*/ 349 h 503"/>
                <a:gd name="T60" fmla="*/ 9 w 87"/>
                <a:gd name="T61" fmla="*/ 317 h 503"/>
                <a:gd name="T62" fmla="*/ 6 w 87"/>
                <a:gd name="T63" fmla="*/ 287 h 503"/>
                <a:gd name="T64" fmla="*/ 5 w 87"/>
                <a:gd name="T65" fmla="*/ 260 h 503"/>
                <a:gd name="T66" fmla="*/ 4 w 87"/>
                <a:gd name="T67" fmla="*/ 237 h 503"/>
                <a:gd name="T68" fmla="*/ 3 w 87"/>
                <a:gd name="T69" fmla="*/ 220 h 503"/>
                <a:gd name="T70" fmla="*/ 0 w 87"/>
                <a:gd name="T71" fmla="*/ 196 h 503"/>
                <a:gd name="T72" fmla="*/ 0 w 87"/>
                <a:gd name="T73" fmla="*/ 170 h 503"/>
                <a:gd name="T74" fmla="*/ 3 w 87"/>
                <a:gd name="T75" fmla="*/ 146 h 503"/>
                <a:gd name="T76" fmla="*/ 6 w 87"/>
                <a:gd name="T77" fmla="*/ 123 h 503"/>
                <a:gd name="T78" fmla="*/ 10 w 87"/>
                <a:gd name="T79" fmla="*/ 100 h 503"/>
                <a:gd name="T80" fmla="*/ 17 w 87"/>
                <a:gd name="T81" fmla="*/ 78 h 503"/>
                <a:gd name="T82" fmla="*/ 23 w 87"/>
                <a:gd name="T83" fmla="*/ 59 h 503"/>
                <a:gd name="T84" fmla="*/ 29 w 87"/>
                <a:gd name="T85" fmla="*/ 41 h 503"/>
                <a:gd name="T86" fmla="*/ 37 w 87"/>
                <a:gd name="T87" fmla="*/ 27 h 503"/>
                <a:gd name="T88" fmla="*/ 45 w 87"/>
                <a:gd name="T89" fmla="*/ 14 h 503"/>
                <a:gd name="T90" fmla="*/ 53 w 87"/>
                <a:gd name="T91" fmla="*/ 6 h 503"/>
                <a:gd name="T92" fmla="*/ 60 w 87"/>
                <a:gd name="T93" fmla="*/ 1 h 503"/>
                <a:gd name="T94" fmla="*/ 67 w 87"/>
                <a:gd name="T95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503">
                  <a:moveTo>
                    <a:pt x="67" y="0"/>
                  </a:moveTo>
                  <a:lnTo>
                    <a:pt x="73" y="2"/>
                  </a:lnTo>
                  <a:lnTo>
                    <a:pt x="78" y="11"/>
                  </a:lnTo>
                  <a:lnTo>
                    <a:pt x="83" y="24"/>
                  </a:lnTo>
                  <a:lnTo>
                    <a:pt x="86" y="43"/>
                  </a:lnTo>
                  <a:lnTo>
                    <a:pt x="87" y="69"/>
                  </a:lnTo>
                  <a:lnTo>
                    <a:pt x="87" y="100"/>
                  </a:lnTo>
                  <a:lnTo>
                    <a:pt x="85" y="138"/>
                  </a:lnTo>
                  <a:lnTo>
                    <a:pt x="83" y="159"/>
                  </a:lnTo>
                  <a:lnTo>
                    <a:pt x="82" y="183"/>
                  </a:lnTo>
                  <a:lnTo>
                    <a:pt x="82" y="211"/>
                  </a:lnTo>
                  <a:lnTo>
                    <a:pt x="81" y="241"/>
                  </a:lnTo>
                  <a:lnTo>
                    <a:pt x="81" y="273"/>
                  </a:lnTo>
                  <a:lnTo>
                    <a:pt x="80" y="306"/>
                  </a:lnTo>
                  <a:lnTo>
                    <a:pt x="80" y="340"/>
                  </a:lnTo>
                  <a:lnTo>
                    <a:pt x="78" y="372"/>
                  </a:lnTo>
                  <a:lnTo>
                    <a:pt x="76" y="403"/>
                  </a:lnTo>
                  <a:lnTo>
                    <a:pt x="74" y="431"/>
                  </a:lnTo>
                  <a:lnTo>
                    <a:pt x="72" y="455"/>
                  </a:lnTo>
                  <a:lnTo>
                    <a:pt x="68" y="476"/>
                  </a:lnTo>
                  <a:lnTo>
                    <a:pt x="63" y="491"/>
                  </a:lnTo>
                  <a:lnTo>
                    <a:pt x="58" y="500"/>
                  </a:lnTo>
                  <a:lnTo>
                    <a:pt x="51" y="503"/>
                  </a:lnTo>
                  <a:lnTo>
                    <a:pt x="45" y="497"/>
                  </a:lnTo>
                  <a:lnTo>
                    <a:pt x="36" y="485"/>
                  </a:lnTo>
                  <a:lnTo>
                    <a:pt x="29" y="464"/>
                  </a:lnTo>
                  <a:lnTo>
                    <a:pt x="23" y="440"/>
                  </a:lnTo>
                  <a:lnTo>
                    <a:pt x="19" y="411"/>
                  </a:lnTo>
                  <a:lnTo>
                    <a:pt x="15" y="381"/>
                  </a:lnTo>
                  <a:lnTo>
                    <a:pt x="12" y="349"/>
                  </a:lnTo>
                  <a:lnTo>
                    <a:pt x="9" y="317"/>
                  </a:lnTo>
                  <a:lnTo>
                    <a:pt x="6" y="287"/>
                  </a:lnTo>
                  <a:lnTo>
                    <a:pt x="5" y="260"/>
                  </a:lnTo>
                  <a:lnTo>
                    <a:pt x="4" y="237"/>
                  </a:lnTo>
                  <a:lnTo>
                    <a:pt x="3" y="220"/>
                  </a:lnTo>
                  <a:lnTo>
                    <a:pt x="0" y="196"/>
                  </a:lnTo>
                  <a:lnTo>
                    <a:pt x="0" y="170"/>
                  </a:lnTo>
                  <a:lnTo>
                    <a:pt x="3" y="146"/>
                  </a:lnTo>
                  <a:lnTo>
                    <a:pt x="6" y="123"/>
                  </a:lnTo>
                  <a:lnTo>
                    <a:pt x="10" y="100"/>
                  </a:lnTo>
                  <a:lnTo>
                    <a:pt x="17" y="78"/>
                  </a:lnTo>
                  <a:lnTo>
                    <a:pt x="23" y="59"/>
                  </a:lnTo>
                  <a:lnTo>
                    <a:pt x="29" y="41"/>
                  </a:lnTo>
                  <a:lnTo>
                    <a:pt x="37" y="27"/>
                  </a:lnTo>
                  <a:lnTo>
                    <a:pt x="45" y="14"/>
                  </a:lnTo>
                  <a:lnTo>
                    <a:pt x="53" y="6"/>
                  </a:lnTo>
                  <a:lnTo>
                    <a:pt x="60" y="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2" name="Freeform 224"/>
            <p:cNvSpPr>
              <a:spLocks/>
            </p:cNvSpPr>
            <p:nvPr/>
          </p:nvSpPr>
          <p:spPr bwMode="auto">
            <a:xfrm>
              <a:off x="-3829050" y="6230938"/>
              <a:ext cx="296863" cy="122238"/>
            </a:xfrm>
            <a:custGeom>
              <a:avLst/>
              <a:gdLst>
                <a:gd name="T0" fmla="*/ 2 w 187"/>
                <a:gd name="T1" fmla="*/ 0 h 77"/>
                <a:gd name="T2" fmla="*/ 4 w 187"/>
                <a:gd name="T3" fmla="*/ 0 h 77"/>
                <a:gd name="T4" fmla="*/ 5 w 187"/>
                <a:gd name="T5" fmla="*/ 0 h 77"/>
                <a:gd name="T6" fmla="*/ 7 w 187"/>
                <a:gd name="T7" fmla="*/ 0 h 77"/>
                <a:gd name="T8" fmla="*/ 10 w 187"/>
                <a:gd name="T9" fmla="*/ 0 h 77"/>
                <a:gd name="T10" fmla="*/ 13 w 187"/>
                <a:gd name="T11" fmla="*/ 0 h 77"/>
                <a:gd name="T12" fmla="*/ 14 w 187"/>
                <a:gd name="T13" fmla="*/ 0 h 77"/>
                <a:gd name="T14" fmla="*/ 15 w 187"/>
                <a:gd name="T15" fmla="*/ 0 h 77"/>
                <a:gd name="T16" fmla="*/ 20 w 187"/>
                <a:gd name="T17" fmla="*/ 6 h 77"/>
                <a:gd name="T18" fmla="*/ 31 w 187"/>
                <a:gd name="T19" fmla="*/ 11 h 77"/>
                <a:gd name="T20" fmla="*/ 43 w 187"/>
                <a:gd name="T21" fmla="*/ 14 h 77"/>
                <a:gd name="T22" fmla="*/ 56 w 187"/>
                <a:gd name="T23" fmla="*/ 15 h 77"/>
                <a:gd name="T24" fmla="*/ 72 w 187"/>
                <a:gd name="T25" fmla="*/ 19 h 77"/>
                <a:gd name="T26" fmla="*/ 84 w 187"/>
                <a:gd name="T27" fmla="*/ 24 h 77"/>
                <a:gd name="T28" fmla="*/ 96 w 187"/>
                <a:gd name="T29" fmla="*/ 33 h 77"/>
                <a:gd name="T30" fmla="*/ 109 w 187"/>
                <a:gd name="T31" fmla="*/ 42 h 77"/>
                <a:gd name="T32" fmla="*/ 123 w 187"/>
                <a:gd name="T33" fmla="*/ 47 h 77"/>
                <a:gd name="T34" fmla="*/ 140 w 187"/>
                <a:gd name="T35" fmla="*/ 50 h 77"/>
                <a:gd name="T36" fmla="*/ 156 w 187"/>
                <a:gd name="T37" fmla="*/ 49 h 77"/>
                <a:gd name="T38" fmla="*/ 172 w 187"/>
                <a:gd name="T39" fmla="*/ 47 h 77"/>
                <a:gd name="T40" fmla="*/ 185 w 187"/>
                <a:gd name="T41" fmla="*/ 45 h 77"/>
                <a:gd name="T42" fmla="*/ 186 w 187"/>
                <a:gd name="T43" fmla="*/ 45 h 77"/>
                <a:gd name="T44" fmla="*/ 186 w 187"/>
                <a:gd name="T45" fmla="*/ 43 h 77"/>
                <a:gd name="T46" fmla="*/ 185 w 187"/>
                <a:gd name="T47" fmla="*/ 43 h 77"/>
                <a:gd name="T48" fmla="*/ 186 w 187"/>
                <a:gd name="T49" fmla="*/ 46 h 77"/>
                <a:gd name="T50" fmla="*/ 187 w 187"/>
                <a:gd name="T51" fmla="*/ 49 h 77"/>
                <a:gd name="T52" fmla="*/ 187 w 187"/>
                <a:gd name="T53" fmla="*/ 52 h 77"/>
                <a:gd name="T54" fmla="*/ 185 w 187"/>
                <a:gd name="T55" fmla="*/ 60 h 77"/>
                <a:gd name="T56" fmla="*/ 177 w 187"/>
                <a:gd name="T57" fmla="*/ 67 h 77"/>
                <a:gd name="T58" fmla="*/ 164 w 187"/>
                <a:gd name="T59" fmla="*/ 73 h 77"/>
                <a:gd name="T60" fmla="*/ 150 w 187"/>
                <a:gd name="T61" fmla="*/ 77 h 77"/>
                <a:gd name="T62" fmla="*/ 136 w 187"/>
                <a:gd name="T63" fmla="*/ 77 h 77"/>
                <a:gd name="T64" fmla="*/ 118 w 187"/>
                <a:gd name="T65" fmla="*/ 75 h 77"/>
                <a:gd name="T66" fmla="*/ 104 w 187"/>
                <a:gd name="T67" fmla="*/ 72 h 77"/>
                <a:gd name="T68" fmla="*/ 93 w 187"/>
                <a:gd name="T69" fmla="*/ 67 h 77"/>
                <a:gd name="T70" fmla="*/ 83 w 187"/>
                <a:gd name="T71" fmla="*/ 61 h 77"/>
                <a:gd name="T72" fmla="*/ 75 w 187"/>
                <a:gd name="T73" fmla="*/ 55 h 77"/>
                <a:gd name="T74" fmla="*/ 67 w 187"/>
                <a:gd name="T75" fmla="*/ 49 h 77"/>
                <a:gd name="T76" fmla="*/ 55 w 187"/>
                <a:gd name="T77" fmla="*/ 41 h 77"/>
                <a:gd name="T78" fmla="*/ 40 w 187"/>
                <a:gd name="T79" fmla="*/ 34 h 77"/>
                <a:gd name="T80" fmla="*/ 40 w 187"/>
                <a:gd name="T81" fmla="*/ 36 h 77"/>
                <a:gd name="T82" fmla="*/ 40 w 187"/>
                <a:gd name="T83" fmla="*/ 36 h 77"/>
                <a:gd name="T84" fmla="*/ 38 w 187"/>
                <a:gd name="T85" fmla="*/ 37 h 77"/>
                <a:gd name="T86" fmla="*/ 37 w 187"/>
                <a:gd name="T87" fmla="*/ 38 h 77"/>
                <a:gd name="T88" fmla="*/ 34 w 187"/>
                <a:gd name="T89" fmla="*/ 40 h 77"/>
                <a:gd name="T90" fmla="*/ 32 w 187"/>
                <a:gd name="T91" fmla="*/ 38 h 77"/>
                <a:gd name="T92" fmla="*/ 24 w 187"/>
                <a:gd name="T93" fmla="*/ 36 h 77"/>
                <a:gd name="T94" fmla="*/ 14 w 187"/>
                <a:gd name="T95" fmla="*/ 32 h 77"/>
                <a:gd name="T96" fmla="*/ 5 w 187"/>
                <a:gd name="T97" fmla="*/ 28 h 77"/>
                <a:gd name="T98" fmla="*/ 1 w 187"/>
                <a:gd name="T99" fmla="*/ 24 h 77"/>
                <a:gd name="T100" fmla="*/ 0 w 187"/>
                <a:gd name="T101" fmla="*/ 14 h 77"/>
                <a:gd name="T102" fmla="*/ 0 w 187"/>
                <a:gd name="T103" fmla="*/ 2 h 77"/>
                <a:gd name="T104" fmla="*/ 1 w 187"/>
                <a:gd name="T105" fmla="*/ 1 h 77"/>
                <a:gd name="T106" fmla="*/ 2 w 187"/>
                <a:gd name="T10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7" h="77">
                  <a:moveTo>
                    <a:pt x="2" y="0"/>
                  </a:moveTo>
                  <a:lnTo>
                    <a:pt x="4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20" y="6"/>
                  </a:lnTo>
                  <a:lnTo>
                    <a:pt x="31" y="11"/>
                  </a:lnTo>
                  <a:lnTo>
                    <a:pt x="43" y="14"/>
                  </a:lnTo>
                  <a:lnTo>
                    <a:pt x="56" y="15"/>
                  </a:lnTo>
                  <a:lnTo>
                    <a:pt x="72" y="19"/>
                  </a:lnTo>
                  <a:lnTo>
                    <a:pt x="84" y="24"/>
                  </a:lnTo>
                  <a:lnTo>
                    <a:pt x="96" y="33"/>
                  </a:lnTo>
                  <a:lnTo>
                    <a:pt x="109" y="42"/>
                  </a:lnTo>
                  <a:lnTo>
                    <a:pt x="123" y="47"/>
                  </a:lnTo>
                  <a:lnTo>
                    <a:pt x="140" y="50"/>
                  </a:lnTo>
                  <a:lnTo>
                    <a:pt x="156" y="49"/>
                  </a:lnTo>
                  <a:lnTo>
                    <a:pt x="172" y="47"/>
                  </a:lnTo>
                  <a:lnTo>
                    <a:pt x="185" y="45"/>
                  </a:lnTo>
                  <a:lnTo>
                    <a:pt x="186" y="45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6" y="46"/>
                  </a:lnTo>
                  <a:lnTo>
                    <a:pt x="187" y="49"/>
                  </a:lnTo>
                  <a:lnTo>
                    <a:pt x="187" y="52"/>
                  </a:lnTo>
                  <a:lnTo>
                    <a:pt x="185" y="60"/>
                  </a:lnTo>
                  <a:lnTo>
                    <a:pt x="177" y="67"/>
                  </a:lnTo>
                  <a:lnTo>
                    <a:pt x="164" y="73"/>
                  </a:lnTo>
                  <a:lnTo>
                    <a:pt x="150" y="77"/>
                  </a:lnTo>
                  <a:lnTo>
                    <a:pt x="136" y="77"/>
                  </a:lnTo>
                  <a:lnTo>
                    <a:pt x="118" y="75"/>
                  </a:lnTo>
                  <a:lnTo>
                    <a:pt x="104" y="72"/>
                  </a:lnTo>
                  <a:lnTo>
                    <a:pt x="93" y="67"/>
                  </a:lnTo>
                  <a:lnTo>
                    <a:pt x="83" y="61"/>
                  </a:lnTo>
                  <a:lnTo>
                    <a:pt x="75" y="55"/>
                  </a:lnTo>
                  <a:lnTo>
                    <a:pt x="67" y="49"/>
                  </a:lnTo>
                  <a:lnTo>
                    <a:pt x="55" y="41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7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2" y="38"/>
                  </a:lnTo>
                  <a:lnTo>
                    <a:pt x="24" y="36"/>
                  </a:lnTo>
                  <a:lnTo>
                    <a:pt x="14" y="32"/>
                  </a:lnTo>
                  <a:lnTo>
                    <a:pt x="5" y="28"/>
                  </a:lnTo>
                  <a:lnTo>
                    <a:pt x="1" y="24"/>
                  </a:lnTo>
                  <a:lnTo>
                    <a:pt x="0" y="14"/>
                  </a:ln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3" name="Freeform 225"/>
            <p:cNvSpPr>
              <a:spLocks/>
            </p:cNvSpPr>
            <p:nvPr/>
          </p:nvSpPr>
          <p:spPr bwMode="auto">
            <a:xfrm>
              <a:off x="-3829050" y="6032500"/>
              <a:ext cx="293688" cy="304800"/>
            </a:xfrm>
            <a:custGeom>
              <a:avLst/>
              <a:gdLst>
                <a:gd name="T0" fmla="*/ 24 w 185"/>
                <a:gd name="T1" fmla="*/ 0 h 192"/>
                <a:gd name="T2" fmla="*/ 36 w 185"/>
                <a:gd name="T3" fmla="*/ 0 h 192"/>
                <a:gd name="T4" fmla="*/ 47 w 185"/>
                <a:gd name="T5" fmla="*/ 3 h 192"/>
                <a:gd name="T6" fmla="*/ 56 w 185"/>
                <a:gd name="T7" fmla="*/ 8 h 192"/>
                <a:gd name="T8" fmla="*/ 61 w 185"/>
                <a:gd name="T9" fmla="*/ 16 h 192"/>
                <a:gd name="T10" fmla="*/ 63 w 185"/>
                <a:gd name="T11" fmla="*/ 26 h 192"/>
                <a:gd name="T12" fmla="*/ 64 w 185"/>
                <a:gd name="T13" fmla="*/ 40 h 192"/>
                <a:gd name="T14" fmla="*/ 69 w 185"/>
                <a:gd name="T15" fmla="*/ 57 h 192"/>
                <a:gd name="T16" fmla="*/ 81 w 185"/>
                <a:gd name="T17" fmla="*/ 73 h 192"/>
                <a:gd name="T18" fmla="*/ 88 w 185"/>
                <a:gd name="T19" fmla="*/ 82 h 192"/>
                <a:gd name="T20" fmla="*/ 99 w 185"/>
                <a:gd name="T21" fmla="*/ 93 h 192"/>
                <a:gd name="T22" fmla="*/ 110 w 185"/>
                <a:gd name="T23" fmla="*/ 104 h 192"/>
                <a:gd name="T24" fmla="*/ 122 w 185"/>
                <a:gd name="T25" fmla="*/ 116 h 192"/>
                <a:gd name="T26" fmla="*/ 132 w 185"/>
                <a:gd name="T27" fmla="*/ 126 h 192"/>
                <a:gd name="T28" fmla="*/ 141 w 185"/>
                <a:gd name="T29" fmla="*/ 132 h 192"/>
                <a:gd name="T30" fmla="*/ 146 w 185"/>
                <a:gd name="T31" fmla="*/ 135 h 192"/>
                <a:gd name="T32" fmla="*/ 163 w 185"/>
                <a:gd name="T33" fmla="*/ 140 h 192"/>
                <a:gd name="T34" fmla="*/ 174 w 185"/>
                <a:gd name="T35" fmla="*/ 149 h 192"/>
                <a:gd name="T36" fmla="*/ 182 w 185"/>
                <a:gd name="T37" fmla="*/ 159 h 192"/>
                <a:gd name="T38" fmla="*/ 185 w 185"/>
                <a:gd name="T39" fmla="*/ 170 h 192"/>
                <a:gd name="T40" fmla="*/ 179 w 185"/>
                <a:gd name="T41" fmla="*/ 179 h 192"/>
                <a:gd name="T42" fmla="*/ 170 w 185"/>
                <a:gd name="T43" fmla="*/ 186 h 192"/>
                <a:gd name="T44" fmla="*/ 158 w 185"/>
                <a:gd name="T45" fmla="*/ 190 h 192"/>
                <a:gd name="T46" fmla="*/ 141 w 185"/>
                <a:gd name="T47" fmla="*/ 192 h 192"/>
                <a:gd name="T48" fmla="*/ 124 w 185"/>
                <a:gd name="T49" fmla="*/ 192 h 192"/>
                <a:gd name="T50" fmla="*/ 108 w 185"/>
                <a:gd name="T51" fmla="*/ 188 h 192"/>
                <a:gd name="T52" fmla="*/ 91 w 185"/>
                <a:gd name="T53" fmla="*/ 181 h 192"/>
                <a:gd name="T54" fmla="*/ 77 w 185"/>
                <a:gd name="T55" fmla="*/ 171 h 192"/>
                <a:gd name="T56" fmla="*/ 63 w 185"/>
                <a:gd name="T57" fmla="*/ 162 h 192"/>
                <a:gd name="T58" fmla="*/ 47 w 185"/>
                <a:gd name="T59" fmla="*/ 156 h 192"/>
                <a:gd name="T60" fmla="*/ 32 w 185"/>
                <a:gd name="T61" fmla="*/ 149 h 192"/>
                <a:gd name="T62" fmla="*/ 19 w 185"/>
                <a:gd name="T63" fmla="*/ 144 h 192"/>
                <a:gd name="T64" fmla="*/ 7 w 185"/>
                <a:gd name="T65" fmla="*/ 138 h 192"/>
                <a:gd name="T66" fmla="*/ 1 w 185"/>
                <a:gd name="T67" fmla="*/ 129 h 192"/>
                <a:gd name="T68" fmla="*/ 0 w 185"/>
                <a:gd name="T69" fmla="*/ 116 h 192"/>
                <a:gd name="T70" fmla="*/ 0 w 185"/>
                <a:gd name="T71" fmla="*/ 99 h 192"/>
                <a:gd name="T72" fmla="*/ 1 w 185"/>
                <a:gd name="T73" fmla="*/ 80 h 192"/>
                <a:gd name="T74" fmla="*/ 4 w 185"/>
                <a:gd name="T75" fmla="*/ 59 h 192"/>
                <a:gd name="T76" fmla="*/ 4 w 185"/>
                <a:gd name="T77" fmla="*/ 40 h 192"/>
                <a:gd name="T78" fmla="*/ 1 w 185"/>
                <a:gd name="T79" fmla="*/ 25 h 192"/>
                <a:gd name="T80" fmla="*/ 1 w 185"/>
                <a:gd name="T81" fmla="*/ 14 h 192"/>
                <a:gd name="T82" fmla="*/ 6 w 185"/>
                <a:gd name="T83" fmla="*/ 8 h 192"/>
                <a:gd name="T84" fmla="*/ 14 w 185"/>
                <a:gd name="T85" fmla="*/ 3 h 192"/>
                <a:gd name="T86" fmla="*/ 24 w 185"/>
                <a:gd name="T8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" h="192">
                  <a:moveTo>
                    <a:pt x="24" y="0"/>
                  </a:moveTo>
                  <a:lnTo>
                    <a:pt x="36" y="0"/>
                  </a:lnTo>
                  <a:lnTo>
                    <a:pt x="47" y="3"/>
                  </a:lnTo>
                  <a:lnTo>
                    <a:pt x="56" y="8"/>
                  </a:lnTo>
                  <a:lnTo>
                    <a:pt x="61" y="16"/>
                  </a:lnTo>
                  <a:lnTo>
                    <a:pt x="63" y="26"/>
                  </a:lnTo>
                  <a:lnTo>
                    <a:pt x="64" y="40"/>
                  </a:lnTo>
                  <a:lnTo>
                    <a:pt x="69" y="57"/>
                  </a:lnTo>
                  <a:lnTo>
                    <a:pt x="81" y="73"/>
                  </a:lnTo>
                  <a:lnTo>
                    <a:pt x="88" y="82"/>
                  </a:lnTo>
                  <a:lnTo>
                    <a:pt x="99" y="93"/>
                  </a:lnTo>
                  <a:lnTo>
                    <a:pt x="110" y="104"/>
                  </a:lnTo>
                  <a:lnTo>
                    <a:pt x="122" y="116"/>
                  </a:lnTo>
                  <a:lnTo>
                    <a:pt x="132" y="126"/>
                  </a:lnTo>
                  <a:lnTo>
                    <a:pt x="141" y="132"/>
                  </a:lnTo>
                  <a:lnTo>
                    <a:pt x="146" y="135"/>
                  </a:lnTo>
                  <a:lnTo>
                    <a:pt x="163" y="140"/>
                  </a:lnTo>
                  <a:lnTo>
                    <a:pt x="174" y="149"/>
                  </a:lnTo>
                  <a:lnTo>
                    <a:pt x="182" y="159"/>
                  </a:lnTo>
                  <a:lnTo>
                    <a:pt x="185" y="170"/>
                  </a:lnTo>
                  <a:lnTo>
                    <a:pt x="179" y="179"/>
                  </a:lnTo>
                  <a:lnTo>
                    <a:pt x="170" y="186"/>
                  </a:lnTo>
                  <a:lnTo>
                    <a:pt x="158" y="190"/>
                  </a:lnTo>
                  <a:lnTo>
                    <a:pt x="141" y="192"/>
                  </a:lnTo>
                  <a:lnTo>
                    <a:pt x="124" y="192"/>
                  </a:lnTo>
                  <a:lnTo>
                    <a:pt x="108" y="188"/>
                  </a:lnTo>
                  <a:lnTo>
                    <a:pt x="91" y="181"/>
                  </a:lnTo>
                  <a:lnTo>
                    <a:pt x="77" y="171"/>
                  </a:lnTo>
                  <a:lnTo>
                    <a:pt x="63" y="162"/>
                  </a:lnTo>
                  <a:lnTo>
                    <a:pt x="47" y="156"/>
                  </a:lnTo>
                  <a:lnTo>
                    <a:pt x="32" y="149"/>
                  </a:lnTo>
                  <a:lnTo>
                    <a:pt x="19" y="144"/>
                  </a:lnTo>
                  <a:lnTo>
                    <a:pt x="7" y="138"/>
                  </a:lnTo>
                  <a:lnTo>
                    <a:pt x="1" y="129"/>
                  </a:lnTo>
                  <a:lnTo>
                    <a:pt x="0" y="116"/>
                  </a:lnTo>
                  <a:lnTo>
                    <a:pt x="0" y="99"/>
                  </a:lnTo>
                  <a:lnTo>
                    <a:pt x="1" y="80"/>
                  </a:lnTo>
                  <a:lnTo>
                    <a:pt x="4" y="59"/>
                  </a:lnTo>
                  <a:lnTo>
                    <a:pt x="4" y="40"/>
                  </a:lnTo>
                  <a:lnTo>
                    <a:pt x="1" y="25"/>
                  </a:lnTo>
                  <a:lnTo>
                    <a:pt x="1" y="14"/>
                  </a:lnTo>
                  <a:lnTo>
                    <a:pt x="6" y="8"/>
                  </a:lnTo>
                  <a:lnTo>
                    <a:pt x="14" y="3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4" name="Line 226"/>
            <p:cNvSpPr>
              <a:spLocks noChangeShapeType="1"/>
            </p:cNvSpPr>
            <p:nvPr/>
          </p:nvSpPr>
          <p:spPr bwMode="auto">
            <a:xfrm>
              <a:off x="-3817938" y="6000750"/>
              <a:ext cx="3175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5" name="Line 227"/>
            <p:cNvSpPr>
              <a:spLocks noChangeShapeType="1"/>
            </p:cNvSpPr>
            <p:nvPr/>
          </p:nvSpPr>
          <p:spPr bwMode="auto">
            <a:xfrm>
              <a:off x="-3814763" y="6029325"/>
              <a:ext cx="3175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6" name="Line 228"/>
            <p:cNvSpPr>
              <a:spLocks noChangeShapeType="1"/>
            </p:cNvSpPr>
            <p:nvPr/>
          </p:nvSpPr>
          <p:spPr bwMode="auto">
            <a:xfrm>
              <a:off x="-3811588" y="60658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7" name="Line 229"/>
            <p:cNvSpPr>
              <a:spLocks noChangeShapeType="1"/>
            </p:cNvSpPr>
            <p:nvPr/>
          </p:nvSpPr>
          <p:spPr bwMode="auto">
            <a:xfrm>
              <a:off x="-3806825" y="6108700"/>
              <a:ext cx="3175" cy="460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8" name="Line 230"/>
            <p:cNvSpPr>
              <a:spLocks noChangeShapeType="1"/>
            </p:cNvSpPr>
            <p:nvPr/>
          </p:nvSpPr>
          <p:spPr bwMode="auto">
            <a:xfrm>
              <a:off x="-3803650" y="61547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9" name="Line 231"/>
            <p:cNvSpPr>
              <a:spLocks noChangeShapeType="1"/>
            </p:cNvSpPr>
            <p:nvPr/>
          </p:nvSpPr>
          <p:spPr bwMode="auto">
            <a:xfrm>
              <a:off x="-3798888" y="6197600"/>
              <a:ext cx="6350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0" name="Line 232"/>
            <p:cNvSpPr>
              <a:spLocks noChangeShapeType="1"/>
            </p:cNvSpPr>
            <p:nvPr/>
          </p:nvSpPr>
          <p:spPr bwMode="auto">
            <a:xfrm>
              <a:off x="-3792538" y="6234113"/>
              <a:ext cx="6350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1" name="Line 233"/>
            <p:cNvSpPr>
              <a:spLocks noChangeShapeType="1"/>
            </p:cNvSpPr>
            <p:nvPr/>
          </p:nvSpPr>
          <p:spPr bwMode="auto">
            <a:xfrm>
              <a:off x="-3800475" y="6008688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2" name="Line 234"/>
            <p:cNvSpPr>
              <a:spLocks noChangeShapeType="1"/>
            </p:cNvSpPr>
            <p:nvPr/>
          </p:nvSpPr>
          <p:spPr bwMode="auto">
            <a:xfrm>
              <a:off x="-3798888" y="6035675"/>
              <a:ext cx="1588" cy="381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3" name="Line 235"/>
            <p:cNvSpPr>
              <a:spLocks noChangeShapeType="1"/>
            </p:cNvSpPr>
            <p:nvPr/>
          </p:nvSpPr>
          <p:spPr bwMode="auto">
            <a:xfrm>
              <a:off x="-3797300" y="6073775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4" name="Line 236"/>
            <p:cNvSpPr>
              <a:spLocks noChangeShapeType="1"/>
            </p:cNvSpPr>
            <p:nvPr/>
          </p:nvSpPr>
          <p:spPr bwMode="auto">
            <a:xfrm>
              <a:off x="-3792538" y="6116638"/>
              <a:ext cx="3175" cy="4445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5" name="Line 237"/>
            <p:cNvSpPr>
              <a:spLocks noChangeShapeType="1"/>
            </p:cNvSpPr>
            <p:nvPr/>
          </p:nvSpPr>
          <p:spPr bwMode="auto">
            <a:xfrm>
              <a:off x="-3789363" y="6161088"/>
              <a:ext cx="6350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6" name="Line 238"/>
            <p:cNvSpPr>
              <a:spLocks noChangeShapeType="1"/>
            </p:cNvSpPr>
            <p:nvPr/>
          </p:nvSpPr>
          <p:spPr bwMode="auto">
            <a:xfrm>
              <a:off x="-3783013" y="6203950"/>
              <a:ext cx="4763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7" name="Line 239"/>
            <p:cNvSpPr>
              <a:spLocks noChangeShapeType="1"/>
            </p:cNvSpPr>
            <p:nvPr/>
          </p:nvSpPr>
          <p:spPr bwMode="auto">
            <a:xfrm>
              <a:off x="-3778250" y="6240463"/>
              <a:ext cx="6350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8" name="Freeform 240"/>
            <p:cNvSpPr>
              <a:spLocks/>
            </p:cNvSpPr>
            <p:nvPr/>
          </p:nvSpPr>
          <p:spPr bwMode="auto">
            <a:xfrm>
              <a:off x="-3562350" y="4492625"/>
              <a:ext cx="134938" cy="173038"/>
            </a:xfrm>
            <a:custGeom>
              <a:avLst/>
              <a:gdLst>
                <a:gd name="T0" fmla="*/ 61 w 85"/>
                <a:gd name="T1" fmla="*/ 0 h 109"/>
                <a:gd name="T2" fmla="*/ 72 w 85"/>
                <a:gd name="T3" fmla="*/ 3 h 109"/>
                <a:gd name="T4" fmla="*/ 76 w 85"/>
                <a:gd name="T5" fmla="*/ 5 h 109"/>
                <a:gd name="T6" fmla="*/ 78 w 85"/>
                <a:gd name="T7" fmla="*/ 9 h 109"/>
                <a:gd name="T8" fmla="*/ 81 w 85"/>
                <a:gd name="T9" fmla="*/ 14 h 109"/>
                <a:gd name="T10" fmla="*/ 83 w 85"/>
                <a:gd name="T11" fmla="*/ 20 h 109"/>
                <a:gd name="T12" fmla="*/ 85 w 85"/>
                <a:gd name="T13" fmla="*/ 35 h 109"/>
                <a:gd name="T14" fmla="*/ 82 w 85"/>
                <a:gd name="T15" fmla="*/ 56 h 109"/>
                <a:gd name="T16" fmla="*/ 74 w 85"/>
                <a:gd name="T17" fmla="*/ 81 h 109"/>
                <a:gd name="T18" fmla="*/ 64 w 85"/>
                <a:gd name="T19" fmla="*/ 109 h 109"/>
                <a:gd name="T20" fmla="*/ 47 w 85"/>
                <a:gd name="T21" fmla="*/ 103 h 109"/>
                <a:gd name="T22" fmla="*/ 59 w 85"/>
                <a:gd name="T23" fmla="*/ 76 h 109"/>
                <a:gd name="T24" fmla="*/ 65 w 85"/>
                <a:gd name="T25" fmla="*/ 54 h 109"/>
                <a:gd name="T26" fmla="*/ 68 w 85"/>
                <a:gd name="T27" fmla="*/ 36 h 109"/>
                <a:gd name="T28" fmla="*/ 67 w 85"/>
                <a:gd name="T29" fmla="*/ 23 h 109"/>
                <a:gd name="T30" fmla="*/ 65 w 85"/>
                <a:gd name="T31" fmla="*/ 20 h 109"/>
                <a:gd name="T32" fmla="*/ 64 w 85"/>
                <a:gd name="T33" fmla="*/ 18 h 109"/>
                <a:gd name="T34" fmla="*/ 61 w 85"/>
                <a:gd name="T35" fmla="*/ 18 h 109"/>
                <a:gd name="T36" fmla="*/ 58 w 85"/>
                <a:gd name="T37" fmla="*/ 18 h 109"/>
                <a:gd name="T38" fmla="*/ 49 w 85"/>
                <a:gd name="T39" fmla="*/ 26 h 109"/>
                <a:gd name="T40" fmla="*/ 38 w 85"/>
                <a:gd name="T41" fmla="*/ 38 h 109"/>
                <a:gd name="T42" fmla="*/ 28 w 85"/>
                <a:gd name="T43" fmla="*/ 54 h 109"/>
                <a:gd name="T44" fmla="*/ 15 w 85"/>
                <a:gd name="T45" fmla="*/ 77 h 109"/>
                <a:gd name="T46" fmla="*/ 0 w 85"/>
                <a:gd name="T47" fmla="*/ 70 h 109"/>
                <a:gd name="T48" fmla="*/ 14 w 85"/>
                <a:gd name="T49" fmla="*/ 44 h 109"/>
                <a:gd name="T50" fmla="*/ 27 w 85"/>
                <a:gd name="T51" fmla="*/ 25 h 109"/>
                <a:gd name="T52" fmla="*/ 40 w 85"/>
                <a:gd name="T53" fmla="*/ 12 h 109"/>
                <a:gd name="T54" fmla="*/ 51 w 85"/>
                <a:gd name="T55" fmla="*/ 4 h 109"/>
                <a:gd name="T56" fmla="*/ 61 w 85"/>
                <a:gd name="T5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09">
                  <a:moveTo>
                    <a:pt x="61" y="0"/>
                  </a:moveTo>
                  <a:lnTo>
                    <a:pt x="72" y="3"/>
                  </a:lnTo>
                  <a:lnTo>
                    <a:pt x="76" y="5"/>
                  </a:lnTo>
                  <a:lnTo>
                    <a:pt x="78" y="9"/>
                  </a:lnTo>
                  <a:lnTo>
                    <a:pt x="81" y="14"/>
                  </a:lnTo>
                  <a:lnTo>
                    <a:pt x="83" y="20"/>
                  </a:lnTo>
                  <a:lnTo>
                    <a:pt x="85" y="35"/>
                  </a:lnTo>
                  <a:lnTo>
                    <a:pt x="82" y="56"/>
                  </a:lnTo>
                  <a:lnTo>
                    <a:pt x="74" y="81"/>
                  </a:lnTo>
                  <a:lnTo>
                    <a:pt x="64" y="109"/>
                  </a:lnTo>
                  <a:lnTo>
                    <a:pt x="47" y="103"/>
                  </a:lnTo>
                  <a:lnTo>
                    <a:pt x="59" y="76"/>
                  </a:lnTo>
                  <a:lnTo>
                    <a:pt x="65" y="54"/>
                  </a:lnTo>
                  <a:lnTo>
                    <a:pt x="68" y="36"/>
                  </a:lnTo>
                  <a:lnTo>
                    <a:pt x="67" y="23"/>
                  </a:lnTo>
                  <a:lnTo>
                    <a:pt x="65" y="20"/>
                  </a:lnTo>
                  <a:lnTo>
                    <a:pt x="64" y="18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49" y="26"/>
                  </a:lnTo>
                  <a:lnTo>
                    <a:pt x="38" y="38"/>
                  </a:lnTo>
                  <a:lnTo>
                    <a:pt x="28" y="54"/>
                  </a:lnTo>
                  <a:lnTo>
                    <a:pt x="15" y="77"/>
                  </a:lnTo>
                  <a:lnTo>
                    <a:pt x="0" y="70"/>
                  </a:lnTo>
                  <a:lnTo>
                    <a:pt x="14" y="44"/>
                  </a:lnTo>
                  <a:lnTo>
                    <a:pt x="27" y="25"/>
                  </a:lnTo>
                  <a:lnTo>
                    <a:pt x="40" y="12"/>
                  </a:lnTo>
                  <a:lnTo>
                    <a:pt x="51" y="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9" name="Freeform 241"/>
            <p:cNvSpPr>
              <a:spLocks/>
            </p:cNvSpPr>
            <p:nvPr/>
          </p:nvSpPr>
          <p:spPr bwMode="auto">
            <a:xfrm>
              <a:off x="-3776663" y="4532313"/>
              <a:ext cx="334963" cy="542925"/>
            </a:xfrm>
            <a:custGeom>
              <a:avLst/>
              <a:gdLst>
                <a:gd name="T0" fmla="*/ 126 w 211"/>
                <a:gd name="T1" fmla="*/ 0 h 342"/>
                <a:gd name="T2" fmla="*/ 143 w 211"/>
                <a:gd name="T3" fmla="*/ 1 h 342"/>
                <a:gd name="T4" fmla="*/ 155 w 211"/>
                <a:gd name="T5" fmla="*/ 6 h 342"/>
                <a:gd name="T6" fmla="*/ 168 w 211"/>
                <a:gd name="T7" fmla="*/ 15 h 342"/>
                <a:gd name="T8" fmla="*/ 181 w 211"/>
                <a:gd name="T9" fmla="*/ 29 h 342"/>
                <a:gd name="T10" fmla="*/ 193 w 211"/>
                <a:gd name="T11" fmla="*/ 46 h 342"/>
                <a:gd name="T12" fmla="*/ 203 w 211"/>
                <a:gd name="T13" fmla="*/ 64 h 342"/>
                <a:gd name="T14" fmla="*/ 208 w 211"/>
                <a:gd name="T15" fmla="*/ 86 h 342"/>
                <a:gd name="T16" fmla="*/ 207 w 211"/>
                <a:gd name="T17" fmla="*/ 108 h 342"/>
                <a:gd name="T18" fmla="*/ 199 w 211"/>
                <a:gd name="T19" fmla="*/ 131 h 342"/>
                <a:gd name="T20" fmla="*/ 194 w 211"/>
                <a:gd name="T21" fmla="*/ 149 h 342"/>
                <a:gd name="T22" fmla="*/ 194 w 211"/>
                <a:gd name="T23" fmla="*/ 168 h 342"/>
                <a:gd name="T24" fmla="*/ 198 w 211"/>
                <a:gd name="T25" fmla="*/ 190 h 342"/>
                <a:gd name="T26" fmla="*/ 203 w 211"/>
                <a:gd name="T27" fmla="*/ 213 h 342"/>
                <a:gd name="T28" fmla="*/ 208 w 211"/>
                <a:gd name="T29" fmla="*/ 240 h 342"/>
                <a:gd name="T30" fmla="*/ 211 w 211"/>
                <a:gd name="T31" fmla="*/ 268 h 342"/>
                <a:gd name="T32" fmla="*/ 209 w 211"/>
                <a:gd name="T33" fmla="*/ 299 h 342"/>
                <a:gd name="T34" fmla="*/ 204 w 211"/>
                <a:gd name="T35" fmla="*/ 308 h 342"/>
                <a:gd name="T36" fmla="*/ 194 w 211"/>
                <a:gd name="T37" fmla="*/ 314 h 342"/>
                <a:gd name="T38" fmla="*/ 184 w 211"/>
                <a:gd name="T39" fmla="*/ 319 h 342"/>
                <a:gd name="T40" fmla="*/ 110 w 211"/>
                <a:gd name="T41" fmla="*/ 341 h 342"/>
                <a:gd name="T42" fmla="*/ 103 w 211"/>
                <a:gd name="T43" fmla="*/ 342 h 342"/>
                <a:gd name="T44" fmla="*/ 91 w 211"/>
                <a:gd name="T45" fmla="*/ 342 h 342"/>
                <a:gd name="T46" fmla="*/ 76 w 211"/>
                <a:gd name="T47" fmla="*/ 341 h 342"/>
                <a:gd name="T48" fmla="*/ 62 w 211"/>
                <a:gd name="T49" fmla="*/ 340 h 342"/>
                <a:gd name="T50" fmla="*/ 51 w 211"/>
                <a:gd name="T51" fmla="*/ 337 h 342"/>
                <a:gd name="T52" fmla="*/ 46 w 211"/>
                <a:gd name="T53" fmla="*/ 333 h 342"/>
                <a:gd name="T54" fmla="*/ 0 w 211"/>
                <a:gd name="T55" fmla="*/ 64 h 342"/>
                <a:gd name="T56" fmla="*/ 3 w 211"/>
                <a:gd name="T57" fmla="*/ 52 h 342"/>
                <a:gd name="T58" fmla="*/ 10 w 211"/>
                <a:gd name="T59" fmla="*/ 41 h 342"/>
                <a:gd name="T60" fmla="*/ 25 w 211"/>
                <a:gd name="T61" fmla="*/ 29 h 342"/>
                <a:gd name="T62" fmla="*/ 42 w 211"/>
                <a:gd name="T63" fmla="*/ 20 h 342"/>
                <a:gd name="T64" fmla="*/ 63 w 211"/>
                <a:gd name="T65" fmla="*/ 11 h 342"/>
                <a:gd name="T66" fmla="*/ 85 w 211"/>
                <a:gd name="T67" fmla="*/ 5 h 342"/>
                <a:gd name="T68" fmla="*/ 107 w 211"/>
                <a:gd name="T69" fmla="*/ 1 h 342"/>
                <a:gd name="T70" fmla="*/ 126 w 211"/>
                <a:gd name="T71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1" h="342">
                  <a:moveTo>
                    <a:pt x="126" y="0"/>
                  </a:moveTo>
                  <a:lnTo>
                    <a:pt x="143" y="1"/>
                  </a:lnTo>
                  <a:lnTo>
                    <a:pt x="155" y="6"/>
                  </a:lnTo>
                  <a:lnTo>
                    <a:pt x="168" y="15"/>
                  </a:lnTo>
                  <a:lnTo>
                    <a:pt x="181" y="29"/>
                  </a:lnTo>
                  <a:lnTo>
                    <a:pt x="193" y="46"/>
                  </a:lnTo>
                  <a:lnTo>
                    <a:pt x="203" y="64"/>
                  </a:lnTo>
                  <a:lnTo>
                    <a:pt x="208" y="86"/>
                  </a:lnTo>
                  <a:lnTo>
                    <a:pt x="207" y="108"/>
                  </a:lnTo>
                  <a:lnTo>
                    <a:pt x="199" y="131"/>
                  </a:lnTo>
                  <a:lnTo>
                    <a:pt x="194" y="149"/>
                  </a:lnTo>
                  <a:lnTo>
                    <a:pt x="194" y="168"/>
                  </a:lnTo>
                  <a:lnTo>
                    <a:pt x="198" y="190"/>
                  </a:lnTo>
                  <a:lnTo>
                    <a:pt x="203" y="213"/>
                  </a:lnTo>
                  <a:lnTo>
                    <a:pt x="208" y="240"/>
                  </a:lnTo>
                  <a:lnTo>
                    <a:pt x="211" y="268"/>
                  </a:lnTo>
                  <a:lnTo>
                    <a:pt x="209" y="299"/>
                  </a:lnTo>
                  <a:lnTo>
                    <a:pt x="204" y="308"/>
                  </a:lnTo>
                  <a:lnTo>
                    <a:pt x="194" y="314"/>
                  </a:lnTo>
                  <a:lnTo>
                    <a:pt x="184" y="319"/>
                  </a:lnTo>
                  <a:lnTo>
                    <a:pt x="110" y="341"/>
                  </a:lnTo>
                  <a:lnTo>
                    <a:pt x="103" y="342"/>
                  </a:lnTo>
                  <a:lnTo>
                    <a:pt x="91" y="342"/>
                  </a:lnTo>
                  <a:lnTo>
                    <a:pt x="76" y="341"/>
                  </a:lnTo>
                  <a:lnTo>
                    <a:pt x="62" y="340"/>
                  </a:lnTo>
                  <a:lnTo>
                    <a:pt x="51" y="337"/>
                  </a:lnTo>
                  <a:lnTo>
                    <a:pt x="46" y="333"/>
                  </a:lnTo>
                  <a:lnTo>
                    <a:pt x="0" y="64"/>
                  </a:lnTo>
                  <a:lnTo>
                    <a:pt x="3" y="52"/>
                  </a:lnTo>
                  <a:lnTo>
                    <a:pt x="10" y="41"/>
                  </a:lnTo>
                  <a:lnTo>
                    <a:pt x="25" y="29"/>
                  </a:lnTo>
                  <a:lnTo>
                    <a:pt x="42" y="20"/>
                  </a:lnTo>
                  <a:lnTo>
                    <a:pt x="63" y="11"/>
                  </a:lnTo>
                  <a:lnTo>
                    <a:pt x="85" y="5"/>
                  </a:lnTo>
                  <a:lnTo>
                    <a:pt x="107" y="1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B9A02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0" name="Freeform 242"/>
            <p:cNvSpPr>
              <a:spLocks/>
            </p:cNvSpPr>
            <p:nvPr/>
          </p:nvSpPr>
          <p:spPr bwMode="auto">
            <a:xfrm>
              <a:off x="-4092575" y="4756150"/>
              <a:ext cx="198438" cy="814388"/>
            </a:xfrm>
            <a:custGeom>
              <a:avLst/>
              <a:gdLst>
                <a:gd name="T0" fmla="*/ 49 w 125"/>
                <a:gd name="T1" fmla="*/ 0 h 513"/>
                <a:gd name="T2" fmla="*/ 61 w 125"/>
                <a:gd name="T3" fmla="*/ 1 h 513"/>
                <a:gd name="T4" fmla="*/ 72 w 125"/>
                <a:gd name="T5" fmla="*/ 10 h 513"/>
                <a:gd name="T6" fmla="*/ 84 w 125"/>
                <a:gd name="T7" fmla="*/ 24 h 513"/>
                <a:gd name="T8" fmla="*/ 94 w 125"/>
                <a:gd name="T9" fmla="*/ 46 h 513"/>
                <a:gd name="T10" fmla="*/ 103 w 125"/>
                <a:gd name="T11" fmla="*/ 74 h 513"/>
                <a:gd name="T12" fmla="*/ 112 w 125"/>
                <a:gd name="T13" fmla="*/ 109 h 513"/>
                <a:gd name="T14" fmla="*/ 118 w 125"/>
                <a:gd name="T15" fmla="*/ 150 h 513"/>
                <a:gd name="T16" fmla="*/ 122 w 125"/>
                <a:gd name="T17" fmla="*/ 199 h 513"/>
                <a:gd name="T18" fmla="*/ 123 w 125"/>
                <a:gd name="T19" fmla="*/ 221 h 513"/>
                <a:gd name="T20" fmla="*/ 125 w 125"/>
                <a:gd name="T21" fmla="*/ 246 h 513"/>
                <a:gd name="T22" fmla="*/ 125 w 125"/>
                <a:gd name="T23" fmla="*/ 276 h 513"/>
                <a:gd name="T24" fmla="*/ 123 w 125"/>
                <a:gd name="T25" fmla="*/ 307 h 513"/>
                <a:gd name="T26" fmla="*/ 122 w 125"/>
                <a:gd name="T27" fmla="*/ 340 h 513"/>
                <a:gd name="T28" fmla="*/ 121 w 125"/>
                <a:gd name="T29" fmla="*/ 372 h 513"/>
                <a:gd name="T30" fmla="*/ 118 w 125"/>
                <a:gd name="T31" fmla="*/ 403 h 513"/>
                <a:gd name="T32" fmla="*/ 114 w 125"/>
                <a:gd name="T33" fmla="*/ 432 h 513"/>
                <a:gd name="T34" fmla="*/ 109 w 125"/>
                <a:gd name="T35" fmla="*/ 459 h 513"/>
                <a:gd name="T36" fmla="*/ 104 w 125"/>
                <a:gd name="T37" fmla="*/ 481 h 513"/>
                <a:gd name="T38" fmla="*/ 98 w 125"/>
                <a:gd name="T39" fmla="*/ 498 h 513"/>
                <a:gd name="T40" fmla="*/ 90 w 125"/>
                <a:gd name="T41" fmla="*/ 509 h 513"/>
                <a:gd name="T42" fmla="*/ 81 w 125"/>
                <a:gd name="T43" fmla="*/ 513 h 513"/>
                <a:gd name="T44" fmla="*/ 68 w 125"/>
                <a:gd name="T45" fmla="*/ 509 h 513"/>
                <a:gd name="T46" fmla="*/ 57 w 125"/>
                <a:gd name="T47" fmla="*/ 499 h 513"/>
                <a:gd name="T48" fmla="*/ 45 w 125"/>
                <a:gd name="T49" fmla="*/ 481 h 513"/>
                <a:gd name="T50" fmla="*/ 34 w 125"/>
                <a:gd name="T51" fmla="*/ 457 h 513"/>
                <a:gd name="T52" fmla="*/ 25 w 125"/>
                <a:gd name="T53" fmla="*/ 425 h 513"/>
                <a:gd name="T54" fmla="*/ 16 w 125"/>
                <a:gd name="T55" fmla="*/ 385 h 513"/>
                <a:gd name="T56" fmla="*/ 9 w 125"/>
                <a:gd name="T57" fmla="*/ 337 h 513"/>
                <a:gd name="T58" fmla="*/ 4 w 125"/>
                <a:gd name="T59" fmla="*/ 282 h 513"/>
                <a:gd name="T60" fmla="*/ 0 w 125"/>
                <a:gd name="T61" fmla="*/ 221 h 513"/>
                <a:gd name="T62" fmla="*/ 0 w 125"/>
                <a:gd name="T63" fmla="*/ 151 h 513"/>
                <a:gd name="T64" fmla="*/ 2 w 125"/>
                <a:gd name="T65" fmla="*/ 113 h 513"/>
                <a:gd name="T66" fmla="*/ 5 w 125"/>
                <a:gd name="T67" fmla="*/ 79 h 513"/>
                <a:gd name="T68" fmla="*/ 12 w 125"/>
                <a:gd name="T69" fmla="*/ 51 h 513"/>
                <a:gd name="T70" fmla="*/ 20 w 125"/>
                <a:gd name="T71" fmla="*/ 29 h 513"/>
                <a:gd name="T72" fmla="*/ 29 w 125"/>
                <a:gd name="T73" fmla="*/ 14 h 513"/>
                <a:gd name="T74" fmla="*/ 39 w 125"/>
                <a:gd name="T75" fmla="*/ 4 h 513"/>
                <a:gd name="T76" fmla="*/ 49 w 125"/>
                <a:gd name="T77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5" h="513">
                  <a:moveTo>
                    <a:pt x="49" y="0"/>
                  </a:moveTo>
                  <a:lnTo>
                    <a:pt x="61" y="1"/>
                  </a:lnTo>
                  <a:lnTo>
                    <a:pt x="72" y="10"/>
                  </a:lnTo>
                  <a:lnTo>
                    <a:pt x="84" y="24"/>
                  </a:lnTo>
                  <a:lnTo>
                    <a:pt x="94" y="46"/>
                  </a:lnTo>
                  <a:lnTo>
                    <a:pt x="103" y="74"/>
                  </a:lnTo>
                  <a:lnTo>
                    <a:pt x="112" y="109"/>
                  </a:lnTo>
                  <a:lnTo>
                    <a:pt x="118" y="150"/>
                  </a:lnTo>
                  <a:lnTo>
                    <a:pt x="122" y="199"/>
                  </a:lnTo>
                  <a:lnTo>
                    <a:pt x="123" y="221"/>
                  </a:lnTo>
                  <a:lnTo>
                    <a:pt x="125" y="246"/>
                  </a:lnTo>
                  <a:lnTo>
                    <a:pt x="125" y="276"/>
                  </a:lnTo>
                  <a:lnTo>
                    <a:pt x="123" y="307"/>
                  </a:lnTo>
                  <a:lnTo>
                    <a:pt x="122" y="340"/>
                  </a:lnTo>
                  <a:lnTo>
                    <a:pt x="121" y="372"/>
                  </a:lnTo>
                  <a:lnTo>
                    <a:pt x="118" y="403"/>
                  </a:lnTo>
                  <a:lnTo>
                    <a:pt x="114" y="432"/>
                  </a:lnTo>
                  <a:lnTo>
                    <a:pt x="109" y="459"/>
                  </a:lnTo>
                  <a:lnTo>
                    <a:pt x="104" y="481"/>
                  </a:lnTo>
                  <a:lnTo>
                    <a:pt x="98" y="498"/>
                  </a:lnTo>
                  <a:lnTo>
                    <a:pt x="90" y="509"/>
                  </a:lnTo>
                  <a:lnTo>
                    <a:pt x="81" y="513"/>
                  </a:lnTo>
                  <a:lnTo>
                    <a:pt x="68" y="509"/>
                  </a:lnTo>
                  <a:lnTo>
                    <a:pt x="57" y="499"/>
                  </a:lnTo>
                  <a:lnTo>
                    <a:pt x="45" y="481"/>
                  </a:lnTo>
                  <a:lnTo>
                    <a:pt x="34" y="457"/>
                  </a:lnTo>
                  <a:lnTo>
                    <a:pt x="25" y="425"/>
                  </a:lnTo>
                  <a:lnTo>
                    <a:pt x="16" y="385"/>
                  </a:lnTo>
                  <a:lnTo>
                    <a:pt x="9" y="337"/>
                  </a:lnTo>
                  <a:lnTo>
                    <a:pt x="4" y="282"/>
                  </a:lnTo>
                  <a:lnTo>
                    <a:pt x="0" y="221"/>
                  </a:lnTo>
                  <a:lnTo>
                    <a:pt x="0" y="151"/>
                  </a:lnTo>
                  <a:lnTo>
                    <a:pt x="2" y="113"/>
                  </a:lnTo>
                  <a:lnTo>
                    <a:pt x="5" y="79"/>
                  </a:lnTo>
                  <a:lnTo>
                    <a:pt x="12" y="51"/>
                  </a:lnTo>
                  <a:lnTo>
                    <a:pt x="20" y="29"/>
                  </a:lnTo>
                  <a:lnTo>
                    <a:pt x="29" y="14"/>
                  </a:lnTo>
                  <a:lnTo>
                    <a:pt x="39" y="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1" name="Freeform 243"/>
            <p:cNvSpPr>
              <a:spLocks/>
            </p:cNvSpPr>
            <p:nvPr/>
          </p:nvSpPr>
          <p:spPr bwMode="auto">
            <a:xfrm>
              <a:off x="-3865563" y="4759325"/>
              <a:ext cx="195263" cy="811213"/>
            </a:xfrm>
            <a:custGeom>
              <a:avLst/>
              <a:gdLst>
                <a:gd name="T0" fmla="*/ 74 w 123"/>
                <a:gd name="T1" fmla="*/ 0 h 511"/>
                <a:gd name="T2" fmla="*/ 86 w 123"/>
                <a:gd name="T3" fmla="*/ 6 h 511"/>
                <a:gd name="T4" fmla="*/ 96 w 123"/>
                <a:gd name="T5" fmla="*/ 16 h 511"/>
                <a:gd name="T6" fmla="*/ 105 w 123"/>
                <a:gd name="T7" fmla="*/ 33 h 511"/>
                <a:gd name="T8" fmla="*/ 113 w 123"/>
                <a:gd name="T9" fmla="*/ 54 h 511"/>
                <a:gd name="T10" fmla="*/ 118 w 123"/>
                <a:gd name="T11" fmla="*/ 83 h 511"/>
                <a:gd name="T12" fmla="*/ 122 w 123"/>
                <a:gd name="T13" fmla="*/ 116 h 511"/>
                <a:gd name="T14" fmla="*/ 123 w 123"/>
                <a:gd name="T15" fmla="*/ 154 h 511"/>
                <a:gd name="T16" fmla="*/ 122 w 123"/>
                <a:gd name="T17" fmla="*/ 222 h 511"/>
                <a:gd name="T18" fmla="*/ 119 w 123"/>
                <a:gd name="T19" fmla="*/ 284 h 511"/>
                <a:gd name="T20" fmla="*/ 114 w 123"/>
                <a:gd name="T21" fmla="*/ 337 h 511"/>
                <a:gd name="T22" fmla="*/ 107 w 123"/>
                <a:gd name="T23" fmla="*/ 383 h 511"/>
                <a:gd name="T24" fmla="*/ 98 w 123"/>
                <a:gd name="T25" fmla="*/ 423 h 511"/>
                <a:gd name="T26" fmla="*/ 90 w 123"/>
                <a:gd name="T27" fmla="*/ 455 h 511"/>
                <a:gd name="T28" fmla="*/ 79 w 123"/>
                <a:gd name="T29" fmla="*/ 479 h 511"/>
                <a:gd name="T30" fmla="*/ 68 w 123"/>
                <a:gd name="T31" fmla="*/ 497 h 511"/>
                <a:gd name="T32" fmla="*/ 56 w 123"/>
                <a:gd name="T33" fmla="*/ 507 h 511"/>
                <a:gd name="T34" fmla="*/ 43 w 123"/>
                <a:gd name="T35" fmla="*/ 511 h 511"/>
                <a:gd name="T36" fmla="*/ 34 w 123"/>
                <a:gd name="T37" fmla="*/ 507 h 511"/>
                <a:gd name="T38" fmla="*/ 27 w 123"/>
                <a:gd name="T39" fmla="*/ 496 h 511"/>
                <a:gd name="T40" fmla="*/ 20 w 123"/>
                <a:gd name="T41" fmla="*/ 479 h 511"/>
                <a:gd name="T42" fmla="*/ 14 w 123"/>
                <a:gd name="T43" fmla="*/ 457 h 511"/>
                <a:gd name="T44" fmla="*/ 10 w 123"/>
                <a:gd name="T45" fmla="*/ 430 h 511"/>
                <a:gd name="T46" fmla="*/ 6 w 123"/>
                <a:gd name="T47" fmla="*/ 401 h 511"/>
                <a:gd name="T48" fmla="*/ 4 w 123"/>
                <a:gd name="T49" fmla="*/ 370 h 511"/>
                <a:gd name="T50" fmla="*/ 1 w 123"/>
                <a:gd name="T51" fmla="*/ 338 h 511"/>
                <a:gd name="T52" fmla="*/ 1 w 123"/>
                <a:gd name="T53" fmla="*/ 305 h 511"/>
                <a:gd name="T54" fmla="*/ 0 w 123"/>
                <a:gd name="T55" fmla="*/ 274 h 511"/>
                <a:gd name="T56" fmla="*/ 0 w 123"/>
                <a:gd name="T57" fmla="*/ 244 h 511"/>
                <a:gd name="T58" fmla="*/ 1 w 123"/>
                <a:gd name="T59" fmla="*/ 219 h 511"/>
                <a:gd name="T60" fmla="*/ 1 w 123"/>
                <a:gd name="T61" fmla="*/ 197 h 511"/>
                <a:gd name="T62" fmla="*/ 6 w 123"/>
                <a:gd name="T63" fmla="*/ 148 h 511"/>
                <a:gd name="T64" fmla="*/ 13 w 123"/>
                <a:gd name="T65" fmla="*/ 107 h 511"/>
                <a:gd name="T66" fmla="*/ 20 w 123"/>
                <a:gd name="T67" fmla="*/ 72 h 511"/>
                <a:gd name="T68" fmla="*/ 30 w 123"/>
                <a:gd name="T69" fmla="*/ 45 h 511"/>
                <a:gd name="T70" fmla="*/ 41 w 123"/>
                <a:gd name="T71" fmla="*/ 25 h 511"/>
                <a:gd name="T72" fmla="*/ 52 w 123"/>
                <a:gd name="T73" fmla="*/ 11 h 511"/>
                <a:gd name="T74" fmla="*/ 63 w 123"/>
                <a:gd name="T75" fmla="*/ 2 h 511"/>
                <a:gd name="T76" fmla="*/ 74 w 123"/>
                <a:gd name="T77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511">
                  <a:moveTo>
                    <a:pt x="74" y="0"/>
                  </a:moveTo>
                  <a:lnTo>
                    <a:pt x="86" y="6"/>
                  </a:lnTo>
                  <a:lnTo>
                    <a:pt x="96" y="16"/>
                  </a:lnTo>
                  <a:lnTo>
                    <a:pt x="105" y="33"/>
                  </a:lnTo>
                  <a:lnTo>
                    <a:pt x="113" y="54"/>
                  </a:lnTo>
                  <a:lnTo>
                    <a:pt x="118" y="83"/>
                  </a:lnTo>
                  <a:lnTo>
                    <a:pt x="122" y="116"/>
                  </a:lnTo>
                  <a:lnTo>
                    <a:pt x="123" y="154"/>
                  </a:lnTo>
                  <a:lnTo>
                    <a:pt x="122" y="222"/>
                  </a:lnTo>
                  <a:lnTo>
                    <a:pt x="119" y="284"/>
                  </a:lnTo>
                  <a:lnTo>
                    <a:pt x="114" y="337"/>
                  </a:lnTo>
                  <a:lnTo>
                    <a:pt x="107" y="383"/>
                  </a:lnTo>
                  <a:lnTo>
                    <a:pt x="98" y="423"/>
                  </a:lnTo>
                  <a:lnTo>
                    <a:pt x="90" y="455"/>
                  </a:lnTo>
                  <a:lnTo>
                    <a:pt x="79" y="479"/>
                  </a:lnTo>
                  <a:lnTo>
                    <a:pt x="68" y="497"/>
                  </a:lnTo>
                  <a:lnTo>
                    <a:pt x="56" y="507"/>
                  </a:lnTo>
                  <a:lnTo>
                    <a:pt x="43" y="511"/>
                  </a:lnTo>
                  <a:lnTo>
                    <a:pt x="34" y="507"/>
                  </a:lnTo>
                  <a:lnTo>
                    <a:pt x="27" y="496"/>
                  </a:lnTo>
                  <a:lnTo>
                    <a:pt x="20" y="479"/>
                  </a:lnTo>
                  <a:lnTo>
                    <a:pt x="14" y="457"/>
                  </a:lnTo>
                  <a:lnTo>
                    <a:pt x="10" y="430"/>
                  </a:lnTo>
                  <a:lnTo>
                    <a:pt x="6" y="401"/>
                  </a:lnTo>
                  <a:lnTo>
                    <a:pt x="4" y="370"/>
                  </a:lnTo>
                  <a:lnTo>
                    <a:pt x="1" y="338"/>
                  </a:lnTo>
                  <a:lnTo>
                    <a:pt x="1" y="305"/>
                  </a:lnTo>
                  <a:lnTo>
                    <a:pt x="0" y="274"/>
                  </a:lnTo>
                  <a:lnTo>
                    <a:pt x="0" y="244"/>
                  </a:lnTo>
                  <a:lnTo>
                    <a:pt x="1" y="219"/>
                  </a:lnTo>
                  <a:lnTo>
                    <a:pt x="1" y="197"/>
                  </a:lnTo>
                  <a:lnTo>
                    <a:pt x="6" y="148"/>
                  </a:lnTo>
                  <a:lnTo>
                    <a:pt x="13" y="107"/>
                  </a:lnTo>
                  <a:lnTo>
                    <a:pt x="20" y="72"/>
                  </a:lnTo>
                  <a:lnTo>
                    <a:pt x="30" y="45"/>
                  </a:lnTo>
                  <a:lnTo>
                    <a:pt x="41" y="25"/>
                  </a:lnTo>
                  <a:lnTo>
                    <a:pt x="52" y="11"/>
                  </a:lnTo>
                  <a:lnTo>
                    <a:pt x="63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2" name="Freeform 244"/>
            <p:cNvSpPr>
              <a:spLocks/>
            </p:cNvSpPr>
            <p:nvPr/>
          </p:nvSpPr>
          <p:spPr bwMode="auto">
            <a:xfrm>
              <a:off x="-3879850" y="4165600"/>
              <a:ext cx="107950" cy="103188"/>
            </a:xfrm>
            <a:custGeom>
              <a:avLst/>
              <a:gdLst>
                <a:gd name="T0" fmla="*/ 32 w 68"/>
                <a:gd name="T1" fmla="*/ 0 h 65"/>
                <a:gd name="T2" fmla="*/ 68 w 68"/>
                <a:gd name="T3" fmla="*/ 40 h 65"/>
                <a:gd name="T4" fmla="*/ 18 w 68"/>
                <a:gd name="T5" fmla="*/ 65 h 65"/>
                <a:gd name="T6" fmla="*/ 0 w 68"/>
                <a:gd name="T7" fmla="*/ 20 h 65"/>
                <a:gd name="T8" fmla="*/ 32 w 6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5">
                  <a:moveTo>
                    <a:pt x="32" y="0"/>
                  </a:moveTo>
                  <a:lnTo>
                    <a:pt x="68" y="40"/>
                  </a:lnTo>
                  <a:lnTo>
                    <a:pt x="18" y="65"/>
                  </a:lnTo>
                  <a:lnTo>
                    <a:pt x="0" y="2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3" name="Freeform 245"/>
            <p:cNvSpPr>
              <a:spLocks/>
            </p:cNvSpPr>
            <p:nvPr/>
          </p:nvSpPr>
          <p:spPr bwMode="auto">
            <a:xfrm>
              <a:off x="-3994150" y="4165600"/>
              <a:ext cx="107950" cy="103188"/>
            </a:xfrm>
            <a:custGeom>
              <a:avLst/>
              <a:gdLst>
                <a:gd name="T0" fmla="*/ 35 w 68"/>
                <a:gd name="T1" fmla="*/ 0 h 65"/>
                <a:gd name="T2" fmla="*/ 68 w 68"/>
                <a:gd name="T3" fmla="*/ 20 h 65"/>
                <a:gd name="T4" fmla="*/ 50 w 68"/>
                <a:gd name="T5" fmla="*/ 65 h 65"/>
                <a:gd name="T6" fmla="*/ 0 w 68"/>
                <a:gd name="T7" fmla="*/ 40 h 65"/>
                <a:gd name="T8" fmla="*/ 35 w 6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5">
                  <a:moveTo>
                    <a:pt x="35" y="0"/>
                  </a:moveTo>
                  <a:lnTo>
                    <a:pt x="68" y="20"/>
                  </a:lnTo>
                  <a:lnTo>
                    <a:pt x="50" y="65"/>
                  </a:lnTo>
                  <a:lnTo>
                    <a:pt x="0" y="4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4" name="Freeform 246"/>
            <p:cNvSpPr>
              <a:spLocks/>
            </p:cNvSpPr>
            <p:nvPr/>
          </p:nvSpPr>
          <p:spPr bwMode="auto">
            <a:xfrm>
              <a:off x="-4151313" y="4216400"/>
              <a:ext cx="539750" cy="892175"/>
            </a:xfrm>
            <a:custGeom>
              <a:avLst/>
              <a:gdLst>
                <a:gd name="T0" fmla="*/ 154 w 340"/>
                <a:gd name="T1" fmla="*/ 0 h 562"/>
                <a:gd name="T2" fmla="*/ 184 w 340"/>
                <a:gd name="T3" fmla="*/ 0 h 562"/>
                <a:gd name="T4" fmla="*/ 213 w 340"/>
                <a:gd name="T5" fmla="*/ 2 h 562"/>
                <a:gd name="T6" fmla="*/ 241 w 340"/>
                <a:gd name="T7" fmla="*/ 6 h 562"/>
                <a:gd name="T8" fmla="*/ 267 w 340"/>
                <a:gd name="T9" fmla="*/ 13 h 562"/>
                <a:gd name="T10" fmla="*/ 290 w 340"/>
                <a:gd name="T11" fmla="*/ 20 h 562"/>
                <a:gd name="T12" fmla="*/ 311 w 340"/>
                <a:gd name="T13" fmla="*/ 31 h 562"/>
                <a:gd name="T14" fmla="*/ 326 w 340"/>
                <a:gd name="T15" fmla="*/ 42 h 562"/>
                <a:gd name="T16" fmla="*/ 336 w 340"/>
                <a:gd name="T17" fmla="*/ 55 h 562"/>
                <a:gd name="T18" fmla="*/ 340 w 340"/>
                <a:gd name="T19" fmla="*/ 70 h 562"/>
                <a:gd name="T20" fmla="*/ 338 w 340"/>
                <a:gd name="T21" fmla="*/ 87 h 562"/>
                <a:gd name="T22" fmla="*/ 330 w 340"/>
                <a:gd name="T23" fmla="*/ 114 h 562"/>
                <a:gd name="T24" fmla="*/ 320 w 340"/>
                <a:gd name="T25" fmla="*/ 141 h 562"/>
                <a:gd name="T26" fmla="*/ 309 w 340"/>
                <a:gd name="T27" fmla="*/ 171 h 562"/>
                <a:gd name="T28" fmla="*/ 300 w 340"/>
                <a:gd name="T29" fmla="*/ 200 h 562"/>
                <a:gd name="T30" fmla="*/ 291 w 340"/>
                <a:gd name="T31" fmla="*/ 230 h 562"/>
                <a:gd name="T32" fmla="*/ 285 w 340"/>
                <a:gd name="T33" fmla="*/ 259 h 562"/>
                <a:gd name="T34" fmla="*/ 280 w 340"/>
                <a:gd name="T35" fmla="*/ 286 h 562"/>
                <a:gd name="T36" fmla="*/ 277 w 340"/>
                <a:gd name="T37" fmla="*/ 312 h 562"/>
                <a:gd name="T38" fmla="*/ 277 w 340"/>
                <a:gd name="T39" fmla="*/ 335 h 562"/>
                <a:gd name="T40" fmla="*/ 282 w 340"/>
                <a:gd name="T41" fmla="*/ 354 h 562"/>
                <a:gd name="T42" fmla="*/ 290 w 340"/>
                <a:gd name="T43" fmla="*/ 378 h 562"/>
                <a:gd name="T44" fmla="*/ 296 w 340"/>
                <a:gd name="T45" fmla="*/ 404 h 562"/>
                <a:gd name="T46" fmla="*/ 299 w 340"/>
                <a:gd name="T47" fmla="*/ 428 h 562"/>
                <a:gd name="T48" fmla="*/ 299 w 340"/>
                <a:gd name="T49" fmla="*/ 451 h 562"/>
                <a:gd name="T50" fmla="*/ 295 w 340"/>
                <a:gd name="T51" fmla="*/ 475 h 562"/>
                <a:gd name="T52" fmla="*/ 289 w 340"/>
                <a:gd name="T53" fmla="*/ 495 h 562"/>
                <a:gd name="T54" fmla="*/ 278 w 340"/>
                <a:gd name="T55" fmla="*/ 513 h 562"/>
                <a:gd name="T56" fmla="*/ 264 w 340"/>
                <a:gd name="T57" fmla="*/ 530 h 562"/>
                <a:gd name="T58" fmla="*/ 246 w 340"/>
                <a:gd name="T59" fmla="*/ 544 h 562"/>
                <a:gd name="T60" fmla="*/ 225 w 340"/>
                <a:gd name="T61" fmla="*/ 553 h 562"/>
                <a:gd name="T62" fmla="*/ 199 w 340"/>
                <a:gd name="T63" fmla="*/ 559 h 562"/>
                <a:gd name="T64" fmla="*/ 169 w 340"/>
                <a:gd name="T65" fmla="*/ 562 h 562"/>
                <a:gd name="T66" fmla="*/ 139 w 340"/>
                <a:gd name="T67" fmla="*/ 559 h 562"/>
                <a:gd name="T68" fmla="*/ 113 w 340"/>
                <a:gd name="T69" fmla="*/ 552 h 562"/>
                <a:gd name="T70" fmla="*/ 92 w 340"/>
                <a:gd name="T71" fmla="*/ 539 h 562"/>
                <a:gd name="T72" fmla="*/ 74 w 340"/>
                <a:gd name="T73" fmla="*/ 522 h 562"/>
                <a:gd name="T74" fmla="*/ 62 w 340"/>
                <a:gd name="T75" fmla="*/ 503 h 562"/>
                <a:gd name="T76" fmla="*/ 51 w 340"/>
                <a:gd name="T77" fmla="*/ 481 h 562"/>
                <a:gd name="T78" fmla="*/ 46 w 340"/>
                <a:gd name="T79" fmla="*/ 457 h 562"/>
                <a:gd name="T80" fmla="*/ 44 w 340"/>
                <a:gd name="T81" fmla="*/ 431 h 562"/>
                <a:gd name="T82" fmla="*/ 45 w 340"/>
                <a:gd name="T83" fmla="*/ 405 h 562"/>
                <a:gd name="T84" fmla="*/ 50 w 340"/>
                <a:gd name="T85" fmla="*/ 380 h 562"/>
                <a:gd name="T86" fmla="*/ 58 w 340"/>
                <a:gd name="T87" fmla="*/ 354 h 562"/>
                <a:gd name="T88" fmla="*/ 63 w 340"/>
                <a:gd name="T89" fmla="*/ 332 h 562"/>
                <a:gd name="T90" fmla="*/ 63 w 340"/>
                <a:gd name="T91" fmla="*/ 307 h 562"/>
                <a:gd name="T92" fmla="*/ 59 w 340"/>
                <a:gd name="T93" fmla="*/ 278 h 562"/>
                <a:gd name="T94" fmla="*/ 53 w 340"/>
                <a:gd name="T95" fmla="*/ 247 h 562"/>
                <a:gd name="T96" fmla="*/ 45 w 340"/>
                <a:gd name="T97" fmla="*/ 215 h 562"/>
                <a:gd name="T98" fmla="*/ 35 w 340"/>
                <a:gd name="T99" fmla="*/ 183 h 562"/>
                <a:gd name="T100" fmla="*/ 23 w 340"/>
                <a:gd name="T101" fmla="*/ 151 h 562"/>
                <a:gd name="T102" fmla="*/ 13 w 340"/>
                <a:gd name="T103" fmla="*/ 120 h 562"/>
                <a:gd name="T104" fmla="*/ 3 w 340"/>
                <a:gd name="T105" fmla="*/ 92 h 562"/>
                <a:gd name="T106" fmla="*/ 0 w 340"/>
                <a:gd name="T107" fmla="*/ 73 h 562"/>
                <a:gd name="T108" fmla="*/ 4 w 340"/>
                <a:gd name="T109" fmla="*/ 56 h 562"/>
                <a:gd name="T110" fmla="*/ 14 w 340"/>
                <a:gd name="T111" fmla="*/ 42 h 562"/>
                <a:gd name="T112" fmla="*/ 28 w 340"/>
                <a:gd name="T113" fmla="*/ 29 h 562"/>
                <a:gd name="T114" fmla="*/ 49 w 340"/>
                <a:gd name="T115" fmla="*/ 19 h 562"/>
                <a:gd name="T116" fmla="*/ 72 w 340"/>
                <a:gd name="T117" fmla="*/ 11 h 562"/>
                <a:gd name="T118" fmla="*/ 98 w 340"/>
                <a:gd name="T119" fmla="*/ 5 h 562"/>
                <a:gd name="T120" fmla="*/ 125 w 340"/>
                <a:gd name="T121" fmla="*/ 1 h 562"/>
                <a:gd name="T122" fmla="*/ 154 w 340"/>
                <a:gd name="T12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" h="562">
                  <a:moveTo>
                    <a:pt x="154" y="0"/>
                  </a:moveTo>
                  <a:lnTo>
                    <a:pt x="184" y="0"/>
                  </a:lnTo>
                  <a:lnTo>
                    <a:pt x="213" y="2"/>
                  </a:lnTo>
                  <a:lnTo>
                    <a:pt x="241" y="6"/>
                  </a:lnTo>
                  <a:lnTo>
                    <a:pt x="267" y="13"/>
                  </a:lnTo>
                  <a:lnTo>
                    <a:pt x="290" y="20"/>
                  </a:lnTo>
                  <a:lnTo>
                    <a:pt x="311" y="31"/>
                  </a:lnTo>
                  <a:lnTo>
                    <a:pt x="326" y="42"/>
                  </a:lnTo>
                  <a:lnTo>
                    <a:pt x="336" y="55"/>
                  </a:lnTo>
                  <a:lnTo>
                    <a:pt x="340" y="70"/>
                  </a:lnTo>
                  <a:lnTo>
                    <a:pt x="338" y="87"/>
                  </a:lnTo>
                  <a:lnTo>
                    <a:pt x="330" y="114"/>
                  </a:lnTo>
                  <a:lnTo>
                    <a:pt x="320" y="141"/>
                  </a:lnTo>
                  <a:lnTo>
                    <a:pt x="309" y="171"/>
                  </a:lnTo>
                  <a:lnTo>
                    <a:pt x="300" y="200"/>
                  </a:lnTo>
                  <a:lnTo>
                    <a:pt x="291" y="230"/>
                  </a:lnTo>
                  <a:lnTo>
                    <a:pt x="285" y="259"/>
                  </a:lnTo>
                  <a:lnTo>
                    <a:pt x="280" y="286"/>
                  </a:lnTo>
                  <a:lnTo>
                    <a:pt x="277" y="312"/>
                  </a:lnTo>
                  <a:lnTo>
                    <a:pt x="277" y="335"/>
                  </a:lnTo>
                  <a:lnTo>
                    <a:pt x="282" y="354"/>
                  </a:lnTo>
                  <a:lnTo>
                    <a:pt x="290" y="378"/>
                  </a:lnTo>
                  <a:lnTo>
                    <a:pt x="296" y="404"/>
                  </a:lnTo>
                  <a:lnTo>
                    <a:pt x="299" y="428"/>
                  </a:lnTo>
                  <a:lnTo>
                    <a:pt x="299" y="451"/>
                  </a:lnTo>
                  <a:lnTo>
                    <a:pt x="295" y="475"/>
                  </a:lnTo>
                  <a:lnTo>
                    <a:pt x="289" y="495"/>
                  </a:lnTo>
                  <a:lnTo>
                    <a:pt x="278" y="513"/>
                  </a:lnTo>
                  <a:lnTo>
                    <a:pt x="264" y="530"/>
                  </a:lnTo>
                  <a:lnTo>
                    <a:pt x="246" y="544"/>
                  </a:lnTo>
                  <a:lnTo>
                    <a:pt x="225" y="553"/>
                  </a:lnTo>
                  <a:lnTo>
                    <a:pt x="199" y="559"/>
                  </a:lnTo>
                  <a:lnTo>
                    <a:pt x="169" y="562"/>
                  </a:lnTo>
                  <a:lnTo>
                    <a:pt x="139" y="559"/>
                  </a:lnTo>
                  <a:lnTo>
                    <a:pt x="113" y="552"/>
                  </a:lnTo>
                  <a:lnTo>
                    <a:pt x="92" y="539"/>
                  </a:lnTo>
                  <a:lnTo>
                    <a:pt x="74" y="522"/>
                  </a:lnTo>
                  <a:lnTo>
                    <a:pt x="62" y="503"/>
                  </a:lnTo>
                  <a:lnTo>
                    <a:pt x="51" y="481"/>
                  </a:lnTo>
                  <a:lnTo>
                    <a:pt x="46" y="457"/>
                  </a:lnTo>
                  <a:lnTo>
                    <a:pt x="44" y="431"/>
                  </a:lnTo>
                  <a:lnTo>
                    <a:pt x="45" y="405"/>
                  </a:lnTo>
                  <a:lnTo>
                    <a:pt x="50" y="380"/>
                  </a:lnTo>
                  <a:lnTo>
                    <a:pt x="58" y="354"/>
                  </a:lnTo>
                  <a:lnTo>
                    <a:pt x="63" y="332"/>
                  </a:lnTo>
                  <a:lnTo>
                    <a:pt x="63" y="307"/>
                  </a:lnTo>
                  <a:lnTo>
                    <a:pt x="59" y="278"/>
                  </a:lnTo>
                  <a:lnTo>
                    <a:pt x="53" y="247"/>
                  </a:lnTo>
                  <a:lnTo>
                    <a:pt x="45" y="215"/>
                  </a:lnTo>
                  <a:lnTo>
                    <a:pt x="35" y="183"/>
                  </a:lnTo>
                  <a:lnTo>
                    <a:pt x="23" y="151"/>
                  </a:lnTo>
                  <a:lnTo>
                    <a:pt x="13" y="120"/>
                  </a:lnTo>
                  <a:lnTo>
                    <a:pt x="3" y="92"/>
                  </a:lnTo>
                  <a:lnTo>
                    <a:pt x="0" y="73"/>
                  </a:lnTo>
                  <a:lnTo>
                    <a:pt x="4" y="56"/>
                  </a:lnTo>
                  <a:lnTo>
                    <a:pt x="14" y="42"/>
                  </a:lnTo>
                  <a:lnTo>
                    <a:pt x="28" y="29"/>
                  </a:lnTo>
                  <a:lnTo>
                    <a:pt x="49" y="19"/>
                  </a:lnTo>
                  <a:lnTo>
                    <a:pt x="72" y="11"/>
                  </a:lnTo>
                  <a:lnTo>
                    <a:pt x="98" y="5"/>
                  </a:lnTo>
                  <a:lnTo>
                    <a:pt x="125" y="1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5" name="Freeform 247"/>
            <p:cNvSpPr>
              <a:spLocks/>
            </p:cNvSpPr>
            <p:nvPr/>
          </p:nvSpPr>
          <p:spPr bwMode="auto">
            <a:xfrm>
              <a:off x="-4211638" y="6230938"/>
              <a:ext cx="298450" cy="122238"/>
            </a:xfrm>
            <a:custGeom>
              <a:avLst/>
              <a:gdLst>
                <a:gd name="T0" fmla="*/ 186 w 188"/>
                <a:gd name="T1" fmla="*/ 0 h 77"/>
                <a:gd name="T2" fmla="*/ 187 w 188"/>
                <a:gd name="T3" fmla="*/ 1 h 77"/>
                <a:gd name="T4" fmla="*/ 188 w 188"/>
                <a:gd name="T5" fmla="*/ 2 h 77"/>
                <a:gd name="T6" fmla="*/ 188 w 188"/>
                <a:gd name="T7" fmla="*/ 14 h 77"/>
                <a:gd name="T8" fmla="*/ 187 w 188"/>
                <a:gd name="T9" fmla="*/ 24 h 77"/>
                <a:gd name="T10" fmla="*/ 183 w 188"/>
                <a:gd name="T11" fmla="*/ 28 h 77"/>
                <a:gd name="T12" fmla="*/ 174 w 188"/>
                <a:gd name="T13" fmla="*/ 32 h 77"/>
                <a:gd name="T14" fmla="*/ 164 w 188"/>
                <a:gd name="T15" fmla="*/ 36 h 77"/>
                <a:gd name="T16" fmla="*/ 156 w 188"/>
                <a:gd name="T17" fmla="*/ 38 h 77"/>
                <a:gd name="T18" fmla="*/ 154 w 188"/>
                <a:gd name="T19" fmla="*/ 40 h 77"/>
                <a:gd name="T20" fmla="*/ 151 w 188"/>
                <a:gd name="T21" fmla="*/ 38 h 77"/>
                <a:gd name="T22" fmla="*/ 150 w 188"/>
                <a:gd name="T23" fmla="*/ 37 h 77"/>
                <a:gd name="T24" fmla="*/ 148 w 188"/>
                <a:gd name="T25" fmla="*/ 36 h 77"/>
                <a:gd name="T26" fmla="*/ 148 w 188"/>
                <a:gd name="T27" fmla="*/ 36 h 77"/>
                <a:gd name="T28" fmla="*/ 148 w 188"/>
                <a:gd name="T29" fmla="*/ 34 h 77"/>
                <a:gd name="T30" fmla="*/ 133 w 188"/>
                <a:gd name="T31" fmla="*/ 41 h 77"/>
                <a:gd name="T32" fmla="*/ 121 w 188"/>
                <a:gd name="T33" fmla="*/ 49 h 77"/>
                <a:gd name="T34" fmla="*/ 112 w 188"/>
                <a:gd name="T35" fmla="*/ 55 h 77"/>
                <a:gd name="T36" fmla="*/ 105 w 188"/>
                <a:gd name="T37" fmla="*/ 61 h 77"/>
                <a:gd name="T38" fmla="*/ 95 w 188"/>
                <a:gd name="T39" fmla="*/ 67 h 77"/>
                <a:gd name="T40" fmla="*/ 84 w 188"/>
                <a:gd name="T41" fmla="*/ 72 h 77"/>
                <a:gd name="T42" fmla="*/ 70 w 188"/>
                <a:gd name="T43" fmla="*/ 75 h 77"/>
                <a:gd name="T44" fmla="*/ 52 w 188"/>
                <a:gd name="T45" fmla="*/ 77 h 77"/>
                <a:gd name="T46" fmla="*/ 38 w 188"/>
                <a:gd name="T47" fmla="*/ 77 h 77"/>
                <a:gd name="T48" fmla="*/ 23 w 188"/>
                <a:gd name="T49" fmla="*/ 73 h 77"/>
                <a:gd name="T50" fmla="*/ 11 w 188"/>
                <a:gd name="T51" fmla="*/ 67 h 77"/>
                <a:gd name="T52" fmla="*/ 2 w 188"/>
                <a:gd name="T53" fmla="*/ 60 h 77"/>
                <a:gd name="T54" fmla="*/ 0 w 188"/>
                <a:gd name="T55" fmla="*/ 52 h 77"/>
                <a:gd name="T56" fmla="*/ 1 w 188"/>
                <a:gd name="T57" fmla="*/ 49 h 77"/>
                <a:gd name="T58" fmla="*/ 1 w 188"/>
                <a:gd name="T59" fmla="*/ 46 h 77"/>
                <a:gd name="T60" fmla="*/ 2 w 188"/>
                <a:gd name="T61" fmla="*/ 42 h 77"/>
                <a:gd name="T62" fmla="*/ 2 w 188"/>
                <a:gd name="T63" fmla="*/ 43 h 77"/>
                <a:gd name="T64" fmla="*/ 2 w 188"/>
                <a:gd name="T65" fmla="*/ 45 h 77"/>
                <a:gd name="T66" fmla="*/ 2 w 188"/>
                <a:gd name="T67" fmla="*/ 45 h 77"/>
                <a:gd name="T68" fmla="*/ 15 w 188"/>
                <a:gd name="T69" fmla="*/ 47 h 77"/>
                <a:gd name="T70" fmla="*/ 30 w 188"/>
                <a:gd name="T71" fmla="*/ 49 h 77"/>
                <a:gd name="T72" fmla="*/ 47 w 188"/>
                <a:gd name="T73" fmla="*/ 50 h 77"/>
                <a:gd name="T74" fmla="*/ 64 w 188"/>
                <a:gd name="T75" fmla="*/ 47 h 77"/>
                <a:gd name="T76" fmla="*/ 79 w 188"/>
                <a:gd name="T77" fmla="*/ 42 h 77"/>
                <a:gd name="T78" fmla="*/ 92 w 188"/>
                <a:gd name="T79" fmla="*/ 33 h 77"/>
                <a:gd name="T80" fmla="*/ 104 w 188"/>
                <a:gd name="T81" fmla="*/ 24 h 77"/>
                <a:gd name="T82" fmla="*/ 116 w 188"/>
                <a:gd name="T83" fmla="*/ 19 h 77"/>
                <a:gd name="T84" fmla="*/ 132 w 188"/>
                <a:gd name="T85" fmla="*/ 15 h 77"/>
                <a:gd name="T86" fmla="*/ 145 w 188"/>
                <a:gd name="T87" fmla="*/ 14 h 77"/>
                <a:gd name="T88" fmla="*/ 157 w 188"/>
                <a:gd name="T89" fmla="*/ 11 h 77"/>
                <a:gd name="T90" fmla="*/ 166 w 188"/>
                <a:gd name="T91" fmla="*/ 6 h 77"/>
                <a:gd name="T92" fmla="*/ 173 w 188"/>
                <a:gd name="T93" fmla="*/ 0 h 77"/>
                <a:gd name="T94" fmla="*/ 174 w 188"/>
                <a:gd name="T95" fmla="*/ 0 h 77"/>
                <a:gd name="T96" fmla="*/ 175 w 188"/>
                <a:gd name="T97" fmla="*/ 0 h 77"/>
                <a:gd name="T98" fmla="*/ 178 w 188"/>
                <a:gd name="T99" fmla="*/ 0 h 77"/>
                <a:gd name="T100" fmla="*/ 180 w 188"/>
                <a:gd name="T101" fmla="*/ 0 h 77"/>
                <a:gd name="T102" fmla="*/ 183 w 188"/>
                <a:gd name="T103" fmla="*/ 0 h 77"/>
                <a:gd name="T104" fmla="*/ 184 w 188"/>
                <a:gd name="T105" fmla="*/ 0 h 77"/>
                <a:gd name="T106" fmla="*/ 186 w 188"/>
                <a:gd name="T10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77">
                  <a:moveTo>
                    <a:pt x="186" y="0"/>
                  </a:moveTo>
                  <a:lnTo>
                    <a:pt x="187" y="1"/>
                  </a:lnTo>
                  <a:lnTo>
                    <a:pt x="188" y="2"/>
                  </a:lnTo>
                  <a:lnTo>
                    <a:pt x="188" y="14"/>
                  </a:lnTo>
                  <a:lnTo>
                    <a:pt x="187" y="24"/>
                  </a:lnTo>
                  <a:lnTo>
                    <a:pt x="183" y="28"/>
                  </a:lnTo>
                  <a:lnTo>
                    <a:pt x="174" y="32"/>
                  </a:lnTo>
                  <a:lnTo>
                    <a:pt x="164" y="36"/>
                  </a:lnTo>
                  <a:lnTo>
                    <a:pt x="156" y="38"/>
                  </a:lnTo>
                  <a:lnTo>
                    <a:pt x="154" y="40"/>
                  </a:lnTo>
                  <a:lnTo>
                    <a:pt x="151" y="38"/>
                  </a:lnTo>
                  <a:lnTo>
                    <a:pt x="150" y="37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4"/>
                  </a:lnTo>
                  <a:lnTo>
                    <a:pt x="133" y="41"/>
                  </a:lnTo>
                  <a:lnTo>
                    <a:pt x="121" y="49"/>
                  </a:lnTo>
                  <a:lnTo>
                    <a:pt x="112" y="55"/>
                  </a:lnTo>
                  <a:lnTo>
                    <a:pt x="105" y="61"/>
                  </a:lnTo>
                  <a:lnTo>
                    <a:pt x="95" y="67"/>
                  </a:lnTo>
                  <a:lnTo>
                    <a:pt x="84" y="72"/>
                  </a:lnTo>
                  <a:lnTo>
                    <a:pt x="70" y="75"/>
                  </a:lnTo>
                  <a:lnTo>
                    <a:pt x="52" y="77"/>
                  </a:lnTo>
                  <a:lnTo>
                    <a:pt x="38" y="77"/>
                  </a:lnTo>
                  <a:lnTo>
                    <a:pt x="23" y="73"/>
                  </a:lnTo>
                  <a:lnTo>
                    <a:pt x="11" y="67"/>
                  </a:lnTo>
                  <a:lnTo>
                    <a:pt x="2" y="60"/>
                  </a:lnTo>
                  <a:lnTo>
                    <a:pt x="0" y="52"/>
                  </a:lnTo>
                  <a:lnTo>
                    <a:pt x="1" y="49"/>
                  </a:lnTo>
                  <a:lnTo>
                    <a:pt x="1" y="46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15" y="47"/>
                  </a:lnTo>
                  <a:lnTo>
                    <a:pt x="30" y="49"/>
                  </a:lnTo>
                  <a:lnTo>
                    <a:pt x="47" y="50"/>
                  </a:lnTo>
                  <a:lnTo>
                    <a:pt x="64" y="47"/>
                  </a:lnTo>
                  <a:lnTo>
                    <a:pt x="79" y="42"/>
                  </a:lnTo>
                  <a:lnTo>
                    <a:pt x="92" y="33"/>
                  </a:lnTo>
                  <a:lnTo>
                    <a:pt x="104" y="24"/>
                  </a:lnTo>
                  <a:lnTo>
                    <a:pt x="116" y="19"/>
                  </a:lnTo>
                  <a:lnTo>
                    <a:pt x="132" y="15"/>
                  </a:lnTo>
                  <a:lnTo>
                    <a:pt x="145" y="14"/>
                  </a:lnTo>
                  <a:lnTo>
                    <a:pt x="157" y="11"/>
                  </a:lnTo>
                  <a:lnTo>
                    <a:pt x="166" y="6"/>
                  </a:lnTo>
                  <a:lnTo>
                    <a:pt x="173" y="0"/>
                  </a:lnTo>
                  <a:lnTo>
                    <a:pt x="174" y="0"/>
                  </a:lnTo>
                  <a:lnTo>
                    <a:pt x="175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3" y="0"/>
                  </a:lnTo>
                  <a:lnTo>
                    <a:pt x="184" y="0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6" name="Freeform 248"/>
            <p:cNvSpPr>
              <a:spLocks/>
            </p:cNvSpPr>
            <p:nvPr/>
          </p:nvSpPr>
          <p:spPr bwMode="auto">
            <a:xfrm>
              <a:off x="-4210050" y="6032500"/>
              <a:ext cx="296863" cy="306388"/>
            </a:xfrm>
            <a:custGeom>
              <a:avLst/>
              <a:gdLst>
                <a:gd name="T0" fmla="*/ 163 w 187"/>
                <a:gd name="T1" fmla="*/ 0 h 193"/>
                <a:gd name="T2" fmla="*/ 173 w 187"/>
                <a:gd name="T3" fmla="*/ 3 h 193"/>
                <a:gd name="T4" fmla="*/ 181 w 187"/>
                <a:gd name="T5" fmla="*/ 8 h 193"/>
                <a:gd name="T6" fmla="*/ 186 w 187"/>
                <a:gd name="T7" fmla="*/ 14 h 193"/>
                <a:gd name="T8" fmla="*/ 186 w 187"/>
                <a:gd name="T9" fmla="*/ 25 h 193"/>
                <a:gd name="T10" fmla="*/ 183 w 187"/>
                <a:gd name="T11" fmla="*/ 40 h 193"/>
                <a:gd name="T12" fmla="*/ 183 w 187"/>
                <a:gd name="T13" fmla="*/ 59 h 193"/>
                <a:gd name="T14" fmla="*/ 186 w 187"/>
                <a:gd name="T15" fmla="*/ 80 h 193"/>
                <a:gd name="T16" fmla="*/ 187 w 187"/>
                <a:gd name="T17" fmla="*/ 99 h 193"/>
                <a:gd name="T18" fmla="*/ 187 w 187"/>
                <a:gd name="T19" fmla="*/ 116 h 193"/>
                <a:gd name="T20" fmla="*/ 186 w 187"/>
                <a:gd name="T21" fmla="*/ 129 h 193"/>
                <a:gd name="T22" fmla="*/ 179 w 187"/>
                <a:gd name="T23" fmla="*/ 138 h 193"/>
                <a:gd name="T24" fmla="*/ 168 w 187"/>
                <a:gd name="T25" fmla="*/ 144 h 193"/>
                <a:gd name="T26" fmla="*/ 154 w 187"/>
                <a:gd name="T27" fmla="*/ 149 h 193"/>
                <a:gd name="T28" fmla="*/ 140 w 187"/>
                <a:gd name="T29" fmla="*/ 156 h 193"/>
                <a:gd name="T30" fmla="*/ 124 w 187"/>
                <a:gd name="T31" fmla="*/ 162 h 193"/>
                <a:gd name="T32" fmla="*/ 110 w 187"/>
                <a:gd name="T33" fmla="*/ 171 h 193"/>
                <a:gd name="T34" fmla="*/ 96 w 187"/>
                <a:gd name="T35" fmla="*/ 181 h 193"/>
                <a:gd name="T36" fmla="*/ 79 w 187"/>
                <a:gd name="T37" fmla="*/ 188 h 193"/>
                <a:gd name="T38" fmla="*/ 61 w 187"/>
                <a:gd name="T39" fmla="*/ 192 h 193"/>
                <a:gd name="T40" fmla="*/ 43 w 187"/>
                <a:gd name="T41" fmla="*/ 193 h 193"/>
                <a:gd name="T42" fmla="*/ 28 w 187"/>
                <a:gd name="T43" fmla="*/ 190 h 193"/>
                <a:gd name="T44" fmla="*/ 14 w 187"/>
                <a:gd name="T45" fmla="*/ 186 h 193"/>
                <a:gd name="T46" fmla="*/ 5 w 187"/>
                <a:gd name="T47" fmla="*/ 180 h 193"/>
                <a:gd name="T48" fmla="*/ 0 w 187"/>
                <a:gd name="T49" fmla="*/ 170 h 193"/>
                <a:gd name="T50" fmla="*/ 1 w 187"/>
                <a:gd name="T51" fmla="*/ 162 h 193"/>
                <a:gd name="T52" fmla="*/ 8 w 187"/>
                <a:gd name="T53" fmla="*/ 153 h 193"/>
                <a:gd name="T54" fmla="*/ 17 w 187"/>
                <a:gd name="T55" fmla="*/ 144 h 193"/>
                <a:gd name="T56" fmla="*/ 28 w 187"/>
                <a:gd name="T57" fmla="*/ 138 h 193"/>
                <a:gd name="T58" fmla="*/ 41 w 187"/>
                <a:gd name="T59" fmla="*/ 135 h 193"/>
                <a:gd name="T60" fmla="*/ 46 w 187"/>
                <a:gd name="T61" fmla="*/ 132 h 193"/>
                <a:gd name="T62" fmla="*/ 55 w 187"/>
                <a:gd name="T63" fmla="*/ 126 h 193"/>
                <a:gd name="T64" fmla="*/ 65 w 187"/>
                <a:gd name="T65" fmla="*/ 117 h 193"/>
                <a:gd name="T66" fmla="*/ 77 w 187"/>
                <a:gd name="T67" fmla="*/ 106 h 193"/>
                <a:gd name="T68" fmla="*/ 88 w 187"/>
                <a:gd name="T69" fmla="*/ 93 h 193"/>
                <a:gd name="T70" fmla="*/ 99 w 187"/>
                <a:gd name="T71" fmla="*/ 82 h 193"/>
                <a:gd name="T72" fmla="*/ 106 w 187"/>
                <a:gd name="T73" fmla="*/ 73 h 193"/>
                <a:gd name="T74" fmla="*/ 118 w 187"/>
                <a:gd name="T75" fmla="*/ 57 h 193"/>
                <a:gd name="T76" fmla="*/ 123 w 187"/>
                <a:gd name="T77" fmla="*/ 40 h 193"/>
                <a:gd name="T78" fmla="*/ 124 w 187"/>
                <a:gd name="T79" fmla="*/ 26 h 193"/>
                <a:gd name="T80" fmla="*/ 126 w 187"/>
                <a:gd name="T81" fmla="*/ 16 h 193"/>
                <a:gd name="T82" fmla="*/ 131 w 187"/>
                <a:gd name="T83" fmla="*/ 8 h 193"/>
                <a:gd name="T84" fmla="*/ 140 w 187"/>
                <a:gd name="T85" fmla="*/ 3 h 193"/>
                <a:gd name="T86" fmla="*/ 151 w 187"/>
                <a:gd name="T87" fmla="*/ 0 h 193"/>
                <a:gd name="T88" fmla="*/ 163 w 187"/>
                <a:gd name="T8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7" h="193">
                  <a:moveTo>
                    <a:pt x="163" y="0"/>
                  </a:moveTo>
                  <a:lnTo>
                    <a:pt x="173" y="3"/>
                  </a:lnTo>
                  <a:lnTo>
                    <a:pt x="181" y="8"/>
                  </a:lnTo>
                  <a:lnTo>
                    <a:pt x="186" y="14"/>
                  </a:lnTo>
                  <a:lnTo>
                    <a:pt x="186" y="25"/>
                  </a:lnTo>
                  <a:lnTo>
                    <a:pt x="183" y="40"/>
                  </a:lnTo>
                  <a:lnTo>
                    <a:pt x="183" y="59"/>
                  </a:lnTo>
                  <a:lnTo>
                    <a:pt x="186" y="80"/>
                  </a:lnTo>
                  <a:lnTo>
                    <a:pt x="187" y="99"/>
                  </a:lnTo>
                  <a:lnTo>
                    <a:pt x="187" y="116"/>
                  </a:lnTo>
                  <a:lnTo>
                    <a:pt x="186" y="129"/>
                  </a:lnTo>
                  <a:lnTo>
                    <a:pt x="179" y="138"/>
                  </a:lnTo>
                  <a:lnTo>
                    <a:pt x="168" y="144"/>
                  </a:lnTo>
                  <a:lnTo>
                    <a:pt x="154" y="149"/>
                  </a:lnTo>
                  <a:lnTo>
                    <a:pt x="140" y="156"/>
                  </a:lnTo>
                  <a:lnTo>
                    <a:pt x="124" y="162"/>
                  </a:lnTo>
                  <a:lnTo>
                    <a:pt x="110" y="171"/>
                  </a:lnTo>
                  <a:lnTo>
                    <a:pt x="96" y="181"/>
                  </a:lnTo>
                  <a:lnTo>
                    <a:pt x="79" y="188"/>
                  </a:lnTo>
                  <a:lnTo>
                    <a:pt x="61" y="192"/>
                  </a:lnTo>
                  <a:lnTo>
                    <a:pt x="43" y="193"/>
                  </a:lnTo>
                  <a:lnTo>
                    <a:pt x="28" y="190"/>
                  </a:lnTo>
                  <a:lnTo>
                    <a:pt x="14" y="186"/>
                  </a:lnTo>
                  <a:lnTo>
                    <a:pt x="5" y="180"/>
                  </a:lnTo>
                  <a:lnTo>
                    <a:pt x="0" y="170"/>
                  </a:lnTo>
                  <a:lnTo>
                    <a:pt x="1" y="162"/>
                  </a:lnTo>
                  <a:lnTo>
                    <a:pt x="8" y="153"/>
                  </a:lnTo>
                  <a:lnTo>
                    <a:pt x="17" y="144"/>
                  </a:lnTo>
                  <a:lnTo>
                    <a:pt x="28" y="138"/>
                  </a:lnTo>
                  <a:lnTo>
                    <a:pt x="41" y="135"/>
                  </a:lnTo>
                  <a:lnTo>
                    <a:pt x="46" y="132"/>
                  </a:lnTo>
                  <a:lnTo>
                    <a:pt x="55" y="126"/>
                  </a:lnTo>
                  <a:lnTo>
                    <a:pt x="65" y="117"/>
                  </a:lnTo>
                  <a:lnTo>
                    <a:pt x="77" y="106"/>
                  </a:lnTo>
                  <a:lnTo>
                    <a:pt x="88" y="93"/>
                  </a:lnTo>
                  <a:lnTo>
                    <a:pt x="99" y="82"/>
                  </a:lnTo>
                  <a:lnTo>
                    <a:pt x="106" y="73"/>
                  </a:lnTo>
                  <a:lnTo>
                    <a:pt x="118" y="57"/>
                  </a:lnTo>
                  <a:lnTo>
                    <a:pt x="123" y="40"/>
                  </a:lnTo>
                  <a:lnTo>
                    <a:pt x="124" y="26"/>
                  </a:lnTo>
                  <a:lnTo>
                    <a:pt x="126" y="16"/>
                  </a:lnTo>
                  <a:lnTo>
                    <a:pt x="131" y="8"/>
                  </a:lnTo>
                  <a:lnTo>
                    <a:pt x="140" y="3"/>
                  </a:lnTo>
                  <a:lnTo>
                    <a:pt x="151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0A23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7" name="Line 249"/>
            <p:cNvSpPr>
              <a:spLocks noChangeShapeType="1"/>
            </p:cNvSpPr>
            <p:nvPr/>
          </p:nvSpPr>
          <p:spPr bwMode="auto">
            <a:xfrm flipH="1">
              <a:off x="-3927475" y="6000750"/>
              <a:ext cx="1588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8" name="Line 250"/>
            <p:cNvSpPr>
              <a:spLocks noChangeShapeType="1"/>
            </p:cNvSpPr>
            <p:nvPr/>
          </p:nvSpPr>
          <p:spPr bwMode="auto">
            <a:xfrm flipH="1">
              <a:off x="-3930650" y="6029325"/>
              <a:ext cx="3175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9" name="Line 251"/>
            <p:cNvSpPr>
              <a:spLocks noChangeShapeType="1"/>
            </p:cNvSpPr>
            <p:nvPr/>
          </p:nvSpPr>
          <p:spPr bwMode="auto">
            <a:xfrm flipH="1">
              <a:off x="-3935413" y="60658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0" name="Line 252"/>
            <p:cNvSpPr>
              <a:spLocks noChangeShapeType="1"/>
            </p:cNvSpPr>
            <p:nvPr/>
          </p:nvSpPr>
          <p:spPr bwMode="auto">
            <a:xfrm flipH="1">
              <a:off x="-3938588" y="6108700"/>
              <a:ext cx="3175" cy="460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1" name="Line 253"/>
            <p:cNvSpPr>
              <a:spLocks noChangeShapeType="1"/>
            </p:cNvSpPr>
            <p:nvPr/>
          </p:nvSpPr>
          <p:spPr bwMode="auto">
            <a:xfrm flipH="1">
              <a:off x="-3943350" y="6154738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2" name="Line 254"/>
            <p:cNvSpPr>
              <a:spLocks noChangeShapeType="1"/>
            </p:cNvSpPr>
            <p:nvPr/>
          </p:nvSpPr>
          <p:spPr bwMode="auto">
            <a:xfrm flipH="1">
              <a:off x="-3949700" y="6197600"/>
              <a:ext cx="6350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3" name="Line 255"/>
            <p:cNvSpPr>
              <a:spLocks noChangeShapeType="1"/>
            </p:cNvSpPr>
            <p:nvPr/>
          </p:nvSpPr>
          <p:spPr bwMode="auto">
            <a:xfrm flipH="1">
              <a:off x="-3956050" y="6234113"/>
              <a:ext cx="6350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4" name="Line 256"/>
            <p:cNvSpPr>
              <a:spLocks noChangeShapeType="1"/>
            </p:cNvSpPr>
            <p:nvPr/>
          </p:nvSpPr>
          <p:spPr bwMode="auto">
            <a:xfrm flipH="1">
              <a:off x="-3943350" y="6008688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5" name="Line 257"/>
            <p:cNvSpPr>
              <a:spLocks noChangeShapeType="1"/>
            </p:cNvSpPr>
            <p:nvPr/>
          </p:nvSpPr>
          <p:spPr bwMode="auto">
            <a:xfrm flipH="1">
              <a:off x="-3944938" y="6035675"/>
              <a:ext cx="1588" cy="381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6" name="Line 258"/>
            <p:cNvSpPr>
              <a:spLocks noChangeShapeType="1"/>
            </p:cNvSpPr>
            <p:nvPr/>
          </p:nvSpPr>
          <p:spPr bwMode="auto">
            <a:xfrm flipH="1">
              <a:off x="-3949700" y="6073775"/>
              <a:ext cx="4763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7" name="Line 259"/>
            <p:cNvSpPr>
              <a:spLocks noChangeShapeType="1"/>
            </p:cNvSpPr>
            <p:nvPr/>
          </p:nvSpPr>
          <p:spPr bwMode="auto">
            <a:xfrm flipH="1">
              <a:off x="-3952875" y="6116638"/>
              <a:ext cx="3175" cy="4445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8" name="Line 260"/>
            <p:cNvSpPr>
              <a:spLocks noChangeShapeType="1"/>
            </p:cNvSpPr>
            <p:nvPr/>
          </p:nvSpPr>
          <p:spPr bwMode="auto">
            <a:xfrm flipH="1">
              <a:off x="-3959225" y="6161088"/>
              <a:ext cx="6350" cy="428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9" name="Line 261"/>
            <p:cNvSpPr>
              <a:spLocks noChangeShapeType="1"/>
            </p:cNvSpPr>
            <p:nvPr/>
          </p:nvSpPr>
          <p:spPr bwMode="auto">
            <a:xfrm flipH="1">
              <a:off x="-3963988" y="6203950"/>
              <a:ext cx="4763" cy="365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0" name="Line 262"/>
            <p:cNvSpPr>
              <a:spLocks noChangeShapeType="1"/>
            </p:cNvSpPr>
            <p:nvPr/>
          </p:nvSpPr>
          <p:spPr bwMode="auto">
            <a:xfrm flipH="1">
              <a:off x="-3970338" y="6240463"/>
              <a:ext cx="6350" cy="2857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1" name="Line 263"/>
            <p:cNvSpPr>
              <a:spLocks noChangeShapeType="1"/>
            </p:cNvSpPr>
            <p:nvPr/>
          </p:nvSpPr>
          <p:spPr bwMode="auto">
            <a:xfrm flipH="1" flipV="1">
              <a:off x="-4044950" y="6280150"/>
              <a:ext cx="3175" cy="238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2" name="Line 264"/>
            <p:cNvSpPr>
              <a:spLocks noChangeShapeType="1"/>
            </p:cNvSpPr>
            <p:nvPr/>
          </p:nvSpPr>
          <p:spPr bwMode="auto">
            <a:xfrm flipH="1" flipV="1">
              <a:off x="-4046538" y="6253163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3" name="Line 265"/>
            <p:cNvSpPr>
              <a:spLocks noChangeShapeType="1"/>
            </p:cNvSpPr>
            <p:nvPr/>
          </p:nvSpPr>
          <p:spPr bwMode="auto">
            <a:xfrm flipV="1">
              <a:off x="-4046538" y="6226175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4" name="Line 266"/>
            <p:cNvSpPr>
              <a:spLocks noChangeShapeType="1"/>
            </p:cNvSpPr>
            <p:nvPr/>
          </p:nvSpPr>
          <p:spPr bwMode="auto">
            <a:xfrm flipV="1">
              <a:off x="-4044950" y="6203950"/>
              <a:ext cx="6350" cy="222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5" name="Line 267"/>
            <p:cNvSpPr>
              <a:spLocks noChangeShapeType="1"/>
            </p:cNvSpPr>
            <p:nvPr/>
          </p:nvSpPr>
          <p:spPr bwMode="auto">
            <a:xfrm flipV="1">
              <a:off x="-4038600" y="6191250"/>
              <a:ext cx="1588" cy="127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6" name="Line 268"/>
            <p:cNvSpPr>
              <a:spLocks noChangeShapeType="1"/>
            </p:cNvSpPr>
            <p:nvPr/>
          </p:nvSpPr>
          <p:spPr bwMode="auto">
            <a:xfrm flipH="1" flipV="1">
              <a:off x="-4041775" y="6181725"/>
              <a:ext cx="4763" cy="95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7" name="Line 269"/>
            <p:cNvSpPr>
              <a:spLocks noChangeShapeType="1"/>
            </p:cNvSpPr>
            <p:nvPr/>
          </p:nvSpPr>
          <p:spPr bwMode="auto">
            <a:xfrm flipH="1" flipV="1">
              <a:off x="-4049713" y="6176963"/>
              <a:ext cx="7938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8" name="Line 270"/>
            <p:cNvSpPr>
              <a:spLocks noChangeShapeType="1"/>
            </p:cNvSpPr>
            <p:nvPr/>
          </p:nvSpPr>
          <p:spPr bwMode="auto">
            <a:xfrm flipH="1">
              <a:off x="-4057650" y="6176963"/>
              <a:ext cx="7938" cy="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9" name="Line 271"/>
            <p:cNvSpPr>
              <a:spLocks noChangeShapeType="1"/>
            </p:cNvSpPr>
            <p:nvPr/>
          </p:nvSpPr>
          <p:spPr bwMode="auto">
            <a:xfrm flipH="1">
              <a:off x="-4067175" y="6176963"/>
              <a:ext cx="9525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0" name="Line 272"/>
            <p:cNvSpPr>
              <a:spLocks noChangeShapeType="1"/>
            </p:cNvSpPr>
            <p:nvPr/>
          </p:nvSpPr>
          <p:spPr bwMode="auto">
            <a:xfrm flipH="1">
              <a:off x="-4075113" y="6181725"/>
              <a:ext cx="7938" cy="79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1" name="Freeform 273"/>
            <p:cNvSpPr>
              <a:spLocks/>
            </p:cNvSpPr>
            <p:nvPr/>
          </p:nvSpPr>
          <p:spPr bwMode="auto">
            <a:xfrm>
              <a:off x="-4095750" y="4867275"/>
              <a:ext cx="427038" cy="1214438"/>
            </a:xfrm>
            <a:custGeom>
              <a:avLst/>
              <a:gdLst>
                <a:gd name="T0" fmla="*/ 178 w 269"/>
                <a:gd name="T1" fmla="*/ 2 h 765"/>
                <a:gd name="T2" fmla="*/ 232 w 269"/>
                <a:gd name="T3" fmla="*/ 12 h 765"/>
                <a:gd name="T4" fmla="*/ 264 w 269"/>
                <a:gd name="T5" fmla="*/ 31 h 765"/>
                <a:gd name="T6" fmla="*/ 268 w 269"/>
                <a:gd name="T7" fmla="*/ 95 h 765"/>
                <a:gd name="T8" fmla="*/ 269 w 269"/>
                <a:gd name="T9" fmla="*/ 180 h 765"/>
                <a:gd name="T10" fmla="*/ 261 w 269"/>
                <a:gd name="T11" fmla="*/ 288 h 765"/>
                <a:gd name="T12" fmla="*/ 252 w 269"/>
                <a:gd name="T13" fmla="*/ 355 h 765"/>
                <a:gd name="T14" fmla="*/ 247 w 269"/>
                <a:gd name="T15" fmla="*/ 401 h 765"/>
                <a:gd name="T16" fmla="*/ 243 w 269"/>
                <a:gd name="T17" fmla="*/ 442 h 765"/>
                <a:gd name="T18" fmla="*/ 242 w 269"/>
                <a:gd name="T19" fmla="*/ 487 h 765"/>
                <a:gd name="T20" fmla="*/ 240 w 269"/>
                <a:gd name="T21" fmla="*/ 553 h 765"/>
                <a:gd name="T22" fmla="*/ 240 w 269"/>
                <a:gd name="T23" fmla="*/ 615 h 765"/>
                <a:gd name="T24" fmla="*/ 241 w 269"/>
                <a:gd name="T25" fmla="*/ 665 h 765"/>
                <a:gd name="T26" fmla="*/ 243 w 269"/>
                <a:gd name="T27" fmla="*/ 722 h 765"/>
                <a:gd name="T28" fmla="*/ 223 w 269"/>
                <a:gd name="T29" fmla="*/ 763 h 765"/>
                <a:gd name="T30" fmla="*/ 186 w 269"/>
                <a:gd name="T31" fmla="*/ 765 h 765"/>
                <a:gd name="T32" fmla="*/ 164 w 269"/>
                <a:gd name="T33" fmla="*/ 761 h 765"/>
                <a:gd name="T34" fmla="*/ 160 w 269"/>
                <a:gd name="T35" fmla="*/ 745 h 765"/>
                <a:gd name="T36" fmla="*/ 155 w 269"/>
                <a:gd name="T37" fmla="*/ 705 h 765"/>
                <a:gd name="T38" fmla="*/ 146 w 269"/>
                <a:gd name="T39" fmla="*/ 621 h 765"/>
                <a:gd name="T40" fmla="*/ 142 w 269"/>
                <a:gd name="T41" fmla="*/ 519 h 765"/>
                <a:gd name="T42" fmla="*/ 149 w 269"/>
                <a:gd name="T43" fmla="*/ 429 h 765"/>
                <a:gd name="T44" fmla="*/ 147 w 269"/>
                <a:gd name="T45" fmla="*/ 360 h 765"/>
                <a:gd name="T46" fmla="*/ 142 w 269"/>
                <a:gd name="T47" fmla="*/ 285 h 765"/>
                <a:gd name="T48" fmla="*/ 137 w 269"/>
                <a:gd name="T49" fmla="*/ 194 h 765"/>
                <a:gd name="T50" fmla="*/ 132 w 269"/>
                <a:gd name="T51" fmla="*/ 301 h 765"/>
                <a:gd name="T52" fmla="*/ 127 w 269"/>
                <a:gd name="T53" fmla="*/ 380 h 765"/>
                <a:gd name="T54" fmla="*/ 124 w 269"/>
                <a:gd name="T55" fmla="*/ 438 h 765"/>
                <a:gd name="T56" fmla="*/ 128 w 269"/>
                <a:gd name="T57" fmla="*/ 494 h 765"/>
                <a:gd name="T58" fmla="*/ 128 w 269"/>
                <a:gd name="T59" fmla="*/ 571 h 765"/>
                <a:gd name="T60" fmla="*/ 123 w 269"/>
                <a:gd name="T61" fmla="*/ 646 h 765"/>
                <a:gd name="T62" fmla="*/ 118 w 269"/>
                <a:gd name="T63" fmla="*/ 701 h 765"/>
                <a:gd name="T64" fmla="*/ 115 w 269"/>
                <a:gd name="T65" fmla="*/ 729 h 765"/>
                <a:gd name="T66" fmla="*/ 113 w 269"/>
                <a:gd name="T67" fmla="*/ 747 h 765"/>
                <a:gd name="T68" fmla="*/ 93 w 269"/>
                <a:gd name="T69" fmla="*/ 760 h 765"/>
                <a:gd name="T70" fmla="*/ 61 w 269"/>
                <a:gd name="T71" fmla="*/ 759 h 765"/>
                <a:gd name="T72" fmla="*/ 43 w 269"/>
                <a:gd name="T73" fmla="*/ 739 h 765"/>
                <a:gd name="T74" fmla="*/ 42 w 269"/>
                <a:gd name="T75" fmla="*/ 693 h 765"/>
                <a:gd name="T76" fmla="*/ 38 w 269"/>
                <a:gd name="T77" fmla="*/ 633 h 765"/>
                <a:gd name="T78" fmla="*/ 36 w 269"/>
                <a:gd name="T79" fmla="*/ 575 h 765"/>
                <a:gd name="T80" fmla="*/ 33 w 269"/>
                <a:gd name="T81" fmla="*/ 533 h 765"/>
                <a:gd name="T82" fmla="*/ 31 w 269"/>
                <a:gd name="T83" fmla="*/ 489 h 765"/>
                <a:gd name="T84" fmla="*/ 23 w 269"/>
                <a:gd name="T85" fmla="*/ 426 h 765"/>
                <a:gd name="T86" fmla="*/ 13 w 269"/>
                <a:gd name="T87" fmla="*/ 360 h 765"/>
                <a:gd name="T88" fmla="*/ 5 w 269"/>
                <a:gd name="T89" fmla="*/ 279 h 765"/>
                <a:gd name="T90" fmla="*/ 0 w 269"/>
                <a:gd name="T91" fmla="*/ 160 h 765"/>
                <a:gd name="T92" fmla="*/ 0 w 269"/>
                <a:gd name="T93" fmla="*/ 67 h 765"/>
                <a:gd name="T94" fmla="*/ 14 w 269"/>
                <a:gd name="T95" fmla="*/ 21 h 765"/>
                <a:gd name="T96" fmla="*/ 59 w 269"/>
                <a:gd name="T97" fmla="*/ 7 h 765"/>
                <a:gd name="T98" fmla="*/ 118 w 269"/>
                <a:gd name="T99" fmla="*/ 0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9" h="765">
                  <a:moveTo>
                    <a:pt x="149" y="0"/>
                  </a:moveTo>
                  <a:lnTo>
                    <a:pt x="178" y="2"/>
                  </a:lnTo>
                  <a:lnTo>
                    <a:pt x="206" y="7"/>
                  </a:lnTo>
                  <a:lnTo>
                    <a:pt x="232" y="12"/>
                  </a:lnTo>
                  <a:lnTo>
                    <a:pt x="251" y="21"/>
                  </a:lnTo>
                  <a:lnTo>
                    <a:pt x="264" y="31"/>
                  </a:lnTo>
                  <a:lnTo>
                    <a:pt x="265" y="61"/>
                  </a:lnTo>
                  <a:lnTo>
                    <a:pt x="268" y="95"/>
                  </a:lnTo>
                  <a:lnTo>
                    <a:pt x="269" y="135"/>
                  </a:lnTo>
                  <a:lnTo>
                    <a:pt x="269" y="180"/>
                  </a:lnTo>
                  <a:lnTo>
                    <a:pt x="268" y="231"/>
                  </a:lnTo>
                  <a:lnTo>
                    <a:pt x="261" y="288"/>
                  </a:lnTo>
                  <a:lnTo>
                    <a:pt x="256" y="324"/>
                  </a:lnTo>
                  <a:lnTo>
                    <a:pt x="252" y="355"/>
                  </a:lnTo>
                  <a:lnTo>
                    <a:pt x="250" y="379"/>
                  </a:lnTo>
                  <a:lnTo>
                    <a:pt x="247" y="401"/>
                  </a:lnTo>
                  <a:lnTo>
                    <a:pt x="245" y="421"/>
                  </a:lnTo>
                  <a:lnTo>
                    <a:pt x="243" y="442"/>
                  </a:lnTo>
                  <a:lnTo>
                    <a:pt x="242" y="462"/>
                  </a:lnTo>
                  <a:lnTo>
                    <a:pt x="242" y="487"/>
                  </a:lnTo>
                  <a:lnTo>
                    <a:pt x="241" y="514"/>
                  </a:lnTo>
                  <a:lnTo>
                    <a:pt x="240" y="553"/>
                  </a:lnTo>
                  <a:lnTo>
                    <a:pt x="240" y="586"/>
                  </a:lnTo>
                  <a:lnTo>
                    <a:pt x="240" y="615"/>
                  </a:lnTo>
                  <a:lnTo>
                    <a:pt x="241" y="641"/>
                  </a:lnTo>
                  <a:lnTo>
                    <a:pt x="241" y="665"/>
                  </a:lnTo>
                  <a:lnTo>
                    <a:pt x="242" y="692"/>
                  </a:lnTo>
                  <a:lnTo>
                    <a:pt x="243" y="722"/>
                  </a:lnTo>
                  <a:lnTo>
                    <a:pt x="243" y="756"/>
                  </a:lnTo>
                  <a:lnTo>
                    <a:pt x="223" y="763"/>
                  </a:lnTo>
                  <a:lnTo>
                    <a:pt x="204" y="765"/>
                  </a:lnTo>
                  <a:lnTo>
                    <a:pt x="186" y="765"/>
                  </a:lnTo>
                  <a:lnTo>
                    <a:pt x="165" y="763"/>
                  </a:lnTo>
                  <a:lnTo>
                    <a:pt x="164" y="761"/>
                  </a:lnTo>
                  <a:lnTo>
                    <a:pt x="163" y="755"/>
                  </a:lnTo>
                  <a:lnTo>
                    <a:pt x="160" y="745"/>
                  </a:lnTo>
                  <a:lnTo>
                    <a:pt x="158" y="728"/>
                  </a:lnTo>
                  <a:lnTo>
                    <a:pt x="155" y="705"/>
                  </a:lnTo>
                  <a:lnTo>
                    <a:pt x="151" y="673"/>
                  </a:lnTo>
                  <a:lnTo>
                    <a:pt x="146" y="621"/>
                  </a:lnTo>
                  <a:lnTo>
                    <a:pt x="142" y="570"/>
                  </a:lnTo>
                  <a:lnTo>
                    <a:pt x="142" y="519"/>
                  </a:lnTo>
                  <a:lnTo>
                    <a:pt x="146" y="466"/>
                  </a:lnTo>
                  <a:lnTo>
                    <a:pt x="149" y="429"/>
                  </a:lnTo>
                  <a:lnTo>
                    <a:pt x="149" y="394"/>
                  </a:lnTo>
                  <a:lnTo>
                    <a:pt x="147" y="360"/>
                  </a:lnTo>
                  <a:lnTo>
                    <a:pt x="146" y="325"/>
                  </a:lnTo>
                  <a:lnTo>
                    <a:pt x="142" y="285"/>
                  </a:lnTo>
                  <a:lnTo>
                    <a:pt x="140" y="243"/>
                  </a:lnTo>
                  <a:lnTo>
                    <a:pt x="137" y="194"/>
                  </a:lnTo>
                  <a:lnTo>
                    <a:pt x="136" y="251"/>
                  </a:lnTo>
                  <a:lnTo>
                    <a:pt x="132" y="301"/>
                  </a:lnTo>
                  <a:lnTo>
                    <a:pt x="129" y="343"/>
                  </a:lnTo>
                  <a:lnTo>
                    <a:pt x="127" y="380"/>
                  </a:lnTo>
                  <a:lnTo>
                    <a:pt x="124" y="411"/>
                  </a:lnTo>
                  <a:lnTo>
                    <a:pt x="124" y="438"/>
                  </a:lnTo>
                  <a:lnTo>
                    <a:pt x="125" y="460"/>
                  </a:lnTo>
                  <a:lnTo>
                    <a:pt x="128" y="494"/>
                  </a:lnTo>
                  <a:lnTo>
                    <a:pt x="128" y="533"/>
                  </a:lnTo>
                  <a:lnTo>
                    <a:pt x="128" y="571"/>
                  </a:lnTo>
                  <a:lnTo>
                    <a:pt x="125" y="610"/>
                  </a:lnTo>
                  <a:lnTo>
                    <a:pt x="123" y="646"/>
                  </a:lnTo>
                  <a:lnTo>
                    <a:pt x="120" y="677"/>
                  </a:lnTo>
                  <a:lnTo>
                    <a:pt x="118" y="701"/>
                  </a:lnTo>
                  <a:lnTo>
                    <a:pt x="116" y="718"/>
                  </a:lnTo>
                  <a:lnTo>
                    <a:pt x="115" y="729"/>
                  </a:lnTo>
                  <a:lnTo>
                    <a:pt x="114" y="738"/>
                  </a:lnTo>
                  <a:lnTo>
                    <a:pt x="113" y="747"/>
                  </a:lnTo>
                  <a:lnTo>
                    <a:pt x="111" y="756"/>
                  </a:lnTo>
                  <a:lnTo>
                    <a:pt x="93" y="760"/>
                  </a:lnTo>
                  <a:lnTo>
                    <a:pt x="78" y="760"/>
                  </a:lnTo>
                  <a:lnTo>
                    <a:pt x="61" y="759"/>
                  </a:lnTo>
                  <a:lnTo>
                    <a:pt x="43" y="754"/>
                  </a:lnTo>
                  <a:lnTo>
                    <a:pt x="43" y="739"/>
                  </a:lnTo>
                  <a:lnTo>
                    <a:pt x="43" y="719"/>
                  </a:lnTo>
                  <a:lnTo>
                    <a:pt x="42" y="693"/>
                  </a:lnTo>
                  <a:lnTo>
                    <a:pt x="41" y="664"/>
                  </a:lnTo>
                  <a:lnTo>
                    <a:pt x="38" y="633"/>
                  </a:lnTo>
                  <a:lnTo>
                    <a:pt x="37" y="603"/>
                  </a:lnTo>
                  <a:lnTo>
                    <a:pt x="36" y="575"/>
                  </a:lnTo>
                  <a:lnTo>
                    <a:pt x="34" y="552"/>
                  </a:lnTo>
                  <a:lnTo>
                    <a:pt x="33" y="533"/>
                  </a:lnTo>
                  <a:lnTo>
                    <a:pt x="33" y="523"/>
                  </a:lnTo>
                  <a:lnTo>
                    <a:pt x="31" y="489"/>
                  </a:lnTo>
                  <a:lnTo>
                    <a:pt x="28" y="457"/>
                  </a:lnTo>
                  <a:lnTo>
                    <a:pt x="23" y="426"/>
                  </a:lnTo>
                  <a:lnTo>
                    <a:pt x="18" y="394"/>
                  </a:lnTo>
                  <a:lnTo>
                    <a:pt x="13" y="360"/>
                  </a:lnTo>
                  <a:lnTo>
                    <a:pt x="9" y="322"/>
                  </a:lnTo>
                  <a:lnTo>
                    <a:pt x="5" y="279"/>
                  </a:lnTo>
                  <a:lnTo>
                    <a:pt x="1" y="216"/>
                  </a:lnTo>
                  <a:lnTo>
                    <a:pt x="0" y="160"/>
                  </a:lnTo>
                  <a:lnTo>
                    <a:pt x="0" y="110"/>
                  </a:lnTo>
                  <a:lnTo>
                    <a:pt x="0" y="67"/>
                  </a:lnTo>
                  <a:lnTo>
                    <a:pt x="1" y="31"/>
                  </a:lnTo>
                  <a:lnTo>
                    <a:pt x="14" y="21"/>
                  </a:lnTo>
                  <a:lnTo>
                    <a:pt x="34" y="12"/>
                  </a:lnTo>
                  <a:lnTo>
                    <a:pt x="59" y="7"/>
                  </a:lnTo>
                  <a:lnTo>
                    <a:pt x="87" y="2"/>
                  </a:lnTo>
                  <a:lnTo>
                    <a:pt x="118" y="0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183DA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2" name="Freeform 274"/>
            <p:cNvSpPr>
              <a:spLocks/>
            </p:cNvSpPr>
            <p:nvPr/>
          </p:nvSpPr>
          <p:spPr bwMode="auto">
            <a:xfrm>
              <a:off x="-3883025" y="5176838"/>
              <a:ext cx="76200" cy="895350"/>
            </a:xfrm>
            <a:custGeom>
              <a:avLst/>
              <a:gdLst>
                <a:gd name="T0" fmla="*/ 8 w 48"/>
                <a:gd name="T1" fmla="*/ 0 h 564"/>
                <a:gd name="T2" fmla="*/ 12 w 48"/>
                <a:gd name="T3" fmla="*/ 13 h 564"/>
                <a:gd name="T4" fmla="*/ 15 w 48"/>
                <a:gd name="T5" fmla="*/ 29 h 564"/>
                <a:gd name="T6" fmla="*/ 21 w 48"/>
                <a:gd name="T7" fmla="*/ 61 h 564"/>
                <a:gd name="T8" fmla="*/ 26 w 48"/>
                <a:gd name="T9" fmla="*/ 95 h 564"/>
                <a:gd name="T10" fmla="*/ 30 w 48"/>
                <a:gd name="T11" fmla="*/ 131 h 564"/>
                <a:gd name="T12" fmla="*/ 34 w 48"/>
                <a:gd name="T13" fmla="*/ 169 h 564"/>
                <a:gd name="T14" fmla="*/ 35 w 48"/>
                <a:gd name="T15" fmla="*/ 203 h 564"/>
                <a:gd name="T16" fmla="*/ 35 w 48"/>
                <a:gd name="T17" fmla="*/ 235 h 564"/>
                <a:gd name="T18" fmla="*/ 34 w 48"/>
                <a:gd name="T19" fmla="*/ 249 h 564"/>
                <a:gd name="T20" fmla="*/ 34 w 48"/>
                <a:gd name="T21" fmla="*/ 263 h 564"/>
                <a:gd name="T22" fmla="*/ 33 w 48"/>
                <a:gd name="T23" fmla="*/ 276 h 564"/>
                <a:gd name="T24" fmla="*/ 33 w 48"/>
                <a:gd name="T25" fmla="*/ 331 h 564"/>
                <a:gd name="T26" fmla="*/ 34 w 48"/>
                <a:gd name="T27" fmla="*/ 353 h 564"/>
                <a:gd name="T28" fmla="*/ 38 w 48"/>
                <a:gd name="T29" fmla="*/ 423 h 564"/>
                <a:gd name="T30" fmla="*/ 41 w 48"/>
                <a:gd name="T31" fmla="*/ 469 h 564"/>
                <a:gd name="T32" fmla="*/ 44 w 48"/>
                <a:gd name="T33" fmla="*/ 510 h 564"/>
                <a:gd name="T34" fmla="*/ 45 w 48"/>
                <a:gd name="T35" fmla="*/ 527 h 564"/>
                <a:gd name="T36" fmla="*/ 47 w 48"/>
                <a:gd name="T37" fmla="*/ 542 h 564"/>
                <a:gd name="T38" fmla="*/ 47 w 48"/>
                <a:gd name="T39" fmla="*/ 555 h 564"/>
                <a:gd name="T40" fmla="*/ 48 w 48"/>
                <a:gd name="T41" fmla="*/ 564 h 564"/>
                <a:gd name="T42" fmla="*/ 39 w 48"/>
                <a:gd name="T43" fmla="*/ 564 h 564"/>
                <a:gd name="T44" fmla="*/ 38 w 48"/>
                <a:gd name="T45" fmla="*/ 555 h 564"/>
                <a:gd name="T46" fmla="*/ 38 w 48"/>
                <a:gd name="T47" fmla="*/ 542 h 564"/>
                <a:gd name="T48" fmla="*/ 36 w 48"/>
                <a:gd name="T49" fmla="*/ 527 h 564"/>
                <a:gd name="T50" fmla="*/ 35 w 48"/>
                <a:gd name="T51" fmla="*/ 510 h 564"/>
                <a:gd name="T52" fmla="*/ 33 w 48"/>
                <a:gd name="T53" fmla="*/ 469 h 564"/>
                <a:gd name="T54" fmla="*/ 29 w 48"/>
                <a:gd name="T55" fmla="*/ 423 h 564"/>
                <a:gd name="T56" fmla="*/ 25 w 48"/>
                <a:gd name="T57" fmla="*/ 353 h 564"/>
                <a:gd name="T58" fmla="*/ 24 w 48"/>
                <a:gd name="T59" fmla="*/ 331 h 564"/>
                <a:gd name="T60" fmla="*/ 24 w 48"/>
                <a:gd name="T61" fmla="*/ 276 h 564"/>
                <a:gd name="T62" fmla="*/ 25 w 48"/>
                <a:gd name="T63" fmla="*/ 262 h 564"/>
                <a:gd name="T64" fmla="*/ 25 w 48"/>
                <a:gd name="T65" fmla="*/ 249 h 564"/>
                <a:gd name="T66" fmla="*/ 26 w 48"/>
                <a:gd name="T67" fmla="*/ 235 h 564"/>
                <a:gd name="T68" fmla="*/ 26 w 48"/>
                <a:gd name="T69" fmla="*/ 203 h 564"/>
                <a:gd name="T70" fmla="*/ 25 w 48"/>
                <a:gd name="T71" fmla="*/ 169 h 564"/>
                <a:gd name="T72" fmla="*/ 21 w 48"/>
                <a:gd name="T73" fmla="*/ 131 h 564"/>
                <a:gd name="T74" fmla="*/ 17 w 48"/>
                <a:gd name="T75" fmla="*/ 95 h 564"/>
                <a:gd name="T76" fmla="*/ 12 w 48"/>
                <a:gd name="T77" fmla="*/ 61 h 564"/>
                <a:gd name="T78" fmla="*/ 6 w 48"/>
                <a:gd name="T79" fmla="*/ 29 h 564"/>
                <a:gd name="T80" fmla="*/ 3 w 48"/>
                <a:gd name="T81" fmla="*/ 13 h 564"/>
                <a:gd name="T82" fmla="*/ 0 w 48"/>
                <a:gd name="T83" fmla="*/ 2 h 564"/>
                <a:gd name="T84" fmla="*/ 8 w 48"/>
                <a:gd name="T85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564">
                  <a:moveTo>
                    <a:pt x="8" y="0"/>
                  </a:moveTo>
                  <a:lnTo>
                    <a:pt x="12" y="13"/>
                  </a:lnTo>
                  <a:lnTo>
                    <a:pt x="15" y="29"/>
                  </a:lnTo>
                  <a:lnTo>
                    <a:pt x="21" y="61"/>
                  </a:lnTo>
                  <a:lnTo>
                    <a:pt x="26" y="95"/>
                  </a:lnTo>
                  <a:lnTo>
                    <a:pt x="30" y="131"/>
                  </a:lnTo>
                  <a:lnTo>
                    <a:pt x="34" y="169"/>
                  </a:lnTo>
                  <a:lnTo>
                    <a:pt x="35" y="203"/>
                  </a:lnTo>
                  <a:lnTo>
                    <a:pt x="35" y="235"/>
                  </a:lnTo>
                  <a:lnTo>
                    <a:pt x="34" y="249"/>
                  </a:lnTo>
                  <a:lnTo>
                    <a:pt x="34" y="263"/>
                  </a:lnTo>
                  <a:lnTo>
                    <a:pt x="33" y="276"/>
                  </a:lnTo>
                  <a:lnTo>
                    <a:pt x="33" y="331"/>
                  </a:lnTo>
                  <a:lnTo>
                    <a:pt x="34" y="353"/>
                  </a:lnTo>
                  <a:lnTo>
                    <a:pt x="38" y="423"/>
                  </a:lnTo>
                  <a:lnTo>
                    <a:pt x="41" y="469"/>
                  </a:lnTo>
                  <a:lnTo>
                    <a:pt x="44" y="510"/>
                  </a:lnTo>
                  <a:lnTo>
                    <a:pt x="45" y="527"/>
                  </a:lnTo>
                  <a:lnTo>
                    <a:pt x="47" y="542"/>
                  </a:lnTo>
                  <a:lnTo>
                    <a:pt x="47" y="555"/>
                  </a:lnTo>
                  <a:lnTo>
                    <a:pt x="48" y="564"/>
                  </a:lnTo>
                  <a:lnTo>
                    <a:pt x="39" y="564"/>
                  </a:lnTo>
                  <a:lnTo>
                    <a:pt x="38" y="555"/>
                  </a:lnTo>
                  <a:lnTo>
                    <a:pt x="38" y="542"/>
                  </a:lnTo>
                  <a:lnTo>
                    <a:pt x="36" y="527"/>
                  </a:lnTo>
                  <a:lnTo>
                    <a:pt x="35" y="510"/>
                  </a:lnTo>
                  <a:lnTo>
                    <a:pt x="33" y="469"/>
                  </a:lnTo>
                  <a:lnTo>
                    <a:pt x="29" y="423"/>
                  </a:lnTo>
                  <a:lnTo>
                    <a:pt x="25" y="353"/>
                  </a:lnTo>
                  <a:lnTo>
                    <a:pt x="24" y="331"/>
                  </a:lnTo>
                  <a:lnTo>
                    <a:pt x="24" y="276"/>
                  </a:lnTo>
                  <a:lnTo>
                    <a:pt x="25" y="262"/>
                  </a:lnTo>
                  <a:lnTo>
                    <a:pt x="25" y="249"/>
                  </a:lnTo>
                  <a:lnTo>
                    <a:pt x="26" y="235"/>
                  </a:lnTo>
                  <a:lnTo>
                    <a:pt x="26" y="203"/>
                  </a:lnTo>
                  <a:lnTo>
                    <a:pt x="25" y="169"/>
                  </a:lnTo>
                  <a:lnTo>
                    <a:pt x="21" y="131"/>
                  </a:lnTo>
                  <a:lnTo>
                    <a:pt x="17" y="95"/>
                  </a:lnTo>
                  <a:lnTo>
                    <a:pt x="12" y="61"/>
                  </a:lnTo>
                  <a:lnTo>
                    <a:pt x="6" y="29"/>
                  </a:lnTo>
                  <a:lnTo>
                    <a:pt x="3" y="13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3" name="Freeform 275"/>
            <p:cNvSpPr>
              <a:spLocks/>
            </p:cNvSpPr>
            <p:nvPr/>
          </p:nvSpPr>
          <p:spPr bwMode="auto">
            <a:xfrm>
              <a:off x="-4200525" y="4252913"/>
              <a:ext cx="166688" cy="490538"/>
            </a:xfrm>
            <a:custGeom>
              <a:avLst/>
              <a:gdLst>
                <a:gd name="T0" fmla="*/ 82 w 105"/>
                <a:gd name="T1" fmla="*/ 0 h 309"/>
                <a:gd name="T2" fmla="*/ 90 w 105"/>
                <a:gd name="T3" fmla="*/ 3 h 309"/>
                <a:gd name="T4" fmla="*/ 98 w 105"/>
                <a:gd name="T5" fmla="*/ 10 h 309"/>
                <a:gd name="T6" fmla="*/ 102 w 105"/>
                <a:gd name="T7" fmla="*/ 23 h 309"/>
                <a:gd name="T8" fmla="*/ 105 w 105"/>
                <a:gd name="T9" fmla="*/ 40 h 309"/>
                <a:gd name="T10" fmla="*/ 105 w 105"/>
                <a:gd name="T11" fmla="*/ 62 h 309"/>
                <a:gd name="T12" fmla="*/ 103 w 105"/>
                <a:gd name="T13" fmla="*/ 88 h 309"/>
                <a:gd name="T14" fmla="*/ 97 w 105"/>
                <a:gd name="T15" fmla="*/ 121 h 309"/>
                <a:gd name="T16" fmla="*/ 88 w 105"/>
                <a:gd name="T17" fmla="*/ 158 h 309"/>
                <a:gd name="T18" fmla="*/ 80 w 105"/>
                <a:gd name="T19" fmla="*/ 185 h 309"/>
                <a:gd name="T20" fmla="*/ 71 w 105"/>
                <a:gd name="T21" fmla="*/ 213 h 309"/>
                <a:gd name="T22" fmla="*/ 63 w 105"/>
                <a:gd name="T23" fmla="*/ 239 h 309"/>
                <a:gd name="T24" fmla="*/ 55 w 105"/>
                <a:gd name="T25" fmla="*/ 263 h 309"/>
                <a:gd name="T26" fmla="*/ 46 w 105"/>
                <a:gd name="T27" fmla="*/ 284 h 309"/>
                <a:gd name="T28" fmla="*/ 37 w 105"/>
                <a:gd name="T29" fmla="*/ 299 h 309"/>
                <a:gd name="T30" fmla="*/ 29 w 105"/>
                <a:gd name="T31" fmla="*/ 308 h 309"/>
                <a:gd name="T32" fmla="*/ 18 w 105"/>
                <a:gd name="T33" fmla="*/ 309 h 309"/>
                <a:gd name="T34" fmla="*/ 9 w 105"/>
                <a:gd name="T35" fmla="*/ 304 h 309"/>
                <a:gd name="T36" fmla="*/ 4 w 105"/>
                <a:gd name="T37" fmla="*/ 292 h 309"/>
                <a:gd name="T38" fmla="*/ 0 w 105"/>
                <a:gd name="T39" fmla="*/ 276 h 309"/>
                <a:gd name="T40" fmla="*/ 0 w 105"/>
                <a:gd name="T41" fmla="*/ 254 h 309"/>
                <a:gd name="T42" fmla="*/ 2 w 105"/>
                <a:gd name="T43" fmla="*/ 228 h 309"/>
                <a:gd name="T44" fmla="*/ 4 w 105"/>
                <a:gd name="T45" fmla="*/ 200 h 309"/>
                <a:gd name="T46" fmla="*/ 8 w 105"/>
                <a:gd name="T47" fmla="*/ 168 h 309"/>
                <a:gd name="T48" fmla="*/ 13 w 105"/>
                <a:gd name="T49" fmla="*/ 135 h 309"/>
                <a:gd name="T50" fmla="*/ 18 w 105"/>
                <a:gd name="T51" fmla="*/ 104 h 309"/>
                <a:gd name="T52" fmla="*/ 26 w 105"/>
                <a:gd name="T53" fmla="*/ 76 h 309"/>
                <a:gd name="T54" fmla="*/ 34 w 105"/>
                <a:gd name="T55" fmla="*/ 53 h 309"/>
                <a:gd name="T56" fmla="*/ 44 w 105"/>
                <a:gd name="T57" fmla="*/ 33 h 309"/>
                <a:gd name="T58" fmla="*/ 54 w 105"/>
                <a:gd name="T59" fmla="*/ 18 h 309"/>
                <a:gd name="T60" fmla="*/ 63 w 105"/>
                <a:gd name="T61" fmla="*/ 8 h 309"/>
                <a:gd name="T62" fmla="*/ 73 w 105"/>
                <a:gd name="T63" fmla="*/ 1 h 309"/>
                <a:gd name="T64" fmla="*/ 82 w 105"/>
                <a:gd name="T65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309">
                  <a:moveTo>
                    <a:pt x="82" y="0"/>
                  </a:moveTo>
                  <a:lnTo>
                    <a:pt x="90" y="3"/>
                  </a:lnTo>
                  <a:lnTo>
                    <a:pt x="98" y="10"/>
                  </a:lnTo>
                  <a:lnTo>
                    <a:pt x="102" y="23"/>
                  </a:lnTo>
                  <a:lnTo>
                    <a:pt x="105" y="40"/>
                  </a:lnTo>
                  <a:lnTo>
                    <a:pt x="105" y="62"/>
                  </a:lnTo>
                  <a:lnTo>
                    <a:pt x="103" y="88"/>
                  </a:lnTo>
                  <a:lnTo>
                    <a:pt x="97" y="121"/>
                  </a:lnTo>
                  <a:lnTo>
                    <a:pt x="88" y="158"/>
                  </a:lnTo>
                  <a:lnTo>
                    <a:pt x="80" y="185"/>
                  </a:lnTo>
                  <a:lnTo>
                    <a:pt x="71" y="213"/>
                  </a:lnTo>
                  <a:lnTo>
                    <a:pt x="63" y="239"/>
                  </a:lnTo>
                  <a:lnTo>
                    <a:pt x="55" y="263"/>
                  </a:lnTo>
                  <a:lnTo>
                    <a:pt x="46" y="284"/>
                  </a:lnTo>
                  <a:lnTo>
                    <a:pt x="37" y="299"/>
                  </a:lnTo>
                  <a:lnTo>
                    <a:pt x="29" y="308"/>
                  </a:lnTo>
                  <a:lnTo>
                    <a:pt x="18" y="309"/>
                  </a:lnTo>
                  <a:lnTo>
                    <a:pt x="9" y="304"/>
                  </a:lnTo>
                  <a:lnTo>
                    <a:pt x="4" y="292"/>
                  </a:lnTo>
                  <a:lnTo>
                    <a:pt x="0" y="276"/>
                  </a:lnTo>
                  <a:lnTo>
                    <a:pt x="0" y="254"/>
                  </a:lnTo>
                  <a:lnTo>
                    <a:pt x="2" y="228"/>
                  </a:lnTo>
                  <a:lnTo>
                    <a:pt x="4" y="200"/>
                  </a:lnTo>
                  <a:lnTo>
                    <a:pt x="8" y="168"/>
                  </a:lnTo>
                  <a:lnTo>
                    <a:pt x="13" y="135"/>
                  </a:lnTo>
                  <a:lnTo>
                    <a:pt x="18" y="104"/>
                  </a:lnTo>
                  <a:lnTo>
                    <a:pt x="26" y="76"/>
                  </a:lnTo>
                  <a:lnTo>
                    <a:pt x="34" y="53"/>
                  </a:lnTo>
                  <a:lnTo>
                    <a:pt x="44" y="33"/>
                  </a:lnTo>
                  <a:lnTo>
                    <a:pt x="54" y="18"/>
                  </a:lnTo>
                  <a:lnTo>
                    <a:pt x="63" y="8"/>
                  </a:lnTo>
                  <a:lnTo>
                    <a:pt x="73" y="1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4" name="Freeform 276"/>
            <p:cNvSpPr>
              <a:spLocks/>
            </p:cNvSpPr>
            <p:nvPr/>
          </p:nvSpPr>
          <p:spPr bwMode="auto">
            <a:xfrm>
              <a:off x="-4222750" y="4635500"/>
              <a:ext cx="100013" cy="466725"/>
            </a:xfrm>
            <a:custGeom>
              <a:avLst/>
              <a:gdLst>
                <a:gd name="T0" fmla="*/ 45 w 63"/>
                <a:gd name="T1" fmla="*/ 0 h 294"/>
                <a:gd name="T2" fmla="*/ 51 w 63"/>
                <a:gd name="T3" fmla="*/ 3 h 294"/>
                <a:gd name="T4" fmla="*/ 57 w 63"/>
                <a:gd name="T5" fmla="*/ 10 h 294"/>
                <a:gd name="T6" fmla="*/ 60 w 63"/>
                <a:gd name="T7" fmla="*/ 25 h 294"/>
                <a:gd name="T8" fmla="*/ 62 w 63"/>
                <a:gd name="T9" fmla="*/ 44 h 294"/>
                <a:gd name="T10" fmla="*/ 63 w 63"/>
                <a:gd name="T11" fmla="*/ 68 h 294"/>
                <a:gd name="T12" fmla="*/ 60 w 63"/>
                <a:gd name="T13" fmla="*/ 99 h 294"/>
                <a:gd name="T14" fmla="*/ 55 w 63"/>
                <a:gd name="T15" fmla="*/ 137 h 294"/>
                <a:gd name="T16" fmla="*/ 53 w 63"/>
                <a:gd name="T17" fmla="*/ 158 h 294"/>
                <a:gd name="T18" fmla="*/ 49 w 63"/>
                <a:gd name="T19" fmla="*/ 182 h 294"/>
                <a:gd name="T20" fmla="*/ 45 w 63"/>
                <a:gd name="T21" fmla="*/ 208 h 294"/>
                <a:gd name="T22" fmla="*/ 41 w 63"/>
                <a:gd name="T23" fmla="*/ 234 h 294"/>
                <a:gd name="T24" fmla="*/ 36 w 63"/>
                <a:gd name="T25" fmla="*/ 257 h 294"/>
                <a:gd name="T26" fmla="*/ 31 w 63"/>
                <a:gd name="T27" fmla="*/ 276 h 294"/>
                <a:gd name="T28" fmla="*/ 25 w 63"/>
                <a:gd name="T29" fmla="*/ 289 h 294"/>
                <a:gd name="T30" fmla="*/ 19 w 63"/>
                <a:gd name="T31" fmla="*/ 294 h 294"/>
                <a:gd name="T32" fmla="*/ 13 w 63"/>
                <a:gd name="T33" fmla="*/ 291 h 294"/>
                <a:gd name="T34" fmla="*/ 9 w 63"/>
                <a:gd name="T35" fmla="*/ 282 h 294"/>
                <a:gd name="T36" fmla="*/ 5 w 63"/>
                <a:gd name="T37" fmla="*/ 268 h 294"/>
                <a:gd name="T38" fmla="*/ 3 w 63"/>
                <a:gd name="T39" fmla="*/ 249 h 294"/>
                <a:gd name="T40" fmla="*/ 1 w 63"/>
                <a:gd name="T41" fmla="*/ 227 h 294"/>
                <a:gd name="T42" fmla="*/ 1 w 63"/>
                <a:gd name="T43" fmla="*/ 204 h 294"/>
                <a:gd name="T44" fmla="*/ 0 w 63"/>
                <a:gd name="T45" fmla="*/ 180 h 294"/>
                <a:gd name="T46" fmla="*/ 0 w 63"/>
                <a:gd name="T47" fmla="*/ 155 h 294"/>
                <a:gd name="T48" fmla="*/ 1 w 63"/>
                <a:gd name="T49" fmla="*/ 134 h 294"/>
                <a:gd name="T50" fmla="*/ 3 w 63"/>
                <a:gd name="T51" fmla="*/ 104 h 294"/>
                <a:gd name="T52" fmla="*/ 7 w 63"/>
                <a:gd name="T53" fmla="*/ 78 h 294"/>
                <a:gd name="T54" fmla="*/ 12 w 63"/>
                <a:gd name="T55" fmla="*/ 55 h 294"/>
                <a:gd name="T56" fmla="*/ 17 w 63"/>
                <a:gd name="T57" fmla="*/ 36 h 294"/>
                <a:gd name="T58" fmla="*/ 23 w 63"/>
                <a:gd name="T59" fmla="*/ 21 h 294"/>
                <a:gd name="T60" fmla="*/ 31 w 63"/>
                <a:gd name="T61" fmla="*/ 9 h 294"/>
                <a:gd name="T62" fmla="*/ 37 w 63"/>
                <a:gd name="T63" fmla="*/ 3 h 294"/>
                <a:gd name="T64" fmla="*/ 45 w 63"/>
                <a:gd name="T65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94">
                  <a:moveTo>
                    <a:pt x="45" y="0"/>
                  </a:moveTo>
                  <a:lnTo>
                    <a:pt x="51" y="3"/>
                  </a:lnTo>
                  <a:lnTo>
                    <a:pt x="57" y="10"/>
                  </a:lnTo>
                  <a:lnTo>
                    <a:pt x="60" y="25"/>
                  </a:lnTo>
                  <a:lnTo>
                    <a:pt x="62" y="44"/>
                  </a:lnTo>
                  <a:lnTo>
                    <a:pt x="63" y="68"/>
                  </a:lnTo>
                  <a:lnTo>
                    <a:pt x="60" y="99"/>
                  </a:lnTo>
                  <a:lnTo>
                    <a:pt x="55" y="137"/>
                  </a:lnTo>
                  <a:lnTo>
                    <a:pt x="53" y="158"/>
                  </a:lnTo>
                  <a:lnTo>
                    <a:pt x="49" y="182"/>
                  </a:lnTo>
                  <a:lnTo>
                    <a:pt x="45" y="208"/>
                  </a:lnTo>
                  <a:lnTo>
                    <a:pt x="41" y="234"/>
                  </a:lnTo>
                  <a:lnTo>
                    <a:pt x="36" y="257"/>
                  </a:lnTo>
                  <a:lnTo>
                    <a:pt x="31" y="276"/>
                  </a:lnTo>
                  <a:lnTo>
                    <a:pt x="25" y="289"/>
                  </a:lnTo>
                  <a:lnTo>
                    <a:pt x="19" y="294"/>
                  </a:lnTo>
                  <a:lnTo>
                    <a:pt x="13" y="291"/>
                  </a:lnTo>
                  <a:lnTo>
                    <a:pt x="9" y="282"/>
                  </a:lnTo>
                  <a:lnTo>
                    <a:pt x="5" y="268"/>
                  </a:lnTo>
                  <a:lnTo>
                    <a:pt x="3" y="249"/>
                  </a:lnTo>
                  <a:lnTo>
                    <a:pt x="1" y="227"/>
                  </a:lnTo>
                  <a:lnTo>
                    <a:pt x="1" y="204"/>
                  </a:lnTo>
                  <a:lnTo>
                    <a:pt x="0" y="180"/>
                  </a:lnTo>
                  <a:lnTo>
                    <a:pt x="0" y="155"/>
                  </a:lnTo>
                  <a:lnTo>
                    <a:pt x="1" y="134"/>
                  </a:lnTo>
                  <a:lnTo>
                    <a:pt x="3" y="104"/>
                  </a:lnTo>
                  <a:lnTo>
                    <a:pt x="7" y="78"/>
                  </a:lnTo>
                  <a:lnTo>
                    <a:pt x="12" y="55"/>
                  </a:lnTo>
                  <a:lnTo>
                    <a:pt x="17" y="36"/>
                  </a:lnTo>
                  <a:lnTo>
                    <a:pt x="23" y="21"/>
                  </a:lnTo>
                  <a:lnTo>
                    <a:pt x="31" y="9"/>
                  </a:lnTo>
                  <a:lnTo>
                    <a:pt x="37" y="3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5" name="Freeform 277"/>
            <p:cNvSpPr>
              <a:spLocks/>
            </p:cNvSpPr>
            <p:nvPr/>
          </p:nvSpPr>
          <p:spPr bwMode="auto">
            <a:xfrm>
              <a:off x="-3732213" y="4248150"/>
              <a:ext cx="257175" cy="465138"/>
            </a:xfrm>
            <a:custGeom>
              <a:avLst/>
              <a:gdLst>
                <a:gd name="T0" fmla="*/ 18 w 162"/>
                <a:gd name="T1" fmla="*/ 0 h 293"/>
                <a:gd name="T2" fmla="*/ 30 w 162"/>
                <a:gd name="T3" fmla="*/ 2 h 293"/>
                <a:gd name="T4" fmla="*/ 43 w 162"/>
                <a:gd name="T5" fmla="*/ 7 h 293"/>
                <a:gd name="T6" fmla="*/ 57 w 162"/>
                <a:gd name="T7" fmla="*/ 18 h 293"/>
                <a:gd name="T8" fmla="*/ 72 w 162"/>
                <a:gd name="T9" fmla="*/ 35 h 293"/>
                <a:gd name="T10" fmla="*/ 89 w 162"/>
                <a:gd name="T11" fmla="*/ 57 h 293"/>
                <a:gd name="T12" fmla="*/ 104 w 162"/>
                <a:gd name="T13" fmla="*/ 84 h 293"/>
                <a:gd name="T14" fmla="*/ 120 w 162"/>
                <a:gd name="T15" fmla="*/ 117 h 293"/>
                <a:gd name="T16" fmla="*/ 131 w 162"/>
                <a:gd name="T17" fmla="*/ 145 h 293"/>
                <a:gd name="T18" fmla="*/ 140 w 162"/>
                <a:gd name="T19" fmla="*/ 172 h 293"/>
                <a:gd name="T20" fmla="*/ 149 w 162"/>
                <a:gd name="T21" fmla="*/ 198 h 293"/>
                <a:gd name="T22" fmla="*/ 156 w 162"/>
                <a:gd name="T23" fmla="*/ 221 h 293"/>
                <a:gd name="T24" fmla="*/ 159 w 162"/>
                <a:gd name="T25" fmla="*/ 243 h 293"/>
                <a:gd name="T26" fmla="*/ 162 w 162"/>
                <a:gd name="T27" fmla="*/ 261 h 293"/>
                <a:gd name="T28" fmla="*/ 161 w 162"/>
                <a:gd name="T29" fmla="*/ 276 h 293"/>
                <a:gd name="T30" fmla="*/ 157 w 162"/>
                <a:gd name="T31" fmla="*/ 287 h 293"/>
                <a:gd name="T32" fmla="*/ 150 w 162"/>
                <a:gd name="T33" fmla="*/ 293 h 293"/>
                <a:gd name="T34" fmla="*/ 140 w 162"/>
                <a:gd name="T35" fmla="*/ 293 h 293"/>
                <a:gd name="T36" fmla="*/ 130 w 162"/>
                <a:gd name="T37" fmla="*/ 287 h 293"/>
                <a:gd name="T38" fmla="*/ 118 w 162"/>
                <a:gd name="T39" fmla="*/ 275 h 293"/>
                <a:gd name="T40" fmla="*/ 106 w 162"/>
                <a:gd name="T41" fmla="*/ 257 h 293"/>
                <a:gd name="T42" fmla="*/ 93 w 162"/>
                <a:gd name="T43" fmla="*/ 236 h 293"/>
                <a:gd name="T44" fmla="*/ 79 w 162"/>
                <a:gd name="T45" fmla="*/ 213 h 293"/>
                <a:gd name="T46" fmla="*/ 65 w 162"/>
                <a:gd name="T47" fmla="*/ 189 h 293"/>
                <a:gd name="T48" fmla="*/ 50 w 162"/>
                <a:gd name="T49" fmla="*/ 165 h 293"/>
                <a:gd name="T50" fmla="*/ 30 w 162"/>
                <a:gd name="T51" fmla="*/ 129 h 293"/>
                <a:gd name="T52" fmla="*/ 16 w 162"/>
                <a:gd name="T53" fmla="*/ 97 h 293"/>
                <a:gd name="T54" fmla="*/ 6 w 162"/>
                <a:gd name="T55" fmla="*/ 70 h 293"/>
                <a:gd name="T56" fmla="*/ 0 w 162"/>
                <a:gd name="T57" fmla="*/ 47 h 293"/>
                <a:gd name="T58" fmla="*/ 0 w 162"/>
                <a:gd name="T59" fmla="*/ 27 h 293"/>
                <a:gd name="T60" fmla="*/ 3 w 162"/>
                <a:gd name="T61" fmla="*/ 15 h 293"/>
                <a:gd name="T62" fmla="*/ 9 w 162"/>
                <a:gd name="T63" fmla="*/ 6 h 293"/>
                <a:gd name="T64" fmla="*/ 18 w 162"/>
                <a:gd name="T65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293">
                  <a:moveTo>
                    <a:pt x="18" y="0"/>
                  </a:moveTo>
                  <a:lnTo>
                    <a:pt x="30" y="2"/>
                  </a:lnTo>
                  <a:lnTo>
                    <a:pt x="43" y="7"/>
                  </a:lnTo>
                  <a:lnTo>
                    <a:pt x="57" y="18"/>
                  </a:lnTo>
                  <a:lnTo>
                    <a:pt x="72" y="35"/>
                  </a:lnTo>
                  <a:lnTo>
                    <a:pt x="89" y="57"/>
                  </a:lnTo>
                  <a:lnTo>
                    <a:pt x="104" y="84"/>
                  </a:lnTo>
                  <a:lnTo>
                    <a:pt x="120" y="117"/>
                  </a:lnTo>
                  <a:lnTo>
                    <a:pt x="131" y="145"/>
                  </a:lnTo>
                  <a:lnTo>
                    <a:pt x="140" y="172"/>
                  </a:lnTo>
                  <a:lnTo>
                    <a:pt x="149" y="198"/>
                  </a:lnTo>
                  <a:lnTo>
                    <a:pt x="156" y="221"/>
                  </a:lnTo>
                  <a:lnTo>
                    <a:pt x="159" y="243"/>
                  </a:lnTo>
                  <a:lnTo>
                    <a:pt x="162" y="261"/>
                  </a:lnTo>
                  <a:lnTo>
                    <a:pt x="161" y="276"/>
                  </a:lnTo>
                  <a:lnTo>
                    <a:pt x="157" y="287"/>
                  </a:lnTo>
                  <a:lnTo>
                    <a:pt x="150" y="293"/>
                  </a:lnTo>
                  <a:lnTo>
                    <a:pt x="140" y="293"/>
                  </a:lnTo>
                  <a:lnTo>
                    <a:pt x="130" y="287"/>
                  </a:lnTo>
                  <a:lnTo>
                    <a:pt x="118" y="275"/>
                  </a:lnTo>
                  <a:lnTo>
                    <a:pt x="106" y="257"/>
                  </a:lnTo>
                  <a:lnTo>
                    <a:pt x="93" y="236"/>
                  </a:lnTo>
                  <a:lnTo>
                    <a:pt x="79" y="213"/>
                  </a:lnTo>
                  <a:lnTo>
                    <a:pt x="65" y="189"/>
                  </a:lnTo>
                  <a:lnTo>
                    <a:pt x="50" y="165"/>
                  </a:lnTo>
                  <a:lnTo>
                    <a:pt x="30" y="129"/>
                  </a:lnTo>
                  <a:lnTo>
                    <a:pt x="16" y="97"/>
                  </a:lnTo>
                  <a:lnTo>
                    <a:pt x="6" y="70"/>
                  </a:lnTo>
                  <a:lnTo>
                    <a:pt x="0" y="47"/>
                  </a:lnTo>
                  <a:lnTo>
                    <a:pt x="0" y="27"/>
                  </a:lnTo>
                  <a:lnTo>
                    <a:pt x="3" y="15"/>
                  </a:lnTo>
                  <a:lnTo>
                    <a:pt x="9" y="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6" name="Freeform 278"/>
            <p:cNvSpPr>
              <a:spLocks/>
            </p:cNvSpPr>
            <p:nvPr/>
          </p:nvSpPr>
          <p:spPr bwMode="auto">
            <a:xfrm>
              <a:off x="-3938588" y="4032250"/>
              <a:ext cx="111125" cy="276225"/>
            </a:xfrm>
            <a:custGeom>
              <a:avLst/>
              <a:gdLst>
                <a:gd name="T0" fmla="*/ 0 w 70"/>
                <a:gd name="T1" fmla="*/ 0 h 174"/>
                <a:gd name="T2" fmla="*/ 70 w 70"/>
                <a:gd name="T3" fmla="*/ 0 h 174"/>
                <a:gd name="T4" fmla="*/ 70 w 70"/>
                <a:gd name="T5" fmla="*/ 138 h 174"/>
                <a:gd name="T6" fmla="*/ 68 w 70"/>
                <a:gd name="T7" fmla="*/ 152 h 174"/>
                <a:gd name="T8" fmla="*/ 60 w 70"/>
                <a:gd name="T9" fmla="*/ 162 h 174"/>
                <a:gd name="T10" fmla="*/ 48 w 70"/>
                <a:gd name="T11" fmla="*/ 170 h 174"/>
                <a:gd name="T12" fmla="*/ 35 w 70"/>
                <a:gd name="T13" fmla="*/ 174 h 174"/>
                <a:gd name="T14" fmla="*/ 35 w 70"/>
                <a:gd name="T15" fmla="*/ 174 h 174"/>
                <a:gd name="T16" fmla="*/ 21 w 70"/>
                <a:gd name="T17" fmla="*/ 170 h 174"/>
                <a:gd name="T18" fmla="*/ 10 w 70"/>
                <a:gd name="T19" fmla="*/ 162 h 174"/>
                <a:gd name="T20" fmla="*/ 2 w 70"/>
                <a:gd name="T21" fmla="*/ 152 h 174"/>
                <a:gd name="T22" fmla="*/ 0 w 70"/>
                <a:gd name="T23" fmla="*/ 138 h 174"/>
                <a:gd name="T24" fmla="*/ 0 w 70"/>
                <a:gd name="T2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174">
                  <a:moveTo>
                    <a:pt x="0" y="0"/>
                  </a:moveTo>
                  <a:lnTo>
                    <a:pt x="70" y="0"/>
                  </a:lnTo>
                  <a:lnTo>
                    <a:pt x="70" y="138"/>
                  </a:lnTo>
                  <a:lnTo>
                    <a:pt x="68" y="152"/>
                  </a:lnTo>
                  <a:lnTo>
                    <a:pt x="60" y="162"/>
                  </a:lnTo>
                  <a:lnTo>
                    <a:pt x="48" y="170"/>
                  </a:lnTo>
                  <a:lnTo>
                    <a:pt x="35" y="174"/>
                  </a:lnTo>
                  <a:lnTo>
                    <a:pt x="35" y="174"/>
                  </a:lnTo>
                  <a:lnTo>
                    <a:pt x="21" y="170"/>
                  </a:lnTo>
                  <a:lnTo>
                    <a:pt x="10" y="162"/>
                  </a:lnTo>
                  <a:lnTo>
                    <a:pt x="2" y="152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B5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7" name="Freeform 279"/>
            <p:cNvSpPr>
              <a:spLocks/>
            </p:cNvSpPr>
            <p:nvPr/>
          </p:nvSpPr>
          <p:spPr bwMode="auto">
            <a:xfrm>
              <a:off x="-4056063" y="3679825"/>
              <a:ext cx="344488" cy="466725"/>
            </a:xfrm>
            <a:custGeom>
              <a:avLst/>
              <a:gdLst>
                <a:gd name="T0" fmla="*/ 109 w 217"/>
                <a:gd name="T1" fmla="*/ 0 h 294"/>
                <a:gd name="T2" fmla="*/ 135 w 217"/>
                <a:gd name="T3" fmla="*/ 3 h 294"/>
                <a:gd name="T4" fmla="*/ 157 w 217"/>
                <a:gd name="T5" fmla="*/ 11 h 294"/>
                <a:gd name="T6" fmla="*/ 175 w 217"/>
                <a:gd name="T7" fmla="*/ 22 h 294"/>
                <a:gd name="T8" fmla="*/ 189 w 217"/>
                <a:gd name="T9" fmla="*/ 38 h 294"/>
                <a:gd name="T10" fmla="*/ 201 w 217"/>
                <a:gd name="T11" fmla="*/ 56 h 294"/>
                <a:gd name="T12" fmla="*/ 208 w 217"/>
                <a:gd name="T13" fmla="*/ 76 h 294"/>
                <a:gd name="T14" fmla="*/ 213 w 217"/>
                <a:gd name="T15" fmla="*/ 99 h 294"/>
                <a:gd name="T16" fmla="*/ 217 w 217"/>
                <a:gd name="T17" fmla="*/ 122 h 294"/>
                <a:gd name="T18" fmla="*/ 217 w 217"/>
                <a:gd name="T19" fmla="*/ 147 h 294"/>
                <a:gd name="T20" fmla="*/ 216 w 217"/>
                <a:gd name="T21" fmla="*/ 171 h 294"/>
                <a:gd name="T22" fmla="*/ 212 w 217"/>
                <a:gd name="T23" fmla="*/ 194 h 294"/>
                <a:gd name="T24" fmla="*/ 207 w 217"/>
                <a:gd name="T25" fmla="*/ 216 h 294"/>
                <a:gd name="T26" fmla="*/ 198 w 217"/>
                <a:gd name="T27" fmla="*/ 237 h 294"/>
                <a:gd name="T28" fmla="*/ 184 w 217"/>
                <a:gd name="T29" fmla="*/ 256 h 294"/>
                <a:gd name="T30" fmla="*/ 167 w 217"/>
                <a:gd name="T31" fmla="*/ 271 h 294"/>
                <a:gd name="T32" fmla="*/ 147 w 217"/>
                <a:gd name="T33" fmla="*/ 284 h 294"/>
                <a:gd name="T34" fmla="*/ 127 w 217"/>
                <a:gd name="T35" fmla="*/ 292 h 294"/>
                <a:gd name="T36" fmla="*/ 109 w 217"/>
                <a:gd name="T37" fmla="*/ 294 h 294"/>
                <a:gd name="T38" fmla="*/ 91 w 217"/>
                <a:gd name="T39" fmla="*/ 292 h 294"/>
                <a:gd name="T40" fmla="*/ 72 w 217"/>
                <a:gd name="T41" fmla="*/ 284 h 294"/>
                <a:gd name="T42" fmla="*/ 53 w 217"/>
                <a:gd name="T43" fmla="*/ 272 h 294"/>
                <a:gd name="T44" fmla="*/ 35 w 217"/>
                <a:gd name="T45" fmla="*/ 256 h 294"/>
                <a:gd name="T46" fmla="*/ 20 w 217"/>
                <a:gd name="T47" fmla="*/ 237 h 294"/>
                <a:gd name="T48" fmla="*/ 11 w 217"/>
                <a:gd name="T49" fmla="*/ 215 h 294"/>
                <a:gd name="T50" fmla="*/ 6 w 217"/>
                <a:gd name="T51" fmla="*/ 193 h 294"/>
                <a:gd name="T52" fmla="*/ 2 w 217"/>
                <a:gd name="T53" fmla="*/ 170 h 294"/>
                <a:gd name="T54" fmla="*/ 0 w 217"/>
                <a:gd name="T55" fmla="*/ 147 h 294"/>
                <a:gd name="T56" fmla="*/ 2 w 217"/>
                <a:gd name="T57" fmla="*/ 122 h 294"/>
                <a:gd name="T58" fmla="*/ 6 w 217"/>
                <a:gd name="T59" fmla="*/ 99 h 294"/>
                <a:gd name="T60" fmla="*/ 11 w 217"/>
                <a:gd name="T61" fmla="*/ 76 h 294"/>
                <a:gd name="T62" fmla="*/ 20 w 217"/>
                <a:gd name="T63" fmla="*/ 56 h 294"/>
                <a:gd name="T64" fmla="*/ 31 w 217"/>
                <a:gd name="T65" fmla="*/ 38 h 294"/>
                <a:gd name="T66" fmla="*/ 45 w 217"/>
                <a:gd name="T67" fmla="*/ 22 h 294"/>
                <a:gd name="T68" fmla="*/ 63 w 217"/>
                <a:gd name="T69" fmla="*/ 11 h 294"/>
                <a:gd name="T70" fmla="*/ 85 w 217"/>
                <a:gd name="T71" fmla="*/ 3 h 294"/>
                <a:gd name="T72" fmla="*/ 109 w 217"/>
                <a:gd name="T7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94">
                  <a:moveTo>
                    <a:pt x="109" y="0"/>
                  </a:moveTo>
                  <a:lnTo>
                    <a:pt x="135" y="3"/>
                  </a:lnTo>
                  <a:lnTo>
                    <a:pt x="157" y="11"/>
                  </a:lnTo>
                  <a:lnTo>
                    <a:pt x="175" y="22"/>
                  </a:lnTo>
                  <a:lnTo>
                    <a:pt x="189" y="38"/>
                  </a:lnTo>
                  <a:lnTo>
                    <a:pt x="201" y="56"/>
                  </a:lnTo>
                  <a:lnTo>
                    <a:pt x="208" y="76"/>
                  </a:lnTo>
                  <a:lnTo>
                    <a:pt x="213" y="99"/>
                  </a:lnTo>
                  <a:lnTo>
                    <a:pt x="217" y="122"/>
                  </a:lnTo>
                  <a:lnTo>
                    <a:pt x="217" y="147"/>
                  </a:lnTo>
                  <a:lnTo>
                    <a:pt x="216" y="171"/>
                  </a:lnTo>
                  <a:lnTo>
                    <a:pt x="212" y="194"/>
                  </a:lnTo>
                  <a:lnTo>
                    <a:pt x="207" y="216"/>
                  </a:lnTo>
                  <a:lnTo>
                    <a:pt x="198" y="237"/>
                  </a:lnTo>
                  <a:lnTo>
                    <a:pt x="184" y="256"/>
                  </a:lnTo>
                  <a:lnTo>
                    <a:pt x="167" y="271"/>
                  </a:lnTo>
                  <a:lnTo>
                    <a:pt x="147" y="284"/>
                  </a:lnTo>
                  <a:lnTo>
                    <a:pt x="127" y="292"/>
                  </a:lnTo>
                  <a:lnTo>
                    <a:pt x="109" y="294"/>
                  </a:lnTo>
                  <a:lnTo>
                    <a:pt x="91" y="292"/>
                  </a:lnTo>
                  <a:lnTo>
                    <a:pt x="72" y="284"/>
                  </a:lnTo>
                  <a:lnTo>
                    <a:pt x="53" y="272"/>
                  </a:lnTo>
                  <a:lnTo>
                    <a:pt x="35" y="256"/>
                  </a:lnTo>
                  <a:lnTo>
                    <a:pt x="20" y="237"/>
                  </a:lnTo>
                  <a:lnTo>
                    <a:pt x="11" y="215"/>
                  </a:lnTo>
                  <a:lnTo>
                    <a:pt x="6" y="193"/>
                  </a:lnTo>
                  <a:lnTo>
                    <a:pt x="2" y="170"/>
                  </a:lnTo>
                  <a:lnTo>
                    <a:pt x="0" y="147"/>
                  </a:lnTo>
                  <a:lnTo>
                    <a:pt x="2" y="122"/>
                  </a:lnTo>
                  <a:lnTo>
                    <a:pt x="6" y="99"/>
                  </a:lnTo>
                  <a:lnTo>
                    <a:pt x="11" y="76"/>
                  </a:lnTo>
                  <a:lnTo>
                    <a:pt x="20" y="56"/>
                  </a:lnTo>
                  <a:lnTo>
                    <a:pt x="31" y="38"/>
                  </a:lnTo>
                  <a:lnTo>
                    <a:pt x="45" y="22"/>
                  </a:lnTo>
                  <a:lnTo>
                    <a:pt x="63" y="11"/>
                  </a:lnTo>
                  <a:lnTo>
                    <a:pt x="85" y="3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8" name="Freeform 280"/>
            <p:cNvSpPr>
              <a:spLocks/>
            </p:cNvSpPr>
            <p:nvPr/>
          </p:nvSpPr>
          <p:spPr bwMode="auto">
            <a:xfrm>
              <a:off x="-3963988" y="3894138"/>
              <a:ext cx="25400" cy="63500"/>
            </a:xfrm>
            <a:custGeom>
              <a:avLst/>
              <a:gdLst>
                <a:gd name="T0" fmla="*/ 8 w 16"/>
                <a:gd name="T1" fmla="*/ 0 h 40"/>
                <a:gd name="T2" fmla="*/ 10 w 16"/>
                <a:gd name="T3" fmla="*/ 0 h 40"/>
                <a:gd name="T4" fmla="*/ 12 w 16"/>
                <a:gd name="T5" fmla="*/ 4 h 40"/>
                <a:gd name="T6" fmla="*/ 14 w 16"/>
                <a:gd name="T7" fmla="*/ 8 h 40"/>
                <a:gd name="T8" fmla="*/ 16 w 16"/>
                <a:gd name="T9" fmla="*/ 13 h 40"/>
                <a:gd name="T10" fmla="*/ 16 w 16"/>
                <a:gd name="T11" fmla="*/ 19 h 40"/>
                <a:gd name="T12" fmla="*/ 16 w 16"/>
                <a:gd name="T13" fmla="*/ 26 h 40"/>
                <a:gd name="T14" fmla="*/ 14 w 16"/>
                <a:gd name="T15" fmla="*/ 31 h 40"/>
                <a:gd name="T16" fmla="*/ 12 w 16"/>
                <a:gd name="T17" fmla="*/ 36 h 40"/>
                <a:gd name="T18" fmla="*/ 10 w 16"/>
                <a:gd name="T19" fmla="*/ 39 h 40"/>
                <a:gd name="T20" fmla="*/ 8 w 16"/>
                <a:gd name="T21" fmla="*/ 40 h 40"/>
                <a:gd name="T22" fmla="*/ 5 w 16"/>
                <a:gd name="T23" fmla="*/ 39 h 40"/>
                <a:gd name="T24" fmla="*/ 3 w 16"/>
                <a:gd name="T25" fmla="*/ 36 h 40"/>
                <a:gd name="T26" fmla="*/ 1 w 16"/>
                <a:gd name="T27" fmla="*/ 31 h 40"/>
                <a:gd name="T28" fmla="*/ 0 w 16"/>
                <a:gd name="T29" fmla="*/ 26 h 40"/>
                <a:gd name="T30" fmla="*/ 0 w 16"/>
                <a:gd name="T31" fmla="*/ 19 h 40"/>
                <a:gd name="T32" fmla="*/ 0 w 16"/>
                <a:gd name="T33" fmla="*/ 13 h 40"/>
                <a:gd name="T34" fmla="*/ 1 w 16"/>
                <a:gd name="T35" fmla="*/ 8 h 40"/>
                <a:gd name="T36" fmla="*/ 3 w 16"/>
                <a:gd name="T37" fmla="*/ 4 h 40"/>
                <a:gd name="T38" fmla="*/ 5 w 16"/>
                <a:gd name="T39" fmla="*/ 0 h 40"/>
                <a:gd name="T40" fmla="*/ 8 w 16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40">
                  <a:moveTo>
                    <a:pt x="8" y="0"/>
                  </a:moveTo>
                  <a:lnTo>
                    <a:pt x="10" y="0"/>
                  </a:lnTo>
                  <a:lnTo>
                    <a:pt x="12" y="4"/>
                  </a:lnTo>
                  <a:lnTo>
                    <a:pt x="14" y="8"/>
                  </a:lnTo>
                  <a:lnTo>
                    <a:pt x="16" y="13"/>
                  </a:lnTo>
                  <a:lnTo>
                    <a:pt x="16" y="19"/>
                  </a:lnTo>
                  <a:lnTo>
                    <a:pt x="16" y="26"/>
                  </a:lnTo>
                  <a:lnTo>
                    <a:pt x="14" y="31"/>
                  </a:lnTo>
                  <a:lnTo>
                    <a:pt x="12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9" name="Freeform 281"/>
            <p:cNvSpPr>
              <a:spLocks/>
            </p:cNvSpPr>
            <p:nvPr/>
          </p:nvSpPr>
          <p:spPr bwMode="auto">
            <a:xfrm>
              <a:off x="-3833813" y="3894138"/>
              <a:ext cx="26988" cy="63500"/>
            </a:xfrm>
            <a:custGeom>
              <a:avLst/>
              <a:gdLst>
                <a:gd name="T0" fmla="*/ 8 w 17"/>
                <a:gd name="T1" fmla="*/ 0 h 40"/>
                <a:gd name="T2" fmla="*/ 10 w 17"/>
                <a:gd name="T3" fmla="*/ 0 h 40"/>
                <a:gd name="T4" fmla="*/ 13 w 17"/>
                <a:gd name="T5" fmla="*/ 4 h 40"/>
                <a:gd name="T6" fmla="*/ 14 w 17"/>
                <a:gd name="T7" fmla="*/ 8 h 40"/>
                <a:gd name="T8" fmla="*/ 16 w 17"/>
                <a:gd name="T9" fmla="*/ 13 h 40"/>
                <a:gd name="T10" fmla="*/ 17 w 17"/>
                <a:gd name="T11" fmla="*/ 19 h 40"/>
                <a:gd name="T12" fmla="*/ 16 w 17"/>
                <a:gd name="T13" fmla="*/ 26 h 40"/>
                <a:gd name="T14" fmla="*/ 14 w 17"/>
                <a:gd name="T15" fmla="*/ 31 h 40"/>
                <a:gd name="T16" fmla="*/ 13 w 17"/>
                <a:gd name="T17" fmla="*/ 36 h 40"/>
                <a:gd name="T18" fmla="*/ 10 w 17"/>
                <a:gd name="T19" fmla="*/ 39 h 40"/>
                <a:gd name="T20" fmla="*/ 8 w 17"/>
                <a:gd name="T21" fmla="*/ 40 h 40"/>
                <a:gd name="T22" fmla="*/ 5 w 17"/>
                <a:gd name="T23" fmla="*/ 39 h 40"/>
                <a:gd name="T24" fmla="*/ 4 w 17"/>
                <a:gd name="T25" fmla="*/ 36 h 40"/>
                <a:gd name="T26" fmla="*/ 2 w 17"/>
                <a:gd name="T27" fmla="*/ 31 h 40"/>
                <a:gd name="T28" fmla="*/ 2 w 17"/>
                <a:gd name="T29" fmla="*/ 26 h 40"/>
                <a:gd name="T30" fmla="*/ 0 w 17"/>
                <a:gd name="T31" fmla="*/ 19 h 40"/>
                <a:gd name="T32" fmla="*/ 2 w 17"/>
                <a:gd name="T33" fmla="*/ 13 h 40"/>
                <a:gd name="T34" fmla="*/ 2 w 17"/>
                <a:gd name="T35" fmla="*/ 8 h 40"/>
                <a:gd name="T36" fmla="*/ 4 w 17"/>
                <a:gd name="T37" fmla="*/ 4 h 40"/>
                <a:gd name="T38" fmla="*/ 5 w 17"/>
                <a:gd name="T39" fmla="*/ 0 h 40"/>
                <a:gd name="T40" fmla="*/ 8 w 17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0">
                  <a:moveTo>
                    <a:pt x="8" y="0"/>
                  </a:moveTo>
                  <a:lnTo>
                    <a:pt x="10" y="0"/>
                  </a:lnTo>
                  <a:lnTo>
                    <a:pt x="13" y="4"/>
                  </a:lnTo>
                  <a:lnTo>
                    <a:pt x="14" y="8"/>
                  </a:lnTo>
                  <a:lnTo>
                    <a:pt x="16" y="13"/>
                  </a:lnTo>
                  <a:lnTo>
                    <a:pt x="17" y="19"/>
                  </a:lnTo>
                  <a:lnTo>
                    <a:pt x="16" y="26"/>
                  </a:lnTo>
                  <a:lnTo>
                    <a:pt x="14" y="31"/>
                  </a:lnTo>
                  <a:lnTo>
                    <a:pt x="13" y="36"/>
                  </a:lnTo>
                  <a:lnTo>
                    <a:pt x="10" y="39"/>
                  </a:lnTo>
                  <a:lnTo>
                    <a:pt x="8" y="40"/>
                  </a:lnTo>
                  <a:lnTo>
                    <a:pt x="5" y="39"/>
                  </a:lnTo>
                  <a:lnTo>
                    <a:pt x="4" y="36"/>
                  </a:lnTo>
                  <a:lnTo>
                    <a:pt x="2" y="31"/>
                  </a:lnTo>
                  <a:lnTo>
                    <a:pt x="2" y="26"/>
                  </a:lnTo>
                  <a:lnTo>
                    <a:pt x="0" y="19"/>
                  </a:lnTo>
                  <a:lnTo>
                    <a:pt x="2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8152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0" name="Freeform 282"/>
            <p:cNvSpPr>
              <a:spLocks/>
            </p:cNvSpPr>
            <p:nvPr/>
          </p:nvSpPr>
          <p:spPr bwMode="auto">
            <a:xfrm>
              <a:off x="-3944938" y="4014788"/>
              <a:ext cx="146050" cy="41275"/>
            </a:xfrm>
            <a:custGeom>
              <a:avLst/>
              <a:gdLst>
                <a:gd name="T0" fmla="*/ 92 w 92"/>
                <a:gd name="T1" fmla="*/ 0 h 26"/>
                <a:gd name="T2" fmla="*/ 79 w 92"/>
                <a:gd name="T3" fmla="*/ 10 h 26"/>
                <a:gd name="T4" fmla="*/ 65 w 92"/>
                <a:gd name="T5" fmla="*/ 17 h 26"/>
                <a:gd name="T6" fmla="*/ 47 w 92"/>
                <a:gd name="T7" fmla="*/ 22 h 26"/>
                <a:gd name="T8" fmla="*/ 30 w 92"/>
                <a:gd name="T9" fmla="*/ 26 h 26"/>
                <a:gd name="T10" fmla="*/ 14 w 92"/>
                <a:gd name="T11" fmla="*/ 26 h 26"/>
                <a:gd name="T12" fmla="*/ 0 w 92"/>
                <a:gd name="T13" fmla="*/ 23 h 26"/>
                <a:gd name="T14" fmla="*/ 23 w 92"/>
                <a:gd name="T15" fmla="*/ 20 h 26"/>
                <a:gd name="T16" fmla="*/ 47 w 92"/>
                <a:gd name="T17" fmla="*/ 15 h 26"/>
                <a:gd name="T18" fmla="*/ 72 w 92"/>
                <a:gd name="T19" fmla="*/ 9 h 26"/>
                <a:gd name="T20" fmla="*/ 92 w 92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6">
                  <a:moveTo>
                    <a:pt x="92" y="0"/>
                  </a:moveTo>
                  <a:lnTo>
                    <a:pt x="79" y="10"/>
                  </a:lnTo>
                  <a:lnTo>
                    <a:pt x="65" y="17"/>
                  </a:lnTo>
                  <a:lnTo>
                    <a:pt x="47" y="22"/>
                  </a:lnTo>
                  <a:lnTo>
                    <a:pt x="30" y="26"/>
                  </a:lnTo>
                  <a:lnTo>
                    <a:pt x="14" y="26"/>
                  </a:lnTo>
                  <a:lnTo>
                    <a:pt x="0" y="23"/>
                  </a:lnTo>
                  <a:lnTo>
                    <a:pt x="23" y="20"/>
                  </a:lnTo>
                  <a:lnTo>
                    <a:pt x="47" y="15"/>
                  </a:lnTo>
                  <a:lnTo>
                    <a:pt x="72" y="9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1" name="Freeform 283"/>
            <p:cNvSpPr>
              <a:spLocks/>
            </p:cNvSpPr>
            <p:nvPr/>
          </p:nvSpPr>
          <p:spPr bwMode="auto">
            <a:xfrm>
              <a:off x="-3898900" y="3975100"/>
              <a:ext cx="44450" cy="38100"/>
            </a:xfrm>
            <a:custGeom>
              <a:avLst/>
              <a:gdLst>
                <a:gd name="T0" fmla="*/ 28 w 28"/>
                <a:gd name="T1" fmla="*/ 0 h 24"/>
                <a:gd name="T2" fmla="*/ 28 w 28"/>
                <a:gd name="T3" fmla="*/ 13 h 24"/>
                <a:gd name="T4" fmla="*/ 23 w 28"/>
                <a:gd name="T5" fmla="*/ 21 h 24"/>
                <a:gd name="T6" fmla="*/ 14 w 28"/>
                <a:gd name="T7" fmla="*/ 24 h 24"/>
                <a:gd name="T8" fmla="*/ 0 w 28"/>
                <a:gd name="T9" fmla="*/ 20 h 24"/>
                <a:gd name="T10" fmla="*/ 10 w 28"/>
                <a:gd name="T11" fmla="*/ 20 h 24"/>
                <a:gd name="T12" fmla="*/ 19 w 28"/>
                <a:gd name="T13" fmla="*/ 17 h 24"/>
                <a:gd name="T14" fmla="*/ 25 w 28"/>
                <a:gd name="T15" fmla="*/ 13 h 24"/>
                <a:gd name="T16" fmla="*/ 27 w 28"/>
                <a:gd name="T17" fmla="*/ 7 h 24"/>
                <a:gd name="T18" fmla="*/ 28 w 28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4">
                  <a:moveTo>
                    <a:pt x="28" y="0"/>
                  </a:moveTo>
                  <a:lnTo>
                    <a:pt x="28" y="13"/>
                  </a:lnTo>
                  <a:lnTo>
                    <a:pt x="23" y="21"/>
                  </a:lnTo>
                  <a:lnTo>
                    <a:pt x="14" y="24"/>
                  </a:lnTo>
                  <a:lnTo>
                    <a:pt x="0" y="20"/>
                  </a:lnTo>
                  <a:lnTo>
                    <a:pt x="10" y="20"/>
                  </a:lnTo>
                  <a:lnTo>
                    <a:pt x="19" y="17"/>
                  </a:lnTo>
                  <a:lnTo>
                    <a:pt x="25" y="13"/>
                  </a:lnTo>
                  <a:lnTo>
                    <a:pt x="27" y="7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2" name="Freeform 284"/>
            <p:cNvSpPr>
              <a:spLocks/>
            </p:cNvSpPr>
            <p:nvPr/>
          </p:nvSpPr>
          <p:spPr bwMode="auto">
            <a:xfrm>
              <a:off x="-3851275" y="3863975"/>
              <a:ext cx="73025" cy="17463"/>
            </a:xfrm>
            <a:custGeom>
              <a:avLst/>
              <a:gdLst>
                <a:gd name="T0" fmla="*/ 25 w 46"/>
                <a:gd name="T1" fmla="*/ 0 h 11"/>
                <a:gd name="T2" fmla="*/ 41 w 46"/>
                <a:gd name="T3" fmla="*/ 2 h 11"/>
                <a:gd name="T4" fmla="*/ 45 w 46"/>
                <a:gd name="T5" fmla="*/ 5 h 11"/>
                <a:gd name="T6" fmla="*/ 46 w 46"/>
                <a:gd name="T7" fmla="*/ 6 h 11"/>
                <a:gd name="T8" fmla="*/ 46 w 46"/>
                <a:gd name="T9" fmla="*/ 8 h 11"/>
                <a:gd name="T10" fmla="*/ 46 w 46"/>
                <a:gd name="T11" fmla="*/ 8 h 11"/>
                <a:gd name="T12" fmla="*/ 43 w 46"/>
                <a:gd name="T13" fmla="*/ 8 h 11"/>
                <a:gd name="T14" fmla="*/ 39 w 46"/>
                <a:gd name="T15" fmla="*/ 8 h 11"/>
                <a:gd name="T16" fmla="*/ 28 w 46"/>
                <a:gd name="T17" fmla="*/ 5 h 11"/>
                <a:gd name="T18" fmla="*/ 16 w 46"/>
                <a:gd name="T19" fmla="*/ 6 h 11"/>
                <a:gd name="T20" fmla="*/ 5 w 46"/>
                <a:gd name="T21" fmla="*/ 10 h 11"/>
                <a:gd name="T22" fmla="*/ 2 w 46"/>
                <a:gd name="T23" fmla="*/ 11 h 11"/>
                <a:gd name="T24" fmla="*/ 1 w 46"/>
                <a:gd name="T25" fmla="*/ 10 h 11"/>
                <a:gd name="T26" fmla="*/ 0 w 46"/>
                <a:gd name="T27" fmla="*/ 9 h 11"/>
                <a:gd name="T28" fmla="*/ 0 w 46"/>
                <a:gd name="T29" fmla="*/ 8 h 11"/>
                <a:gd name="T30" fmla="*/ 1 w 46"/>
                <a:gd name="T31" fmla="*/ 5 h 11"/>
                <a:gd name="T32" fmla="*/ 4 w 46"/>
                <a:gd name="T33" fmla="*/ 4 h 11"/>
                <a:gd name="T34" fmla="*/ 13 w 46"/>
                <a:gd name="T35" fmla="*/ 1 h 11"/>
                <a:gd name="T36" fmla="*/ 25 w 46"/>
                <a:gd name="T3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1">
                  <a:moveTo>
                    <a:pt x="25" y="0"/>
                  </a:moveTo>
                  <a:lnTo>
                    <a:pt x="41" y="2"/>
                  </a:lnTo>
                  <a:lnTo>
                    <a:pt x="45" y="5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3" y="8"/>
                  </a:lnTo>
                  <a:lnTo>
                    <a:pt x="39" y="8"/>
                  </a:lnTo>
                  <a:lnTo>
                    <a:pt x="28" y="5"/>
                  </a:lnTo>
                  <a:lnTo>
                    <a:pt x="16" y="6"/>
                  </a:lnTo>
                  <a:lnTo>
                    <a:pt x="5" y="10"/>
                  </a:lnTo>
                  <a:lnTo>
                    <a:pt x="2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5"/>
                  </a:lnTo>
                  <a:lnTo>
                    <a:pt x="4" y="4"/>
                  </a:lnTo>
                  <a:lnTo>
                    <a:pt x="13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3" name="Freeform 285"/>
            <p:cNvSpPr>
              <a:spLocks/>
            </p:cNvSpPr>
            <p:nvPr/>
          </p:nvSpPr>
          <p:spPr bwMode="auto">
            <a:xfrm>
              <a:off x="-3900488" y="4056063"/>
              <a:ext cx="71438" cy="22225"/>
            </a:xfrm>
            <a:custGeom>
              <a:avLst/>
              <a:gdLst>
                <a:gd name="T0" fmla="*/ 45 w 45"/>
                <a:gd name="T1" fmla="*/ 0 h 14"/>
                <a:gd name="T2" fmla="*/ 37 w 45"/>
                <a:gd name="T3" fmla="*/ 8 h 14"/>
                <a:gd name="T4" fmla="*/ 24 w 45"/>
                <a:gd name="T5" fmla="*/ 14 h 14"/>
                <a:gd name="T6" fmla="*/ 11 w 45"/>
                <a:gd name="T7" fmla="*/ 14 h 14"/>
                <a:gd name="T8" fmla="*/ 0 w 45"/>
                <a:gd name="T9" fmla="*/ 10 h 14"/>
                <a:gd name="T10" fmla="*/ 15 w 45"/>
                <a:gd name="T11" fmla="*/ 8 h 14"/>
                <a:gd name="T12" fmla="*/ 31 w 45"/>
                <a:gd name="T13" fmla="*/ 5 h 14"/>
                <a:gd name="T14" fmla="*/ 45 w 45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4">
                  <a:moveTo>
                    <a:pt x="45" y="0"/>
                  </a:moveTo>
                  <a:lnTo>
                    <a:pt x="37" y="8"/>
                  </a:lnTo>
                  <a:lnTo>
                    <a:pt x="24" y="14"/>
                  </a:lnTo>
                  <a:lnTo>
                    <a:pt x="11" y="14"/>
                  </a:lnTo>
                  <a:lnTo>
                    <a:pt x="0" y="10"/>
                  </a:lnTo>
                  <a:lnTo>
                    <a:pt x="15" y="8"/>
                  </a:lnTo>
                  <a:lnTo>
                    <a:pt x="31" y="5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C488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4" name="Freeform 286"/>
            <p:cNvSpPr>
              <a:spLocks/>
            </p:cNvSpPr>
            <p:nvPr/>
          </p:nvSpPr>
          <p:spPr bwMode="auto">
            <a:xfrm>
              <a:off x="-3995738" y="3843338"/>
              <a:ext cx="73025" cy="19050"/>
            </a:xfrm>
            <a:custGeom>
              <a:avLst/>
              <a:gdLst>
                <a:gd name="T0" fmla="*/ 20 w 46"/>
                <a:gd name="T1" fmla="*/ 0 h 12"/>
                <a:gd name="T2" fmla="*/ 33 w 46"/>
                <a:gd name="T3" fmla="*/ 1 h 12"/>
                <a:gd name="T4" fmla="*/ 43 w 46"/>
                <a:gd name="T5" fmla="*/ 4 h 12"/>
                <a:gd name="T6" fmla="*/ 46 w 46"/>
                <a:gd name="T7" fmla="*/ 5 h 12"/>
                <a:gd name="T8" fmla="*/ 46 w 46"/>
                <a:gd name="T9" fmla="*/ 8 h 12"/>
                <a:gd name="T10" fmla="*/ 46 w 46"/>
                <a:gd name="T11" fmla="*/ 9 h 12"/>
                <a:gd name="T12" fmla="*/ 44 w 46"/>
                <a:gd name="T13" fmla="*/ 10 h 12"/>
                <a:gd name="T14" fmla="*/ 43 w 46"/>
                <a:gd name="T15" fmla="*/ 12 h 12"/>
                <a:gd name="T16" fmla="*/ 41 w 46"/>
                <a:gd name="T17" fmla="*/ 10 h 12"/>
                <a:gd name="T18" fmla="*/ 29 w 46"/>
                <a:gd name="T19" fmla="*/ 6 h 12"/>
                <a:gd name="T20" fmla="*/ 19 w 46"/>
                <a:gd name="T21" fmla="*/ 5 h 12"/>
                <a:gd name="T22" fmla="*/ 7 w 46"/>
                <a:gd name="T23" fmla="*/ 8 h 12"/>
                <a:gd name="T24" fmla="*/ 3 w 46"/>
                <a:gd name="T25" fmla="*/ 8 h 12"/>
                <a:gd name="T26" fmla="*/ 1 w 46"/>
                <a:gd name="T27" fmla="*/ 8 h 12"/>
                <a:gd name="T28" fmla="*/ 0 w 46"/>
                <a:gd name="T29" fmla="*/ 8 h 12"/>
                <a:gd name="T30" fmla="*/ 0 w 46"/>
                <a:gd name="T31" fmla="*/ 6 h 12"/>
                <a:gd name="T32" fmla="*/ 2 w 46"/>
                <a:gd name="T33" fmla="*/ 5 h 12"/>
                <a:gd name="T34" fmla="*/ 5 w 46"/>
                <a:gd name="T35" fmla="*/ 3 h 12"/>
                <a:gd name="T36" fmla="*/ 20 w 46"/>
                <a:gd name="T3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12">
                  <a:moveTo>
                    <a:pt x="20" y="0"/>
                  </a:moveTo>
                  <a:lnTo>
                    <a:pt x="33" y="1"/>
                  </a:lnTo>
                  <a:lnTo>
                    <a:pt x="43" y="4"/>
                  </a:lnTo>
                  <a:lnTo>
                    <a:pt x="46" y="5"/>
                  </a:lnTo>
                  <a:lnTo>
                    <a:pt x="46" y="8"/>
                  </a:lnTo>
                  <a:lnTo>
                    <a:pt x="46" y="9"/>
                  </a:lnTo>
                  <a:lnTo>
                    <a:pt x="44" y="10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29" y="6"/>
                  </a:lnTo>
                  <a:lnTo>
                    <a:pt x="19" y="5"/>
                  </a:lnTo>
                  <a:lnTo>
                    <a:pt x="7" y="8"/>
                  </a:lnTo>
                  <a:lnTo>
                    <a:pt x="3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5"/>
                  </a:lnTo>
                  <a:lnTo>
                    <a:pt x="5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5" name="Freeform 287"/>
            <p:cNvSpPr>
              <a:spLocks/>
            </p:cNvSpPr>
            <p:nvPr/>
          </p:nvSpPr>
          <p:spPr bwMode="auto">
            <a:xfrm>
              <a:off x="-4078288" y="3905250"/>
              <a:ext cx="42863" cy="82550"/>
            </a:xfrm>
            <a:custGeom>
              <a:avLst/>
              <a:gdLst>
                <a:gd name="T0" fmla="*/ 8 w 27"/>
                <a:gd name="T1" fmla="*/ 0 h 52"/>
                <a:gd name="T2" fmla="*/ 16 w 27"/>
                <a:gd name="T3" fmla="*/ 2 h 52"/>
                <a:gd name="T4" fmla="*/ 22 w 27"/>
                <a:gd name="T5" fmla="*/ 11 h 52"/>
                <a:gd name="T6" fmla="*/ 26 w 27"/>
                <a:gd name="T7" fmla="*/ 24 h 52"/>
                <a:gd name="T8" fmla="*/ 27 w 27"/>
                <a:gd name="T9" fmla="*/ 37 h 52"/>
                <a:gd name="T10" fmla="*/ 25 w 27"/>
                <a:gd name="T11" fmla="*/ 47 h 52"/>
                <a:gd name="T12" fmla="*/ 20 w 27"/>
                <a:gd name="T13" fmla="*/ 52 h 52"/>
                <a:gd name="T14" fmla="*/ 12 w 27"/>
                <a:gd name="T15" fmla="*/ 51 h 52"/>
                <a:gd name="T16" fmla="*/ 5 w 27"/>
                <a:gd name="T17" fmla="*/ 42 h 52"/>
                <a:gd name="T18" fmla="*/ 0 w 27"/>
                <a:gd name="T19" fmla="*/ 29 h 52"/>
                <a:gd name="T20" fmla="*/ 0 w 27"/>
                <a:gd name="T21" fmla="*/ 15 h 52"/>
                <a:gd name="T22" fmla="*/ 3 w 27"/>
                <a:gd name="T23" fmla="*/ 5 h 52"/>
                <a:gd name="T24" fmla="*/ 8 w 27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52">
                  <a:moveTo>
                    <a:pt x="8" y="0"/>
                  </a:moveTo>
                  <a:lnTo>
                    <a:pt x="16" y="2"/>
                  </a:lnTo>
                  <a:lnTo>
                    <a:pt x="22" y="11"/>
                  </a:lnTo>
                  <a:lnTo>
                    <a:pt x="26" y="24"/>
                  </a:lnTo>
                  <a:lnTo>
                    <a:pt x="27" y="37"/>
                  </a:lnTo>
                  <a:lnTo>
                    <a:pt x="25" y="47"/>
                  </a:lnTo>
                  <a:lnTo>
                    <a:pt x="20" y="52"/>
                  </a:lnTo>
                  <a:lnTo>
                    <a:pt x="12" y="51"/>
                  </a:lnTo>
                  <a:lnTo>
                    <a:pt x="5" y="42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3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6" name="Freeform 288"/>
            <p:cNvSpPr>
              <a:spLocks/>
            </p:cNvSpPr>
            <p:nvPr/>
          </p:nvSpPr>
          <p:spPr bwMode="auto">
            <a:xfrm>
              <a:off x="-3732213" y="3905250"/>
              <a:ext cx="46038" cy="82550"/>
            </a:xfrm>
            <a:custGeom>
              <a:avLst/>
              <a:gdLst>
                <a:gd name="T0" fmla="*/ 20 w 29"/>
                <a:gd name="T1" fmla="*/ 0 h 52"/>
                <a:gd name="T2" fmla="*/ 25 w 29"/>
                <a:gd name="T3" fmla="*/ 5 h 52"/>
                <a:gd name="T4" fmla="*/ 29 w 29"/>
                <a:gd name="T5" fmla="*/ 15 h 52"/>
                <a:gd name="T6" fmla="*/ 27 w 29"/>
                <a:gd name="T7" fmla="*/ 29 h 52"/>
                <a:gd name="T8" fmla="*/ 22 w 29"/>
                <a:gd name="T9" fmla="*/ 42 h 52"/>
                <a:gd name="T10" fmla="*/ 16 w 29"/>
                <a:gd name="T11" fmla="*/ 51 h 52"/>
                <a:gd name="T12" fmla="*/ 9 w 29"/>
                <a:gd name="T13" fmla="*/ 52 h 52"/>
                <a:gd name="T14" fmla="*/ 3 w 29"/>
                <a:gd name="T15" fmla="*/ 47 h 52"/>
                <a:gd name="T16" fmla="*/ 0 w 29"/>
                <a:gd name="T17" fmla="*/ 37 h 52"/>
                <a:gd name="T18" fmla="*/ 2 w 29"/>
                <a:gd name="T19" fmla="*/ 24 h 52"/>
                <a:gd name="T20" fmla="*/ 6 w 29"/>
                <a:gd name="T21" fmla="*/ 11 h 52"/>
                <a:gd name="T22" fmla="*/ 12 w 29"/>
                <a:gd name="T23" fmla="*/ 2 h 52"/>
                <a:gd name="T24" fmla="*/ 20 w 29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52">
                  <a:moveTo>
                    <a:pt x="20" y="0"/>
                  </a:moveTo>
                  <a:lnTo>
                    <a:pt x="25" y="5"/>
                  </a:lnTo>
                  <a:lnTo>
                    <a:pt x="29" y="15"/>
                  </a:lnTo>
                  <a:lnTo>
                    <a:pt x="27" y="29"/>
                  </a:lnTo>
                  <a:lnTo>
                    <a:pt x="22" y="42"/>
                  </a:lnTo>
                  <a:lnTo>
                    <a:pt x="16" y="51"/>
                  </a:lnTo>
                  <a:lnTo>
                    <a:pt x="9" y="52"/>
                  </a:lnTo>
                  <a:lnTo>
                    <a:pt x="3" y="47"/>
                  </a:lnTo>
                  <a:lnTo>
                    <a:pt x="0" y="37"/>
                  </a:lnTo>
                  <a:lnTo>
                    <a:pt x="2" y="24"/>
                  </a:lnTo>
                  <a:lnTo>
                    <a:pt x="6" y="11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7" name="Freeform 289"/>
            <p:cNvSpPr>
              <a:spLocks/>
            </p:cNvSpPr>
            <p:nvPr/>
          </p:nvSpPr>
          <p:spPr bwMode="auto">
            <a:xfrm>
              <a:off x="-4059238" y="3676650"/>
              <a:ext cx="352425" cy="268288"/>
            </a:xfrm>
            <a:custGeom>
              <a:avLst/>
              <a:gdLst>
                <a:gd name="T0" fmla="*/ 135 w 222"/>
                <a:gd name="T1" fmla="*/ 2 h 169"/>
                <a:gd name="T2" fmla="*/ 173 w 222"/>
                <a:gd name="T3" fmla="*/ 22 h 169"/>
                <a:gd name="T4" fmla="*/ 200 w 222"/>
                <a:gd name="T5" fmla="*/ 51 h 169"/>
                <a:gd name="T6" fmla="*/ 217 w 222"/>
                <a:gd name="T7" fmla="*/ 91 h 169"/>
                <a:gd name="T8" fmla="*/ 222 w 222"/>
                <a:gd name="T9" fmla="*/ 129 h 169"/>
                <a:gd name="T10" fmla="*/ 222 w 222"/>
                <a:gd name="T11" fmla="*/ 153 h 169"/>
                <a:gd name="T12" fmla="*/ 220 w 222"/>
                <a:gd name="T13" fmla="*/ 159 h 169"/>
                <a:gd name="T14" fmla="*/ 218 w 222"/>
                <a:gd name="T15" fmla="*/ 164 h 169"/>
                <a:gd name="T16" fmla="*/ 215 w 222"/>
                <a:gd name="T17" fmla="*/ 169 h 169"/>
                <a:gd name="T18" fmla="*/ 214 w 222"/>
                <a:gd name="T19" fmla="*/ 169 h 169"/>
                <a:gd name="T20" fmla="*/ 213 w 222"/>
                <a:gd name="T21" fmla="*/ 164 h 169"/>
                <a:gd name="T22" fmla="*/ 210 w 222"/>
                <a:gd name="T23" fmla="*/ 141 h 169"/>
                <a:gd name="T24" fmla="*/ 195 w 222"/>
                <a:gd name="T25" fmla="*/ 96 h 169"/>
                <a:gd name="T26" fmla="*/ 170 w 222"/>
                <a:gd name="T27" fmla="*/ 64 h 169"/>
                <a:gd name="T28" fmla="*/ 147 w 222"/>
                <a:gd name="T29" fmla="*/ 56 h 169"/>
                <a:gd name="T30" fmla="*/ 123 w 222"/>
                <a:gd name="T31" fmla="*/ 59 h 169"/>
                <a:gd name="T32" fmla="*/ 91 w 222"/>
                <a:gd name="T33" fmla="*/ 59 h 169"/>
                <a:gd name="T34" fmla="*/ 63 w 222"/>
                <a:gd name="T35" fmla="*/ 56 h 169"/>
                <a:gd name="T36" fmla="*/ 40 w 222"/>
                <a:gd name="T37" fmla="*/ 68 h 169"/>
                <a:gd name="T38" fmla="*/ 19 w 222"/>
                <a:gd name="T39" fmla="*/ 104 h 169"/>
                <a:gd name="T40" fmla="*/ 10 w 222"/>
                <a:gd name="T41" fmla="*/ 144 h 169"/>
                <a:gd name="T42" fmla="*/ 10 w 222"/>
                <a:gd name="T43" fmla="*/ 164 h 169"/>
                <a:gd name="T44" fmla="*/ 9 w 222"/>
                <a:gd name="T45" fmla="*/ 169 h 169"/>
                <a:gd name="T46" fmla="*/ 6 w 222"/>
                <a:gd name="T47" fmla="*/ 169 h 169"/>
                <a:gd name="T48" fmla="*/ 4 w 222"/>
                <a:gd name="T49" fmla="*/ 164 h 169"/>
                <a:gd name="T50" fmla="*/ 1 w 222"/>
                <a:gd name="T51" fmla="*/ 159 h 169"/>
                <a:gd name="T52" fmla="*/ 1 w 222"/>
                <a:gd name="T53" fmla="*/ 153 h 169"/>
                <a:gd name="T54" fmla="*/ 0 w 222"/>
                <a:gd name="T55" fmla="*/ 131 h 169"/>
                <a:gd name="T56" fmla="*/ 5 w 222"/>
                <a:gd name="T57" fmla="*/ 92 h 169"/>
                <a:gd name="T58" fmla="*/ 20 w 222"/>
                <a:gd name="T59" fmla="*/ 54 h 169"/>
                <a:gd name="T60" fmla="*/ 40 w 222"/>
                <a:gd name="T61" fmla="*/ 28 h 169"/>
                <a:gd name="T62" fmla="*/ 69 w 222"/>
                <a:gd name="T63" fmla="*/ 8 h 169"/>
                <a:gd name="T64" fmla="*/ 111 w 222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2" h="169">
                  <a:moveTo>
                    <a:pt x="111" y="0"/>
                  </a:moveTo>
                  <a:lnTo>
                    <a:pt x="135" y="2"/>
                  </a:lnTo>
                  <a:lnTo>
                    <a:pt x="155" y="10"/>
                  </a:lnTo>
                  <a:lnTo>
                    <a:pt x="173" y="22"/>
                  </a:lnTo>
                  <a:lnTo>
                    <a:pt x="188" y="36"/>
                  </a:lnTo>
                  <a:lnTo>
                    <a:pt x="200" y="51"/>
                  </a:lnTo>
                  <a:lnTo>
                    <a:pt x="208" y="67"/>
                  </a:lnTo>
                  <a:lnTo>
                    <a:pt x="217" y="91"/>
                  </a:lnTo>
                  <a:lnTo>
                    <a:pt x="220" y="113"/>
                  </a:lnTo>
                  <a:lnTo>
                    <a:pt x="222" y="129"/>
                  </a:lnTo>
                  <a:lnTo>
                    <a:pt x="222" y="144"/>
                  </a:lnTo>
                  <a:lnTo>
                    <a:pt x="222" y="153"/>
                  </a:lnTo>
                  <a:lnTo>
                    <a:pt x="220" y="155"/>
                  </a:lnTo>
                  <a:lnTo>
                    <a:pt x="220" y="159"/>
                  </a:lnTo>
                  <a:lnTo>
                    <a:pt x="219" y="162"/>
                  </a:lnTo>
                  <a:lnTo>
                    <a:pt x="218" y="164"/>
                  </a:lnTo>
                  <a:lnTo>
                    <a:pt x="217" y="167"/>
                  </a:lnTo>
                  <a:lnTo>
                    <a:pt x="215" y="169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3" y="168"/>
                  </a:lnTo>
                  <a:lnTo>
                    <a:pt x="213" y="164"/>
                  </a:lnTo>
                  <a:lnTo>
                    <a:pt x="213" y="159"/>
                  </a:lnTo>
                  <a:lnTo>
                    <a:pt x="210" y="141"/>
                  </a:lnTo>
                  <a:lnTo>
                    <a:pt x="205" y="119"/>
                  </a:lnTo>
                  <a:lnTo>
                    <a:pt x="195" y="96"/>
                  </a:lnTo>
                  <a:lnTo>
                    <a:pt x="182" y="76"/>
                  </a:lnTo>
                  <a:lnTo>
                    <a:pt x="170" y="64"/>
                  </a:lnTo>
                  <a:lnTo>
                    <a:pt x="159" y="59"/>
                  </a:lnTo>
                  <a:lnTo>
                    <a:pt x="147" y="56"/>
                  </a:lnTo>
                  <a:lnTo>
                    <a:pt x="136" y="58"/>
                  </a:lnTo>
                  <a:lnTo>
                    <a:pt x="123" y="59"/>
                  </a:lnTo>
                  <a:lnTo>
                    <a:pt x="108" y="60"/>
                  </a:lnTo>
                  <a:lnTo>
                    <a:pt x="91" y="59"/>
                  </a:lnTo>
                  <a:lnTo>
                    <a:pt x="77" y="58"/>
                  </a:lnTo>
                  <a:lnTo>
                    <a:pt x="63" y="56"/>
                  </a:lnTo>
                  <a:lnTo>
                    <a:pt x="51" y="59"/>
                  </a:lnTo>
                  <a:lnTo>
                    <a:pt x="40" y="68"/>
                  </a:lnTo>
                  <a:lnTo>
                    <a:pt x="28" y="85"/>
                  </a:lnTo>
                  <a:lnTo>
                    <a:pt x="19" y="104"/>
                  </a:lnTo>
                  <a:lnTo>
                    <a:pt x="14" y="124"/>
                  </a:lnTo>
                  <a:lnTo>
                    <a:pt x="10" y="144"/>
                  </a:lnTo>
                  <a:lnTo>
                    <a:pt x="10" y="159"/>
                  </a:lnTo>
                  <a:lnTo>
                    <a:pt x="10" y="164"/>
                  </a:lnTo>
                  <a:lnTo>
                    <a:pt x="9" y="168"/>
                  </a:lnTo>
                  <a:lnTo>
                    <a:pt x="9" y="169"/>
                  </a:lnTo>
                  <a:lnTo>
                    <a:pt x="8" y="169"/>
                  </a:lnTo>
                  <a:lnTo>
                    <a:pt x="6" y="169"/>
                  </a:lnTo>
                  <a:lnTo>
                    <a:pt x="5" y="167"/>
                  </a:lnTo>
                  <a:lnTo>
                    <a:pt x="4" y="164"/>
                  </a:lnTo>
                  <a:lnTo>
                    <a:pt x="2" y="162"/>
                  </a:lnTo>
                  <a:lnTo>
                    <a:pt x="1" y="159"/>
                  </a:lnTo>
                  <a:lnTo>
                    <a:pt x="1" y="155"/>
                  </a:lnTo>
                  <a:lnTo>
                    <a:pt x="1" y="153"/>
                  </a:lnTo>
                  <a:lnTo>
                    <a:pt x="0" y="144"/>
                  </a:lnTo>
                  <a:lnTo>
                    <a:pt x="0" y="131"/>
                  </a:lnTo>
                  <a:lnTo>
                    <a:pt x="1" y="113"/>
                  </a:lnTo>
                  <a:lnTo>
                    <a:pt x="5" y="92"/>
                  </a:lnTo>
                  <a:lnTo>
                    <a:pt x="14" y="68"/>
                  </a:lnTo>
                  <a:lnTo>
                    <a:pt x="20" y="54"/>
                  </a:lnTo>
                  <a:lnTo>
                    <a:pt x="29" y="40"/>
                  </a:lnTo>
                  <a:lnTo>
                    <a:pt x="40" y="28"/>
                  </a:lnTo>
                  <a:lnTo>
                    <a:pt x="52" y="17"/>
                  </a:lnTo>
                  <a:lnTo>
                    <a:pt x="69" y="8"/>
                  </a:lnTo>
                  <a:lnTo>
                    <a:pt x="88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8" name="Freeform 290"/>
            <p:cNvSpPr>
              <a:spLocks/>
            </p:cNvSpPr>
            <p:nvPr/>
          </p:nvSpPr>
          <p:spPr bwMode="auto">
            <a:xfrm>
              <a:off x="-4221163" y="4908550"/>
              <a:ext cx="98425" cy="336550"/>
            </a:xfrm>
            <a:custGeom>
              <a:avLst/>
              <a:gdLst>
                <a:gd name="T0" fmla="*/ 29 w 62"/>
                <a:gd name="T1" fmla="*/ 0 h 212"/>
                <a:gd name="T2" fmla="*/ 36 w 62"/>
                <a:gd name="T3" fmla="*/ 1 h 212"/>
                <a:gd name="T4" fmla="*/ 43 w 62"/>
                <a:gd name="T5" fmla="*/ 5 h 212"/>
                <a:gd name="T6" fmla="*/ 44 w 62"/>
                <a:gd name="T7" fmla="*/ 14 h 212"/>
                <a:gd name="T8" fmla="*/ 43 w 62"/>
                <a:gd name="T9" fmla="*/ 31 h 212"/>
                <a:gd name="T10" fmla="*/ 40 w 62"/>
                <a:gd name="T11" fmla="*/ 48 h 212"/>
                <a:gd name="T12" fmla="*/ 38 w 62"/>
                <a:gd name="T13" fmla="*/ 66 h 212"/>
                <a:gd name="T14" fmla="*/ 39 w 62"/>
                <a:gd name="T15" fmla="*/ 84 h 212"/>
                <a:gd name="T16" fmla="*/ 45 w 62"/>
                <a:gd name="T17" fmla="*/ 98 h 212"/>
                <a:gd name="T18" fmla="*/ 50 w 62"/>
                <a:gd name="T19" fmla="*/ 109 h 212"/>
                <a:gd name="T20" fmla="*/ 52 w 62"/>
                <a:gd name="T21" fmla="*/ 121 h 212"/>
                <a:gd name="T22" fmla="*/ 53 w 62"/>
                <a:gd name="T23" fmla="*/ 134 h 212"/>
                <a:gd name="T24" fmla="*/ 54 w 62"/>
                <a:gd name="T25" fmla="*/ 145 h 212"/>
                <a:gd name="T26" fmla="*/ 56 w 62"/>
                <a:gd name="T27" fmla="*/ 153 h 212"/>
                <a:gd name="T28" fmla="*/ 58 w 62"/>
                <a:gd name="T29" fmla="*/ 162 h 212"/>
                <a:gd name="T30" fmla="*/ 61 w 62"/>
                <a:gd name="T31" fmla="*/ 171 h 212"/>
                <a:gd name="T32" fmla="*/ 62 w 62"/>
                <a:gd name="T33" fmla="*/ 178 h 212"/>
                <a:gd name="T34" fmla="*/ 61 w 62"/>
                <a:gd name="T35" fmla="*/ 182 h 212"/>
                <a:gd name="T36" fmla="*/ 56 w 62"/>
                <a:gd name="T37" fmla="*/ 181 h 212"/>
                <a:gd name="T38" fmla="*/ 50 w 62"/>
                <a:gd name="T39" fmla="*/ 175 h 212"/>
                <a:gd name="T40" fmla="*/ 44 w 62"/>
                <a:gd name="T41" fmla="*/ 166 h 212"/>
                <a:gd name="T42" fmla="*/ 39 w 62"/>
                <a:gd name="T43" fmla="*/ 158 h 212"/>
                <a:gd name="T44" fmla="*/ 34 w 62"/>
                <a:gd name="T45" fmla="*/ 152 h 212"/>
                <a:gd name="T46" fmla="*/ 27 w 62"/>
                <a:gd name="T47" fmla="*/ 152 h 212"/>
                <a:gd name="T48" fmla="*/ 26 w 62"/>
                <a:gd name="T49" fmla="*/ 155 h 212"/>
                <a:gd name="T50" fmla="*/ 27 w 62"/>
                <a:gd name="T51" fmla="*/ 164 h 212"/>
                <a:gd name="T52" fmla="*/ 31 w 62"/>
                <a:gd name="T53" fmla="*/ 176 h 212"/>
                <a:gd name="T54" fmla="*/ 38 w 62"/>
                <a:gd name="T55" fmla="*/ 186 h 212"/>
                <a:gd name="T56" fmla="*/ 42 w 62"/>
                <a:gd name="T57" fmla="*/ 191 h 212"/>
                <a:gd name="T58" fmla="*/ 47 w 62"/>
                <a:gd name="T59" fmla="*/ 194 h 212"/>
                <a:gd name="T60" fmla="*/ 50 w 62"/>
                <a:gd name="T61" fmla="*/ 196 h 212"/>
                <a:gd name="T62" fmla="*/ 54 w 62"/>
                <a:gd name="T63" fmla="*/ 199 h 212"/>
                <a:gd name="T64" fmla="*/ 58 w 62"/>
                <a:gd name="T65" fmla="*/ 202 h 212"/>
                <a:gd name="T66" fmla="*/ 61 w 62"/>
                <a:gd name="T67" fmla="*/ 204 h 212"/>
                <a:gd name="T68" fmla="*/ 62 w 62"/>
                <a:gd name="T69" fmla="*/ 207 h 212"/>
                <a:gd name="T70" fmla="*/ 62 w 62"/>
                <a:gd name="T71" fmla="*/ 209 h 212"/>
                <a:gd name="T72" fmla="*/ 61 w 62"/>
                <a:gd name="T73" fmla="*/ 211 h 212"/>
                <a:gd name="T74" fmla="*/ 58 w 62"/>
                <a:gd name="T75" fmla="*/ 212 h 212"/>
                <a:gd name="T76" fmla="*/ 54 w 62"/>
                <a:gd name="T77" fmla="*/ 212 h 212"/>
                <a:gd name="T78" fmla="*/ 48 w 62"/>
                <a:gd name="T79" fmla="*/ 211 h 212"/>
                <a:gd name="T80" fmla="*/ 40 w 62"/>
                <a:gd name="T81" fmla="*/ 207 h 212"/>
                <a:gd name="T82" fmla="*/ 31 w 62"/>
                <a:gd name="T83" fmla="*/ 202 h 212"/>
                <a:gd name="T84" fmla="*/ 22 w 62"/>
                <a:gd name="T85" fmla="*/ 195 h 212"/>
                <a:gd name="T86" fmla="*/ 15 w 62"/>
                <a:gd name="T87" fmla="*/ 186 h 212"/>
                <a:gd name="T88" fmla="*/ 9 w 62"/>
                <a:gd name="T89" fmla="*/ 173 h 212"/>
                <a:gd name="T90" fmla="*/ 6 w 62"/>
                <a:gd name="T91" fmla="*/ 160 h 212"/>
                <a:gd name="T92" fmla="*/ 2 w 62"/>
                <a:gd name="T93" fmla="*/ 148 h 212"/>
                <a:gd name="T94" fmla="*/ 0 w 62"/>
                <a:gd name="T95" fmla="*/ 131 h 212"/>
                <a:gd name="T96" fmla="*/ 2 w 62"/>
                <a:gd name="T97" fmla="*/ 112 h 212"/>
                <a:gd name="T98" fmla="*/ 3 w 62"/>
                <a:gd name="T99" fmla="*/ 91 h 212"/>
                <a:gd name="T100" fmla="*/ 4 w 62"/>
                <a:gd name="T101" fmla="*/ 69 h 212"/>
                <a:gd name="T102" fmla="*/ 4 w 62"/>
                <a:gd name="T103" fmla="*/ 50 h 212"/>
                <a:gd name="T104" fmla="*/ 4 w 62"/>
                <a:gd name="T105" fmla="*/ 33 h 212"/>
                <a:gd name="T106" fmla="*/ 6 w 62"/>
                <a:gd name="T107" fmla="*/ 21 h 212"/>
                <a:gd name="T108" fmla="*/ 11 w 62"/>
                <a:gd name="T109" fmla="*/ 10 h 212"/>
                <a:gd name="T110" fmla="*/ 20 w 62"/>
                <a:gd name="T111" fmla="*/ 4 h 212"/>
                <a:gd name="T112" fmla="*/ 29 w 62"/>
                <a:gd name="T113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212">
                  <a:moveTo>
                    <a:pt x="29" y="0"/>
                  </a:moveTo>
                  <a:lnTo>
                    <a:pt x="36" y="1"/>
                  </a:lnTo>
                  <a:lnTo>
                    <a:pt x="43" y="5"/>
                  </a:lnTo>
                  <a:lnTo>
                    <a:pt x="44" y="14"/>
                  </a:lnTo>
                  <a:lnTo>
                    <a:pt x="43" y="31"/>
                  </a:lnTo>
                  <a:lnTo>
                    <a:pt x="40" y="48"/>
                  </a:lnTo>
                  <a:lnTo>
                    <a:pt x="38" y="66"/>
                  </a:lnTo>
                  <a:lnTo>
                    <a:pt x="39" y="84"/>
                  </a:lnTo>
                  <a:lnTo>
                    <a:pt x="45" y="98"/>
                  </a:lnTo>
                  <a:lnTo>
                    <a:pt x="50" y="109"/>
                  </a:lnTo>
                  <a:lnTo>
                    <a:pt x="52" y="121"/>
                  </a:lnTo>
                  <a:lnTo>
                    <a:pt x="53" y="134"/>
                  </a:lnTo>
                  <a:lnTo>
                    <a:pt x="54" y="145"/>
                  </a:lnTo>
                  <a:lnTo>
                    <a:pt x="56" y="153"/>
                  </a:lnTo>
                  <a:lnTo>
                    <a:pt x="58" y="162"/>
                  </a:lnTo>
                  <a:lnTo>
                    <a:pt x="61" y="171"/>
                  </a:lnTo>
                  <a:lnTo>
                    <a:pt x="62" y="178"/>
                  </a:lnTo>
                  <a:lnTo>
                    <a:pt x="61" y="182"/>
                  </a:lnTo>
                  <a:lnTo>
                    <a:pt x="56" y="181"/>
                  </a:lnTo>
                  <a:lnTo>
                    <a:pt x="50" y="175"/>
                  </a:lnTo>
                  <a:lnTo>
                    <a:pt x="44" y="166"/>
                  </a:lnTo>
                  <a:lnTo>
                    <a:pt x="39" y="158"/>
                  </a:lnTo>
                  <a:lnTo>
                    <a:pt x="34" y="152"/>
                  </a:lnTo>
                  <a:lnTo>
                    <a:pt x="27" y="152"/>
                  </a:lnTo>
                  <a:lnTo>
                    <a:pt x="26" y="155"/>
                  </a:lnTo>
                  <a:lnTo>
                    <a:pt x="27" y="164"/>
                  </a:lnTo>
                  <a:lnTo>
                    <a:pt x="31" y="176"/>
                  </a:lnTo>
                  <a:lnTo>
                    <a:pt x="38" y="186"/>
                  </a:lnTo>
                  <a:lnTo>
                    <a:pt x="42" y="191"/>
                  </a:lnTo>
                  <a:lnTo>
                    <a:pt x="47" y="194"/>
                  </a:lnTo>
                  <a:lnTo>
                    <a:pt x="50" y="196"/>
                  </a:lnTo>
                  <a:lnTo>
                    <a:pt x="54" y="199"/>
                  </a:lnTo>
                  <a:lnTo>
                    <a:pt x="58" y="202"/>
                  </a:lnTo>
                  <a:lnTo>
                    <a:pt x="61" y="204"/>
                  </a:lnTo>
                  <a:lnTo>
                    <a:pt x="62" y="207"/>
                  </a:lnTo>
                  <a:lnTo>
                    <a:pt x="62" y="209"/>
                  </a:lnTo>
                  <a:lnTo>
                    <a:pt x="61" y="211"/>
                  </a:lnTo>
                  <a:lnTo>
                    <a:pt x="58" y="212"/>
                  </a:lnTo>
                  <a:lnTo>
                    <a:pt x="54" y="212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1" y="202"/>
                  </a:lnTo>
                  <a:lnTo>
                    <a:pt x="22" y="195"/>
                  </a:lnTo>
                  <a:lnTo>
                    <a:pt x="15" y="186"/>
                  </a:lnTo>
                  <a:lnTo>
                    <a:pt x="9" y="173"/>
                  </a:lnTo>
                  <a:lnTo>
                    <a:pt x="6" y="160"/>
                  </a:lnTo>
                  <a:lnTo>
                    <a:pt x="2" y="148"/>
                  </a:lnTo>
                  <a:lnTo>
                    <a:pt x="0" y="131"/>
                  </a:lnTo>
                  <a:lnTo>
                    <a:pt x="2" y="112"/>
                  </a:lnTo>
                  <a:lnTo>
                    <a:pt x="3" y="91"/>
                  </a:lnTo>
                  <a:lnTo>
                    <a:pt x="4" y="69"/>
                  </a:lnTo>
                  <a:lnTo>
                    <a:pt x="4" y="50"/>
                  </a:lnTo>
                  <a:lnTo>
                    <a:pt x="4" y="33"/>
                  </a:lnTo>
                  <a:lnTo>
                    <a:pt x="6" y="21"/>
                  </a:lnTo>
                  <a:lnTo>
                    <a:pt x="11" y="10"/>
                  </a:lnTo>
                  <a:lnTo>
                    <a:pt x="20" y="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9" name="Freeform 291"/>
            <p:cNvSpPr>
              <a:spLocks/>
            </p:cNvSpPr>
            <p:nvPr/>
          </p:nvSpPr>
          <p:spPr bwMode="auto">
            <a:xfrm>
              <a:off x="-4151312" y="4229099"/>
              <a:ext cx="539750" cy="773114"/>
            </a:xfrm>
            <a:custGeom>
              <a:avLst/>
              <a:gdLst>
                <a:gd name="T0" fmla="*/ 86 w 340"/>
                <a:gd name="T1" fmla="*/ 0 h 487"/>
                <a:gd name="T2" fmla="*/ 89 w 340"/>
                <a:gd name="T3" fmla="*/ 18 h 487"/>
                <a:gd name="T4" fmla="*/ 95 w 340"/>
                <a:gd name="T5" fmla="*/ 33 h 487"/>
                <a:gd name="T6" fmla="*/ 105 w 340"/>
                <a:gd name="T7" fmla="*/ 44 h 487"/>
                <a:gd name="T8" fmla="*/ 119 w 340"/>
                <a:gd name="T9" fmla="*/ 55 h 487"/>
                <a:gd name="T10" fmla="*/ 135 w 340"/>
                <a:gd name="T11" fmla="*/ 62 h 487"/>
                <a:gd name="T12" fmla="*/ 153 w 340"/>
                <a:gd name="T13" fmla="*/ 68 h 487"/>
                <a:gd name="T14" fmla="*/ 171 w 340"/>
                <a:gd name="T15" fmla="*/ 70 h 487"/>
                <a:gd name="T16" fmla="*/ 190 w 340"/>
                <a:gd name="T17" fmla="*/ 69 h 487"/>
                <a:gd name="T18" fmla="*/ 207 w 340"/>
                <a:gd name="T19" fmla="*/ 66 h 487"/>
                <a:gd name="T20" fmla="*/ 223 w 340"/>
                <a:gd name="T21" fmla="*/ 60 h 487"/>
                <a:gd name="T22" fmla="*/ 236 w 340"/>
                <a:gd name="T23" fmla="*/ 50 h 487"/>
                <a:gd name="T24" fmla="*/ 248 w 340"/>
                <a:gd name="T25" fmla="*/ 37 h 487"/>
                <a:gd name="T26" fmla="*/ 254 w 340"/>
                <a:gd name="T27" fmla="*/ 20 h 487"/>
                <a:gd name="T28" fmla="*/ 255 w 340"/>
                <a:gd name="T29" fmla="*/ 1 h 487"/>
                <a:gd name="T30" fmla="*/ 278 w 340"/>
                <a:gd name="T31" fmla="*/ 7 h 487"/>
                <a:gd name="T32" fmla="*/ 299 w 340"/>
                <a:gd name="T33" fmla="*/ 16 h 487"/>
                <a:gd name="T34" fmla="*/ 316 w 340"/>
                <a:gd name="T35" fmla="*/ 25 h 487"/>
                <a:gd name="T36" fmla="*/ 329 w 340"/>
                <a:gd name="T37" fmla="*/ 37 h 487"/>
                <a:gd name="T38" fmla="*/ 338 w 340"/>
                <a:gd name="T39" fmla="*/ 50 h 487"/>
                <a:gd name="T40" fmla="*/ 340 w 340"/>
                <a:gd name="T41" fmla="*/ 64 h 487"/>
                <a:gd name="T42" fmla="*/ 338 w 340"/>
                <a:gd name="T43" fmla="*/ 79 h 487"/>
                <a:gd name="T44" fmla="*/ 329 w 340"/>
                <a:gd name="T45" fmla="*/ 110 h 487"/>
                <a:gd name="T46" fmla="*/ 320 w 340"/>
                <a:gd name="T47" fmla="*/ 146 h 487"/>
                <a:gd name="T48" fmla="*/ 311 w 340"/>
                <a:gd name="T49" fmla="*/ 187 h 487"/>
                <a:gd name="T50" fmla="*/ 304 w 340"/>
                <a:gd name="T51" fmla="*/ 232 h 487"/>
                <a:gd name="T52" fmla="*/ 299 w 340"/>
                <a:gd name="T53" fmla="*/ 279 h 487"/>
                <a:gd name="T54" fmla="*/ 295 w 340"/>
                <a:gd name="T55" fmla="*/ 328 h 487"/>
                <a:gd name="T56" fmla="*/ 296 w 340"/>
                <a:gd name="T57" fmla="*/ 377 h 487"/>
                <a:gd name="T58" fmla="*/ 302 w 340"/>
                <a:gd name="T59" fmla="*/ 426 h 487"/>
                <a:gd name="T60" fmla="*/ 311 w 340"/>
                <a:gd name="T61" fmla="*/ 472 h 487"/>
                <a:gd name="T62" fmla="*/ 266 w 340"/>
                <a:gd name="T63" fmla="*/ 481 h 487"/>
                <a:gd name="T64" fmla="*/ 218 w 340"/>
                <a:gd name="T65" fmla="*/ 486 h 487"/>
                <a:gd name="T66" fmla="*/ 171 w 340"/>
                <a:gd name="T67" fmla="*/ 487 h 487"/>
                <a:gd name="T68" fmla="*/ 119 w 340"/>
                <a:gd name="T69" fmla="*/ 486 h 487"/>
                <a:gd name="T70" fmla="*/ 72 w 340"/>
                <a:gd name="T71" fmla="*/ 479 h 487"/>
                <a:gd name="T72" fmla="*/ 24 w 340"/>
                <a:gd name="T73" fmla="*/ 470 h 487"/>
                <a:gd name="T74" fmla="*/ 33 w 340"/>
                <a:gd name="T75" fmla="*/ 428 h 487"/>
                <a:gd name="T76" fmla="*/ 39 w 340"/>
                <a:gd name="T77" fmla="*/ 382 h 487"/>
                <a:gd name="T78" fmla="*/ 40 w 340"/>
                <a:gd name="T79" fmla="*/ 333 h 487"/>
                <a:gd name="T80" fmla="*/ 39 w 340"/>
                <a:gd name="T81" fmla="*/ 284 h 487"/>
                <a:gd name="T82" fmla="*/ 33 w 340"/>
                <a:gd name="T83" fmla="*/ 237 h 487"/>
                <a:gd name="T84" fmla="*/ 28 w 340"/>
                <a:gd name="T85" fmla="*/ 192 h 487"/>
                <a:gd name="T86" fmla="*/ 21 w 340"/>
                <a:gd name="T87" fmla="*/ 151 h 487"/>
                <a:gd name="T88" fmla="*/ 12 w 340"/>
                <a:gd name="T89" fmla="*/ 114 h 487"/>
                <a:gd name="T90" fmla="*/ 3 w 340"/>
                <a:gd name="T91" fmla="*/ 84 h 487"/>
                <a:gd name="T92" fmla="*/ 0 w 340"/>
                <a:gd name="T93" fmla="*/ 66 h 487"/>
                <a:gd name="T94" fmla="*/ 3 w 340"/>
                <a:gd name="T95" fmla="*/ 51 h 487"/>
                <a:gd name="T96" fmla="*/ 12 w 340"/>
                <a:gd name="T97" fmla="*/ 37 h 487"/>
                <a:gd name="T98" fmla="*/ 24 w 340"/>
                <a:gd name="T99" fmla="*/ 24 h 487"/>
                <a:gd name="T100" fmla="*/ 42 w 340"/>
                <a:gd name="T101" fmla="*/ 14 h 487"/>
                <a:gd name="T102" fmla="*/ 63 w 340"/>
                <a:gd name="T103" fmla="*/ 6 h 487"/>
                <a:gd name="T104" fmla="*/ 86 w 340"/>
                <a:gd name="T105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0" h="487">
                  <a:moveTo>
                    <a:pt x="86" y="0"/>
                  </a:moveTo>
                  <a:lnTo>
                    <a:pt x="89" y="18"/>
                  </a:lnTo>
                  <a:lnTo>
                    <a:pt x="95" y="33"/>
                  </a:lnTo>
                  <a:lnTo>
                    <a:pt x="105" y="44"/>
                  </a:lnTo>
                  <a:lnTo>
                    <a:pt x="119" y="55"/>
                  </a:lnTo>
                  <a:lnTo>
                    <a:pt x="135" y="62"/>
                  </a:lnTo>
                  <a:lnTo>
                    <a:pt x="153" y="68"/>
                  </a:lnTo>
                  <a:lnTo>
                    <a:pt x="171" y="70"/>
                  </a:lnTo>
                  <a:lnTo>
                    <a:pt x="190" y="69"/>
                  </a:lnTo>
                  <a:lnTo>
                    <a:pt x="207" y="66"/>
                  </a:lnTo>
                  <a:lnTo>
                    <a:pt x="223" y="60"/>
                  </a:lnTo>
                  <a:lnTo>
                    <a:pt x="236" y="50"/>
                  </a:lnTo>
                  <a:lnTo>
                    <a:pt x="248" y="37"/>
                  </a:lnTo>
                  <a:lnTo>
                    <a:pt x="254" y="20"/>
                  </a:lnTo>
                  <a:lnTo>
                    <a:pt x="255" y="1"/>
                  </a:lnTo>
                  <a:lnTo>
                    <a:pt x="278" y="7"/>
                  </a:lnTo>
                  <a:lnTo>
                    <a:pt x="299" y="16"/>
                  </a:lnTo>
                  <a:lnTo>
                    <a:pt x="316" y="25"/>
                  </a:lnTo>
                  <a:lnTo>
                    <a:pt x="329" y="37"/>
                  </a:lnTo>
                  <a:lnTo>
                    <a:pt x="338" y="50"/>
                  </a:lnTo>
                  <a:lnTo>
                    <a:pt x="340" y="64"/>
                  </a:lnTo>
                  <a:lnTo>
                    <a:pt x="338" y="79"/>
                  </a:lnTo>
                  <a:lnTo>
                    <a:pt x="329" y="110"/>
                  </a:lnTo>
                  <a:lnTo>
                    <a:pt x="320" y="146"/>
                  </a:lnTo>
                  <a:lnTo>
                    <a:pt x="311" y="187"/>
                  </a:lnTo>
                  <a:lnTo>
                    <a:pt x="304" y="232"/>
                  </a:lnTo>
                  <a:lnTo>
                    <a:pt x="299" y="279"/>
                  </a:lnTo>
                  <a:lnTo>
                    <a:pt x="295" y="328"/>
                  </a:lnTo>
                  <a:lnTo>
                    <a:pt x="296" y="377"/>
                  </a:lnTo>
                  <a:lnTo>
                    <a:pt x="302" y="426"/>
                  </a:lnTo>
                  <a:lnTo>
                    <a:pt x="311" y="472"/>
                  </a:lnTo>
                  <a:lnTo>
                    <a:pt x="266" y="481"/>
                  </a:lnTo>
                  <a:lnTo>
                    <a:pt x="218" y="486"/>
                  </a:lnTo>
                  <a:lnTo>
                    <a:pt x="171" y="487"/>
                  </a:lnTo>
                  <a:lnTo>
                    <a:pt x="119" y="486"/>
                  </a:lnTo>
                  <a:lnTo>
                    <a:pt x="72" y="479"/>
                  </a:lnTo>
                  <a:lnTo>
                    <a:pt x="24" y="470"/>
                  </a:lnTo>
                  <a:lnTo>
                    <a:pt x="33" y="428"/>
                  </a:lnTo>
                  <a:lnTo>
                    <a:pt x="39" y="382"/>
                  </a:lnTo>
                  <a:lnTo>
                    <a:pt x="40" y="333"/>
                  </a:lnTo>
                  <a:lnTo>
                    <a:pt x="39" y="284"/>
                  </a:lnTo>
                  <a:lnTo>
                    <a:pt x="33" y="237"/>
                  </a:lnTo>
                  <a:lnTo>
                    <a:pt x="28" y="192"/>
                  </a:lnTo>
                  <a:lnTo>
                    <a:pt x="21" y="151"/>
                  </a:lnTo>
                  <a:lnTo>
                    <a:pt x="12" y="114"/>
                  </a:lnTo>
                  <a:lnTo>
                    <a:pt x="3" y="84"/>
                  </a:lnTo>
                  <a:lnTo>
                    <a:pt x="0" y="66"/>
                  </a:lnTo>
                  <a:lnTo>
                    <a:pt x="3" y="51"/>
                  </a:lnTo>
                  <a:lnTo>
                    <a:pt x="12" y="37"/>
                  </a:lnTo>
                  <a:lnTo>
                    <a:pt x="24" y="24"/>
                  </a:lnTo>
                  <a:lnTo>
                    <a:pt x="42" y="14"/>
                  </a:lnTo>
                  <a:lnTo>
                    <a:pt x="63" y="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0" name="Freeform 292"/>
            <p:cNvSpPr>
              <a:spLocks/>
            </p:cNvSpPr>
            <p:nvPr/>
          </p:nvSpPr>
          <p:spPr bwMode="auto">
            <a:xfrm>
              <a:off x="-3584575" y="4613275"/>
              <a:ext cx="111125" cy="393700"/>
            </a:xfrm>
            <a:custGeom>
              <a:avLst/>
              <a:gdLst>
                <a:gd name="T0" fmla="*/ 43 w 70"/>
                <a:gd name="T1" fmla="*/ 0 h 248"/>
                <a:gd name="T2" fmla="*/ 54 w 70"/>
                <a:gd name="T3" fmla="*/ 4 h 248"/>
                <a:gd name="T4" fmla="*/ 61 w 70"/>
                <a:gd name="T5" fmla="*/ 12 h 248"/>
                <a:gd name="T6" fmla="*/ 66 w 70"/>
                <a:gd name="T7" fmla="*/ 23 h 248"/>
                <a:gd name="T8" fmla="*/ 69 w 70"/>
                <a:gd name="T9" fmla="*/ 39 h 248"/>
                <a:gd name="T10" fmla="*/ 70 w 70"/>
                <a:gd name="T11" fmla="*/ 55 h 248"/>
                <a:gd name="T12" fmla="*/ 69 w 70"/>
                <a:gd name="T13" fmla="*/ 72 h 248"/>
                <a:gd name="T14" fmla="*/ 68 w 70"/>
                <a:gd name="T15" fmla="*/ 90 h 248"/>
                <a:gd name="T16" fmla="*/ 64 w 70"/>
                <a:gd name="T17" fmla="*/ 107 h 248"/>
                <a:gd name="T18" fmla="*/ 61 w 70"/>
                <a:gd name="T19" fmla="*/ 123 h 248"/>
                <a:gd name="T20" fmla="*/ 57 w 70"/>
                <a:gd name="T21" fmla="*/ 142 h 248"/>
                <a:gd name="T22" fmla="*/ 54 w 70"/>
                <a:gd name="T23" fmla="*/ 164 h 248"/>
                <a:gd name="T24" fmla="*/ 50 w 70"/>
                <a:gd name="T25" fmla="*/ 185 h 248"/>
                <a:gd name="T26" fmla="*/ 45 w 70"/>
                <a:gd name="T27" fmla="*/ 205 h 248"/>
                <a:gd name="T28" fmla="*/ 40 w 70"/>
                <a:gd name="T29" fmla="*/ 223 h 248"/>
                <a:gd name="T30" fmla="*/ 33 w 70"/>
                <a:gd name="T31" fmla="*/ 237 h 248"/>
                <a:gd name="T32" fmla="*/ 27 w 70"/>
                <a:gd name="T33" fmla="*/ 245 h 248"/>
                <a:gd name="T34" fmla="*/ 18 w 70"/>
                <a:gd name="T35" fmla="*/ 248 h 248"/>
                <a:gd name="T36" fmla="*/ 13 w 70"/>
                <a:gd name="T37" fmla="*/ 244 h 248"/>
                <a:gd name="T38" fmla="*/ 9 w 70"/>
                <a:gd name="T39" fmla="*/ 232 h 248"/>
                <a:gd name="T40" fmla="*/ 6 w 70"/>
                <a:gd name="T41" fmla="*/ 217 h 248"/>
                <a:gd name="T42" fmla="*/ 4 w 70"/>
                <a:gd name="T43" fmla="*/ 198 h 248"/>
                <a:gd name="T44" fmla="*/ 2 w 70"/>
                <a:gd name="T45" fmla="*/ 176 h 248"/>
                <a:gd name="T46" fmla="*/ 2 w 70"/>
                <a:gd name="T47" fmla="*/ 154 h 248"/>
                <a:gd name="T48" fmla="*/ 1 w 70"/>
                <a:gd name="T49" fmla="*/ 133 h 248"/>
                <a:gd name="T50" fmla="*/ 1 w 70"/>
                <a:gd name="T51" fmla="*/ 114 h 248"/>
                <a:gd name="T52" fmla="*/ 0 w 70"/>
                <a:gd name="T53" fmla="*/ 99 h 248"/>
                <a:gd name="T54" fmla="*/ 0 w 70"/>
                <a:gd name="T55" fmla="*/ 82 h 248"/>
                <a:gd name="T56" fmla="*/ 1 w 70"/>
                <a:gd name="T57" fmla="*/ 65 h 248"/>
                <a:gd name="T58" fmla="*/ 4 w 70"/>
                <a:gd name="T59" fmla="*/ 49 h 248"/>
                <a:gd name="T60" fmla="*/ 7 w 70"/>
                <a:gd name="T61" fmla="*/ 32 h 248"/>
                <a:gd name="T62" fmla="*/ 14 w 70"/>
                <a:gd name="T63" fmla="*/ 19 h 248"/>
                <a:gd name="T64" fmla="*/ 22 w 70"/>
                <a:gd name="T65" fmla="*/ 8 h 248"/>
                <a:gd name="T66" fmla="*/ 32 w 70"/>
                <a:gd name="T67" fmla="*/ 1 h 248"/>
                <a:gd name="T68" fmla="*/ 43 w 70"/>
                <a:gd name="T6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0" h="248">
                  <a:moveTo>
                    <a:pt x="43" y="0"/>
                  </a:moveTo>
                  <a:lnTo>
                    <a:pt x="54" y="4"/>
                  </a:lnTo>
                  <a:lnTo>
                    <a:pt x="61" y="12"/>
                  </a:lnTo>
                  <a:lnTo>
                    <a:pt x="66" y="23"/>
                  </a:lnTo>
                  <a:lnTo>
                    <a:pt x="69" y="39"/>
                  </a:lnTo>
                  <a:lnTo>
                    <a:pt x="70" y="55"/>
                  </a:lnTo>
                  <a:lnTo>
                    <a:pt x="69" y="72"/>
                  </a:lnTo>
                  <a:lnTo>
                    <a:pt x="68" y="90"/>
                  </a:lnTo>
                  <a:lnTo>
                    <a:pt x="64" y="107"/>
                  </a:lnTo>
                  <a:lnTo>
                    <a:pt x="61" y="123"/>
                  </a:lnTo>
                  <a:lnTo>
                    <a:pt x="57" y="142"/>
                  </a:lnTo>
                  <a:lnTo>
                    <a:pt x="54" y="164"/>
                  </a:lnTo>
                  <a:lnTo>
                    <a:pt x="50" y="185"/>
                  </a:lnTo>
                  <a:lnTo>
                    <a:pt x="45" y="205"/>
                  </a:lnTo>
                  <a:lnTo>
                    <a:pt x="40" y="223"/>
                  </a:lnTo>
                  <a:lnTo>
                    <a:pt x="33" y="237"/>
                  </a:lnTo>
                  <a:lnTo>
                    <a:pt x="27" y="245"/>
                  </a:lnTo>
                  <a:lnTo>
                    <a:pt x="18" y="248"/>
                  </a:lnTo>
                  <a:lnTo>
                    <a:pt x="13" y="244"/>
                  </a:lnTo>
                  <a:lnTo>
                    <a:pt x="9" y="232"/>
                  </a:lnTo>
                  <a:lnTo>
                    <a:pt x="6" y="217"/>
                  </a:lnTo>
                  <a:lnTo>
                    <a:pt x="4" y="198"/>
                  </a:lnTo>
                  <a:lnTo>
                    <a:pt x="2" y="176"/>
                  </a:lnTo>
                  <a:lnTo>
                    <a:pt x="2" y="154"/>
                  </a:lnTo>
                  <a:lnTo>
                    <a:pt x="1" y="133"/>
                  </a:lnTo>
                  <a:lnTo>
                    <a:pt x="1" y="114"/>
                  </a:lnTo>
                  <a:lnTo>
                    <a:pt x="0" y="99"/>
                  </a:lnTo>
                  <a:lnTo>
                    <a:pt x="0" y="82"/>
                  </a:lnTo>
                  <a:lnTo>
                    <a:pt x="1" y="65"/>
                  </a:lnTo>
                  <a:lnTo>
                    <a:pt x="4" y="49"/>
                  </a:lnTo>
                  <a:lnTo>
                    <a:pt x="7" y="32"/>
                  </a:lnTo>
                  <a:lnTo>
                    <a:pt x="14" y="19"/>
                  </a:lnTo>
                  <a:lnTo>
                    <a:pt x="22" y="8"/>
                  </a:lnTo>
                  <a:lnTo>
                    <a:pt x="32" y="1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1" name="Freeform 293"/>
            <p:cNvSpPr>
              <a:spLocks/>
            </p:cNvSpPr>
            <p:nvPr/>
          </p:nvSpPr>
          <p:spPr bwMode="auto">
            <a:xfrm>
              <a:off x="-3717925" y="4291013"/>
              <a:ext cx="247650" cy="363538"/>
            </a:xfrm>
            <a:custGeom>
              <a:avLst/>
              <a:gdLst>
                <a:gd name="T0" fmla="*/ 70 w 156"/>
                <a:gd name="T1" fmla="*/ 0 h 229"/>
                <a:gd name="T2" fmla="*/ 84 w 156"/>
                <a:gd name="T3" fmla="*/ 20 h 229"/>
                <a:gd name="T4" fmla="*/ 97 w 156"/>
                <a:gd name="T5" fmla="*/ 44 h 229"/>
                <a:gd name="T6" fmla="*/ 109 w 156"/>
                <a:gd name="T7" fmla="*/ 71 h 229"/>
                <a:gd name="T8" fmla="*/ 121 w 156"/>
                <a:gd name="T9" fmla="*/ 102 h 229"/>
                <a:gd name="T10" fmla="*/ 131 w 156"/>
                <a:gd name="T11" fmla="*/ 132 h 229"/>
                <a:gd name="T12" fmla="*/ 140 w 156"/>
                <a:gd name="T13" fmla="*/ 162 h 229"/>
                <a:gd name="T14" fmla="*/ 147 w 156"/>
                <a:gd name="T15" fmla="*/ 189 h 229"/>
                <a:gd name="T16" fmla="*/ 152 w 156"/>
                <a:gd name="T17" fmla="*/ 211 h 229"/>
                <a:gd name="T18" fmla="*/ 156 w 156"/>
                <a:gd name="T19" fmla="*/ 227 h 229"/>
                <a:gd name="T20" fmla="*/ 80 w 156"/>
                <a:gd name="T21" fmla="*/ 229 h 229"/>
                <a:gd name="T22" fmla="*/ 80 w 156"/>
                <a:gd name="T23" fmla="*/ 229 h 229"/>
                <a:gd name="T24" fmla="*/ 75 w 156"/>
                <a:gd name="T25" fmla="*/ 215 h 229"/>
                <a:gd name="T26" fmla="*/ 65 w 156"/>
                <a:gd name="T27" fmla="*/ 195 h 229"/>
                <a:gd name="T28" fmla="*/ 52 w 156"/>
                <a:gd name="T29" fmla="*/ 174 h 229"/>
                <a:gd name="T30" fmla="*/ 38 w 156"/>
                <a:gd name="T31" fmla="*/ 149 h 229"/>
                <a:gd name="T32" fmla="*/ 23 w 156"/>
                <a:gd name="T33" fmla="*/ 122 h 229"/>
                <a:gd name="T34" fmla="*/ 9 w 156"/>
                <a:gd name="T35" fmla="*/ 95 h 229"/>
                <a:gd name="T36" fmla="*/ 3 w 156"/>
                <a:gd name="T37" fmla="*/ 73 h 229"/>
                <a:gd name="T38" fmla="*/ 0 w 156"/>
                <a:gd name="T39" fmla="*/ 53 h 229"/>
                <a:gd name="T40" fmla="*/ 4 w 156"/>
                <a:gd name="T41" fmla="*/ 36 h 229"/>
                <a:gd name="T42" fmla="*/ 13 w 156"/>
                <a:gd name="T43" fmla="*/ 23 h 229"/>
                <a:gd name="T44" fmla="*/ 25 w 156"/>
                <a:gd name="T45" fmla="*/ 12 h 229"/>
                <a:gd name="T46" fmla="*/ 38 w 156"/>
                <a:gd name="T47" fmla="*/ 4 h 229"/>
                <a:gd name="T48" fmla="*/ 53 w 156"/>
                <a:gd name="T49" fmla="*/ 0 h 229"/>
                <a:gd name="T50" fmla="*/ 70 w 156"/>
                <a:gd name="T51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6" h="229">
                  <a:moveTo>
                    <a:pt x="70" y="0"/>
                  </a:moveTo>
                  <a:lnTo>
                    <a:pt x="84" y="20"/>
                  </a:lnTo>
                  <a:lnTo>
                    <a:pt x="97" y="44"/>
                  </a:lnTo>
                  <a:lnTo>
                    <a:pt x="109" y="71"/>
                  </a:lnTo>
                  <a:lnTo>
                    <a:pt x="121" y="102"/>
                  </a:lnTo>
                  <a:lnTo>
                    <a:pt x="131" y="132"/>
                  </a:lnTo>
                  <a:lnTo>
                    <a:pt x="140" y="162"/>
                  </a:lnTo>
                  <a:lnTo>
                    <a:pt x="147" y="189"/>
                  </a:lnTo>
                  <a:lnTo>
                    <a:pt x="152" y="211"/>
                  </a:lnTo>
                  <a:lnTo>
                    <a:pt x="156" y="227"/>
                  </a:lnTo>
                  <a:lnTo>
                    <a:pt x="80" y="229"/>
                  </a:lnTo>
                  <a:lnTo>
                    <a:pt x="80" y="229"/>
                  </a:lnTo>
                  <a:lnTo>
                    <a:pt x="75" y="215"/>
                  </a:lnTo>
                  <a:lnTo>
                    <a:pt x="65" y="195"/>
                  </a:lnTo>
                  <a:lnTo>
                    <a:pt x="52" y="174"/>
                  </a:lnTo>
                  <a:lnTo>
                    <a:pt x="38" y="149"/>
                  </a:lnTo>
                  <a:lnTo>
                    <a:pt x="23" y="122"/>
                  </a:lnTo>
                  <a:lnTo>
                    <a:pt x="9" y="95"/>
                  </a:lnTo>
                  <a:lnTo>
                    <a:pt x="3" y="73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3" y="23"/>
                  </a:lnTo>
                  <a:lnTo>
                    <a:pt x="25" y="12"/>
                  </a:lnTo>
                  <a:lnTo>
                    <a:pt x="38" y="4"/>
                  </a:lnTo>
                  <a:lnTo>
                    <a:pt x="53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2" name="Freeform 294"/>
            <p:cNvSpPr>
              <a:spLocks/>
            </p:cNvSpPr>
            <p:nvPr/>
          </p:nvSpPr>
          <p:spPr bwMode="auto">
            <a:xfrm>
              <a:off x="-3678238" y="4291013"/>
              <a:ext cx="207963" cy="360363"/>
            </a:xfrm>
            <a:custGeom>
              <a:avLst/>
              <a:gdLst>
                <a:gd name="T0" fmla="*/ 32 w 131"/>
                <a:gd name="T1" fmla="*/ 0 h 227"/>
                <a:gd name="T2" fmla="*/ 118 w 131"/>
                <a:gd name="T3" fmla="*/ 175 h 227"/>
                <a:gd name="T4" fmla="*/ 123 w 131"/>
                <a:gd name="T5" fmla="*/ 195 h 227"/>
                <a:gd name="T6" fmla="*/ 128 w 131"/>
                <a:gd name="T7" fmla="*/ 213 h 227"/>
                <a:gd name="T8" fmla="*/ 131 w 131"/>
                <a:gd name="T9" fmla="*/ 227 h 227"/>
                <a:gd name="T10" fmla="*/ 106 w 131"/>
                <a:gd name="T11" fmla="*/ 227 h 227"/>
                <a:gd name="T12" fmla="*/ 0 w 131"/>
                <a:gd name="T13" fmla="*/ 12 h 227"/>
                <a:gd name="T14" fmla="*/ 15 w 131"/>
                <a:gd name="T15" fmla="*/ 4 h 227"/>
                <a:gd name="T16" fmla="*/ 32 w 131"/>
                <a:gd name="T17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227">
                  <a:moveTo>
                    <a:pt x="32" y="0"/>
                  </a:moveTo>
                  <a:lnTo>
                    <a:pt x="118" y="175"/>
                  </a:lnTo>
                  <a:lnTo>
                    <a:pt x="123" y="195"/>
                  </a:lnTo>
                  <a:lnTo>
                    <a:pt x="128" y="213"/>
                  </a:lnTo>
                  <a:lnTo>
                    <a:pt x="131" y="227"/>
                  </a:lnTo>
                  <a:lnTo>
                    <a:pt x="106" y="227"/>
                  </a:lnTo>
                  <a:lnTo>
                    <a:pt x="0" y="12"/>
                  </a:lnTo>
                  <a:lnTo>
                    <a:pt x="15" y="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3" name="Freeform 295"/>
            <p:cNvSpPr>
              <a:spLocks noEditPoints="1"/>
            </p:cNvSpPr>
            <p:nvPr/>
          </p:nvSpPr>
          <p:spPr bwMode="auto">
            <a:xfrm>
              <a:off x="-3714750" y="4398963"/>
              <a:ext cx="125413" cy="255588"/>
            </a:xfrm>
            <a:custGeom>
              <a:avLst/>
              <a:gdLst>
                <a:gd name="T0" fmla="*/ 75 w 79"/>
                <a:gd name="T1" fmla="*/ 154 h 161"/>
                <a:gd name="T2" fmla="*/ 79 w 79"/>
                <a:gd name="T3" fmla="*/ 161 h 161"/>
                <a:gd name="T4" fmla="*/ 78 w 79"/>
                <a:gd name="T5" fmla="*/ 161 h 161"/>
                <a:gd name="T6" fmla="*/ 78 w 79"/>
                <a:gd name="T7" fmla="*/ 161 h 161"/>
                <a:gd name="T8" fmla="*/ 75 w 79"/>
                <a:gd name="T9" fmla="*/ 154 h 161"/>
                <a:gd name="T10" fmla="*/ 0 w 79"/>
                <a:gd name="T11" fmla="*/ 0 h 161"/>
                <a:gd name="T12" fmla="*/ 60 w 79"/>
                <a:gd name="T13" fmla="*/ 124 h 161"/>
                <a:gd name="T14" fmla="*/ 43 w 79"/>
                <a:gd name="T15" fmla="*/ 94 h 161"/>
                <a:gd name="T16" fmla="*/ 25 w 79"/>
                <a:gd name="T17" fmla="*/ 62 h 161"/>
                <a:gd name="T18" fmla="*/ 7 w 79"/>
                <a:gd name="T19" fmla="*/ 27 h 161"/>
                <a:gd name="T20" fmla="*/ 2 w 79"/>
                <a:gd name="T21" fmla="*/ 13 h 161"/>
                <a:gd name="T22" fmla="*/ 0 w 79"/>
                <a:gd name="T2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161">
                  <a:moveTo>
                    <a:pt x="75" y="154"/>
                  </a:moveTo>
                  <a:lnTo>
                    <a:pt x="79" y="161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5" y="154"/>
                  </a:lnTo>
                  <a:close/>
                  <a:moveTo>
                    <a:pt x="0" y="0"/>
                  </a:moveTo>
                  <a:lnTo>
                    <a:pt x="60" y="124"/>
                  </a:lnTo>
                  <a:lnTo>
                    <a:pt x="43" y="94"/>
                  </a:lnTo>
                  <a:lnTo>
                    <a:pt x="25" y="62"/>
                  </a:lnTo>
                  <a:lnTo>
                    <a:pt x="7" y="27"/>
                  </a:lnTo>
                  <a:lnTo>
                    <a:pt x="2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4" name="Freeform 296"/>
            <p:cNvSpPr>
              <a:spLocks/>
            </p:cNvSpPr>
            <p:nvPr/>
          </p:nvSpPr>
          <p:spPr bwMode="auto">
            <a:xfrm>
              <a:off x="-3700463" y="4291013"/>
              <a:ext cx="80963" cy="41275"/>
            </a:xfrm>
            <a:custGeom>
              <a:avLst/>
              <a:gdLst>
                <a:gd name="T0" fmla="*/ 51 w 51"/>
                <a:gd name="T1" fmla="*/ 0 h 26"/>
                <a:gd name="T2" fmla="*/ 0 w 51"/>
                <a:gd name="T3" fmla="*/ 26 h 26"/>
                <a:gd name="T4" fmla="*/ 10 w 51"/>
                <a:gd name="T5" fmla="*/ 14 h 26"/>
                <a:gd name="T6" fmla="*/ 23 w 51"/>
                <a:gd name="T7" fmla="*/ 7 h 26"/>
                <a:gd name="T8" fmla="*/ 37 w 51"/>
                <a:gd name="T9" fmla="*/ 2 h 26"/>
                <a:gd name="T10" fmla="*/ 51 w 51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6">
                  <a:moveTo>
                    <a:pt x="51" y="0"/>
                  </a:moveTo>
                  <a:lnTo>
                    <a:pt x="0" y="26"/>
                  </a:lnTo>
                  <a:lnTo>
                    <a:pt x="10" y="14"/>
                  </a:lnTo>
                  <a:lnTo>
                    <a:pt x="23" y="7"/>
                  </a:lnTo>
                  <a:lnTo>
                    <a:pt x="37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5" name="Freeform 297"/>
            <p:cNvSpPr>
              <a:spLocks/>
            </p:cNvSpPr>
            <p:nvPr/>
          </p:nvSpPr>
          <p:spPr bwMode="auto">
            <a:xfrm>
              <a:off x="-3711575" y="4348163"/>
              <a:ext cx="163513" cy="119063"/>
            </a:xfrm>
            <a:custGeom>
              <a:avLst/>
              <a:gdLst>
                <a:gd name="T0" fmla="*/ 89 w 103"/>
                <a:gd name="T1" fmla="*/ 0 h 75"/>
                <a:gd name="T2" fmla="*/ 103 w 103"/>
                <a:gd name="T3" fmla="*/ 31 h 75"/>
                <a:gd name="T4" fmla="*/ 14 w 103"/>
                <a:gd name="T5" fmla="*/ 75 h 75"/>
                <a:gd name="T6" fmla="*/ 5 w 103"/>
                <a:gd name="T7" fmla="*/ 59 h 75"/>
                <a:gd name="T8" fmla="*/ 3 w 103"/>
                <a:gd name="T9" fmla="*/ 52 h 75"/>
                <a:gd name="T10" fmla="*/ 0 w 103"/>
                <a:gd name="T11" fmla="*/ 44 h 75"/>
                <a:gd name="T12" fmla="*/ 89 w 103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5">
                  <a:moveTo>
                    <a:pt x="89" y="0"/>
                  </a:moveTo>
                  <a:lnTo>
                    <a:pt x="103" y="31"/>
                  </a:lnTo>
                  <a:lnTo>
                    <a:pt x="14" y="75"/>
                  </a:lnTo>
                  <a:lnTo>
                    <a:pt x="5" y="59"/>
                  </a:lnTo>
                  <a:lnTo>
                    <a:pt x="3" y="52"/>
                  </a:lnTo>
                  <a:lnTo>
                    <a:pt x="0" y="44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6" name="Freeform 298"/>
            <p:cNvSpPr>
              <a:spLocks/>
            </p:cNvSpPr>
            <p:nvPr/>
          </p:nvSpPr>
          <p:spPr bwMode="auto">
            <a:xfrm>
              <a:off x="-3654425" y="4464050"/>
              <a:ext cx="149225" cy="114300"/>
            </a:xfrm>
            <a:custGeom>
              <a:avLst/>
              <a:gdLst>
                <a:gd name="T0" fmla="*/ 84 w 94"/>
                <a:gd name="T1" fmla="*/ 0 h 72"/>
                <a:gd name="T2" fmla="*/ 94 w 94"/>
                <a:gd name="T3" fmla="*/ 34 h 72"/>
                <a:gd name="T4" fmla="*/ 17 w 94"/>
                <a:gd name="T5" fmla="*/ 72 h 72"/>
                <a:gd name="T6" fmla="*/ 0 w 94"/>
                <a:gd name="T7" fmla="*/ 43 h 72"/>
                <a:gd name="T8" fmla="*/ 84 w 94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72">
                  <a:moveTo>
                    <a:pt x="84" y="0"/>
                  </a:moveTo>
                  <a:lnTo>
                    <a:pt x="94" y="34"/>
                  </a:lnTo>
                  <a:lnTo>
                    <a:pt x="17" y="72"/>
                  </a:lnTo>
                  <a:lnTo>
                    <a:pt x="0" y="43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7" name="Freeform 299"/>
            <p:cNvSpPr>
              <a:spLocks/>
            </p:cNvSpPr>
            <p:nvPr/>
          </p:nvSpPr>
          <p:spPr bwMode="auto">
            <a:xfrm>
              <a:off x="-3595688" y="4589463"/>
              <a:ext cx="122238" cy="65088"/>
            </a:xfrm>
            <a:custGeom>
              <a:avLst/>
              <a:gdLst>
                <a:gd name="T0" fmla="*/ 70 w 77"/>
                <a:gd name="T1" fmla="*/ 0 h 41"/>
                <a:gd name="T2" fmla="*/ 73 w 77"/>
                <a:gd name="T3" fmla="*/ 19 h 41"/>
                <a:gd name="T4" fmla="*/ 77 w 77"/>
                <a:gd name="T5" fmla="*/ 34 h 41"/>
                <a:gd name="T6" fmla="*/ 66 w 77"/>
                <a:gd name="T7" fmla="*/ 39 h 41"/>
                <a:gd name="T8" fmla="*/ 3 w 77"/>
                <a:gd name="T9" fmla="*/ 41 h 41"/>
                <a:gd name="T10" fmla="*/ 3 w 77"/>
                <a:gd name="T11" fmla="*/ 41 h 41"/>
                <a:gd name="T12" fmla="*/ 2 w 77"/>
                <a:gd name="T13" fmla="*/ 38 h 41"/>
                <a:gd name="T14" fmla="*/ 0 w 77"/>
                <a:gd name="T15" fmla="*/ 33 h 41"/>
                <a:gd name="T16" fmla="*/ 70 w 77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1">
                  <a:moveTo>
                    <a:pt x="70" y="0"/>
                  </a:moveTo>
                  <a:lnTo>
                    <a:pt x="73" y="19"/>
                  </a:lnTo>
                  <a:lnTo>
                    <a:pt x="77" y="34"/>
                  </a:lnTo>
                  <a:lnTo>
                    <a:pt x="66" y="39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38"/>
                  </a:lnTo>
                  <a:lnTo>
                    <a:pt x="0" y="33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8" name="Freeform 300"/>
            <p:cNvSpPr>
              <a:spLocks/>
            </p:cNvSpPr>
            <p:nvPr/>
          </p:nvSpPr>
          <p:spPr bwMode="auto">
            <a:xfrm>
              <a:off x="-3678238" y="4291013"/>
              <a:ext cx="52388" cy="26988"/>
            </a:xfrm>
            <a:custGeom>
              <a:avLst/>
              <a:gdLst>
                <a:gd name="T0" fmla="*/ 32 w 33"/>
                <a:gd name="T1" fmla="*/ 0 h 17"/>
                <a:gd name="T2" fmla="*/ 33 w 33"/>
                <a:gd name="T3" fmla="*/ 2 h 17"/>
                <a:gd name="T4" fmla="*/ 2 w 33"/>
                <a:gd name="T5" fmla="*/ 17 h 17"/>
                <a:gd name="T6" fmla="*/ 0 w 33"/>
                <a:gd name="T7" fmla="*/ 12 h 17"/>
                <a:gd name="T8" fmla="*/ 15 w 33"/>
                <a:gd name="T9" fmla="*/ 4 h 17"/>
                <a:gd name="T10" fmla="*/ 32 w 3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32" y="0"/>
                  </a:moveTo>
                  <a:lnTo>
                    <a:pt x="33" y="2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15" y="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9" name="Freeform 301"/>
            <p:cNvSpPr>
              <a:spLocks/>
            </p:cNvSpPr>
            <p:nvPr/>
          </p:nvSpPr>
          <p:spPr bwMode="auto">
            <a:xfrm>
              <a:off x="-3641725" y="4359275"/>
              <a:ext cx="73025" cy="73025"/>
            </a:xfrm>
            <a:custGeom>
              <a:avLst/>
              <a:gdLst>
                <a:gd name="T0" fmla="*/ 31 w 46"/>
                <a:gd name="T1" fmla="*/ 0 h 46"/>
                <a:gd name="T2" fmla="*/ 46 w 46"/>
                <a:gd name="T3" fmla="*/ 30 h 46"/>
                <a:gd name="T4" fmla="*/ 15 w 46"/>
                <a:gd name="T5" fmla="*/ 46 h 46"/>
                <a:gd name="T6" fmla="*/ 0 w 46"/>
                <a:gd name="T7" fmla="*/ 15 h 46"/>
                <a:gd name="T8" fmla="*/ 31 w 46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31" y="0"/>
                  </a:moveTo>
                  <a:lnTo>
                    <a:pt x="46" y="30"/>
                  </a:lnTo>
                  <a:lnTo>
                    <a:pt x="15" y="46"/>
                  </a:lnTo>
                  <a:lnTo>
                    <a:pt x="0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0" name="Freeform 302"/>
            <p:cNvSpPr>
              <a:spLocks/>
            </p:cNvSpPr>
            <p:nvPr/>
          </p:nvSpPr>
          <p:spPr bwMode="auto">
            <a:xfrm>
              <a:off x="-3711575" y="4416425"/>
              <a:ext cx="28575" cy="50800"/>
            </a:xfrm>
            <a:custGeom>
              <a:avLst/>
              <a:gdLst>
                <a:gd name="T0" fmla="*/ 3 w 18"/>
                <a:gd name="T1" fmla="*/ 0 h 32"/>
                <a:gd name="T2" fmla="*/ 18 w 18"/>
                <a:gd name="T3" fmla="*/ 30 h 32"/>
                <a:gd name="T4" fmla="*/ 14 w 18"/>
                <a:gd name="T5" fmla="*/ 32 h 32"/>
                <a:gd name="T6" fmla="*/ 5 w 18"/>
                <a:gd name="T7" fmla="*/ 16 h 32"/>
                <a:gd name="T8" fmla="*/ 3 w 18"/>
                <a:gd name="T9" fmla="*/ 9 h 32"/>
                <a:gd name="T10" fmla="*/ 0 w 18"/>
                <a:gd name="T11" fmla="*/ 1 h 32"/>
                <a:gd name="T12" fmla="*/ 3 w 18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32">
                  <a:moveTo>
                    <a:pt x="3" y="0"/>
                  </a:moveTo>
                  <a:lnTo>
                    <a:pt x="18" y="30"/>
                  </a:lnTo>
                  <a:lnTo>
                    <a:pt x="14" y="32"/>
                  </a:lnTo>
                  <a:lnTo>
                    <a:pt x="5" y="16"/>
                  </a:lnTo>
                  <a:lnTo>
                    <a:pt x="3" y="9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1" name="Freeform 303"/>
            <p:cNvSpPr>
              <a:spLocks/>
            </p:cNvSpPr>
            <p:nvPr/>
          </p:nvSpPr>
          <p:spPr bwMode="auto">
            <a:xfrm>
              <a:off x="-3587750" y="4473575"/>
              <a:ext cx="74613" cy="73025"/>
            </a:xfrm>
            <a:custGeom>
              <a:avLst/>
              <a:gdLst>
                <a:gd name="T0" fmla="*/ 31 w 47"/>
                <a:gd name="T1" fmla="*/ 0 h 46"/>
                <a:gd name="T2" fmla="*/ 47 w 47"/>
                <a:gd name="T3" fmla="*/ 30 h 46"/>
                <a:gd name="T4" fmla="*/ 16 w 47"/>
                <a:gd name="T5" fmla="*/ 46 h 46"/>
                <a:gd name="T6" fmla="*/ 0 w 47"/>
                <a:gd name="T7" fmla="*/ 15 h 46"/>
                <a:gd name="T8" fmla="*/ 31 w 4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6">
                  <a:moveTo>
                    <a:pt x="31" y="0"/>
                  </a:moveTo>
                  <a:lnTo>
                    <a:pt x="47" y="30"/>
                  </a:lnTo>
                  <a:lnTo>
                    <a:pt x="16" y="46"/>
                  </a:lnTo>
                  <a:lnTo>
                    <a:pt x="0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2" name="Freeform 304"/>
            <p:cNvSpPr>
              <a:spLocks/>
            </p:cNvSpPr>
            <p:nvPr/>
          </p:nvSpPr>
          <p:spPr bwMode="auto">
            <a:xfrm>
              <a:off x="-3654425" y="4529138"/>
              <a:ext cx="26988" cy="49213"/>
            </a:xfrm>
            <a:custGeom>
              <a:avLst/>
              <a:gdLst>
                <a:gd name="T0" fmla="*/ 1 w 17"/>
                <a:gd name="T1" fmla="*/ 0 h 31"/>
                <a:gd name="T2" fmla="*/ 17 w 17"/>
                <a:gd name="T3" fmla="*/ 31 h 31"/>
                <a:gd name="T4" fmla="*/ 17 w 17"/>
                <a:gd name="T5" fmla="*/ 31 h 31"/>
                <a:gd name="T6" fmla="*/ 0 w 17"/>
                <a:gd name="T7" fmla="*/ 2 h 31"/>
                <a:gd name="T8" fmla="*/ 1 w 1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1">
                  <a:moveTo>
                    <a:pt x="1" y="0"/>
                  </a:moveTo>
                  <a:lnTo>
                    <a:pt x="17" y="31"/>
                  </a:lnTo>
                  <a:lnTo>
                    <a:pt x="17" y="3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3" name="Freeform 305"/>
            <p:cNvSpPr>
              <a:spLocks/>
            </p:cNvSpPr>
            <p:nvPr/>
          </p:nvSpPr>
          <p:spPr bwMode="auto">
            <a:xfrm>
              <a:off x="-3530600" y="4589463"/>
              <a:ext cx="57150" cy="61913"/>
            </a:xfrm>
            <a:custGeom>
              <a:avLst/>
              <a:gdLst>
                <a:gd name="T0" fmla="*/ 29 w 36"/>
                <a:gd name="T1" fmla="*/ 0 h 39"/>
                <a:gd name="T2" fmla="*/ 32 w 36"/>
                <a:gd name="T3" fmla="*/ 19 h 39"/>
                <a:gd name="T4" fmla="*/ 36 w 36"/>
                <a:gd name="T5" fmla="*/ 34 h 39"/>
                <a:gd name="T6" fmla="*/ 25 w 36"/>
                <a:gd name="T7" fmla="*/ 39 h 39"/>
                <a:gd name="T8" fmla="*/ 13 w 36"/>
                <a:gd name="T9" fmla="*/ 39 h 39"/>
                <a:gd name="T10" fmla="*/ 0 w 36"/>
                <a:gd name="T11" fmla="*/ 14 h 39"/>
                <a:gd name="T12" fmla="*/ 29 w 36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9">
                  <a:moveTo>
                    <a:pt x="29" y="0"/>
                  </a:moveTo>
                  <a:lnTo>
                    <a:pt x="32" y="19"/>
                  </a:lnTo>
                  <a:lnTo>
                    <a:pt x="36" y="34"/>
                  </a:lnTo>
                  <a:lnTo>
                    <a:pt x="25" y="39"/>
                  </a:lnTo>
                  <a:lnTo>
                    <a:pt x="13" y="39"/>
                  </a:lnTo>
                  <a:lnTo>
                    <a:pt x="0" y="1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4" name="Freeform 306"/>
            <p:cNvSpPr>
              <a:spLocks/>
            </p:cNvSpPr>
            <p:nvPr/>
          </p:nvSpPr>
          <p:spPr bwMode="auto">
            <a:xfrm>
              <a:off x="-3595688" y="4643438"/>
              <a:ext cx="6350" cy="11113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3 w 4"/>
                <a:gd name="T5" fmla="*/ 7 h 7"/>
                <a:gd name="T6" fmla="*/ 3 w 4"/>
                <a:gd name="T7" fmla="*/ 7 h 7"/>
                <a:gd name="T8" fmla="*/ 0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5" name="Freeform 307"/>
            <p:cNvSpPr>
              <a:spLocks/>
            </p:cNvSpPr>
            <p:nvPr/>
          </p:nvSpPr>
          <p:spPr bwMode="auto">
            <a:xfrm>
              <a:off x="-3798888" y="4216400"/>
              <a:ext cx="209550" cy="912813"/>
            </a:xfrm>
            <a:custGeom>
              <a:avLst/>
              <a:gdLst>
                <a:gd name="T0" fmla="*/ 0 w 132"/>
                <a:gd name="T1" fmla="*/ 0 h 575"/>
                <a:gd name="T2" fmla="*/ 30 w 132"/>
                <a:gd name="T3" fmla="*/ 2 h 575"/>
                <a:gd name="T4" fmla="*/ 58 w 132"/>
                <a:gd name="T5" fmla="*/ 9 h 575"/>
                <a:gd name="T6" fmla="*/ 83 w 132"/>
                <a:gd name="T7" fmla="*/ 19 h 575"/>
                <a:gd name="T8" fmla="*/ 105 w 132"/>
                <a:gd name="T9" fmla="*/ 32 h 575"/>
                <a:gd name="T10" fmla="*/ 122 w 132"/>
                <a:gd name="T11" fmla="*/ 47 h 575"/>
                <a:gd name="T12" fmla="*/ 132 w 132"/>
                <a:gd name="T13" fmla="*/ 64 h 575"/>
                <a:gd name="T14" fmla="*/ 127 w 132"/>
                <a:gd name="T15" fmla="*/ 70 h 575"/>
                <a:gd name="T16" fmla="*/ 121 w 132"/>
                <a:gd name="T17" fmla="*/ 82 h 575"/>
                <a:gd name="T18" fmla="*/ 113 w 132"/>
                <a:gd name="T19" fmla="*/ 99 h 575"/>
                <a:gd name="T20" fmla="*/ 105 w 132"/>
                <a:gd name="T21" fmla="*/ 118 h 575"/>
                <a:gd name="T22" fmla="*/ 99 w 132"/>
                <a:gd name="T23" fmla="*/ 140 h 575"/>
                <a:gd name="T24" fmla="*/ 95 w 132"/>
                <a:gd name="T25" fmla="*/ 162 h 575"/>
                <a:gd name="T26" fmla="*/ 92 w 132"/>
                <a:gd name="T27" fmla="*/ 185 h 575"/>
                <a:gd name="T28" fmla="*/ 94 w 132"/>
                <a:gd name="T29" fmla="*/ 205 h 575"/>
                <a:gd name="T30" fmla="*/ 96 w 132"/>
                <a:gd name="T31" fmla="*/ 232 h 575"/>
                <a:gd name="T32" fmla="*/ 98 w 132"/>
                <a:gd name="T33" fmla="*/ 264 h 575"/>
                <a:gd name="T34" fmla="*/ 99 w 132"/>
                <a:gd name="T35" fmla="*/ 300 h 575"/>
                <a:gd name="T36" fmla="*/ 100 w 132"/>
                <a:gd name="T37" fmla="*/ 339 h 575"/>
                <a:gd name="T38" fmla="*/ 101 w 132"/>
                <a:gd name="T39" fmla="*/ 377 h 575"/>
                <a:gd name="T40" fmla="*/ 104 w 132"/>
                <a:gd name="T41" fmla="*/ 414 h 575"/>
                <a:gd name="T42" fmla="*/ 110 w 132"/>
                <a:gd name="T43" fmla="*/ 448 h 575"/>
                <a:gd name="T44" fmla="*/ 113 w 132"/>
                <a:gd name="T45" fmla="*/ 473 h 575"/>
                <a:gd name="T46" fmla="*/ 112 w 132"/>
                <a:gd name="T47" fmla="*/ 496 h 575"/>
                <a:gd name="T48" fmla="*/ 107 w 132"/>
                <a:gd name="T49" fmla="*/ 517 h 575"/>
                <a:gd name="T50" fmla="*/ 98 w 132"/>
                <a:gd name="T51" fmla="*/ 534 h 575"/>
                <a:gd name="T52" fmla="*/ 86 w 132"/>
                <a:gd name="T53" fmla="*/ 549 h 575"/>
                <a:gd name="T54" fmla="*/ 72 w 132"/>
                <a:gd name="T55" fmla="*/ 561 h 575"/>
                <a:gd name="T56" fmla="*/ 56 w 132"/>
                <a:gd name="T57" fmla="*/ 568 h 575"/>
                <a:gd name="T58" fmla="*/ 41 w 132"/>
                <a:gd name="T59" fmla="*/ 575 h 575"/>
                <a:gd name="T60" fmla="*/ 41 w 132"/>
                <a:gd name="T61" fmla="*/ 571 h 575"/>
                <a:gd name="T62" fmla="*/ 41 w 132"/>
                <a:gd name="T63" fmla="*/ 561 h 575"/>
                <a:gd name="T64" fmla="*/ 41 w 132"/>
                <a:gd name="T65" fmla="*/ 544 h 575"/>
                <a:gd name="T66" fmla="*/ 41 w 132"/>
                <a:gd name="T67" fmla="*/ 525 h 575"/>
                <a:gd name="T68" fmla="*/ 40 w 132"/>
                <a:gd name="T69" fmla="*/ 500 h 575"/>
                <a:gd name="T70" fmla="*/ 39 w 132"/>
                <a:gd name="T71" fmla="*/ 475 h 575"/>
                <a:gd name="T72" fmla="*/ 36 w 132"/>
                <a:gd name="T73" fmla="*/ 448 h 575"/>
                <a:gd name="T74" fmla="*/ 32 w 132"/>
                <a:gd name="T75" fmla="*/ 416 h 575"/>
                <a:gd name="T76" fmla="*/ 30 w 132"/>
                <a:gd name="T77" fmla="*/ 377 h 575"/>
                <a:gd name="T78" fmla="*/ 27 w 132"/>
                <a:gd name="T79" fmla="*/ 333 h 575"/>
                <a:gd name="T80" fmla="*/ 24 w 132"/>
                <a:gd name="T81" fmla="*/ 289 h 575"/>
                <a:gd name="T82" fmla="*/ 22 w 132"/>
                <a:gd name="T83" fmla="*/ 240 h 575"/>
                <a:gd name="T84" fmla="*/ 19 w 132"/>
                <a:gd name="T85" fmla="*/ 192 h 575"/>
                <a:gd name="T86" fmla="*/ 17 w 132"/>
                <a:gd name="T87" fmla="*/ 146 h 575"/>
                <a:gd name="T88" fmla="*/ 13 w 132"/>
                <a:gd name="T89" fmla="*/ 103 h 575"/>
                <a:gd name="T90" fmla="*/ 9 w 132"/>
                <a:gd name="T91" fmla="*/ 61 h 575"/>
                <a:gd name="T92" fmla="*/ 5 w 132"/>
                <a:gd name="T93" fmla="*/ 28 h 575"/>
                <a:gd name="T94" fmla="*/ 0 w 132"/>
                <a:gd name="T95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" h="575">
                  <a:moveTo>
                    <a:pt x="0" y="0"/>
                  </a:moveTo>
                  <a:lnTo>
                    <a:pt x="30" y="2"/>
                  </a:lnTo>
                  <a:lnTo>
                    <a:pt x="58" y="9"/>
                  </a:lnTo>
                  <a:lnTo>
                    <a:pt x="83" y="19"/>
                  </a:lnTo>
                  <a:lnTo>
                    <a:pt x="105" y="32"/>
                  </a:lnTo>
                  <a:lnTo>
                    <a:pt x="122" y="47"/>
                  </a:lnTo>
                  <a:lnTo>
                    <a:pt x="132" y="64"/>
                  </a:lnTo>
                  <a:lnTo>
                    <a:pt x="127" y="70"/>
                  </a:lnTo>
                  <a:lnTo>
                    <a:pt x="121" y="82"/>
                  </a:lnTo>
                  <a:lnTo>
                    <a:pt x="113" y="99"/>
                  </a:lnTo>
                  <a:lnTo>
                    <a:pt x="105" y="118"/>
                  </a:lnTo>
                  <a:lnTo>
                    <a:pt x="99" y="140"/>
                  </a:lnTo>
                  <a:lnTo>
                    <a:pt x="95" y="162"/>
                  </a:lnTo>
                  <a:lnTo>
                    <a:pt x="92" y="185"/>
                  </a:lnTo>
                  <a:lnTo>
                    <a:pt x="94" y="205"/>
                  </a:lnTo>
                  <a:lnTo>
                    <a:pt x="96" y="232"/>
                  </a:lnTo>
                  <a:lnTo>
                    <a:pt x="98" y="264"/>
                  </a:lnTo>
                  <a:lnTo>
                    <a:pt x="99" y="300"/>
                  </a:lnTo>
                  <a:lnTo>
                    <a:pt x="100" y="339"/>
                  </a:lnTo>
                  <a:lnTo>
                    <a:pt x="101" y="377"/>
                  </a:lnTo>
                  <a:lnTo>
                    <a:pt x="104" y="414"/>
                  </a:lnTo>
                  <a:lnTo>
                    <a:pt x="110" y="448"/>
                  </a:lnTo>
                  <a:lnTo>
                    <a:pt x="113" y="473"/>
                  </a:lnTo>
                  <a:lnTo>
                    <a:pt x="112" y="496"/>
                  </a:lnTo>
                  <a:lnTo>
                    <a:pt x="107" y="517"/>
                  </a:lnTo>
                  <a:lnTo>
                    <a:pt x="98" y="534"/>
                  </a:lnTo>
                  <a:lnTo>
                    <a:pt x="86" y="549"/>
                  </a:lnTo>
                  <a:lnTo>
                    <a:pt x="72" y="561"/>
                  </a:lnTo>
                  <a:lnTo>
                    <a:pt x="56" y="568"/>
                  </a:lnTo>
                  <a:lnTo>
                    <a:pt x="41" y="575"/>
                  </a:lnTo>
                  <a:lnTo>
                    <a:pt x="41" y="571"/>
                  </a:lnTo>
                  <a:lnTo>
                    <a:pt x="41" y="561"/>
                  </a:lnTo>
                  <a:lnTo>
                    <a:pt x="41" y="544"/>
                  </a:lnTo>
                  <a:lnTo>
                    <a:pt x="41" y="525"/>
                  </a:lnTo>
                  <a:lnTo>
                    <a:pt x="40" y="500"/>
                  </a:lnTo>
                  <a:lnTo>
                    <a:pt x="39" y="475"/>
                  </a:lnTo>
                  <a:lnTo>
                    <a:pt x="36" y="448"/>
                  </a:lnTo>
                  <a:lnTo>
                    <a:pt x="32" y="416"/>
                  </a:lnTo>
                  <a:lnTo>
                    <a:pt x="30" y="377"/>
                  </a:lnTo>
                  <a:lnTo>
                    <a:pt x="27" y="333"/>
                  </a:lnTo>
                  <a:lnTo>
                    <a:pt x="24" y="289"/>
                  </a:lnTo>
                  <a:lnTo>
                    <a:pt x="22" y="240"/>
                  </a:lnTo>
                  <a:lnTo>
                    <a:pt x="19" y="192"/>
                  </a:lnTo>
                  <a:lnTo>
                    <a:pt x="17" y="146"/>
                  </a:lnTo>
                  <a:lnTo>
                    <a:pt x="13" y="103"/>
                  </a:lnTo>
                  <a:lnTo>
                    <a:pt x="9" y="61"/>
                  </a:lnTo>
                  <a:lnTo>
                    <a:pt x="5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6" name="Freeform 308"/>
            <p:cNvSpPr>
              <a:spLocks/>
            </p:cNvSpPr>
            <p:nvPr/>
          </p:nvSpPr>
          <p:spPr bwMode="auto">
            <a:xfrm>
              <a:off x="-3590925" y="4651375"/>
              <a:ext cx="122238" cy="263525"/>
            </a:xfrm>
            <a:custGeom>
              <a:avLst/>
              <a:gdLst>
                <a:gd name="T0" fmla="*/ 76 w 77"/>
                <a:gd name="T1" fmla="*/ 0 h 166"/>
                <a:gd name="T2" fmla="*/ 76 w 77"/>
                <a:gd name="T3" fmla="*/ 3 h 166"/>
                <a:gd name="T4" fmla="*/ 76 w 77"/>
                <a:gd name="T5" fmla="*/ 6 h 166"/>
                <a:gd name="T6" fmla="*/ 77 w 77"/>
                <a:gd name="T7" fmla="*/ 18 h 166"/>
                <a:gd name="T8" fmla="*/ 77 w 77"/>
                <a:gd name="T9" fmla="*/ 38 h 166"/>
                <a:gd name="T10" fmla="*/ 76 w 77"/>
                <a:gd name="T11" fmla="*/ 59 h 166"/>
                <a:gd name="T12" fmla="*/ 73 w 77"/>
                <a:gd name="T13" fmla="*/ 84 h 166"/>
                <a:gd name="T14" fmla="*/ 70 w 77"/>
                <a:gd name="T15" fmla="*/ 108 h 166"/>
                <a:gd name="T16" fmla="*/ 68 w 77"/>
                <a:gd name="T17" fmla="*/ 131 h 166"/>
                <a:gd name="T18" fmla="*/ 67 w 77"/>
                <a:gd name="T19" fmla="*/ 151 h 166"/>
                <a:gd name="T20" fmla="*/ 64 w 77"/>
                <a:gd name="T21" fmla="*/ 166 h 166"/>
                <a:gd name="T22" fmla="*/ 47 w 77"/>
                <a:gd name="T23" fmla="*/ 165 h 166"/>
                <a:gd name="T24" fmla="*/ 31 w 77"/>
                <a:gd name="T25" fmla="*/ 160 h 166"/>
                <a:gd name="T26" fmla="*/ 15 w 77"/>
                <a:gd name="T27" fmla="*/ 156 h 166"/>
                <a:gd name="T28" fmla="*/ 0 w 77"/>
                <a:gd name="T29" fmla="*/ 154 h 166"/>
                <a:gd name="T30" fmla="*/ 0 w 77"/>
                <a:gd name="T31" fmla="*/ 135 h 166"/>
                <a:gd name="T32" fmla="*/ 0 w 77"/>
                <a:gd name="T33" fmla="*/ 112 h 166"/>
                <a:gd name="T34" fmla="*/ 0 w 77"/>
                <a:gd name="T35" fmla="*/ 88 h 166"/>
                <a:gd name="T36" fmla="*/ 0 w 77"/>
                <a:gd name="T37" fmla="*/ 63 h 166"/>
                <a:gd name="T38" fmla="*/ 0 w 77"/>
                <a:gd name="T39" fmla="*/ 40 h 166"/>
                <a:gd name="T40" fmla="*/ 0 w 77"/>
                <a:gd name="T41" fmla="*/ 22 h 166"/>
                <a:gd name="T42" fmla="*/ 1 w 77"/>
                <a:gd name="T43" fmla="*/ 11 h 166"/>
                <a:gd name="T44" fmla="*/ 1 w 77"/>
                <a:gd name="T45" fmla="*/ 7 h 166"/>
                <a:gd name="T46" fmla="*/ 0 w 77"/>
                <a:gd name="T47" fmla="*/ 2 h 166"/>
                <a:gd name="T48" fmla="*/ 0 w 77"/>
                <a:gd name="T49" fmla="*/ 2 h 166"/>
                <a:gd name="T50" fmla="*/ 76 w 77"/>
                <a:gd name="T5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7" h="166">
                  <a:moveTo>
                    <a:pt x="76" y="0"/>
                  </a:moveTo>
                  <a:lnTo>
                    <a:pt x="76" y="3"/>
                  </a:lnTo>
                  <a:lnTo>
                    <a:pt x="76" y="6"/>
                  </a:lnTo>
                  <a:lnTo>
                    <a:pt x="77" y="18"/>
                  </a:lnTo>
                  <a:lnTo>
                    <a:pt x="77" y="38"/>
                  </a:lnTo>
                  <a:lnTo>
                    <a:pt x="76" y="59"/>
                  </a:lnTo>
                  <a:lnTo>
                    <a:pt x="73" y="84"/>
                  </a:lnTo>
                  <a:lnTo>
                    <a:pt x="70" y="108"/>
                  </a:lnTo>
                  <a:lnTo>
                    <a:pt x="68" y="131"/>
                  </a:lnTo>
                  <a:lnTo>
                    <a:pt x="67" y="151"/>
                  </a:lnTo>
                  <a:lnTo>
                    <a:pt x="64" y="166"/>
                  </a:lnTo>
                  <a:lnTo>
                    <a:pt x="47" y="165"/>
                  </a:lnTo>
                  <a:lnTo>
                    <a:pt x="31" y="160"/>
                  </a:lnTo>
                  <a:lnTo>
                    <a:pt x="15" y="156"/>
                  </a:lnTo>
                  <a:lnTo>
                    <a:pt x="0" y="154"/>
                  </a:lnTo>
                  <a:lnTo>
                    <a:pt x="0" y="135"/>
                  </a:lnTo>
                  <a:lnTo>
                    <a:pt x="0" y="112"/>
                  </a:lnTo>
                  <a:lnTo>
                    <a:pt x="0" y="88"/>
                  </a:lnTo>
                  <a:lnTo>
                    <a:pt x="0" y="63"/>
                  </a:lnTo>
                  <a:lnTo>
                    <a:pt x="0" y="40"/>
                  </a:lnTo>
                  <a:lnTo>
                    <a:pt x="0" y="22"/>
                  </a:lnTo>
                  <a:lnTo>
                    <a:pt x="1" y="11"/>
                  </a:lnTo>
                  <a:lnTo>
                    <a:pt x="1" y="7"/>
                  </a:lnTo>
                  <a:lnTo>
                    <a:pt x="0" y="2"/>
                  </a:lnTo>
                  <a:lnTo>
                    <a:pt x="0" y="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7" name="Freeform 309"/>
            <p:cNvSpPr>
              <a:spLocks/>
            </p:cNvSpPr>
            <p:nvPr/>
          </p:nvSpPr>
          <p:spPr bwMode="auto">
            <a:xfrm>
              <a:off x="-3567113" y="4651375"/>
              <a:ext cx="93663" cy="261938"/>
            </a:xfrm>
            <a:custGeom>
              <a:avLst/>
              <a:gdLst>
                <a:gd name="T0" fmla="*/ 59 w 59"/>
                <a:gd name="T1" fmla="*/ 0 h 165"/>
                <a:gd name="T2" fmla="*/ 34 w 59"/>
                <a:gd name="T3" fmla="*/ 165 h 165"/>
                <a:gd name="T4" fmla="*/ 17 w 59"/>
                <a:gd name="T5" fmla="*/ 161 h 165"/>
                <a:gd name="T6" fmla="*/ 0 w 59"/>
                <a:gd name="T7" fmla="*/ 156 h 165"/>
                <a:gd name="T8" fmla="*/ 25 w 59"/>
                <a:gd name="T9" fmla="*/ 2 h 165"/>
                <a:gd name="T10" fmla="*/ 59 w 59"/>
                <a:gd name="T11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165">
                  <a:moveTo>
                    <a:pt x="59" y="0"/>
                  </a:moveTo>
                  <a:lnTo>
                    <a:pt x="34" y="165"/>
                  </a:lnTo>
                  <a:lnTo>
                    <a:pt x="17" y="161"/>
                  </a:lnTo>
                  <a:lnTo>
                    <a:pt x="0" y="156"/>
                  </a:lnTo>
                  <a:lnTo>
                    <a:pt x="25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8" name="Freeform 310"/>
            <p:cNvSpPr>
              <a:spLocks/>
            </p:cNvSpPr>
            <p:nvPr/>
          </p:nvSpPr>
          <p:spPr bwMode="auto">
            <a:xfrm>
              <a:off x="-3590925" y="4651375"/>
              <a:ext cx="122238" cy="39688"/>
            </a:xfrm>
            <a:custGeom>
              <a:avLst/>
              <a:gdLst>
                <a:gd name="T0" fmla="*/ 76 w 77"/>
                <a:gd name="T1" fmla="*/ 0 h 25"/>
                <a:gd name="T2" fmla="*/ 76 w 77"/>
                <a:gd name="T3" fmla="*/ 3 h 25"/>
                <a:gd name="T4" fmla="*/ 76 w 77"/>
                <a:gd name="T5" fmla="*/ 6 h 25"/>
                <a:gd name="T6" fmla="*/ 77 w 77"/>
                <a:gd name="T7" fmla="*/ 11 h 25"/>
                <a:gd name="T8" fmla="*/ 77 w 77"/>
                <a:gd name="T9" fmla="*/ 17 h 25"/>
                <a:gd name="T10" fmla="*/ 77 w 77"/>
                <a:gd name="T11" fmla="*/ 25 h 25"/>
                <a:gd name="T12" fmla="*/ 0 w 77"/>
                <a:gd name="T13" fmla="*/ 13 h 25"/>
                <a:gd name="T14" fmla="*/ 1 w 77"/>
                <a:gd name="T15" fmla="*/ 11 h 25"/>
                <a:gd name="T16" fmla="*/ 1 w 77"/>
                <a:gd name="T17" fmla="*/ 7 h 25"/>
                <a:gd name="T18" fmla="*/ 0 w 77"/>
                <a:gd name="T19" fmla="*/ 2 h 25"/>
                <a:gd name="T20" fmla="*/ 0 w 77"/>
                <a:gd name="T21" fmla="*/ 2 h 25"/>
                <a:gd name="T22" fmla="*/ 76 w 77"/>
                <a:gd name="T2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" h="25">
                  <a:moveTo>
                    <a:pt x="76" y="0"/>
                  </a:moveTo>
                  <a:lnTo>
                    <a:pt x="76" y="3"/>
                  </a:lnTo>
                  <a:lnTo>
                    <a:pt x="76" y="6"/>
                  </a:lnTo>
                  <a:lnTo>
                    <a:pt x="77" y="11"/>
                  </a:lnTo>
                  <a:lnTo>
                    <a:pt x="77" y="17"/>
                  </a:lnTo>
                  <a:lnTo>
                    <a:pt x="77" y="25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" y="7"/>
                  </a:lnTo>
                  <a:lnTo>
                    <a:pt x="0" y="2"/>
                  </a:lnTo>
                  <a:lnTo>
                    <a:pt x="0" y="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9" name="Freeform 311"/>
            <p:cNvSpPr>
              <a:spLocks/>
            </p:cNvSpPr>
            <p:nvPr/>
          </p:nvSpPr>
          <p:spPr bwMode="auto">
            <a:xfrm>
              <a:off x="-3590925" y="4743450"/>
              <a:ext cx="117475" cy="73025"/>
            </a:xfrm>
            <a:custGeom>
              <a:avLst/>
              <a:gdLst>
                <a:gd name="T0" fmla="*/ 0 w 74"/>
                <a:gd name="T1" fmla="*/ 0 h 46"/>
                <a:gd name="T2" fmla="*/ 74 w 74"/>
                <a:gd name="T3" fmla="*/ 12 h 46"/>
                <a:gd name="T4" fmla="*/ 70 w 74"/>
                <a:gd name="T5" fmla="*/ 46 h 46"/>
                <a:gd name="T6" fmla="*/ 0 w 74"/>
                <a:gd name="T7" fmla="*/ 35 h 46"/>
                <a:gd name="T8" fmla="*/ 0 w 74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6">
                  <a:moveTo>
                    <a:pt x="0" y="0"/>
                  </a:moveTo>
                  <a:lnTo>
                    <a:pt x="74" y="12"/>
                  </a:lnTo>
                  <a:lnTo>
                    <a:pt x="70" y="46"/>
                  </a:ln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0" name="Freeform 312"/>
            <p:cNvSpPr>
              <a:spLocks/>
            </p:cNvSpPr>
            <p:nvPr/>
          </p:nvSpPr>
          <p:spPr bwMode="auto">
            <a:xfrm>
              <a:off x="-3590925" y="4872038"/>
              <a:ext cx="106363" cy="42863"/>
            </a:xfrm>
            <a:custGeom>
              <a:avLst/>
              <a:gdLst>
                <a:gd name="T0" fmla="*/ 0 w 67"/>
                <a:gd name="T1" fmla="*/ 0 h 27"/>
                <a:gd name="T2" fmla="*/ 67 w 67"/>
                <a:gd name="T3" fmla="*/ 10 h 27"/>
                <a:gd name="T4" fmla="*/ 65 w 67"/>
                <a:gd name="T5" fmla="*/ 19 h 27"/>
                <a:gd name="T6" fmla="*/ 64 w 67"/>
                <a:gd name="T7" fmla="*/ 27 h 27"/>
                <a:gd name="T8" fmla="*/ 47 w 67"/>
                <a:gd name="T9" fmla="*/ 26 h 27"/>
                <a:gd name="T10" fmla="*/ 31 w 67"/>
                <a:gd name="T11" fmla="*/ 21 h 27"/>
                <a:gd name="T12" fmla="*/ 15 w 67"/>
                <a:gd name="T13" fmla="*/ 17 h 27"/>
                <a:gd name="T14" fmla="*/ 0 w 67"/>
                <a:gd name="T15" fmla="*/ 15 h 27"/>
                <a:gd name="T16" fmla="*/ 0 w 67"/>
                <a:gd name="T17" fmla="*/ 8 h 27"/>
                <a:gd name="T18" fmla="*/ 0 w 67"/>
                <a:gd name="T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27">
                  <a:moveTo>
                    <a:pt x="0" y="0"/>
                  </a:moveTo>
                  <a:lnTo>
                    <a:pt x="67" y="10"/>
                  </a:lnTo>
                  <a:lnTo>
                    <a:pt x="65" y="19"/>
                  </a:lnTo>
                  <a:lnTo>
                    <a:pt x="64" y="27"/>
                  </a:lnTo>
                  <a:lnTo>
                    <a:pt x="47" y="26"/>
                  </a:lnTo>
                  <a:lnTo>
                    <a:pt x="31" y="21"/>
                  </a:lnTo>
                  <a:lnTo>
                    <a:pt x="15" y="17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1" name="Freeform 313"/>
            <p:cNvSpPr>
              <a:spLocks/>
            </p:cNvSpPr>
            <p:nvPr/>
          </p:nvSpPr>
          <p:spPr bwMode="auto">
            <a:xfrm>
              <a:off x="-3532188" y="4651375"/>
              <a:ext cx="58738" cy="38100"/>
            </a:xfrm>
            <a:custGeom>
              <a:avLst/>
              <a:gdLst>
                <a:gd name="T0" fmla="*/ 37 w 37"/>
                <a:gd name="T1" fmla="*/ 0 h 24"/>
                <a:gd name="T2" fmla="*/ 33 w 37"/>
                <a:gd name="T3" fmla="*/ 24 h 24"/>
                <a:gd name="T4" fmla="*/ 0 w 37"/>
                <a:gd name="T5" fmla="*/ 18 h 24"/>
                <a:gd name="T6" fmla="*/ 3 w 37"/>
                <a:gd name="T7" fmla="*/ 2 h 24"/>
                <a:gd name="T8" fmla="*/ 37 w 37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7" y="0"/>
                  </a:moveTo>
                  <a:lnTo>
                    <a:pt x="33" y="24"/>
                  </a:lnTo>
                  <a:lnTo>
                    <a:pt x="0" y="18"/>
                  </a:lnTo>
                  <a:lnTo>
                    <a:pt x="3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2" name="Freeform 314"/>
            <p:cNvSpPr>
              <a:spLocks/>
            </p:cNvSpPr>
            <p:nvPr/>
          </p:nvSpPr>
          <p:spPr bwMode="auto">
            <a:xfrm>
              <a:off x="-3552825" y="4751388"/>
              <a:ext cx="63500" cy="63500"/>
            </a:xfrm>
            <a:custGeom>
              <a:avLst/>
              <a:gdLst>
                <a:gd name="T0" fmla="*/ 7 w 40"/>
                <a:gd name="T1" fmla="*/ 0 h 40"/>
                <a:gd name="T2" fmla="*/ 40 w 40"/>
                <a:gd name="T3" fmla="*/ 5 h 40"/>
                <a:gd name="T4" fmla="*/ 35 w 40"/>
                <a:gd name="T5" fmla="*/ 40 h 40"/>
                <a:gd name="T6" fmla="*/ 0 w 40"/>
                <a:gd name="T7" fmla="*/ 34 h 40"/>
                <a:gd name="T8" fmla="*/ 7 w 40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7" y="0"/>
                  </a:moveTo>
                  <a:lnTo>
                    <a:pt x="40" y="5"/>
                  </a:lnTo>
                  <a:lnTo>
                    <a:pt x="35" y="40"/>
                  </a:lnTo>
                  <a:lnTo>
                    <a:pt x="0" y="3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3" name="Freeform 315"/>
            <p:cNvSpPr>
              <a:spLocks/>
            </p:cNvSpPr>
            <p:nvPr/>
          </p:nvSpPr>
          <p:spPr bwMode="auto">
            <a:xfrm>
              <a:off x="-3567113" y="4878388"/>
              <a:ext cx="57150" cy="34925"/>
            </a:xfrm>
            <a:custGeom>
              <a:avLst/>
              <a:gdLst>
                <a:gd name="T0" fmla="*/ 3 w 36"/>
                <a:gd name="T1" fmla="*/ 0 h 22"/>
                <a:gd name="T2" fmla="*/ 36 w 36"/>
                <a:gd name="T3" fmla="*/ 5 h 22"/>
                <a:gd name="T4" fmla="*/ 34 w 36"/>
                <a:gd name="T5" fmla="*/ 22 h 22"/>
                <a:gd name="T6" fmla="*/ 17 w 36"/>
                <a:gd name="T7" fmla="*/ 18 h 22"/>
                <a:gd name="T8" fmla="*/ 0 w 36"/>
                <a:gd name="T9" fmla="*/ 13 h 22"/>
                <a:gd name="T10" fmla="*/ 3 w 36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2">
                  <a:moveTo>
                    <a:pt x="3" y="0"/>
                  </a:moveTo>
                  <a:lnTo>
                    <a:pt x="36" y="5"/>
                  </a:lnTo>
                  <a:lnTo>
                    <a:pt x="34" y="22"/>
                  </a:lnTo>
                  <a:lnTo>
                    <a:pt x="17" y="18"/>
                  </a:lnTo>
                  <a:lnTo>
                    <a:pt x="0" y="1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4" name="Freeform 316"/>
            <p:cNvSpPr>
              <a:spLocks/>
            </p:cNvSpPr>
            <p:nvPr/>
          </p:nvSpPr>
          <p:spPr bwMode="auto">
            <a:xfrm>
              <a:off x="-3621088" y="4275138"/>
              <a:ext cx="31750" cy="95250"/>
            </a:xfrm>
            <a:custGeom>
              <a:avLst/>
              <a:gdLst>
                <a:gd name="T0" fmla="*/ 0 w 20"/>
                <a:gd name="T1" fmla="*/ 0 h 60"/>
                <a:gd name="T2" fmla="*/ 11 w 20"/>
                <a:gd name="T3" fmla="*/ 13 h 60"/>
                <a:gd name="T4" fmla="*/ 20 w 20"/>
                <a:gd name="T5" fmla="*/ 27 h 60"/>
                <a:gd name="T6" fmla="*/ 15 w 20"/>
                <a:gd name="T7" fmla="*/ 33 h 60"/>
                <a:gd name="T8" fmla="*/ 9 w 20"/>
                <a:gd name="T9" fmla="*/ 45 h 60"/>
                <a:gd name="T10" fmla="*/ 2 w 20"/>
                <a:gd name="T11" fmla="*/ 60 h 60"/>
                <a:gd name="T12" fmla="*/ 0 w 20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0">
                  <a:moveTo>
                    <a:pt x="0" y="0"/>
                  </a:moveTo>
                  <a:lnTo>
                    <a:pt x="11" y="13"/>
                  </a:lnTo>
                  <a:lnTo>
                    <a:pt x="20" y="27"/>
                  </a:lnTo>
                  <a:lnTo>
                    <a:pt x="15" y="33"/>
                  </a:lnTo>
                  <a:lnTo>
                    <a:pt x="9" y="45"/>
                  </a:lnTo>
                  <a:lnTo>
                    <a:pt x="2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5" name="Freeform 317"/>
            <p:cNvSpPr>
              <a:spLocks/>
            </p:cNvSpPr>
            <p:nvPr/>
          </p:nvSpPr>
          <p:spPr bwMode="auto">
            <a:xfrm>
              <a:off x="-3751263" y="4219575"/>
              <a:ext cx="93663" cy="901700"/>
            </a:xfrm>
            <a:custGeom>
              <a:avLst/>
              <a:gdLst>
                <a:gd name="T0" fmla="*/ 0 w 59"/>
                <a:gd name="T1" fmla="*/ 0 h 568"/>
                <a:gd name="T2" fmla="*/ 34 w 59"/>
                <a:gd name="T3" fmla="*/ 9 h 568"/>
                <a:gd name="T4" fmla="*/ 59 w 59"/>
                <a:gd name="T5" fmla="*/ 543 h 568"/>
                <a:gd name="T6" fmla="*/ 43 w 59"/>
                <a:gd name="T7" fmla="*/ 557 h 568"/>
                <a:gd name="T8" fmla="*/ 25 w 59"/>
                <a:gd name="T9" fmla="*/ 568 h 568"/>
                <a:gd name="T10" fmla="*/ 0 w 59"/>
                <a:gd name="T11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568">
                  <a:moveTo>
                    <a:pt x="0" y="0"/>
                  </a:moveTo>
                  <a:lnTo>
                    <a:pt x="34" y="9"/>
                  </a:lnTo>
                  <a:lnTo>
                    <a:pt x="59" y="543"/>
                  </a:lnTo>
                  <a:lnTo>
                    <a:pt x="43" y="557"/>
                  </a:lnTo>
                  <a:lnTo>
                    <a:pt x="25" y="5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6" name="Freeform 318"/>
            <p:cNvSpPr>
              <a:spLocks/>
            </p:cNvSpPr>
            <p:nvPr/>
          </p:nvSpPr>
          <p:spPr bwMode="auto">
            <a:xfrm>
              <a:off x="-3790950" y="4254500"/>
              <a:ext cx="195263" cy="61913"/>
            </a:xfrm>
            <a:custGeom>
              <a:avLst/>
              <a:gdLst>
                <a:gd name="T0" fmla="*/ 89 w 123"/>
                <a:gd name="T1" fmla="*/ 0 h 39"/>
                <a:gd name="T2" fmla="*/ 109 w 123"/>
                <a:gd name="T3" fmla="*/ 16 h 39"/>
                <a:gd name="T4" fmla="*/ 123 w 123"/>
                <a:gd name="T5" fmla="*/ 34 h 39"/>
                <a:gd name="T6" fmla="*/ 4 w 123"/>
                <a:gd name="T7" fmla="*/ 39 h 39"/>
                <a:gd name="T8" fmla="*/ 0 w 123"/>
                <a:gd name="T9" fmla="*/ 4 h 39"/>
                <a:gd name="T10" fmla="*/ 89 w 123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39">
                  <a:moveTo>
                    <a:pt x="89" y="0"/>
                  </a:moveTo>
                  <a:lnTo>
                    <a:pt x="109" y="16"/>
                  </a:lnTo>
                  <a:lnTo>
                    <a:pt x="123" y="34"/>
                  </a:lnTo>
                  <a:lnTo>
                    <a:pt x="4" y="39"/>
                  </a:lnTo>
                  <a:lnTo>
                    <a:pt x="0" y="4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7" name="Freeform 319"/>
            <p:cNvSpPr>
              <a:spLocks/>
            </p:cNvSpPr>
            <p:nvPr/>
          </p:nvSpPr>
          <p:spPr bwMode="auto">
            <a:xfrm>
              <a:off x="-3778250" y="4381500"/>
              <a:ext cx="157163" cy="60325"/>
            </a:xfrm>
            <a:custGeom>
              <a:avLst/>
              <a:gdLst>
                <a:gd name="T0" fmla="*/ 99 w 99"/>
                <a:gd name="T1" fmla="*/ 0 h 38"/>
                <a:gd name="T2" fmla="*/ 86 w 99"/>
                <a:gd name="T3" fmla="*/ 34 h 38"/>
                <a:gd name="T4" fmla="*/ 2 w 99"/>
                <a:gd name="T5" fmla="*/ 38 h 38"/>
                <a:gd name="T6" fmla="*/ 0 w 99"/>
                <a:gd name="T7" fmla="*/ 4 h 38"/>
                <a:gd name="T8" fmla="*/ 99 w 9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38">
                  <a:moveTo>
                    <a:pt x="99" y="0"/>
                  </a:moveTo>
                  <a:lnTo>
                    <a:pt x="86" y="34"/>
                  </a:lnTo>
                  <a:lnTo>
                    <a:pt x="2" y="38"/>
                  </a:lnTo>
                  <a:lnTo>
                    <a:pt x="0" y="4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8" name="Freeform 320"/>
            <p:cNvSpPr>
              <a:spLocks/>
            </p:cNvSpPr>
            <p:nvPr/>
          </p:nvSpPr>
          <p:spPr bwMode="auto">
            <a:xfrm>
              <a:off x="-3768725" y="4510088"/>
              <a:ext cx="120650" cy="58738"/>
            </a:xfrm>
            <a:custGeom>
              <a:avLst/>
              <a:gdLst>
                <a:gd name="T0" fmla="*/ 73 w 76"/>
                <a:gd name="T1" fmla="*/ 0 h 37"/>
                <a:gd name="T2" fmla="*/ 75 w 76"/>
                <a:gd name="T3" fmla="*/ 20 h 37"/>
                <a:gd name="T4" fmla="*/ 76 w 76"/>
                <a:gd name="T5" fmla="*/ 27 h 37"/>
                <a:gd name="T6" fmla="*/ 76 w 76"/>
                <a:gd name="T7" fmla="*/ 34 h 37"/>
                <a:gd name="T8" fmla="*/ 2 w 76"/>
                <a:gd name="T9" fmla="*/ 37 h 37"/>
                <a:gd name="T10" fmla="*/ 0 w 76"/>
                <a:gd name="T11" fmla="*/ 3 h 37"/>
                <a:gd name="T12" fmla="*/ 73 w 7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37">
                  <a:moveTo>
                    <a:pt x="73" y="0"/>
                  </a:moveTo>
                  <a:lnTo>
                    <a:pt x="75" y="20"/>
                  </a:lnTo>
                  <a:lnTo>
                    <a:pt x="76" y="27"/>
                  </a:lnTo>
                  <a:lnTo>
                    <a:pt x="76" y="34"/>
                  </a:lnTo>
                  <a:lnTo>
                    <a:pt x="2" y="37"/>
                  </a:lnTo>
                  <a:lnTo>
                    <a:pt x="0" y="3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9" name="Freeform 321"/>
            <p:cNvSpPr>
              <a:spLocks/>
            </p:cNvSpPr>
            <p:nvPr/>
          </p:nvSpPr>
          <p:spPr bwMode="auto">
            <a:xfrm>
              <a:off x="-3762375" y="4635500"/>
              <a:ext cx="120650" cy="58738"/>
            </a:xfrm>
            <a:custGeom>
              <a:avLst/>
              <a:gdLst>
                <a:gd name="T0" fmla="*/ 75 w 76"/>
                <a:gd name="T1" fmla="*/ 0 h 37"/>
                <a:gd name="T2" fmla="*/ 76 w 76"/>
                <a:gd name="T3" fmla="*/ 35 h 37"/>
                <a:gd name="T4" fmla="*/ 3 w 76"/>
                <a:gd name="T5" fmla="*/ 37 h 37"/>
                <a:gd name="T6" fmla="*/ 0 w 76"/>
                <a:gd name="T7" fmla="*/ 4 h 37"/>
                <a:gd name="T8" fmla="*/ 75 w 76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7">
                  <a:moveTo>
                    <a:pt x="75" y="0"/>
                  </a:moveTo>
                  <a:lnTo>
                    <a:pt x="76" y="35"/>
                  </a:lnTo>
                  <a:lnTo>
                    <a:pt x="3" y="37"/>
                  </a:lnTo>
                  <a:lnTo>
                    <a:pt x="0" y="4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0" name="Freeform 322"/>
            <p:cNvSpPr>
              <a:spLocks/>
            </p:cNvSpPr>
            <p:nvPr/>
          </p:nvSpPr>
          <p:spPr bwMode="auto">
            <a:xfrm>
              <a:off x="-3754438" y="4762500"/>
              <a:ext cx="115888" cy="60325"/>
            </a:xfrm>
            <a:custGeom>
              <a:avLst/>
              <a:gdLst>
                <a:gd name="T0" fmla="*/ 72 w 73"/>
                <a:gd name="T1" fmla="*/ 0 h 38"/>
                <a:gd name="T2" fmla="*/ 73 w 73"/>
                <a:gd name="T3" fmla="*/ 34 h 38"/>
                <a:gd name="T4" fmla="*/ 2 w 73"/>
                <a:gd name="T5" fmla="*/ 38 h 38"/>
                <a:gd name="T6" fmla="*/ 0 w 73"/>
                <a:gd name="T7" fmla="*/ 4 h 38"/>
                <a:gd name="T8" fmla="*/ 72 w 7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38">
                  <a:moveTo>
                    <a:pt x="72" y="0"/>
                  </a:moveTo>
                  <a:lnTo>
                    <a:pt x="73" y="34"/>
                  </a:lnTo>
                  <a:lnTo>
                    <a:pt x="2" y="38"/>
                  </a:lnTo>
                  <a:lnTo>
                    <a:pt x="0" y="4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1" name="Freeform 323"/>
            <p:cNvSpPr>
              <a:spLocks/>
            </p:cNvSpPr>
            <p:nvPr/>
          </p:nvSpPr>
          <p:spPr bwMode="auto">
            <a:xfrm>
              <a:off x="-3746500" y="4887913"/>
              <a:ext cx="125413" cy="61913"/>
            </a:xfrm>
            <a:custGeom>
              <a:avLst/>
              <a:gdLst>
                <a:gd name="T0" fmla="*/ 72 w 79"/>
                <a:gd name="T1" fmla="*/ 0 h 39"/>
                <a:gd name="T2" fmla="*/ 77 w 79"/>
                <a:gd name="T3" fmla="*/ 25 h 39"/>
                <a:gd name="T4" fmla="*/ 79 w 79"/>
                <a:gd name="T5" fmla="*/ 35 h 39"/>
                <a:gd name="T6" fmla="*/ 4 w 79"/>
                <a:gd name="T7" fmla="*/ 39 h 39"/>
                <a:gd name="T8" fmla="*/ 3 w 79"/>
                <a:gd name="T9" fmla="*/ 25 h 39"/>
                <a:gd name="T10" fmla="*/ 2 w 79"/>
                <a:gd name="T11" fmla="*/ 14 h 39"/>
                <a:gd name="T12" fmla="*/ 0 w 79"/>
                <a:gd name="T13" fmla="*/ 4 h 39"/>
                <a:gd name="T14" fmla="*/ 72 w 79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">
                  <a:moveTo>
                    <a:pt x="72" y="0"/>
                  </a:moveTo>
                  <a:lnTo>
                    <a:pt x="77" y="25"/>
                  </a:lnTo>
                  <a:lnTo>
                    <a:pt x="79" y="35"/>
                  </a:lnTo>
                  <a:lnTo>
                    <a:pt x="4" y="39"/>
                  </a:lnTo>
                  <a:lnTo>
                    <a:pt x="3" y="25"/>
                  </a:lnTo>
                  <a:lnTo>
                    <a:pt x="2" y="14"/>
                  </a:lnTo>
                  <a:lnTo>
                    <a:pt x="0" y="4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2" name="Freeform 324"/>
            <p:cNvSpPr>
              <a:spLocks/>
            </p:cNvSpPr>
            <p:nvPr/>
          </p:nvSpPr>
          <p:spPr bwMode="auto">
            <a:xfrm>
              <a:off x="-3735388" y="5016500"/>
              <a:ext cx="111125" cy="58738"/>
            </a:xfrm>
            <a:custGeom>
              <a:avLst/>
              <a:gdLst>
                <a:gd name="T0" fmla="*/ 70 w 70"/>
                <a:gd name="T1" fmla="*/ 0 h 37"/>
                <a:gd name="T2" fmla="*/ 64 w 70"/>
                <a:gd name="T3" fmla="*/ 18 h 37"/>
                <a:gd name="T4" fmla="*/ 54 w 70"/>
                <a:gd name="T5" fmla="*/ 35 h 37"/>
                <a:gd name="T6" fmla="*/ 1 w 70"/>
                <a:gd name="T7" fmla="*/ 37 h 37"/>
                <a:gd name="T8" fmla="*/ 1 w 70"/>
                <a:gd name="T9" fmla="*/ 21 h 37"/>
                <a:gd name="T10" fmla="*/ 0 w 70"/>
                <a:gd name="T11" fmla="*/ 3 h 37"/>
                <a:gd name="T12" fmla="*/ 70 w 7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7">
                  <a:moveTo>
                    <a:pt x="70" y="0"/>
                  </a:moveTo>
                  <a:lnTo>
                    <a:pt x="64" y="18"/>
                  </a:lnTo>
                  <a:lnTo>
                    <a:pt x="54" y="35"/>
                  </a:lnTo>
                  <a:lnTo>
                    <a:pt x="1" y="37"/>
                  </a:lnTo>
                  <a:lnTo>
                    <a:pt x="1" y="21"/>
                  </a:lnTo>
                  <a:lnTo>
                    <a:pt x="0" y="3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3" name="Freeform 325"/>
            <p:cNvSpPr>
              <a:spLocks/>
            </p:cNvSpPr>
            <p:nvPr/>
          </p:nvSpPr>
          <p:spPr bwMode="auto">
            <a:xfrm>
              <a:off x="-3621088" y="4275138"/>
              <a:ext cx="25400" cy="33338"/>
            </a:xfrm>
            <a:custGeom>
              <a:avLst/>
              <a:gdLst>
                <a:gd name="T0" fmla="*/ 0 w 16"/>
                <a:gd name="T1" fmla="*/ 0 h 21"/>
                <a:gd name="T2" fmla="*/ 6 w 16"/>
                <a:gd name="T3" fmla="*/ 6 h 21"/>
                <a:gd name="T4" fmla="*/ 11 w 16"/>
                <a:gd name="T5" fmla="*/ 13 h 21"/>
                <a:gd name="T6" fmla="*/ 16 w 16"/>
                <a:gd name="T7" fmla="*/ 21 h 21"/>
                <a:gd name="T8" fmla="*/ 0 w 16"/>
                <a:gd name="T9" fmla="*/ 21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lnTo>
                    <a:pt x="6" y="6"/>
                  </a:lnTo>
                  <a:lnTo>
                    <a:pt x="11" y="13"/>
                  </a:lnTo>
                  <a:lnTo>
                    <a:pt x="16" y="21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4" name="Freeform 326"/>
            <p:cNvSpPr>
              <a:spLocks/>
            </p:cNvSpPr>
            <p:nvPr/>
          </p:nvSpPr>
          <p:spPr bwMode="auto">
            <a:xfrm>
              <a:off x="-3749675" y="4257675"/>
              <a:ext cx="57150" cy="55563"/>
            </a:xfrm>
            <a:custGeom>
              <a:avLst/>
              <a:gdLst>
                <a:gd name="T0" fmla="*/ 34 w 36"/>
                <a:gd name="T1" fmla="*/ 0 h 35"/>
                <a:gd name="T2" fmla="*/ 36 w 36"/>
                <a:gd name="T3" fmla="*/ 34 h 35"/>
                <a:gd name="T4" fmla="*/ 1 w 36"/>
                <a:gd name="T5" fmla="*/ 35 h 35"/>
                <a:gd name="T6" fmla="*/ 0 w 36"/>
                <a:gd name="T7" fmla="*/ 1 h 35"/>
                <a:gd name="T8" fmla="*/ 34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4" y="0"/>
                  </a:moveTo>
                  <a:lnTo>
                    <a:pt x="36" y="34"/>
                  </a:lnTo>
                  <a:lnTo>
                    <a:pt x="1" y="35"/>
                  </a:lnTo>
                  <a:lnTo>
                    <a:pt x="0" y="1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5" name="Freeform 327"/>
            <p:cNvSpPr>
              <a:spLocks/>
            </p:cNvSpPr>
            <p:nvPr/>
          </p:nvSpPr>
          <p:spPr bwMode="auto">
            <a:xfrm>
              <a:off x="-3743325" y="4383088"/>
              <a:ext cx="57150" cy="57150"/>
            </a:xfrm>
            <a:custGeom>
              <a:avLst/>
              <a:gdLst>
                <a:gd name="T0" fmla="*/ 33 w 36"/>
                <a:gd name="T1" fmla="*/ 0 h 36"/>
                <a:gd name="T2" fmla="*/ 36 w 36"/>
                <a:gd name="T3" fmla="*/ 35 h 36"/>
                <a:gd name="T4" fmla="*/ 1 w 36"/>
                <a:gd name="T5" fmla="*/ 36 h 36"/>
                <a:gd name="T6" fmla="*/ 0 w 36"/>
                <a:gd name="T7" fmla="*/ 3 h 36"/>
                <a:gd name="T8" fmla="*/ 33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3" y="0"/>
                  </a:moveTo>
                  <a:lnTo>
                    <a:pt x="36" y="35"/>
                  </a:lnTo>
                  <a:lnTo>
                    <a:pt x="1" y="36"/>
                  </a:lnTo>
                  <a:lnTo>
                    <a:pt x="0" y="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6" name="Freeform 328"/>
            <p:cNvSpPr>
              <a:spLocks/>
            </p:cNvSpPr>
            <p:nvPr/>
          </p:nvSpPr>
          <p:spPr bwMode="auto">
            <a:xfrm>
              <a:off x="-3736975" y="4511675"/>
              <a:ext cx="55563" cy="57150"/>
            </a:xfrm>
            <a:custGeom>
              <a:avLst/>
              <a:gdLst>
                <a:gd name="T0" fmla="*/ 33 w 35"/>
                <a:gd name="T1" fmla="*/ 0 h 36"/>
                <a:gd name="T2" fmla="*/ 35 w 35"/>
                <a:gd name="T3" fmla="*/ 33 h 36"/>
                <a:gd name="T4" fmla="*/ 1 w 35"/>
                <a:gd name="T5" fmla="*/ 36 h 36"/>
                <a:gd name="T6" fmla="*/ 0 w 35"/>
                <a:gd name="T7" fmla="*/ 1 h 36"/>
                <a:gd name="T8" fmla="*/ 33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3" y="0"/>
                  </a:moveTo>
                  <a:lnTo>
                    <a:pt x="35" y="33"/>
                  </a:lnTo>
                  <a:lnTo>
                    <a:pt x="1" y="36"/>
                  </a:lnTo>
                  <a:lnTo>
                    <a:pt x="0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7" name="Freeform 329"/>
            <p:cNvSpPr>
              <a:spLocks/>
            </p:cNvSpPr>
            <p:nvPr/>
          </p:nvSpPr>
          <p:spPr bwMode="auto">
            <a:xfrm>
              <a:off x="-3732213" y="4637088"/>
              <a:ext cx="55563" cy="57150"/>
            </a:xfrm>
            <a:custGeom>
              <a:avLst/>
              <a:gdLst>
                <a:gd name="T0" fmla="*/ 34 w 35"/>
                <a:gd name="T1" fmla="*/ 0 h 36"/>
                <a:gd name="T2" fmla="*/ 35 w 35"/>
                <a:gd name="T3" fmla="*/ 35 h 36"/>
                <a:gd name="T4" fmla="*/ 2 w 35"/>
                <a:gd name="T5" fmla="*/ 36 h 36"/>
                <a:gd name="T6" fmla="*/ 0 w 35"/>
                <a:gd name="T7" fmla="*/ 2 h 36"/>
                <a:gd name="T8" fmla="*/ 34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4" y="0"/>
                  </a:moveTo>
                  <a:lnTo>
                    <a:pt x="35" y="35"/>
                  </a:lnTo>
                  <a:lnTo>
                    <a:pt x="2" y="36"/>
                  </a:lnTo>
                  <a:lnTo>
                    <a:pt x="0" y="2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8" name="Freeform 330"/>
            <p:cNvSpPr>
              <a:spLocks/>
            </p:cNvSpPr>
            <p:nvPr/>
          </p:nvSpPr>
          <p:spPr bwMode="auto">
            <a:xfrm>
              <a:off x="-3727450" y="4764088"/>
              <a:ext cx="57150" cy="57150"/>
            </a:xfrm>
            <a:custGeom>
              <a:avLst/>
              <a:gdLst>
                <a:gd name="T0" fmla="*/ 35 w 36"/>
                <a:gd name="T1" fmla="*/ 0 h 36"/>
                <a:gd name="T2" fmla="*/ 36 w 36"/>
                <a:gd name="T3" fmla="*/ 35 h 36"/>
                <a:gd name="T4" fmla="*/ 3 w 36"/>
                <a:gd name="T5" fmla="*/ 36 h 36"/>
                <a:gd name="T6" fmla="*/ 0 w 36"/>
                <a:gd name="T7" fmla="*/ 1 h 36"/>
                <a:gd name="T8" fmla="*/ 35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5" y="0"/>
                  </a:moveTo>
                  <a:lnTo>
                    <a:pt x="36" y="35"/>
                  </a:lnTo>
                  <a:lnTo>
                    <a:pt x="3" y="36"/>
                  </a:lnTo>
                  <a:lnTo>
                    <a:pt x="0" y="1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9" name="Freeform 331"/>
            <p:cNvSpPr>
              <a:spLocks/>
            </p:cNvSpPr>
            <p:nvPr/>
          </p:nvSpPr>
          <p:spPr bwMode="auto">
            <a:xfrm>
              <a:off x="-3721100" y="4891088"/>
              <a:ext cx="57150" cy="55563"/>
            </a:xfrm>
            <a:custGeom>
              <a:avLst/>
              <a:gdLst>
                <a:gd name="T0" fmla="*/ 34 w 36"/>
                <a:gd name="T1" fmla="*/ 0 h 35"/>
                <a:gd name="T2" fmla="*/ 36 w 36"/>
                <a:gd name="T3" fmla="*/ 34 h 35"/>
                <a:gd name="T4" fmla="*/ 2 w 36"/>
                <a:gd name="T5" fmla="*/ 35 h 35"/>
                <a:gd name="T6" fmla="*/ 0 w 36"/>
                <a:gd name="T7" fmla="*/ 1 h 35"/>
                <a:gd name="T8" fmla="*/ 34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4" y="0"/>
                  </a:moveTo>
                  <a:lnTo>
                    <a:pt x="36" y="34"/>
                  </a:lnTo>
                  <a:lnTo>
                    <a:pt x="2" y="35"/>
                  </a:lnTo>
                  <a:lnTo>
                    <a:pt x="0" y="1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0" name="Freeform 332"/>
            <p:cNvSpPr>
              <a:spLocks/>
            </p:cNvSpPr>
            <p:nvPr/>
          </p:nvSpPr>
          <p:spPr bwMode="auto">
            <a:xfrm>
              <a:off x="-3714750" y="5016500"/>
              <a:ext cx="57150" cy="57150"/>
            </a:xfrm>
            <a:custGeom>
              <a:avLst/>
              <a:gdLst>
                <a:gd name="T0" fmla="*/ 34 w 36"/>
                <a:gd name="T1" fmla="*/ 0 h 36"/>
                <a:gd name="T2" fmla="*/ 36 w 36"/>
                <a:gd name="T3" fmla="*/ 35 h 36"/>
                <a:gd name="T4" fmla="*/ 1 w 36"/>
                <a:gd name="T5" fmla="*/ 36 h 36"/>
                <a:gd name="T6" fmla="*/ 0 w 36"/>
                <a:gd name="T7" fmla="*/ 3 h 36"/>
                <a:gd name="T8" fmla="*/ 34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4" y="0"/>
                  </a:moveTo>
                  <a:lnTo>
                    <a:pt x="36" y="35"/>
                  </a:lnTo>
                  <a:lnTo>
                    <a:pt x="1" y="36"/>
                  </a:lnTo>
                  <a:lnTo>
                    <a:pt x="0" y="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1" name="Freeform 333"/>
            <p:cNvSpPr>
              <a:spLocks/>
            </p:cNvSpPr>
            <p:nvPr/>
          </p:nvSpPr>
          <p:spPr bwMode="auto">
            <a:xfrm>
              <a:off x="-3771900" y="4205288"/>
              <a:ext cx="215900" cy="831850"/>
            </a:xfrm>
            <a:custGeom>
              <a:avLst/>
              <a:gdLst>
                <a:gd name="T0" fmla="*/ 2 w 136"/>
                <a:gd name="T1" fmla="*/ 0 h 524"/>
                <a:gd name="T2" fmla="*/ 39 w 136"/>
                <a:gd name="T3" fmla="*/ 8 h 524"/>
                <a:gd name="T4" fmla="*/ 37 w 136"/>
                <a:gd name="T5" fmla="*/ 27 h 524"/>
                <a:gd name="T6" fmla="*/ 37 w 136"/>
                <a:gd name="T7" fmla="*/ 52 h 524"/>
                <a:gd name="T8" fmla="*/ 38 w 136"/>
                <a:gd name="T9" fmla="*/ 81 h 524"/>
                <a:gd name="T10" fmla="*/ 42 w 136"/>
                <a:gd name="T11" fmla="*/ 116 h 524"/>
                <a:gd name="T12" fmla="*/ 46 w 136"/>
                <a:gd name="T13" fmla="*/ 153 h 524"/>
                <a:gd name="T14" fmla="*/ 52 w 136"/>
                <a:gd name="T15" fmla="*/ 193 h 524"/>
                <a:gd name="T16" fmla="*/ 60 w 136"/>
                <a:gd name="T17" fmla="*/ 234 h 524"/>
                <a:gd name="T18" fmla="*/ 72 w 136"/>
                <a:gd name="T19" fmla="*/ 292 h 524"/>
                <a:gd name="T20" fmla="*/ 86 w 136"/>
                <a:gd name="T21" fmla="*/ 349 h 524"/>
                <a:gd name="T22" fmla="*/ 101 w 136"/>
                <a:gd name="T23" fmla="*/ 407 h 524"/>
                <a:gd name="T24" fmla="*/ 118 w 136"/>
                <a:gd name="T25" fmla="*/ 460 h 524"/>
                <a:gd name="T26" fmla="*/ 136 w 136"/>
                <a:gd name="T27" fmla="*/ 510 h 524"/>
                <a:gd name="T28" fmla="*/ 101 w 136"/>
                <a:gd name="T29" fmla="*/ 524 h 524"/>
                <a:gd name="T30" fmla="*/ 82 w 136"/>
                <a:gd name="T31" fmla="*/ 473 h 524"/>
                <a:gd name="T32" fmla="*/ 65 w 136"/>
                <a:gd name="T33" fmla="*/ 417 h 524"/>
                <a:gd name="T34" fmla="*/ 50 w 136"/>
                <a:gd name="T35" fmla="*/ 360 h 524"/>
                <a:gd name="T36" fmla="*/ 36 w 136"/>
                <a:gd name="T37" fmla="*/ 301 h 524"/>
                <a:gd name="T38" fmla="*/ 23 w 136"/>
                <a:gd name="T39" fmla="*/ 242 h 524"/>
                <a:gd name="T40" fmla="*/ 15 w 136"/>
                <a:gd name="T41" fmla="*/ 198 h 524"/>
                <a:gd name="T42" fmla="*/ 9 w 136"/>
                <a:gd name="T43" fmla="*/ 156 h 524"/>
                <a:gd name="T44" fmla="*/ 4 w 136"/>
                <a:gd name="T45" fmla="*/ 116 h 524"/>
                <a:gd name="T46" fmla="*/ 1 w 136"/>
                <a:gd name="T47" fmla="*/ 81 h 524"/>
                <a:gd name="T48" fmla="*/ 0 w 136"/>
                <a:gd name="T49" fmla="*/ 49 h 524"/>
                <a:gd name="T50" fmla="*/ 0 w 136"/>
                <a:gd name="T51" fmla="*/ 22 h 524"/>
                <a:gd name="T52" fmla="*/ 2 w 136"/>
                <a:gd name="T53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524">
                  <a:moveTo>
                    <a:pt x="2" y="0"/>
                  </a:moveTo>
                  <a:lnTo>
                    <a:pt x="39" y="8"/>
                  </a:lnTo>
                  <a:lnTo>
                    <a:pt x="37" y="27"/>
                  </a:lnTo>
                  <a:lnTo>
                    <a:pt x="37" y="52"/>
                  </a:lnTo>
                  <a:lnTo>
                    <a:pt x="38" y="81"/>
                  </a:lnTo>
                  <a:lnTo>
                    <a:pt x="42" y="116"/>
                  </a:lnTo>
                  <a:lnTo>
                    <a:pt x="46" y="153"/>
                  </a:lnTo>
                  <a:lnTo>
                    <a:pt x="52" y="193"/>
                  </a:lnTo>
                  <a:lnTo>
                    <a:pt x="60" y="234"/>
                  </a:lnTo>
                  <a:lnTo>
                    <a:pt x="72" y="292"/>
                  </a:lnTo>
                  <a:lnTo>
                    <a:pt x="86" y="349"/>
                  </a:lnTo>
                  <a:lnTo>
                    <a:pt x="101" y="407"/>
                  </a:lnTo>
                  <a:lnTo>
                    <a:pt x="118" y="460"/>
                  </a:lnTo>
                  <a:lnTo>
                    <a:pt x="136" y="510"/>
                  </a:lnTo>
                  <a:lnTo>
                    <a:pt x="101" y="524"/>
                  </a:lnTo>
                  <a:lnTo>
                    <a:pt x="82" y="473"/>
                  </a:lnTo>
                  <a:lnTo>
                    <a:pt x="65" y="417"/>
                  </a:lnTo>
                  <a:lnTo>
                    <a:pt x="50" y="360"/>
                  </a:lnTo>
                  <a:lnTo>
                    <a:pt x="36" y="301"/>
                  </a:lnTo>
                  <a:lnTo>
                    <a:pt x="23" y="242"/>
                  </a:lnTo>
                  <a:lnTo>
                    <a:pt x="15" y="198"/>
                  </a:lnTo>
                  <a:lnTo>
                    <a:pt x="9" y="156"/>
                  </a:lnTo>
                  <a:lnTo>
                    <a:pt x="4" y="116"/>
                  </a:lnTo>
                  <a:lnTo>
                    <a:pt x="1" y="81"/>
                  </a:lnTo>
                  <a:lnTo>
                    <a:pt x="0" y="49"/>
                  </a:lnTo>
                  <a:lnTo>
                    <a:pt x="0" y="2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FB33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2" name="Freeform 334"/>
            <p:cNvSpPr>
              <a:spLocks/>
            </p:cNvSpPr>
            <p:nvPr/>
          </p:nvSpPr>
          <p:spPr bwMode="auto">
            <a:xfrm>
              <a:off x="-3633788" y="4930775"/>
              <a:ext cx="131763" cy="171450"/>
            </a:xfrm>
            <a:custGeom>
              <a:avLst/>
              <a:gdLst>
                <a:gd name="T0" fmla="*/ 65 w 83"/>
                <a:gd name="T1" fmla="*/ 4 h 108"/>
                <a:gd name="T2" fmla="*/ 76 w 83"/>
                <a:gd name="T3" fmla="*/ 28 h 108"/>
                <a:gd name="T4" fmla="*/ 82 w 83"/>
                <a:gd name="T5" fmla="*/ 62 h 108"/>
                <a:gd name="T6" fmla="*/ 83 w 83"/>
                <a:gd name="T7" fmla="*/ 87 h 108"/>
                <a:gd name="T8" fmla="*/ 81 w 83"/>
                <a:gd name="T9" fmla="*/ 95 h 108"/>
                <a:gd name="T10" fmla="*/ 77 w 83"/>
                <a:gd name="T11" fmla="*/ 98 h 108"/>
                <a:gd name="T12" fmla="*/ 72 w 83"/>
                <a:gd name="T13" fmla="*/ 94 h 108"/>
                <a:gd name="T14" fmla="*/ 69 w 83"/>
                <a:gd name="T15" fmla="*/ 93 h 108"/>
                <a:gd name="T16" fmla="*/ 68 w 83"/>
                <a:gd name="T17" fmla="*/ 95 h 108"/>
                <a:gd name="T18" fmla="*/ 67 w 83"/>
                <a:gd name="T19" fmla="*/ 99 h 108"/>
                <a:gd name="T20" fmla="*/ 63 w 83"/>
                <a:gd name="T21" fmla="*/ 103 h 108"/>
                <a:gd name="T22" fmla="*/ 58 w 83"/>
                <a:gd name="T23" fmla="*/ 102 h 108"/>
                <a:gd name="T24" fmla="*/ 53 w 83"/>
                <a:gd name="T25" fmla="*/ 99 h 108"/>
                <a:gd name="T26" fmla="*/ 50 w 83"/>
                <a:gd name="T27" fmla="*/ 100 h 108"/>
                <a:gd name="T28" fmla="*/ 47 w 83"/>
                <a:gd name="T29" fmla="*/ 104 h 108"/>
                <a:gd name="T30" fmla="*/ 42 w 83"/>
                <a:gd name="T31" fmla="*/ 107 h 108"/>
                <a:gd name="T32" fmla="*/ 36 w 83"/>
                <a:gd name="T33" fmla="*/ 104 h 108"/>
                <a:gd name="T34" fmla="*/ 32 w 83"/>
                <a:gd name="T35" fmla="*/ 104 h 108"/>
                <a:gd name="T36" fmla="*/ 29 w 83"/>
                <a:gd name="T37" fmla="*/ 107 h 108"/>
                <a:gd name="T38" fmla="*/ 24 w 83"/>
                <a:gd name="T39" fmla="*/ 107 h 108"/>
                <a:gd name="T40" fmla="*/ 22 w 83"/>
                <a:gd name="T41" fmla="*/ 103 h 108"/>
                <a:gd name="T42" fmla="*/ 19 w 83"/>
                <a:gd name="T43" fmla="*/ 81 h 108"/>
                <a:gd name="T44" fmla="*/ 18 w 83"/>
                <a:gd name="T45" fmla="*/ 71 h 108"/>
                <a:gd name="T46" fmla="*/ 15 w 83"/>
                <a:gd name="T47" fmla="*/ 72 h 108"/>
                <a:gd name="T48" fmla="*/ 13 w 83"/>
                <a:gd name="T49" fmla="*/ 75 h 108"/>
                <a:gd name="T50" fmla="*/ 9 w 83"/>
                <a:gd name="T51" fmla="*/ 80 h 108"/>
                <a:gd name="T52" fmla="*/ 6 w 83"/>
                <a:gd name="T53" fmla="*/ 84 h 108"/>
                <a:gd name="T54" fmla="*/ 3 w 83"/>
                <a:gd name="T55" fmla="*/ 86 h 108"/>
                <a:gd name="T56" fmla="*/ 0 w 83"/>
                <a:gd name="T57" fmla="*/ 87 h 108"/>
                <a:gd name="T58" fmla="*/ 0 w 83"/>
                <a:gd name="T59" fmla="*/ 85 h 108"/>
                <a:gd name="T60" fmla="*/ 1 w 83"/>
                <a:gd name="T61" fmla="*/ 78 h 108"/>
                <a:gd name="T62" fmla="*/ 5 w 83"/>
                <a:gd name="T63" fmla="*/ 68 h 108"/>
                <a:gd name="T64" fmla="*/ 15 w 83"/>
                <a:gd name="T65" fmla="*/ 43 h 108"/>
                <a:gd name="T66" fmla="*/ 37 w 83"/>
                <a:gd name="T67" fmla="*/ 10 h 108"/>
                <a:gd name="T68" fmla="*/ 60 w 83"/>
                <a:gd name="T6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3" h="108">
                  <a:moveTo>
                    <a:pt x="60" y="0"/>
                  </a:moveTo>
                  <a:lnTo>
                    <a:pt x="65" y="4"/>
                  </a:lnTo>
                  <a:lnTo>
                    <a:pt x="71" y="14"/>
                  </a:lnTo>
                  <a:lnTo>
                    <a:pt x="76" y="28"/>
                  </a:lnTo>
                  <a:lnTo>
                    <a:pt x="80" y="45"/>
                  </a:lnTo>
                  <a:lnTo>
                    <a:pt x="82" y="62"/>
                  </a:lnTo>
                  <a:lnTo>
                    <a:pt x="83" y="76"/>
                  </a:lnTo>
                  <a:lnTo>
                    <a:pt x="83" y="87"/>
                  </a:lnTo>
                  <a:lnTo>
                    <a:pt x="82" y="94"/>
                  </a:lnTo>
                  <a:lnTo>
                    <a:pt x="81" y="95"/>
                  </a:lnTo>
                  <a:lnTo>
                    <a:pt x="80" y="96"/>
                  </a:lnTo>
                  <a:lnTo>
                    <a:pt x="77" y="98"/>
                  </a:lnTo>
                  <a:lnTo>
                    <a:pt x="74" y="96"/>
                  </a:lnTo>
                  <a:lnTo>
                    <a:pt x="72" y="94"/>
                  </a:lnTo>
                  <a:lnTo>
                    <a:pt x="71" y="93"/>
                  </a:lnTo>
                  <a:lnTo>
                    <a:pt x="69" y="93"/>
                  </a:lnTo>
                  <a:lnTo>
                    <a:pt x="68" y="94"/>
                  </a:lnTo>
                  <a:lnTo>
                    <a:pt x="68" y="95"/>
                  </a:lnTo>
                  <a:lnTo>
                    <a:pt x="67" y="98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3" y="103"/>
                  </a:lnTo>
                  <a:lnTo>
                    <a:pt x="60" y="103"/>
                  </a:lnTo>
                  <a:lnTo>
                    <a:pt x="58" y="102"/>
                  </a:lnTo>
                  <a:lnTo>
                    <a:pt x="55" y="100"/>
                  </a:lnTo>
                  <a:lnTo>
                    <a:pt x="53" y="99"/>
                  </a:lnTo>
                  <a:lnTo>
                    <a:pt x="51" y="99"/>
                  </a:lnTo>
                  <a:lnTo>
                    <a:pt x="50" y="100"/>
                  </a:lnTo>
                  <a:lnTo>
                    <a:pt x="49" y="102"/>
                  </a:lnTo>
                  <a:lnTo>
                    <a:pt x="47" y="104"/>
                  </a:lnTo>
                  <a:lnTo>
                    <a:pt x="45" y="105"/>
                  </a:lnTo>
                  <a:lnTo>
                    <a:pt x="42" y="107"/>
                  </a:lnTo>
                  <a:lnTo>
                    <a:pt x="38" y="105"/>
                  </a:lnTo>
                  <a:lnTo>
                    <a:pt x="36" y="104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7" y="108"/>
                  </a:lnTo>
                  <a:lnTo>
                    <a:pt x="24" y="107"/>
                  </a:lnTo>
                  <a:lnTo>
                    <a:pt x="23" y="105"/>
                  </a:lnTo>
                  <a:lnTo>
                    <a:pt x="22" y="103"/>
                  </a:lnTo>
                  <a:lnTo>
                    <a:pt x="20" y="99"/>
                  </a:lnTo>
                  <a:lnTo>
                    <a:pt x="19" y="8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7" y="71"/>
                  </a:lnTo>
                  <a:lnTo>
                    <a:pt x="15" y="72"/>
                  </a:lnTo>
                  <a:lnTo>
                    <a:pt x="14" y="73"/>
                  </a:lnTo>
                  <a:lnTo>
                    <a:pt x="13" y="75"/>
                  </a:lnTo>
                  <a:lnTo>
                    <a:pt x="12" y="77"/>
                  </a:lnTo>
                  <a:lnTo>
                    <a:pt x="9" y="80"/>
                  </a:lnTo>
                  <a:lnTo>
                    <a:pt x="8" y="81"/>
                  </a:lnTo>
                  <a:lnTo>
                    <a:pt x="6" y="84"/>
                  </a:lnTo>
                  <a:lnTo>
                    <a:pt x="4" y="85"/>
                  </a:lnTo>
                  <a:lnTo>
                    <a:pt x="3" y="86"/>
                  </a:lnTo>
                  <a:lnTo>
                    <a:pt x="1" y="86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2"/>
                  </a:lnTo>
                  <a:lnTo>
                    <a:pt x="1" y="78"/>
                  </a:lnTo>
                  <a:lnTo>
                    <a:pt x="3" y="75"/>
                  </a:lnTo>
                  <a:lnTo>
                    <a:pt x="5" y="68"/>
                  </a:lnTo>
                  <a:lnTo>
                    <a:pt x="8" y="62"/>
                  </a:lnTo>
                  <a:lnTo>
                    <a:pt x="15" y="43"/>
                  </a:lnTo>
                  <a:lnTo>
                    <a:pt x="26" y="25"/>
                  </a:lnTo>
                  <a:lnTo>
                    <a:pt x="37" y="10"/>
                  </a:lnTo>
                  <a:lnTo>
                    <a:pt x="49" y="1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6C6D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3" name="Freeform 335"/>
            <p:cNvSpPr>
              <a:spLocks/>
            </p:cNvSpPr>
            <p:nvPr/>
          </p:nvSpPr>
          <p:spPr bwMode="auto">
            <a:xfrm>
              <a:off x="-4027488" y="3663950"/>
              <a:ext cx="198438" cy="101600"/>
            </a:xfrm>
            <a:custGeom>
              <a:avLst/>
              <a:gdLst>
                <a:gd name="T0" fmla="*/ 2 w 125"/>
                <a:gd name="T1" fmla="*/ 0 h 64"/>
                <a:gd name="T2" fmla="*/ 17 w 125"/>
                <a:gd name="T3" fmla="*/ 18 h 64"/>
                <a:gd name="T4" fmla="*/ 34 w 125"/>
                <a:gd name="T5" fmla="*/ 31 h 64"/>
                <a:gd name="T6" fmla="*/ 50 w 125"/>
                <a:gd name="T7" fmla="*/ 39 h 64"/>
                <a:gd name="T8" fmla="*/ 68 w 125"/>
                <a:gd name="T9" fmla="*/ 43 h 64"/>
                <a:gd name="T10" fmla="*/ 88 w 125"/>
                <a:gd name="T11" fmla="*/ 44 h 64"/>
                <a:gd name="T12" fmla="*/ 106 w 125"/>
                <a:gd name="T13" fmla="*/ 43 h 64"/>
                <a:gd name="T14" fmla="*/ 125 w 125"/>
                <a:gd name="T15" fmla="*/ 40 h 64"/>
                <a:gd name="T16" fmla="*/ 108 w 125"/>
                <a:gd name="T17" fmla="*/ 51 h 64"/>
                <a:gd name="T18" fmla="*/ 90 w 125"/>
                <a:gd name="T19" fmla="*/ 59 h 64"/>
                <a:gd name="T20" fmla="*/ 72 w 125"/>
                <a:gd name="T21" fmla="*/ 63 h 64"/>
                <a:gd name="T22" fmla="*/ 56 w 125"/>
                <a:gd name="T23" fmla="*/ 64 h 64"/>
                <a:gd name="T24" fmla="*/ 39 w 125"/>
                <a:gd name="T25" fmla="*/ 62 h 64"/>
                <a:gd name="T26" fmla="*/ 25 w 125"/>
                <a:gd name="T27" fmla="*/ 55 h 64"/>
                <a:gd name="T28" fmla="*/ 12 w 125"/>
                <a:gd name="T29" fmla="*/ 46 h 64"/>
                <a:gd name="T30" fmla="*/ 4 w 125"/>
                <a:gd name="T31" fmla="*/ 34 h 64"/>
                <a:gd name="T32" fmla="*/ 0 w 125"/>
                <a:gd name="T33" fmla="*/ 18 h 64"/>
                <a:gd name="T34" fmla="*/ 2 w 125"/>
                <a:gd name="T3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64">
                  <a:moveTo>
                    <a:pt x="2" y="0"/>
                  </a:moveTo>
                  <a:lnTo>
                    <a:pt x="17" y="18"/>
                  </a:lnTo>
                  <a:lnTo>
                    <a:pt x="34" y="31"/>
                  </a:lnTo>
                  <a:lnTo>
                    <a:pt x="50" y="39"/>
                  </a:lnTo>
                  <a:lnTo>
                    <a:pt x="68" y="43"/>
                  </a:lnTo>
                  <a:lnTo>
                    <a:pt x="88" y="44"/>
                  </a:lnTo>
                  <a:lnTo>
                    <a:pt x="106" y="43"/>
                  </a:lnTo>
                  <a:lnTo>
                    <a:pt x="125" y="40"/>
                  </a:lnTo>
                  <a:lnTo>
                    <a:pt x="108" y="51"/>
                  </a:lnTo>
                  <a:lnTo>
                    <a:pt x="90" y="59"/>
                  </a:lnTo>
                  <a:lnTo>
                    <a:pt x="72" y="63"/>
                  </a:lnTo>
                  <a:lnTo>
                    <a:pt x="56" y="64"/>
                  </a:lnTo>
                  <a:lnTo>
                    <a:pt x="39" y="62"/>
                  </a:lnTo>
                  <a:lnTo>
                    <a:pt x="25" y="55"/>
                  </a:lnTo>
                  <a:lnTo>
                    <a:pt x="12" y="46"/>
                  </a:lnTo>
                  <a:lnTo>
                    <a:pt x="4" y="34"/>
                  </a:lnTo>
                  <a:lnTo>
                    <a:pt x="0" y="1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4" name="Freeform 336"/>
            <p:cNvSpPr>
              <a:spLocks/>
            </p:cNvSpPr>
            <p:nvPr/>
          </p:nvSpPr>
          <p:spPr bwMode="auto">
            <a:xfrm>
              <a:off x="-3970338" y="3627438"/>
              <a:ext cx="141288" cy="115888"/>
            </a:xfrm>
            <a:custGeom>
              <a:avLst/>
              <a:gdLst>
                <a:gd name="T0" fmla="*/ 9 w 89"/>
                <a:gd name="T1" fmla="*/ 0 h 73"/>
                <a:gd name="T2" fmla="*/ 16 w 89"/>
                <a:gd name="T3" fmla="*/ 19 h 73"/>
                <a:gd name="T4" fmla="*/ 25 w 89"/>
                <a:gd name="T5" fmla="*/ 35 h 73"/>
                <a:gd name="T6" fmla="*/ 35 w 89"/>
                <a:gd name="T7" fmla="*/ 45 h 73"/>
                <a:gd name="T8" fmla="*/ 46 w 89"/>
                <a:gd name="T9" fmla="*/ 53 h 73"/>
                <a:gd name="T10" fmla="*/ 59 w 89"/>
                <a:gd name="T11" fmla="*/ 58 h 73"/>
                <a:gd name="T12" fmla="*/ 73 w 89"/>
                <a:gd name="T13" fmla="*/ 62 h 73"/>
                <a:gd name="T14" fmla="*/ 89 w 89"/>
                <a:gd name="T15" fmla="*/ 64 h 73"/>
                <a:gd name="T16" fmla="*/ 71 w 89"/>
                <a:gd name="T17" fmla="*/ 71 h 73"/>
                <a:gd name="T18" fmla="*/ 54 w 89"/>
                <a:gd name="T19" fmla="*/ 73 h 73"/>
                <a:gd name="T20" fmla="*/ 37 w 89"/>
                <a:gd name="T21" fmla="*/ 72 h 73"/>
                <a:gd name="T22" fmla="*/ 23 w 89"/>
                <a:gd name="T23" fmla="*/ 68 h 73"/>
                <a:gd name="T24" fmla="*/ 12 w 89"/>
                <a:gd name="T25" fmla="*/ 62 h 73"/>
                <a:gd name="T26" fmla="*/ 4 w 89"/>
                <a:gd name="T27" fmla="*/ 51 h 73"/>
                <a:gd name="T28" fmla="*/ 0 w 89"/>
                <a:gd name="T29" fmla="*/ 37 h 73"/>
                <a:gd name="T30" fmla="*/ 2 w 89"/>
                <a:gd name="T31" fmla="*/ 21 h 73"/>
                <a:gd name="T32" fmla="*/ 9 w 89"/>
                <a:gd name="T3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3">
                  <a:moveTo>
                    <a:pt x="9" y="0"/>
                  </a:moveTo>
                  <a:lnTo>
                    <a:pt x="16" y="19"/>
                  </a:lnTo>
                  <a:lnTo>
                    <a:pt x="25" y="35"/>
                  </a:lnTo>
                  <a:lnTo>
                    <a:pt x="35" y="45"/>
                  </a:lnTo>
                  <a:lnTo>
                    <a:pt x="46" y="53"/>
                  </a:lnTo>
                  <a:lnTo>
                    <a:pt x="59" y="58"/>
                  </a:lnTo>
                  <a:lnTo>
                    <a:pt x="73" y="62"/>
                  </a:lnTo>
                  <a:lnTo>
                    <a:pt x="89" y="64"/>
                  </a:lnTo>
                  <a:lnTo>
                    <a:pt x="71" y="71"/>
                  </a:lnTo>
                  <a:lnTo>
                    <a:pt x="54" y="73"/>
                  </a:lnTo>
                  <a:lnTo>
                    <a:pt x="37" y="72"/>
                  </a:lnTo>
                  <a:lnTo>
                    <a:pt x="23" y="68"/>
                  </a:lnTo>
                  <a:lnTo>
                    <a:pt x="12" y="62"/>
                  </a:lnTo>
                  <a:lnTo>
                    <a:pt x="4" y="51"/>
                  </a:lnTo>
                  <a:lnTo>
                    <a:pt x="0" y="37"/>
                  </a:lnTo>
                  <a:lnTo>
                    <a:pt x="2" y="2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8D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5" name="Freeform 337"/>
            <p:cNvSpPr>
              <a:spLocks/>
            </p:cNvSpPr>
            <p:nvPr/>
          </p:nvSpPr>
          <p:spPr bwMode="auto">
            <a:xfrm>
              <a:off x="-4224338" y="4267200"/>
              <a:ext cx="219075" cy="460375"/>
            </a:xfrm>
            <a:custGeom>
              <a:avLst/>
              <a:gdLst>
                <a:gd name="T0" fmla="*/ 68 w 138"/>
                <a:gd name="T1" fmla="*/ 0 h 290"/>
                <a:gd name="T2" fmla="*/ 85 w 138"/>
                <a:gd name="T3" fmla="*/ 0 h 290"/>
                <a:gd name="T4" fmla="*/ 100 w 138"/>
                <a:gd name="T5" fmla="*/ 5 h 290"/>
                <a:gd name="T6" fmla="*/ 114 w 138"/>
                <a:gd name="T7" fmla="*/ 13 h 290"/>
                <a:gd name="T8" fmla="*/ 126 w 138"/>
                <a:gd name="T9" fmla="*/ 24 h 290"/>
                <a:gd name="T10" fmla="*/ 135 w 138"/>
                <a:gd name="T11" fmla="*/ 38 h 290"/>
                <a:gd name="T12" fmla="*/ 138 w 138"/>
                <a:gd name="T13" fmla="*/ 56 h 290"/>
                <a:gd name="T14" fmla="*/ 137 w 138"/>
                <a:gd name="T15" fmla="*/ 76 h 290"/>
                <a:gd name="T16" fmla="*/ 129 w 138"/>
                <a:gd name="T17" fmla="*/ 99 h 290"/>
                <a:gd name="T18" fmla="*/ 119 w 138"/>
                <a:gd name="T19" fmla="*/ 123 h 290"/>
                <a:gd name="T20" fmla="*/ 109 w 138"/>
                <a:gd name="T21" fmla="*/ 151 h 290"/>
                <a:gd name="T22" fmla="*/ 100 w 138"/>
                <a:gd name="T23" fmla="*/ 182 h 290"/>
                <a:gd name="T24" fmla="*/ 92 w 138"/>
                <a:gd name="T25" fmla="*/ 213 h 290"/>
                <a:gd name="T26" fmla="*/ 85 w 138"/>
                <a:gd name="T27" fmla="*/ 242 h 290"/>
                <a:gd name="T28" fmla="*/ 79 w 138"/>
                <a:gd name="T29" fmla="*/ 268 h 290"/>
                <a:gd name="T30" fmla="*/ 74 w 138"/>
                <a:gd name="T31" fmla="*/ 290 h 290"/>
                <a:gd name="T32" fmla="*/ 0 w 138"/>
                <a:gd name="T33" fmla="*/ 278 h 290"/>
                <a:gd name="T34" fmla="*/ 2 w 138"/>
                <a:gd name="T35" fmla="*/ 263 h 290"/>
                <a:gd name="T36" fmla="*/ 4 w 138"/>
                <a:gd name="T37" fmla="*/ 242 h 290"/>
                <a:gd name="T38" fmla="*/ 8 w 138"/>
                <a:gd name="T39" fmla="*/ 215 h 290"/>
                <a:gd name="T40" fmla="*/ 11 w 138"/>
                <a:gd name="T41" fmla="*/ 186 h 290"/>
                <a:gd name="T42" fmla="*/ 17 w 138"/>
                <a:gd name="T43" fmla="*/ 154 h 290"/>
                <a:gd name="T44" fmla="*/ 22 w 138"/>
                <a:gd name="T45" fmla="*/ 122 h 290"/>
                <a:gd name="T46" fmla="*/ 29 w 138"/>
                <a:gd name="T47" fmla="*/ 90 h 290"/>
                <a:gd name="T48" fmla="*/ 37 w 138"/>
                <a:gd name="T49" fmla="*/ 60 h 290"/>
                <a:gd name="T50" fmla="*/ 46 w 138"/>
                <a:gd name="T51" fmla="*/ 35 h 290"/>
                <a:gd name="T52" fmla="*/ 56 w 138"/>
                <a:gd name="T53" fmla="*/ 14 h 290"/>
                <a:gd name="T54" fmla="*/ 68 w 138"/>
                <a:gd name="T55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8" h="290">
                  <a:moveTo>
                    <a:pt x="68" y="0"/>
                  </a:moveTo>
                  <a:lnTo>
                    <a:pt x="85" y="0"/>
                  </a:lnTo>
                  <a:lnTo>
                    <a:pt x="100" y="5"/>
                  </a:lnTo>
                  <a:lnTo>
                    <a:pt x="114" y="13"/>
                  </a:lnTo>
                  <a:lnTo>
                    <a:pt x="126" y="24"/>
                  </a:lnTo>
                  <a:lnTo>
                    <a:pt x="135" y="38"/>
                  </a:lnTo>
                  <a:lnTo>
                    <a:pt x="138" y="56"/>
                  </a:lnTo>
                  <a:lnTo>
                    <a:pt x="137" y="76"/>
                  </a:lnTo>
                  <a:lnTo>
                    <a:pt x="129" y="99"/>
                  </a:lnTo>
                  <a:lnTo>
                    <a:pt x="119" y="123"/>
                  </a:lnTo>
                  <a:lnTo>
                    <a:pt x="109" y="151"/>
                  </a:lnTo>
                  <a:lnTo>
                    <a:pt x="100" y="182"/>
                  </a:lnTo>
                  <a:lnTo>
                    <a:pt x="92" y="213"/>
                  </a:lnTo>
                  <a:lnTo>
                    <a:pt x="85" y="242"/>
                  </a:lnTo>
                  <a:lnTo>
                    <a:pt x="79" y="268"/>
                  </a:lnTo>
                  <a:lnTo>
                    <a:pt x="74" y="290"/>
                  </a:lnTo>
                  <a:lnTo>
                    <a:pt x="0" y="278"/>
                  </a:lnTo>
                  <a:lnTo>
                    <a:pt x="2" y="263"/>
                  </a:lnTo>
                  <a:lnTo>
                    <a:pt x="4" y="242"/>
                  </a:lnTo>
                  <a:lnTo>
                    <a:pt x="8" y="215"/>
                  </a:lnTo>
                  <a:lnTo>
                    <a:pt x="11" y="186"/>
                  </a:lnTo>
                  <a:lnTo>
                    <a:pt x="17" y="154"/>
                  </a:lnTo>
                  <a:lnTo>
                    <a:pt x="22" y="122"/>
                  </a:lnTo>
                  <a:lnTo>
                    <a:pt x="29" y="90"/>
                  </a:lnTo>
                  <a:lnTo>
                    <a:pt x="37" y="60"/>
                  </a:lnTo>
                  <a:lnTo>
                    <a:pt x="46" y="35"/>
                  </a:lnTo>
                  <a:lnTo>
                    <a:pt x="56" y="1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6" name="Freeform 338"/>
            <p:cNvSpPr>
              <a:spLocks/>
            </p:cNvSpPr>
            <p:nvPr/>
          </p:nvSpPr>
          <p:spPr bwMode="auto">
            <a:xfrm>
              <a:off x="-4037013" y="4313238"/>
              <a:ext cx="31750" cy="153988"/>
            </a:xfrm>
            <a:custGeom>
              <a:avLst/>
              <a:gdLst>
                <a:gd name="T0" fmla="*/ 11 w 20"/>
                <a:gd name="T1" fmla="*/ 0 h 97"/>
                <a:gd name="T2" fmla="*/ 18 w 20"/>
                <a:gd name="T3" fmla="*/ 15 h 97"/>
                <a:gd name="T4" fmla="*/ 20 w 20"/>
                <a:gd name="T5" fmla="*/ 30 h 97"/>
                <a:gd name="T6" fmla="*/ 19 w 20"/>
                <a:gd name="T7" fmla="*/ 49 h 97"/>
                <a:gd name="T8" fmla="*/ 11 w 20"/>
                <a:gd name="T9" fmla="*/ 70 h 97"/>
                <a:gd name="T10" fmla="*/ 0 w 20"/>
                <a:gd name="T11" fmla="*/ 97 h 97"/>
                <a:gd name="T12" fmla="*/ 11 w 20"/>
                <a:gd name="T1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97">
                  <a:moveTo>
                    <a:pt x="11" y="0"/>
                  </a:moveTo>
                  <a:lnTo>
                    <a:pt x="18" y="15"/>
                  </a:lnTo>
                  <a:lnTo>
                    <a:pt x="20" y="30"/>
                  </a:lnTo>
                  <a:lnTo>
                    <a:pt x="19" y="49"/>
                  </a:lnTo>
                  <a:lnTo>
                    <a:pt x="11" y="70"/>
                  </a:lnTo>
                  <a:lnTo>
                    <a:pt x="0" y="9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7" name="Freeform 339"/>
            <p:cNvSpPr>
              <a:spLocks/>
            </p:cNvSpPr>
            <p:nvPr/>
          </p:nvSpPr>
          <p:spPr bwMode="auto">
            <a:xfrm>
              <a:off x="-4189413" y="4267200"/>
              <a:ext cx="101600" cy="454025"/>
            </a:xfrm>
            <a:custGeom>
              <a:avLst/>
              <a:gdLst>
                <a:gd name="T0" fmla="*/ 55 w 64"/>
                <a:gd name="T1" fmla="*/ 0 h 286"/>
                <a:gd name="T2" fmla="*/ 64 w 64"/>
                <a:gd name="T3" fmla="*/ 1 h 286"/>
                <a:gd name="T4" fmla="*/ 33 w 64"/>
                <a:gd name="T5" fmla="*/ 286 h 286"/>
                <a:gd name="T6" fmla="*/ 0 w 64"/>
                <a:gd name="T7" fmla="*/ 281 h 286"/>
                <a:gd name="T8" fmla="*/ 27 w 64"/>
                <a:gd name="T9" fmla="*/ 28 h 286"/>
                <a:gd name="T10" fmla="*/ 36 w 64"/>
                <a:gd name="T11" fmla="*/ 11 h 286"/>
                <a:gd name="T12" fmla="*/ 46 w 64"/>
                <a:gd name="T13" fmla="*/ 0 h 286"/>
                <a:gd name="T14" fmla="*/ 55 w 64"/>
                <a:gd name="T15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86">
                  <a:moveTo>
                    <a:pt x="55" y="0"/>
                  </a:moveTo>
                  <a:lnTo>
                    <a:pt x="64" y="1"/>
                  </a:lnTo>
                  <a:lnTo>
                    <a:pt x="33" y="286"/>
                  </a:lnTo>
                  <a:lnTo>
                    <a:pt x="0" y="281"/>
                  </a:lnTo>
                  <a:lnTo>
                    <a:pt x="27" y="28"/>
                  </a:lnTo>
                  <a:lnTo>
                    <a:pt x="36" y="11"/>
                  </a:lnTo>
                  <a:lnTo>
                    <a:pt x="46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8" name="Freeform 340"/>
            <p:cNvSpPr>
              <a:spLocks/>
            </p:cNvSpPr>
            <p:nvPr/>
          </p:nvSpPr>
          <p:spPr bwMode="auto">
            <a:xfrm>
              <a:off x="-4157663" y="4283075"/>
              <a:ext cx="152400" cy="69850"/>
            </a:xfrm>
            <a:custGeom>
              <a:avLst/>
              <a:gdLst>
                <a:gd name="T0" fmla="*/ 17 w 96"/>
                <a:gd name="T1" fmla="*/ 0 h 44"/>
                <a:gd name="T2" fmla="*/ 77 w 96"/>
                <a:gd name="T3" fmla="*/ 7 h 44"/>
                <a:gd name="T4" fmla="*/ 86 w 96"/>
                <a:gd name="T5" fmla="*/ 17 h 44"/>
                <a:gd name="T6" fmla="*/ 93 w 96"/>
                <a:gd name="T7" fmla="*/ 30 h 44"/>
                <a:gd name="T8" fmla="*/ 96 w 96"/>
                <a:gd name="T9" fmla="*/ 44 h 44"/>
                <a:gd name="T10" fmla="*/ 0 w 96"/>
                <a:gd name="T11" fmla="*/ 34 h 44"/>
                <a:gd name="T12" fmla="*/ 8 w 96"/>
                <a:gd name="T13" fmla="*/ 14 h 44"/>
                <a:gd name="T14" fmla="*/ 17 w 96"/>
                <a:gd name="T1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44">
                  <a:moveTo>
                    <a:pt x="17" y="0"/>
                  </a:moveTo>
                  <a:lnTo>
                    <a:pt x="77" y="7"/>
                  </a:lnTo>
                  <a:lnTo>
                    <a:pt x="86" y="17"/>
                  </a:lnTo>
                  <a:lnTo>
                    <a:pt x="93" y="30"/>
                  </a:lnTo>
                  <a:lnTo>
                    <a:pt x="96" y="44"/>
                  </a:lnTo>
                  <a:lnTo>
                    <a:pt x="0" y="34"/>
                  </a:lnTo>
                  <a:lnTo>
                    <a:pt x="8" y="1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9" name="Freeform 341"/>
            <p:cNvSpPr>
              <a:spLocks/>
            </p:cNvSpPr>
            <p:nvPr/>
          </p:nvSpPr>
          <p:spPr bwMode="auto">
            <a:xfrm>
              <a:off x="-4189413" y="4405313"/>
              <a:ext cx="169863" cy="69850"/>
            </a:xfrm>
            <a:custGeom>
              <a:avLst/>
              <a:gdLst>
                <a:gd name="T0" fmla="*/ 7 w 107"/>
                <a:gd name="T1" fmla="*/ 0 h 44"/>
                <a:gd name="T2" fmla="*/ 107 w 107"/>
                <a:gd name="T3" fmla="*/ 12 h 44"/>
                <a:gd name="T4" fmla="*/ 95 w 107"/>
                <a:gd name="T5" fmla="*/ 44 h 44"/>
                <a:gd name="T6" fmla="*/ 0 w 107"/>
                <a:gd name="T7" fmla="*/ 35 h 44"/>
                <a:gd name="T8" fmla="*/ 7 w 107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44">
                  <a:moveTo>
                    <a:pt x="7" y="0"/>
                  </a:moveTo>
                  <a:lnTo>
                    <a:pt x="107" y="12"/>
                  </a:lnTo>
                  <a:lnTo>
                    <a:pt x="95" y="44"/>
                  </a:lnTo>
                  <a:lnTo>
                    <a:pt x="0" y="3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0" name="Freeform 342"/>
            <p:cNvSpPr>
              <a:spLocks/>
            </p:cNvSpPr>
            <p:nvPr/>
          </p:nvSpPr>
          <p:spPr bwMode="auto">
            <a:xfrm>
              <a:off x="-4210050" y="4532313"/>
              <a:ext cx="149225" cy="66675"/>
            </a:xfrm>
            <a:custGeom>
              <a:avLst/>
              <a:gdLst>
                <a:gd name="T0" fmla="*/ 5 w 94"/>
                <a:gd name="T1" fmla="*/ 0 h 42"/>
                <a:gd name="T2" fmla="*/ 94 w 94"/>
                <a:gd name="T3" fmla="*/ 9 h 42"/>
                <a:gd name="T4" fmla="*/ 85 w 94"/>
                <a:gd name="T5" fmla="*/ 42 h 42"/>
                <a:gd name="T6" fmla="*/ 0 w 94"/>
                <a:gd name="T7" fmla="*/ 33 h 42"/>
                <a:gd name="T8" fmla="*/ 5 w 9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2">
                  <a:moveTo>
                    <a:pt x="5" y="0"/>
                  </a:moveTo>
                  <a:lnTo>
                    <a:pt x="94" y="9"/>
                  </a:lnTo>
                  <a:lnTo>
                    <a:pt x="85" y="42"/>
                  </a:lnTo>
                  <a:lnTo>
                    <a:pt x="0" y="3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1" name="Freeform 343"/>
            <p:cNvSpPr>
              <a:spLocks/>
            </p:cNvSpPr>
            <p:nvPr/>
          </p:nvSpPr>
          <p:spPr bwMode="auto">
            <a:xfrm>
              <a:off x="-4224338" y="4656138"/>
              <a:ext cx="130175" cy="66675"/>
            </a:xfrm>
            <a:custGeom>
              <a:avLst/>
              <a:gdLst>
                <a:gd name="T0" fmla="*/ 4 w 82"/>
                <a:gd name="T1" fmla="*/ 0 h 42"/>
                <a:gd name="T2" fmla="*/ 82 w 82"/>
                <a:gd name="T3" fmla="*/ 9 h 42"/>
                <a:gd name="T4" fmla="*/ 78 w 82"/>
                <a:gd name="T5" fmla="*/ 27 h 42"/>
                <a:gd name="T6" fmla="*/ 76 w 82"/>
                <a:gd name="T7" fmla="*/ 42 h 42"/>
                <a:gd name="T8" fmla="*/ 35 w 82"/>
                <a:gd name="T9" fmla="*/ 38 h 42"/>
                <a:gd name="T10" fmla="*/ 0 w 82"/>
                <a:gd name="T11" fmla="*/ 33 h 42"/>
                <a:gd name="T12" fmla="*/ 1 w 82"/>
                <a:gd name="T13" fmla="*/ 19 h 42"/>
                <a:gd name="T14" fmla="*/ 4 w 8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42">
                  <a:moveTo>
                    <a:pt x="4" y="0"/>
                  </a:moveTo>
                  <a:lnTo>
                    <a:pt x="82" y="9"/>
                  </a:lnTo>
                  <a:lnTo>
                    <a:pt x="78" y="27"/>
                  </a:lnTo>
                  <a:lnTo>
                    <a:pt x="76" y="42"/>
                  </a:lnTo>
                  <a:lnTo>
                    <a:pt x="35" y="38"/>
                  </a:lnTo>
                  <a:lnTo>
                    <a:pt x="0" y="33"/>
                  </a:lnTo>
                  <a:lnTo>
                    <a:pt x="1" y="1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2" name="Freeform 344"/>
            <p:cNvSpPr>
              <a:spLocks/>
            </p:cNvSpPr>
            <p:nvPr/>
          </p:nvSpPr>
          <p:spPr bwMode="auto">
            <a:xfrm>
              <a:off x="-4022725" y="4313238"/>
              <a:ext cx="17463" cy="39688"/>
            </a:xfrm>
            <a:custGeom>
              <a:avLst/>
              <a:gdLst>
                <a:gd name="T0" fmla="*/ 2 w 11"/>
                <a:gd name="T1" fmla="*/ 0 h 25"/>
                <a:gd name="T2" fmla="*/ 8 w 11"/>
                <a:gd name="T3" fmla="*/ 11 h 25"/>
                <a:gd name="T4" fmla="*/ 11 w 11"/>
                <a:gd name="T5" fmla="*/ 25 h 25"/>
                <a:gd name="T6" fmla="*/ 0 w 11"/>
                <a:gd name="T7" fmla="*/ 24 h 25"/>
                <a:gd name="T8" fmla="*/ 2 w 1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2" y="0"/>
                  </a:moveTo>
                  <a:lnTo>
                    <a:pt x="8" y="11"/>
                  </a:lnTo>
                  <a:lnTo>
                    <a:pt x="11" y="25"/>
                  </a:lnTo>
                  <a:lnTo>
                    <a:pt x="0" y="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3" name="Freeform 345"/>
            <p:cNvSpPr>
              <a:spLocks/>
            </p:cNvSpPr>
            <p:nvPr/>
          </p:nvSpPr>
          <p:spPr bwMode="auto">
            <a:xfrm>
              <a:off x="-4149725" y="4283075"/>
              <a:ext cx="60325" cy="58738"/>
            </a:xfrm>
            <a:custGeom>
              <a:avLst/>
              <a:gdLst>
                <a:gd name="T0" fmla="*/ 12 w 38"/>
                <a:gd name="T1" fmla="*/ 0 h 37"/>
                <a:gd name="T2" fmla="*/ 38 w 38"/>
                <a:gd name="T3" fmla="*/ 3 h 37"/>
                <a:gd name="T4" fmla="*/ 34 w 38"/>
                <a:gd name="T5" fmla="*/ 37 h 37"/>
                <a:gd name="T6" fmla="*/ 0 w 38"/>
                <a:gd name="T7" fmla="*/ 34 h 37"/>
                <a:gd name="T8" fmla="*/ 2 w 38"/>
                <a:gd name="T9" fmla="*/ 18 h 37"/>
                <a:gd name="T10" fmla="*/ 4 w 38"/>
                <a:gd name="T11" fmla="*/ 12 h 37"/>
                <a:gd name="T12" fmla="*/ 7 w 38"/>
                <a:gd name="T13" fmla="*/ 8 h 37"/>
                <a:gd name="T14" fmla="*/ 9 w 38"/>
                <a:gd name="T15" fmla="*/ 4 h 37"/>
                <a:gd name="T16" fmla="*/ 12 w 38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7">
                  <a:moveTo>
                    <a:pt x="12" y="0"/>
                  </a:moveTo>
                  <a:lnTo>
                    <a:pt x="38" y="3"/>
                  </a:lnTo>
                  <a:lnTo>
                    <a:pt x="34" y="37"/>
                  </a:lnTo>
                  <a:lnTo>
                    <a:pt x="0" y="34"/>
                  </a:lnTo>
                  <a:lnTo>
                    <a:pt x="2" y="18"/>
                  </a:lnTo>
                  <a:lnTo>
                    <a:pt x="4" y="12"/>
                  </a:lnTo>
                  <a:lnTo>
                    <a:pt x="7" y="8"/>
                  </a:lnTo>
                  <a:lnTo>
                    <a:pt x="9" y="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4" name="Freeform 346"/>
            <p:cNvSpPr>
              <a:spLocks/>
            </p:cNvSpPr>
            <p:nvPr/>
          </p:nvSpPr>
          <p:spPr bwMode="auto">
            <a:xfrm>
              <a:off x="-4037013" y="4421188"/>
              <a:ext cx="17463" cy="46038"/>
            </a:xfrm>
            <a:custGeom>
              <a:avLst/>
              <a:gdLst>
                <a:gd name="T0" fmla="*/ 4 w 11"/>
                <a:gd name="T1" fmla="*/ 0 h 29"/>
                <a:gd name="T2" fmla="*/ 11 w 11"/>
                <a:gd name="T3" fmla="*/ 2 h 29"/>
                <a:gd name="T4" fmla="*/ 0 w 11"/>
                <a:gd name="T5" fmla="*/ 29 h 29"/>
                <a:gd name="T6" fmla="*/ 4 w 11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9">
                  <a:moveTo>
                    <a:pt x="4" y="0"/>
                  </a:moveTo>
                  <a:lnTo>
                    <a:pt x="11" y="2"/>
                  </a:lnTo>
                  <a:lnTo>
                    <a:pt x="0" y="2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5" name="Freeform 347"/>
            <p:cNvSpPr>
              <a:spLocks/>
            </p:cNvSpPr>
            <p:nvPr/>
          </p:nvSpPr>
          <p:spPr bwMode="auto">
            <a:xfrm>
              <a:off x="-4164013" y="4406900"/>
              <a:ext cx="60325" cy="61913"/>
            </a:xfrm>
            <a:custGeom>
              <a:avLst/>
              <a:gdLst>
                <a:gd name="T0" fmla="*/ 4 w 38"/>
                <a:gd name="T1" fmla="*/ 0 h 39"/>
                <a:gd name="T2" fmla="*/ 38 w 38"/>
                <a:gd name="T3" fmla="*/ 4 h 39"/>
                <a:gd name="T4" fmla="*/ 35 w 38"/>
                <a:gd name="T5" fmla="*/ 39 h 39"/>
                <a:gd name="T6" fmla="*/ 0 w 38"/>
                <a:gd name="T7" fmla="*/ 35 h 39"/>
                <a:gd name="T8" fmla="*/ 4 w 38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4" y="0"/>
                  </a:moveTo>
                  <a:lnTo>
                    <a:pt x="38" y="4"/>
                  </a:lnTo>
                  <a:lnTo>
                    <a:pt x="35" y="39"/>
                  </a:lnTo>
                  <a:lnTo>
                    <a:pt x="0" y="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6" name="Freeform 348"/>
            <p:cNvSpPr>
              <a:spLocks/>
            </p:cNvSpPr>
            <p:nvPr/>
          </p:nvSpPr>
          <p:spPr bwMode="auto">
            <a:xfrm>
              <a:off x="-4178300" y="4533900"/>
              <a:ext cx="61913" cy="61913"/>
            </a:xfrm>
            <a:custGeom>
              <a:avLst/>
              <a:gdLst>
                <a:gd name="T0" fmla="*/ 4 w 39"/>
                <a:gd name="T1" fmla="*/ 0 h 39"/>
                <a:gd name="T2" fmla="*/ 39 w 39"/>
                <a:gd name="T3" fmla="*/ 4 h 39"/>
                <a:gd name="T4" fmla="*/ 35 w 39"/>
                <a:gd name="T5" fmla="*/ 39 h 39"/>
                <a:gd name="T6" fmla="*/ 0 w 39"/>
                <a:gd name="T7" fmla="*/ 35 h 39"/>
                <a:gd name="T8" fmla="*/ 4 w 39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4" y="0"/>
                  </a:moveTo>
                  <a:lnTo>
                    <a:pt x="39" y="4"/>
                  </a:lnTo>
                  <a:lnTo>
                    <a:pt x="35" y="39"/>
                  </a:lnTo>
                  <a:lnTo>
                    <a:pt x="0" y="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7" name="Freeform 349"/>
            <p:cNvSpPr>
              <a:spLocks/>
            </p:cNvSpPr>
            <p:nvPr/>
          </p:nvSpPr>
          <p:spPr bwMode="auto">
            <a:xfrm>
              <a:off x="-4189413" y="4660900"/>
              <a:ext cx="58738" cy="60325"/>
            </a:xfrm>
            <a:custGeom>
              <a:avLst/>
              <a:gdLst>
                <a:gd name="T0" fmla="*/ 2 w 37"/>
                <a:gd name="T1" fmla="*/ 0 h 38"/>
                <a:gd name="T2" fmla="*/ 37 w 37"/>
                <a:gd name="T3" fmla="*/ 3 h 38"/>
                <a:gd name="T4" fmla="*/ 33 w 37"/>
                <a:gd name="T5" fmla="*/ 38 h 38"/>
                <a:gd name="T6" fmla="*/ 13 w 37"/>
                <a:gd name="T7" fmla="*/ 35 h 38"/>
                <a:gd name="T8" fmla="*/ 0 w 37"/>
                <a:gd name="T9" fmla="*/ 33 h 38"/>
                <a:gd name="T10" fmla="*/ 2 w 37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38">
                  <a:moveTo>
                    <a:pt x="2" y="0"/>
                  </a:moveTo>
                  <a:lnTo>
                    <a:pt x="37" y="3"/>
                  </a:lnTo>
                  <a:lnTo>
                    <a:pt x="33" y="38"/>
                  </a:lnTo>
                  <a:lnTo>
                    <a:pt x="13" y="35"/>
                  </a:lnTo>
                  <a:lnTo>
                    <a:pt x="0" y="3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8" name="Freeform 350"/>
            <p:cNvSpPr>
              <a:spLocks/>
            </p:cNvSpPr>
            <p:nvPr/>
          </p:nvSpPr>
          <p:spPr bwMode="auto">
            <a:xfrm>
              <a:off x="-4229100" y="4708525"/>
              <a:ext cx="122238" cy="257175"/>
            </a:xfrm>
            <a:custGeom>
              <a:avLst/>
              <a:gdLst>
                <a:gd name="T0" fmla="*/ 3 w 77"/>
                <a:gd name="T1" fmla="*/ 0 h 162"/>
                <a:gd name="T2" fmla="*/ 77 w 77"/>
                <a:gd name="T3" fmla="*/ 12 h 162"/>
                <a:gd name="T4" fmla="*/ 76 w 77"/>
                <a:gd name="T5" fmla="*/ 18 h 162"/>
                <a:gd name="T6" fmla="*/ 76 w 77"/>
                <a:gd name="T7" fmla="*/ 25 h 162"/>
                <a:gd name="T8" fmla="*/ 75 w 77"/>
                <a:gd name="T9" fmla="*/ 27 h 162"/>
                <a:gd name="T10" fmla="*/ 75 w 77"/>
                <a:gd name="T11" fmla="*/ 39 h 162"/>
                <a:gd name="T12" fmla="*/ 72 w 77"/>
                <a:gd name="T13" fmla="*/ 56 h 162"/>
                <a:gd name="T14" fmla="*/ 70 w 77"/>
                <a:gd name="T15" fmla="*/ 76 h 162"/>
                <a:gd name="T16" fmla="*/ 66 w 77"/>
                <a:gd name="T17" fmla="*/ 99 h 162"/>
                <a:gd name="T18" fmla="*/ 63 w 77"/>
                <a:gd name="T19" fmla="*/ 122 h 162"/>
                <a:gd name="T20" fmla="*/ 62 w 77"/>
                <a:gd name="T21" fmla="*/ 144 h 162"/>
                <a:gd name="T22" fmla="*/ 61 w 77"/>
                <a:gd name="T23" fmla="*/ 162 h 162"/>
                <a:gd name="T24" fmla="*/ 31 w 77"/>
                <a:gd name="T25" fmla="*/ 157 h 162"/>
                <a:gd name="T26" fmla="*/ 0 w 77"/>
                <a:gd name="T27" fmla="*/ 152 h 162"/>
                <a:gd name="T28" fmla="*/ 0 w 77"/>
                <a:gd name="T29" fmla="*/ 133 h 162"/>
                <a:gd name="T30" fmla="*/ 0 w 77"/>
                <a:gd name="T31" fmla="*/ 107 h 162"/>
                <a:gd name="T32" fmla="*/ 0 w 77"/>
                <a:gd name="T33" fmla="*/ 79 h 162"/>
                <a:gd name="T34" fmla="*/ 0 w 77"/>
                <a:gd name="T35" fmla="*/ 49 h 162"/>
                <a:gd name="T36" fmla="*/ 2 w 77"/>
                <a:gd name="T37" fmla="*/ 23 h 162"/>
                <a:gd name="T38" fmla="*/ 3 w 77"/>
                <a:gd name="T39" fmla="*/ 3 h 162"/>
                <a:gd name="T40" fmla="*/ 3 w 77"/>
                <a:gd name="T4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" h="162">
                  <a:moveTo>
                    <a:pt x="3" y="0"/>
                  </a:moveTo>
                  <a:lnTo>
                    <a:pt x="77" y="12"/>
                  </a:lnTo>
                  <a:lnTo>
                    <a:pt x="76" y="18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39"/>
                  </a:lnTo>
                  <a:lnTo>
                    <a:pt x="72" y="56"/>
                  </a:lnTo>
                  <a:lnTo>
                    <a:pt x="70" y="76"/>
                  </a:lnTo>
                  <a:lnTo>
                    <a:pt x="66" y="99"/>
                  </a:lnTo>
                  <a:lnTo>
                    <a:pt x="63" y="122"/>
                  </a:lnTo>
                  <a:lnTo>
                    <a:pt x="62" y="144"/>
                  </a:lnTo>
                  <a:lnTo>
                    <a:pt x="61" y="162"/>
                  </a:lnTo>
                  <a:lnTo>
                    <a:pt x="31" y="157"/>
                  </a:lnTo>
                  <a:lnTo>
                    <a:pt x="0" y="152"/>
                  </a:lnTo>
                  <a:lnTo>
                    <a:pt x="0" y="133"/>
                  </a:lnTo>
                  <a:lnTo>
                    <a:pt x="0" y="107"/>
                  </a:lnTo>
                  <a:lnTo>
                    <a:pt x="0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9" name="Freeform 351"/>
            <p:cNvSpPr>
              <a:spLocks/>
            </p:cNvSpPr>
            <p:nvPr/>
          </p:nvSpPr>
          <p:spPr bwMode="auto">
            <a:xfrm>
              <a:off x="-4144963" y="4214813"/>
              <a:ext cx="185738" cy="914400"/>
            </a:xfrm>
            <a:custGeom>
              <a:avLst/>
              <a:gdLst>
                <a:gd name="T0" fmla="*/ 117 w 117"/>
                <a:gd name="T1" fmla="*/ 0 h 576"/>
                <a:gd name="T2" fmla="*/ 113 w 117"/>
                <a:gd name="T3" fmla="*/ 27 h 576"/>
                <a:gd name="T4" fmla="*/ 109 w 117"/>
                <a:gd name="T5" fmla="*/ 61 h 576"/>
                <a:gd name="T6" fmla="*/ 105 w 117"/>
                <a:gd name="T7" fmla="*/ 101 h 576"/>
                <a:gd name="T8" fmla="*/ 104 w 117"/>
                <a:gd name="T9" fmla="*/ 146 h 576"/>
                <a:gd name="T10" fmla="*/ 103 w 117"/>
                <a:gd name="T11" fmla="*/ 192 h 576"/>
                <a:gd name="T12" fmla="*/ 101 w 117"/>
                <a:gd name="T13" fmla="*/ 241 h 576"/>
                <a:gd name="T14" fmla="*/ 100 w 117"/>
                <a:gd name="T15" fmla="*/ 288 h 576"/>
                <a:gd name="T16" fmla="*/ 99 w 117"/>
                <a:gd name="T17" fmla="*/ 334 h 576"/>
                <a:gd name="T18" fmla="*/ 96 w 117"/>
                <a:gd name="T19" fmla="*/ 378 h 576"/>
                <a:gd name="T20" fmla="*/ 95 w 117"/>
                <a:gd name="T21" fmla="*/ 417 h 576"/>
                <a:gd name="T22" fmla="*/ 91 w 117"/>
                <a:gd name="T23" fmla="*/ 449 h 576"/>
                <a:gd name="T24" fmla="*/ 88 w 117"/>
                <a:gd name="T25" fmla="*/ 476 h 576"/>
                <a:gd name="T26" fmla="*/ 87 w 117"/>
                <a:gd name="T27" fmla="*/ 501 h 576"/>
                <a:gd name="T28" fmla="*/ 86 w 117"/>
                <a:gd name="T29" fmla="*/ 526 h 576"/>
                <a:gd name="T30" fmla="*/ 86 w 117"/>
                <a:gd name="T31" fmla="*/ 545 h 576"/>
                <a:gd name="T32" fmla="*/ 86 w 117"/>
                <a:gd name="T33" fmla="*/ 562 h 576"/>
                <a:gd name="T34" fmla="*/ 86 w 117"/>
                <a:gd name="T35" fmla="*/ 572 h 576"/>
                <a:gd name="T36" fmla="*/ 86 w 117"/>
                <a:gd name="T37" fmla="*/ 576 h 576"/>
                <a:gd name="T38" fmla="*/ 70 w 117"/>
                <a:gd name="T39" fmla="*/ 569 h 576"/>
                <a:gd name="T40" fmla="*/ 55 w 117"/>
                <a:gd name="T41" fmla="*/ 562 h 576"/>
                <a:gd name="T42" fmla="*/ 41 w 117"/>
                <a:gd name="T43" fmla="*/ 550 h 576"/>
                <a:gd name="T44" fmla="*/ 29 w 117"/>
                <a:gd name="T45" fmla="*/ 535 h 576"/>
                <a:gd name="T46" fmla="*/ 20 w 117"/>
                <a:gd name="T47" fmla="*/ 518 h 576"/>
                <a:gd name="T48" fmla="*/ 15 w 117"/>
                <a:gd name="T49" fmla="*/ 497 h 576"/>
                <a:gd name="T50" fmla="*/ 14 w 117"/>
                <a:gd name="T51" fmla="*/ 474 h 576"/>
                <a:gd name="T52" fmla="*/ 17 w 117"/>
                <a:gd name="T53" fmla="*/ 449 h 576"/>
                <a:gd name="T54" fmla="*/ 23 w 117"/>
                <a:gd name="T55" fmla="*/ 415 h 576"/>
                <a:gd name="T56" fmla="*/ 26 w 117"/>
                <a:gd name="T57" fmla="*/ 379 h 576"/>
                <a:gd name="T58" fmla="*/ 28 w 117"/>
                <a:gd name="T59" fmla="*/ 341 h 576"/>
                <a:gd name="T60" fmla="*/ 29 w 117"/>
                <a:gd name="T61" fmla="*/ 304 h 576"/>
                <a:gd name="T62" fmla="*/ 31 w 117"/>
                <a:gd name="T63" fmla="*/ 269 h 576"/>
                <a:gd name="T64" fmla="*/ 32 w 117"/>
                <a:gd name="T65" fmla="*/ 237 h 576"/>
                <a:gd name="T66" fmla="*/ 35 w 117"/>
                <a:gd name="T67" fmla="*/ 210 h 576"/>
                <a:gd name="T68" fmla="*/ 37 w 117"/>
                <a:gd name="T69" fmla="*/ 188 h 576"/>
                <a:gd name="T70" fmla="*/ 35 w 117"/>
                <a:gd name="T71" fmla="*/ 164 h 576"/>
                <a:gd name="T72" fmla="*/ 31 w 117"/>
                <a:gd name="T73" fmla="*/ 139 h 576"/>
                <a:gd name="T74" fmla="*/ 24 w 117"/>
                <a:gd name="T75" fmla="*/ 116 h 576"/>
                <a:gd name="T76" fmla="*/ 18 w 117"/>
                <a:gd name="T77" fmla="*/ 95 h 576"/>
                <a:gd name="T78" fmla="*/ 11 w 117"/>
                <a:gd name="T79" fmla="*/ 77 h 576"/>
                <a:gd name="T80" fmla="*/ 5 w 117"/>
                <a:gd name="T81" fmla="*/ 64 h 576"/>
                <a:gd name="T82" fmla="*/ 0 w 117"/>
                <a:gd name="T83" fmla="*/ 56 h 576"/>
                <a:gd name="T84" fmla="*/ 9 w 117"/>
                <a:gd name="T85" fmla="*/ 41 h 576"/>
                <a:gd name="T86" fmla="*/ 23 w 117"/>
                <a:gd name="T87" fmla="*/ 27 h 576"/>
                <a:gd name="T88" fmla="*/ 41 w 117"/>
                <a:gd name="T89" fmla="*/ 15 h 576"/>
                <a:gd name="T90" fmla="*/ 63 w 117"/>
                <a:gd name="T91" fmla="*/ 6 h 576"/>
                <a:gd name="T92" fmla="*/ 88 w 117"/>
                <a:gd name="T93" fmla="*/ 1 h 576"/>
                <a:gd name="T94" fmla="*/ 117 w 117"/>
                <a:gd name="T9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7" h="576">
                  <a:moveTo>
                    <a:pt x="117" y="0"/>
                  </a:moveTo>
                  <a:lnTo>
                    <a:pt x="113" y="27"/>
                  </a:lnTo>
                  <a:lnTo>
                    <a:pt x="109" y="61"/>
                  </a:lnTo>
                  <a:lnTo>
                    <a:pt x="105" y="101"/>
                  </a:lnTo>
                  <a:lnTo>
                    <a:pt x="104" y="146"/>
                  </a:lnTo>
                  <a:lnTo>
                    <a:pt x="103" y="192"/>
                  </a:lnTo>
                  <a:lnTo>
                    <a:pt x="101" y="241"/>
                  </a:lnTo>
                  <a:lnTo>
                    <a:pt x="100" y="288"/>
                  </a:lnTo>
                  <a:lnTo>
                    <a:pt x="99" y="334"/>
                  </a:lnTo>
                  <a:lnTo>
                    <a:pt x="96" y="378"/>
                  </a:lnTo>
                  <a:lnTo>
                    <a:pt x="95" y="417"/>
                  </a:lnTo>
                  <a:lnTo>
                    <a:pt x="91" y="449"/>
                  </a:lnTo>
                  <a:lnTo>
                    <a:pt x="88" y="476"/>
                  </a:lnTo>
                  <a:lnTo>
                    <a:pt x="87" y="501"/>
                  </a:lnTo>
                  <a:lnTo>
                    <a:pt x="86" y="526"/>
                  </a:lnTo>
                  <a:lnTo>
                    <a:pt x="86" y="545"/>
                  </a:lnTo>
                  <a:lnTo>
                    <a:pt x="86" y="562"/>
                  </a:lnTo>
                  <a:lnTo>
                    <a:pt x="86" y="572"/>
                  </a:lnTo>
                  <a:lnTo>
                    <a:pt x="86" y="576"/>
                  </a:lnTo>
                  <a:lnTo>
                    <a:pt x="70" y="569"/>
                  </a:lnTo>
                  <a:lnTo>
                    <a:pt x="55" y="562"/>
                  </a:lnTo>
                  <a:lnTo>
                    <a:pt x="41" y="550"/>
                  </a:lnTo>
                  <a:lnTo>
                    <a:pt x="29" y="535"/>
                  </a:lnTo>
                  <a:lnTo>
                    <a:pt x="20" y="518"/>
                  </a:lnTo>
                  <a:lnTo>
                    <a:pt x="15" y="497"/>
                  </a:lnTo>
                  <a:lnTo>
                    <a:pt x="14" y="474"/>
                  </a:lnTo>
                  <a:lnTo>
                    <a:pt x="17" y="449"/>
                  </a:lnTo>
                  <a:lnTo>
                    <a:pt x="23" y="415"/>
                  </a:lnTo>
                  <a:lnTo>
                    <a:pt x="26" y="379"/>
                  </a:lnTo>
                  <a:lnTo>
                    <a:pt x="28" y="341"/>
                  </a:lnTo>
                  <a:lnTo>
                    <a:pt x="29" y="304"/>
                  </a:lnTo>
                  <a:lnTo>
                    <a:pt x="31" y="269"/>
                  </a:lnTo>
                  <a:lnTo>
                    <a:pt x="32" y="237"/>
                  </a:lnTo>
                  <a:lnTo>
                    <a:pt x="35" y="210"/>
                  </a:lnTo>
                  <a:lnTo>
                    <a:pt x="37" y="188"/>
                  </a:lnTo>
                  <a:lnTo>
                    <a:pt x="35" y="164"/>
                  </a:lnTo>
                  <a:lnTo>
                    <a:pt x="31" y="139"/>
                  </a:lnTo>
                  <a:lnTo>
                    <a:pt x="24" y="116"/>
                  </a:lnTo>
                  <a:lnTo>
                    <a:pt x="18" y="95"/>
                  </a:lnTo>
                  <a:lnTo>
                    <a:pt x="11" y="77"/>
                  </a:lnTo>
                  <a:lnTo>
                    <a:pt x="5" y="64"/>
                  </a:lnTo>
                  <a:lnTo>
                    <a:pt x="0" y="56"/>
                  </a:lnTo>
                  <a:lnTo>
                    <a:pt x="9" y="41"/>
                  </a:lnTo>
                  <a:lnTo>
                    <a:pt x="23" y="27"/>
                  </a:lnTo>
                  <a:lnTo>
                    <a:pt x="41" y="15"/>
                  </a:lnTo>
                  <a:lnTo>
                    <a:pt x="63" y="6"/>
                  </a:lnTo>
                  <a:lnTo>
                    <a:pt x="88" y="1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F6293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0" name="Freeform 352"/>
            <p:cNvSpPr>
              <a:spLocks/>
            </p:cNvSpPr>
            <p:nvPr/>
          </p:nvSpPr>
          <p:spPr bwMode="auto">
            <a:xfrm>
              <a:off x="-4144963" y="4275138"/>
              <a:ext cx="15875" cy="55563"/>
            </a:xfrm>
            <a:custGeom>
              <a:avLst/>
              <a:gdLst>
                <a:gd name="T0" fmla="*/ 10 w 10"/>
                <a:gd name="T1" fmla="*/ 0 h 35"/>
                <a:gd name="T2" fmla="*/ 9 w 10"/>
                <a:gd name="T3" fmla="*/ 35 h 35"/>
                <a:gd name="T4" fmla="*/ 6 w 10"/>
                <a:gd name="T5" fmla="*/ 28 h 35"/>
                <a:gd name="T6" fmla="*/ 4 w 10"/>
                <a:gd name="T7" fmla="*/ 24 h 35"/>
                <a:gd name="T8" fmla="*/ 2 w 10"/>
                <a:gd name="T9" fmla="*/ 21 h 35"/>
                <a:gd name="T10" fmla="*/ 0 w 10"/>
                <a:gd name="T11" fmla="*/ 18 h 35"/>
                <a:gd name="T12" fmla="*/ 4 w 10"/>
                <a:gd name="T13" fmla="*/ 12 h 35"/>
                <a:gd name="T14" fmla="*/ 6 w 10"/>
                <a:gd name="T15" fmla="*/ 5 h 35"/>
                <a:gd name="T16" fmla="*/ 10 w 10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5">
                  <a:moveTo>
                    <a:pt x="10" y="0"/>
                  </a:moveTo>
                  <a:lnTo>
                    <a:pt x="9" y="35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8"/>
                  </a:lnTo>
                  <a:lnTo>
                    <a:pt x="4" y="12"/>
                  </a:lnTo>
                  <a:lnTo>
                    <a:pt x="6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1" name="Freeform 353"/>
            <p:cNvSpPr>
              <a:spLocks/>
            </p:cNvSpPr>
            <p:nvPr/>
          </p:nvSpPr>
          <p:spPr bwMode="auto">
            <a:xfrm>
              <a:off x="-4092575" y="4216400"/>
              <a:ext cx="93663" cy="900113"/>
            </a:xfrm>
            <a:custGeom>
              <a:avLst/>
              <a:gdLst>
                <a:gd name="T0" fmla="*/ 59 w 59"/>
                <a:gd name="T1" fmla="*/ 0 h 567"/>
                <a:gd name="T2" fmla="*/ 34 w 59"/>
                <a:gd name="T3" fmla="*/ 567 h 567"/>
                <a:gd name="T4" fmla="*/ 16 w 59"/>
                <a:gd name="T5" fmla="*/ 555 h 567"/>
                <a:gd name="T6" fmla="*/ 0 w 59"/>
                <a:gd name="T7" fmla="*/ 539 h 567"/>
                <a:gd name="T8" fmla="*/ 25 w 59"/>
                <a:gd name="T9" fmla="*/ 6 h 567"/>
                <a:gd name="T10" fmla="*/ 41 w 59"/>
                <a:gd name="T11" fmla="*/ 2 h 567"/>
                <a:gd name="T12" fmla="*/ 59 w 59"/>
                <a:gd name="T13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67">
                  <a:moveTo>
                    <a:pt x="59" y="0"/>
                  </a:moveTo>
                  <a:lnTo>
                    <a:pt x="34" y="567"/>
                  </a:lnTo>
                  <a:lnTo>
                    <a:pt x="16" y="555"/>
                  </a:lnTo>
                  <a:lnTo>
                    <a:pt x="0" y="539"/>
                  </a:lnTo>
                  <a:lnTo>
                    <a:pt x="25" y="6"/>
                  </a:lnTo>
                  <a:lnTo>
                    <a:pt x="41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2" name="Freeform 354"/>
            <p:cNvSpPr>
              <a:spLocks/>
            </p:cNvSpPr>
            <p:nvPr/>
          </p:nvSpPr>
          <p:spPr bwMode="auto">
            <a:xfrm>
              <a:off x="-4144963" y="4260850"/>
              <a:ext cx="177800" cy="61913"/>
            </a:xfrm>
            <a:custGeom>
              <a:avLst/>
              <a:gdLst>
                <a:gd name="T0" fmla="*/ 19 w 112"/>
                <a:gd name="T1" fmla="*/ 0 h 39"/>
                <a:gd name="T2" fmla="*/ 112 w 112"/>
                <a:gd name="T3" fmla="*/ 4 h 39"/>
                <a:gd name="T4" fmla="*/ 108 w 112"/>
                <a:gd name="T5" fmla="*/ 39 h 39"/>
                <a:gd name="T6" fmla="*/ 4 w 112"/>
                <a:gd name="T7" fmla="*/ 33 h 39"/>
                <a:gd name="T8" fmla="*/ 2 w 112"/>
                <a:gd name="T9" fmla="*/ 31 h 39"/>
                <a:gd name="T10" fmla="*/ 1 w 112"/>
                <a:gd name="T11" fmla="*/ 28 h 39"/>
                <a:gd name="T12" fmla="*/ 0 w 112"/>
                <a:gd name="T13" fmla="*/ 27 h 39"/>
                <a:gd name="T14" fmla="*/ 8 w 112"/>
                <a:gd name="T15" fmla="*/ 13 h 39"/>
                <a:gd name="T16" fmla="*/ 19 w 112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39">
                  <a:moveTo>
                    <a:pt x="19" y="0"/>
                  </a:moveTo>
                  <a:lnTo>
                    <a:pt x="112" y="4"/>
                  </a:lnTo>
                  <a:lnTo>
                    <a:pt x="108" y="39"/>
                  </a:lnTo>
                  <a:lnTo>
                    <a:pt x="4" y="33"/>
                  </a:lnTo>
                  <a:lnTo>
                    <a:pt x="2" y="31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8" y="13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3" name="Freeform 355"/>
            <p:cNvSpPr>
              <a:spLocks/>
            </p:cNvSpPr>
            <p:nvPr/>
          </p:nvSpPr>
          <p:spPr bwMode="auto">
            <a:xfrm>
              <a:off x="-4110038" y="4387850"/>
              <a:ext cx="131763" cy="60325"/>
            </a:xfrm>
            <a:custGeom>
              <a:avLst/>
              <a:gdLst>
                <a:gd name="T0" fmla="*/ 0 w 83"/>
                <a:gd name="T1" fmla="*/ 0 h 38"/>
                <a:gd name="T2" fmla="*/ 83 w 83"/>
                <a:gd name="T3" fmla="*/ 3 h 38"/>
                <a:gd name="T4" fmla="*/ 82 w 83"/>
                <a:gd name="T5" fmla="*/ 38 h 38"/>
                <a:gd name="T6" fmla="*/ 9 w 83"/>
                <a:gd name="T7" fmla="*/ 34 h 38"/>
                <a:gd name="T8" fmla="*/ 0 w 8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38">
                  <a:moveTo>
                    <a:pt x="0" y="0"/>
                  </a:moveTo>
                  <a:lnTo>
                    <a:pt x="83" y="3"/>
                  </a:lnTo>
                  <a:lnTo>
                    <a:pt x="82" y="38"/>
                  </a:lnTo>
                  <a:lnTo>
                    <a:pt x="9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4" name="Freeform 356"/>
            <p:cNvSpPr>
              <a:spLocks/>
            </p:cNvSpPr>
            <p:nvPr/>
          </p:nvSpPr>
          <p:spPr bwMode="auto">
            <a:xfrm>
              <a:off x="-4092575" y="4514850"/>
              <a:ext cx="111125" cy="60325"/>
            </a:xfrm>
            <a:custGeom>
              <a:avLst/>
              <a:gdLst>
                <a:gd name="T0" fmla="*/ 4 w 70"/>
                <a:gd name="T1" fmla="*/ 0 h 38"/>
                <a:gd name="T2" fmla="*/ 70 w 70"/>
                <a:gd name="T3" fmla="*/ 3 h 38"/>
                <a:gd name="T4" fmla="*/ 68 w 70"/>
                <a:gd name="T5" fmla="*/ 38 h 38"/>
                <a:gd name="T6" fmla="*/ 0 w 70"/>
                <a:gd name="T7" fmla="*/ 35 h 38"/>
                <a:gd name="T8" fmla="*/ 2 w 70"/>
                <a:gd name="T9" fmla="*/ 21 h 38"/>
                <a:gd name="T10" fmla="*/ 4 w 70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8">
                  <a:moveTo>
                    <a:pt x="4" y="0"/>
                  </a:moveTo>
                  <a:lnTo>
                    <a:pt x="70" y="3"/>
                  </a:lnTo>
                  <a:lnTo>
                    <a:pt x="68" y="38"/>
                  </a:lnTo>
                  <a:lnTo>
                    <a:pt x="0" y="35"/>
                  </a:lnTo>
                  <a:lnTo>
                    <a:pt x="2" y="2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5" name="Freeform 357"/>
            <p:cNvSpPr>
              <a:spLocks/>
            </p:cNvSpPr>
            <p:nvPr/>
          </p:nvSpPr>
          <p:spPr bwMode="auto">
            <a:xfrm>
              <a:off x="-4098925" y="4641850"/>
              <a:ext cx="112713" cy="58738"/>
            </a:xfrm>
            <a:custGeom>
              <a:avLst/>
              <a:gdLst>
                <a:gd name="T0" fmla="*/ 2 w 71"/>
                <a:gd name="T1" fmla="*/ 0 h 37"/>
                <a:gd name="T2" fmla="*/ 71 w 71"/>
                <a:gd name="T3" fmla="*/ 3 h 37"/>
                <a:gd name="T4" fmla="*/ 70 w 71"/>
                <a:gd name="T5" fmla="*/ 37 h 37"/>
                <a:gd name="T6" fmla="*/ 0 w 71"/>
                <a:gd name="T7" fmla="*/ 35 h 37"/>
                <a:gd name="T8" fmla="*/ 2 w 7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7">
                  <a:moveTo>
                    <a:pt x="2" y="0"/>
                  </a:moveTo>
                  <a:lnTo>
                    <a:pt x="71" y="3"/>
                  </a:lnTo>
                  <a:lnTo>
                    <a:pt x="70" y="37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6" name="Freeform 358"/>
            <p:cNvSpPr>
              <a:spLocks/>
            </p:cNvSpPr>
            <p:nvPr/>
          </p:nvSpPr>
          <p:spPr bwMode="auto">
            <a:xfrm>
              <a:off x="-4103688" y="4768850"/>
              <a:ext cx="112713" cy="58738"/>
            </a:xfrm>
            <a:custGeom>
              <a:avLst/>
              <a:gdLst>
                <a:gd name="T0" fmla="*/ 2 w 71"/>
                <a:gd name="T1" fmla="*/ 0 h 37"/>
                <a:gd name="T2" fmla="*/ 71 w 71"/>
                <a:gd name="T3" fmla="*/ 3 h 37"/>
                <a:gd name="T4" fmla="*/ 70 w 71"/>
                <a:gd name="T5" fmla="*/ 37 h 37"/>
                <a:gd name="T6" fmla="*/ 0 w 71"/>
                <a:gd name="T7" fmla="*/ 34 h 37"/>
                <a:gd name="T8" fmla="*/ 2 w 7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7">
                  <a:moveTo>
                    <a:pt x="2" y="0"/>
                  </a:moveTo>
                  <a:lnTo>
                    <a:pt x="71" y="3"/>
                  </a:lnTo>
                  <a:lnTo>
                    <a:pt x="70" y="37"/>
                  </a:lnTo>
                  <a:lnTo>
                    <a:pt x="0" y="3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7" name="Freeform 359"/>
            <p:cNvSpPr>
              <a:spLocks/>
            </p:cNvSpPr>
            <p:nvPr/>
          </p:nvSpPr>
          <p:spPr bwMode="auto">
            <a:xfrm>
              <a:off x="-4122738" y="4894263"/>
              <a:ext cx="127000" cy="61913"/>
            </a:xfrm>
            <a:custGeom>
              <a:avLst/>
              <a:gdLst>
                <a:gd name="T0" fmla="*/ 6 w 80"/>
                <a:gd name="T1" fmla="*/ 0 h 39"/>
                <a:gd name="T2" fmla="*/ 80 w 80"/>
                <a:gd name="T3" fmla="*/ 4 h 39"/>
                <a:gd name="T4" fmla="*/ 77 w 80"/>
                <a:gd name="T5" fmla="*/ 21 h 39"/>
                <a:gd name="T6" fmla="*/ 76 w 80"/>
                <a:gd name="T7" fmla="*/ 39 h 39"/>
                <a:gd name="T8" fmla="*/ 0 w 80"/>
                <a:gd name="T9" fmla="*/ 35 h 39"/>
                <a:gd name="T10" fmla="*/ 3 w 80"/>
                <a:gd name="T11" fmla="*/ 21 h 39"/>
                <a:gd name="T12" fmla="*/ 5 w 80"/>
                <a:gd name="T13" fmla="*/ 10 h 39"/>
                <a:gd name="T14" fmla="*/ 6 w 80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39">
                  <a:moveTo>
                    <a:pt x="6" y="0"/>
                  </a:moveTo>
                  <a:lnTo>
                    <a:pt x="80" y="4"/>
                  </a:lnTo>
                  <a:lnTo>
                    <a:pt x="77" y="21"/>
                  </a:lnTo>
                  <a:lnTo>
                    <a:pt x="76" y="39"/>
                  </a:lnTo>
                  <a:lnTo>
                    <a:pt x="0" y="35"/>
                  </a:lnTo>
                  <a:lnTo>
                    <a:pt x="3" y="21"/>
                  </a:lnTo>
                  <a:lnTo>
                    <a:pt x="5" y="1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8" name="Freeform 360"/>
            <p:cNvSpPr>
              <a:spLocks/>
            </p:cNvSpPr>
            <p:nvPr/>
          </p:nvSpPr>
          <p:spPr bwMode="auto">
            <a:xfrm>
              <a:off x="-4116388" y="5021263"/>
              <a:ext cx="109538" cy="60325"/>
            </a:xfrm>
            <a:custGeom>
              <a:avLst/>
              <a:gdLst>
                <a:gd name="T0" fmla="*/ 0 w 69"/>
                <a:gd name="T1" fmla="*/ 0 h 38"/>
                <a:gd name="T2" fmla="*/ 69 w 69"/>
                <a:gd name="T3" fmla="*/ 4 h 38"/>
                <a:gd name="T4" fmla="*/ 68 w 69"/>
                <a:gd name="T5" fmla="*/ 21 h 38"/>
                <a:gd name="T6" fmla="*/ 68 w 69"/>
                <a:gd name="T7" fmla="*/ 38 h 38"/>
                <a:gd name="T8" fmla="*/ 18 w 69"/>
                <a:gd name="T9" fmla="*/ 36 h 38"/>
                <a:gd name="T10" fmla="*/ 8 w 69"/>
                <a:gd name="T11" fmla="*/ 19 h 38"/>
                <a:gd name="T12" fmla="*/ 0 w 69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38">
                  <a:moveTo>
                    <a:pt x="0" y="0"/>
                  </a:moveTo>
                  <a:lnTo>
                    <a:pt x="69" y="4"/>
                  </a:lnTo>
                  <a:lnTo>
                    <a:pt x="68" y="21"/>
                  </a:lnTo>
                  <a:lnTo>
                    <a:pt x="68" y="38"/>
                  </a:lnTo>
                  <a:lnTo>
                    <a:pt x="18" y="36"/>
                  </a:lnTo>
                  <a:lnTo>
                    <a:pt x="8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9" name="Freeform 361"/>
            <p:cNvSpPr>
              <a:spLocks/>
            </p:cNvSpPr>
            <p:nvPr/>
          </p:nvSpPr>
          <p:spPr bwMode="auto">
            <a:xfrm>
              <a:off x="-4144963" y="4275138"/>
              <a:ext cx="15875" cy="38100"/>
            </a:xfrm>
            <a:custGeom>
              <a:avLst/>
              <a:gdLst>
                <a:gd name="T0" fmla="*/ 10 w 10"/>
                <a:gd name="T1" fmla="*/ 0 h 24"/>
                <a:gd name="T2" fmla="*/ 9 w 10"/>
                <a:gd name="T3" fmla="*/ 24 h 24"/>
                <a:gd name="T4" fmla="*/ 4 w 10"/>
                <a:gd name="T5" fmla="*/ 24 h 24"/>
                <a:gd name="T6" fmla="*/ 2 w 10"/>
                <a:gd name="T7" fmla="*/ 22 h 24"/>
                <a:gd name="T8" fmla="*/ 1 w 10"/>
                <a:gd name="T9" fmla="*/ 19 h 24"/>
                <a:gd name="T10" fmla="*/ 0 w 10"/>
                <a:gd name="T11" fmla="*/ 18 h 24"/>
                <a:gd name="T12" fmla="*/ 2 w 10"/>
                <a:gd name="T13" fmla="*/ 12 h 24"/>
                <a:gd name="T14" fmla="*/ 6 w 10"/>
                <a:gd name="T15" fmla="*/ 5 h 24"/>
                <a:gd name="T16" fmla="*/ 10 w 1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4">
                  <a:moveTo>
                    <a:pt x="10" y="0"/>
                  </a:moveTo>
                  <a:lnTo>
                    <a:pt x="9" y="24"/>
                  </a:lnTo>
                  <a:lnTo>
                    <a:pt x="4" y="24"/>
                  </a:lnTo>
                  <a:lnTo>
                    <a:pt x="2" y="22"/>
                  </a:lnTo>
                  <a:lnTo>
                    <a:pt x="1" y="19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0" name="Freeform 362"/>
            <p:cNvSpPr>
              <a:spLocks/>
            </p:cNvSpPr>
            <p:nvPr/>
          </p:nvSpPr>
          <p:spPr bwMode="auto">
            <a:xfrm>
              <a:off x="-4057650" y="4262438"/>
              <a:ext cx="57150" cy="57150"/>
            </a:xfrm>
            <a:custGeom>
              <a:avLst/>
              <a:gdLst>
                <a:gd name="T0" fmla="*/ 1 w 36"/>
                <a:gd name="T1" fmla="*/ 0 h 36"/>
                <a:gd name="T2" fmla="*/ 36 w 36"/>
                <a:gd name="T3" fmla="*/ 2 h 36"/>
                <a:gd name="T4" fmla="*/ 35 w 36"/>
                <a:gd name="T5" fmla="*/ 36 h 36"/>
                <a:gd name="T6" fmla="*/ 0 w 36"/>
                <a:gd name="T7" fmla="*/ 35 h 36"/>
                <a:gd name="T8" fmla="*/ 1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" y="0"/>
                  </a:moveTo>
                  <a:lnTo>
                    <a:pt x="36" y="2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1" name="Freeform 363"/>
            <p:cNvSpPr>
              <a:spLocks/>
            </p:cNvSpPr>
            <p:nvPr/>
          </p:nvSpPr>
          <p:spPr bwMode="auto">
            <a:xfrm>
              <a:off x="-4064000" y="4389438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5 w 36"/>
                <a:gd name="T5" fmla="*/ 36 h 36"/>
                <a:gd name="T6" fmla="*/ 0 w 36"/>
                <a:gd name="T7" fmla="*/ 35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2" name="Freeform 364"/>
            <p:cNvSpPr>
              <a:spLocks/>
            </p:cNvSpPr>
            <p:nvPr/>
          </p:nvSpPr>
          <p:spPr bwMode="auto">
            <a:xfrm>
              <a:off x="-4070350" y="4514850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3 h 36"/>
                <a:gd name="T4" fmla="*/ 35 w 36"/>
                <a:gd name="T5" fmla="*/ 36 h 36"/>
                <a:gd name="T6" fmla="*/ 0 w 36"/>
                <a:gd name="T7" fmla="*/ 35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3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3" name="Freeform 365"/>
            <p:cNvSpPr>
              <a:spLocks/>
            </p:cNvSpPr>
            <p:nvPr/>
          </p:nvSpPr>
          <p:spPr bwMode="auto">
            <a:xfrm>
              <a:off x="-4075113" y="4641850"/>
              <a:ext cx="55563" cy="57150"/>
            </a:xfrm>
            <a:custGeom>
              <a:avLst/>
              <a:gdLst>
                <a:gd name="T0" fmla="*/ 1 w 35"/>
                <a:gd name="T1" fmla="*/ 0 h 36"/>
                <a:gd name="T2" fmla="*/ 35 w 35"/>
                <a:gd name="T3" fmla="*/ 3 h 36"/>
                <a:gd name="T4" fmla="*/ 34 w 35"/>
                <a:gd name="T5" fmla="*/ 36 h 36"/>
                <a:gd name="T6" fmla="*/ 0 w 35"/>
                <a:gd name="T7" fmla="*/ 35 h 36"/>
                <a:gd name="T8" fmla="*/ 1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1" y="0"/>
                  </a:moveTo>
                  <a:lnTo>
                    <a:pt x="35" y="3"/>
                  </a:lnTo>
                  <a:lnTo>
                    <a:pt x="34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4" name="Freeform 366"/>
            <p:cNvSpPr>
              <a:spLocks/>
            </p:cNvSpPr>
            <p:nvPr/>
          </p:nvSpPr>
          <p:spPr bwMode="auto">
            <a:xfrm>
              <a:off x="-4081463" y="4770438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4 w 36"/>
                <a:gd name="T5" fmla="*/ 36 h 36"/>
                <a:gd name="T6" fmla="*/ 0 w 36"/>
                <a:gd name="T7" fmla="*/ 33 h 36"/>
                <a:gd name="T8" fmla="*/ 2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4" y="36"/>
                  </a:lnTo>
                  <a:lnTo>
                    <a:pt x="0" y="3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5" name="Freeform 367"/>
            <p:cNvSpPr>
              <a:spLocks/>
            </p:cNvSpPr>
            <p:nvPr/>
          </p:nvSpPr>
          <p:spPr bwMode="auto">
            <a:xfrm>
              <a:off x="-4086225" y="4895850"/>
              <a:ext cx="55563" cy="57150"/>
            </a:xfrm>
            <a:custGeom>
              <a:avLst/>
              <a:gdLst>
                <a:gd name="T0" fmla="*/ 1 w 35"/>
                <a:gd name="T1" fmla="*/ 0 h 36"/>
                <a:gd name="T2" fmla="*/ 35 w 35"/>
                <a:gd name="T3" fmla="*/ 2 h 36"/>
                <a:gd name="T4" fmla="*/ 33 w 35"/>
                <a:gd name="T5" fmla="*/ 36 h 36"/>
                <a:gd name="T6" fmla="*/ 0 w 35"/>
                <a:gd name="T7" fmla="*/ 35 h 36"/>
                <a:gd name="T8" fmla="*/ 1 w 3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1" y="0"/>
                  </a:moveTo>
                  <a:lnTo>
                    <a:pt x="35" y="2"/>
                  </a:lnTo>
                  <a:lnTo>
                    <a:pt x="33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6" name="Freeform 368"/>
            <p:cNvSpPr>
              <a:spLocks/>
            </p:cNvSpPr>
            <p:nvPr/>
          </p:nvSpPr>
          <p:spPr bwMode="auto">
            <a:xfrm>
              <a:off x="-4092575" y="5022850"/>
              <a:ext cx="57150" cy="57150"/>
            </a:xfrm>
            <a:custGeom>
              <a:avLst/>
              <a:gdLst>
                <a:gd name="T0" fmla="*/ 2 w 36"/>
                <a:gd name="T1" fmla="*/ 0 h 36"/>
                <a:gd name="T2" fmla="*/ 36 w 36"/>
                <a:gd name="T3" fmla="*/ 1 h 36"/>
                <a:gd name="T4" fmla="*/ 34 w 36"/>
                <a:gd name="T5" fmla="*/ 36 h 36"/>
                <a:gd name="T6" fmla="*/ 3 w 36"/>
                <a:gd name="T7" fmla="*/ 35 h 36"/>
                <a:gd name="T8" fmla="*/ 0 w 36"/>
                <a:gd name="T9" fmla="*/ 31 h 36"/>
                <a:gd name="T10" fmla="*/ 2 w 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6">
                  <a:moveTo>
                    <a:pt x="2" y="0"/>
                  </a:moveTo>
                  <a:lnTo>
                    <a:pt x="36" y="1"/>
                  </a:lnTo>
                  <a:lnTo>
                    <a:pt x="34" y="36"/>
                  </a:lnTo>
                  <a:lnTo>
                    <a:pt x="3" y="35"/>
                  </a:lnTo>
                  <a:lnTo>
                    <a:pt x="0" y="3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7" name="Freeform 369"/>
            <p:cNvSpPr>
              <a:spLocks/>
            </p:cNvSpPr>
            <p:nvPr/>
          </p:nvSpPr>
          <p:spPr bwMode="auto">
            <a:xfrm>
              <a:off x="-3598863" y="4867275"/>
              <a:ext cx="128588" cy="84138"/>
            </a:xfrm>
            <a:custGeom>
              <a:avLst/>
              <a:gdLst>
                <a:gd name="T0" fmla="*/ 5 w 81"/>
                <a:gd name="T1" fmla="*/ 0 h 53"/>
                <a:gd name="T2" fmla="*/ 41 w 81"/>
                <a:gd name="T3" fmla="*/ 6 h 53"/>
                <a:gd name="T4" fmla="*/ 78 w 81"/>
                <a:gd name="T5" fmla="*/ 6 h 53"/>
                <a:gd name="T6" fmla="*/ 79 w 81"/>
                <a:gd name="T7" fmla="*/ 6 h 53"/>
                <a:gd name="T8" fmla="*/ 81 w 81"/>
                <a:gd name="T9" fmla="*/ 7 h 53"/>
                <a:gd name="T10" fmla="*/ 81 w 81"/>
                <a:gd name="T11" fmla="*/ 8 h 53"/>
                <a:gd name="T12" fmla="*/ 79 w 81"/>
                <a:gd name="T13" fmla="*/ 17 h 53"/>
                <a:gd name="T14" fmla="*/ 77 w 81"/>
                <a:gd name="T15" fmla="*/ 29 h 53"/>
                <a:gd name="T16" fmla="*/ 73 w 81"/>
                <a:gd name="T17" fmla="*/ 40 h 53"/>
                <a:gd name="T18" fmla="*/ 69 w 81"/>
                <a:gd name="T19" fmla="*/ 48 h 53"/>
                <a:gd name="T20" fmla="*/ 68 w 81"/>
                <a:gd name="T21" fmla="*/ 50 h 53"/>
                <a:gd name="T22" fmla="*/ 66 w 81"/>
                <a:gd name="T23" fmla="*/ 50 h 53"/>
                <a:gd name="T24" fmla="*/ 45 w 81"/>
                <a:gd name="T25" fmla="*/ 53 h 53"/>
                <a:gd name="T26" fmla="*/ 24 w 81"/>
                <a:gd name="T27" fmla="*/ 52 h 53"/>
                <a:gd name="T28" fmla="*/ 2 w 81"/>
                <a:gd name="T29" fmla="*/ 48 h 53"/>
                <a:gd name="T30" fmla="*/ 1 w 81"/>
                <a:gd name="T31" fmla="*/ 47 h 53"/>
                <a:gd name="T32" fmla="*/ 0 w 81"/>
                <a:gd name="T33" fmla="*/ 47 h 53"/>
                <a:gd name="T34" fmla="*/ 0 w 81"/>
                <a:gd name="T35" fmla="*/ 45 h 53"/>
                <a:gd name="T36" fmla="*/ 0 w 81"/>
                <a:gd name="T37" fmla="*/ 36 h 53"/>
                <a:gd name="T38" fmla="*/ 0 w 81"/>
                <a:gd name="T39" fmla="*/ 24 h 53"/>
                <a:gd name="T40" fmla="*/ 1 w 81"/>
                <a:gd name="T41" fmla="*/ 12 h 53"/>
                <a:gd name="T42" fmla="*/ 1 w 81"/>
                <a:gd name="T43" fmla="*/ 3 h 53"/>
                <a:gd name="T44" fmla="*/ 2 w 81"/>
                <a:gd name="T45" fmla="*/ 2 h 53"/>
                <a:gd name="T46" fmla="*/ 4 w 81"/>
                <a:gd name="T47" fmla="*/ 0 h 53"/>
                <a:gd name="T48" fmla="*/ 5 w 81"/>
                <a:gd name="T4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53">
                  <a:moveTo>
                    <a:pt x="5" y="0"/>
                  </a:moveTo>
                  <a:lnTo>
                    <a:pt x="41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79" y="17"/>
                  </a:lnTo>
                  <a:lnTo>
                    <a:pt x="77" y="29"/>
                  </a:lnTo>
                  <a:lnTo>
                    <a:pt x="73" y="40"/>
                  </a:lnTo>
                  <a:lnTo>
                    <a:pt x="69" y="48"/>
                  </a:lnTo>
                  <a:lnTo>
                    <a:pt x="68" y="50"/>
                  </a:lnTo>
                  <a:lnTo>
                    <a:pt x="66" y="50"/>
                  </a:lnTo>
                  <a:lnTo>
                    <a:pt x="45" y="53"/>
                  </a:lnTo>
                  <a:lnTo>
                    <a:pt x="24" y="52"/>
                  </a:lnTo>
                  <a:lnTo>
                    <a:pt x="2" y="48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1" y="12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8" name="Freeform 370"/>
            <p:cNvSpPr>
              <a:spLocks/>
            </p:cNvSpPr>
            <p:nvPr/>
          </p:nvSpPr>
          <p:spPr bwMode="auto">
            <a:xfrm>
              <a:off x="-4073525" y="4167188"/>
              <a:ext cx="134938" cy="242888"/>
            </a:xfrm>
            <a:custGeom>
              <a:avLst/>
              <a:gdLst>
                <a:gd name="T0" fmla="*/ 85 w 85"/>
                <a:gd name="T1" fmla="*/ 0 h 153"/>
                <a:gd name="T2" fmla="*/ 79 w 85"/>
                <a:gd name="T3" fmla="*/ 13 h 153"/>
                <a:gd name="T4" fmla="*/ 74 w 85"/>
                <a:gd name="T5" fmla="*/ 33 h 153"/>
                <a:gd name="T6" fmla="*/ 70 w 85"/>
                <a:gd name="T7" fmla="*/ 59 h 153"/>
                <a:gd name="T8" fmla="*/ 67 w 85"/>
                <a:gd name="T9" fmla="*/ 89 h 153"/>
                <a:gd name="T10" fmla="*/ 63 w 85"/>
                <a:gd name="T11" fmla="*/ 121 h 153"/>
                <a:gd name="T12" fmla="*/ 59 w 85"/>
                <a:gd name="T13" fmla="*/ 153 h 153"/>
                <a:gd name="T14" fmla="*/ 59 w 85"/>
                <a:gd name="T15" fmla="*/ 135 h 153"/>
                <a:gd name="T16" fmla="*/ 59 w 85"/>
                <a:gd name="T17" fmla="*/ 114 h 153"/>
                <a:gd name="T18" fmla="*/ 56 w 85"/>
                <a:gd name="T19" fmla="*/ 95 h 153"/>
                <a:gd name="T20" fmla="*/ 52 w 85"/>
                <a:gd name="T21" fmla="*/ 80 h 153"/>
                <a:gd name="T22" fmla="*/ 50 w 85"/>
                <a:gd name="T23" fmla="*/ 71 h 153"/>
                <a:gd name="T24" fmla="*/ 43 w 85"/>
                <a:gd name="T25" fmla="*/ 67 h 153"/>
                <a:gd name="T26" fmla="*/ 34 w 85"/>
                <a:gd name="T27" fmla="*/ 66 h 153"/>
                <a:gd name="T28" fmla="*/ 24 w 85"/>
                <a:gd name="T29" fmla="*/ 68 h 153"/>
                <a:gd name="T30" fmla="*/ 13 w 85"/>
                <a:gd name="T31" fmla="*/ 73 h 153"/>
                <a:gd name="T32" fmla="*/ 0 w 85"/>
                <a:gd name="T33" fmla="*/ 78 h 153"/>
                <a:gd name="T34" fmla="*/ 8 w 85"/>
                <a:gd name="T35" fmla="*/ 57 h 153"/>
                <a:gd name="T36" fmla="*/ 22 w 85"/>
                <a:gd name="T37" fmla="*/ 37 h 153"/>
                <a:gd name="T38" fmla="*/ 41 w 85"/>
                <a:gd name="T39" fmla="*/ 21 h 153"/>
                <a:gd name="T40" fmla="*/ 61 w 85"/>
                <a:gd name="T41" fmla="*/ 8 h 153"/>
                <a:gd name="T42" fmla="*/ 85 w 85"/>
                <a:gd name="T4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153">
                  <a:moveTo>
                    <a:pt x="85" y="0"/>
                  </a:moveTo>
                  <a:lnTo>
                    <a:pt x="79" y="13"/>
                  </a:lnTo>
                  <a:lnTo>
                    <a:pt x="74" y="33"/>
                  </a:lnTo>
                  <a:lnTo>
                    <a:pt x="70" y="59"/>
                  </a:lnTo>
                  <a:lnTo>
                    <a:pt x="67" y="89"/>
                  </a:lnTo>
                  <a:lnTo>
                    <a:pt x="63" y="121"/>
                  </a:lnTo>
                  <a:lnTo>
                    <a:pt x="59" y="153"/>
                  </a:lnTo>
                  <a:lnTo>
                    <a:pt x="59" y="135"/>
                  </a:lnTo>
                  <a:lnTo>
                    <a:pt x="59" y="114"/>
                  </a:lnTo>
                  <a:lnTo>
                    <a:pt x="56" y="95"/>
                  </a:lnTo>
                  <a:lnTo>
                    <a:pt x="52" y="80"/>
                  </a:lnTo>
                  <a:lnTo>
                    <a:pt x="50" y="71"/>
                  </a:lnTo>
                  <a:lnTo>
                    <a:pt x="43" y="67"/>
                  </a:lnTo>
                  <a:lnTo>
                    <a:pt x="34" y="66"/>
                  </a:lnTo>
                  <a:lnTo>
                    <a:pt x="24" y="68"/>
                  </a:lnTo>
                  <a:lnTo>
                    <a:pt x="13" y="73"/>
                  </a:lnTo>
                  <a:lnTo>
                    <a:pt x="0" y="78"/>
                  </a:lnTo>
                  <a:lnTo>
                    <a:pt x="8" y="57"/>
                  </a:lnTo>
                  <a:lnTo>
                    <a:pt x="22" y="37"/>
                  </a:lnTo>
                  <a:lnTo>
                    <a:pt x="41" y="21"/>
                  </a:lnTo>
                  <a:lnTo>
                    <a:pt x="61" y="8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9" name="Freeform 371"/>
            <p:cNvSpPr>
              <a:spLocks/>
            </p:cNvSpPr>
            <p:nvPr/>
          </p:nvSpPr>
          <p:spPr bwMode="auto">
            <a:xfrm>
              <a:off x="-3825875" y="4167188"/>
              <a:ext cx="141288" cy="242888"/>
            </a:xfrm>
            <a:custGeom>
              <a:avLst/>
              <a:gdLst>
                <a:gd name="T0" fmla="*/ 0 w 89"/>
                <a:gd name="T1" fmla="*/ 0 h 153"/>
                <a:gd name="T2" fmla="*/ 23 w 89"/>
                <a:gd name="T3" fmla="*/ 8 h 153"/>
                <a:gd name="T4" fmla="*/ 45 w 89"/>
                <a:gd name="T5" fmla="*/ 21 h 153"/>
                <a:gd name="T6" fmla="*/ 65 w 89"/>
                <a:gd name="T7" fmla="*/ 37 h 153"/>
                <a:gd name="T8" fmla="*/ 79 w 89"/>
                <a:gd name="T9" fmla="*/ 57 h 153"/>
                <a:gd name="T10" fmla="*/ 89 w 89"/>
                <a:gd name="T11" fmla="*/ 78 h 153"/>
                <a:gd name="T12" fmla="*/ 75 w 89"/>
                <a:gd name="T13" fmla="*/ 73 h 153"/>
                <a:gd name="T14" fmla="*/ 63 w 89"/>
                <a:gd name="T15" fmla="*/ 68 h 153"/>
                <a:gd name="T16" fmla="*/ 53 w 89"/>
                <a:gd name="T17" fmla="*/ 66 h 153"/>
                <a:gd name="T18" fmla="*/ 44 w 89"/>
                <a:gd name="T19" fmla="*/ 67 h 153"/>
                <a:gd name="T20" fmla="*/ 39 w 89"/>
                <a:gd name="T21" fmla="*/ 71 h 153"/>
                <a:gd name="T22" fmla="*/ 35 w 89"/>
                <a:gd name="T23" fmla="*/ 80 h 153"/>
                <a:gd name="T24" fmla="*/ 32 w 89"/>
                <a:gd name="T25" fmla="*/ 95 h 153"/>
                <a:gd name="T26" fmla="*/ 31 w 89"/>
                <a:gd name="T27" fmla="*/ 114 h 153"/>
                <a:gd name="T28" fmla="*/ 31 w 89"/>
                <a:gd name="T29" fmla="*/ 135 h 153"/>
                <a:gd name="T30" fmla="*/ 32 w 89"/>
                <a:gd name="T31" fmla="*/ 153 h 153"/>
                <a:gd name="T32" fmla="*/ 27 w 89"/>
                <a:gd name="T33" fmla="*/ 121 h 153"/>
                <a:gd name="T34" fmla="*/ 22 w 89"/>
                <a:gd name="T35" fmla="*/ 89 h 153"/>
                <a:gd name="T36" fmla="*/ 17 w 89"/>
                <a:gd name="T37" fmla="*/ 59 h 153"/>
                <a:gd name="T38" fmla="*/ 11 w 89"/>
                <a:gd name="T39" fmla="*/ 33 h 153"/>
                <a:gd name="T40" fmla="*/ 5 w 89"/>
                <a:gd name="T41" fmla="*/ 13 h 153"/>
                <a:gd name="T42" fmla="*/ 0 w 89"/>
                <a:gd name="T4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9" h="153">
                  <a:moveTo>
                    <a:pt x="0" y="0"/>
                  </a:moveTo>
                  <a:lnTo>
                    <a:pt x="23" y="8"/>
                  </a:lnTo>
                  <a:lnTo>
                    <a:pt x="45" y="21"/>
                  </a:lnTo>
                  <a:lnTo>
                    <a:pt x="65" y="37"/>
                  </a:lnTo>
                  <a:lnTo>
                    <a:pt x="79" y="57"/>
                  </a:lnTo>
                  <a:lnTo>
                    <a:pt x="89" y="78"/>
                  </a:lnTo>
                  <a:lnTo>
                    <a:pt x="75" y="73"/>
                  </a:lnTo>
                  <a:lnTo>
                    <a:pt x="63" y="68"/>
                  </a:lnTo>
                  <a:lnTo>
                    <a:pt x="53" y="66"/>
                  </a:lnTo>
                  <a:lnTo>
                    <a:pt x="44" y="67"/>
                  </a:lnTo>
                  <a:lnTo>
                    <a:pt x="39" y="71"/>
                  </a:lnTo>
                  <a:lnTo>
                    <a:pt x="35" y="80"/>
                  </a:lnTo>
                  <a:lnTo>
                    <a:pt x="32" y="95"/>
                  </a:lnTo>
                  <a:lnTo>
                    <a:pt x="31" y="114"/>
                  </a:lnTo>
                  <a:lnTo>
                    <a:pt x="31" y="135"/>
                  </a:lnTo>
                  <a:lnTo>
                    <a:pt x="32" y="153"/>
                  </a:lnTo>
                  <a:lnTo>
                    <a:pt x="27" y="121"/>
                  </a:lnTo>
                  <a:lnTo>
                    <a:pt x="22" y="89"/>
                  </a:lnTo>
                  <a:lnTo>
                    <a:pt x="17" y="59"/>
                  </a:lnTo>
                  <a:lnTo>
                    <a:pt x="11" y="33"/>
                  </a:lnTo>
                  <a:lnTo>
                    <a:pt x="5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0" name="Freeform 372"/>
            <p:cNvSpPr>
              <a:spLocks/>
            </p:cNvSpPr>
            <p:nvPr/>
          </p:nvSpPr>
          <p:spPr bwMode="auto">
            <a:xfrm>
              <a:off x="-4200525" y="4713288"/>
              <a:ext cx="68263" cy="250825"/>
            </a:xfrm>
            <a:custGeom>
              <a:avLst/>
              <a:gdLst>
                <a:gd name="T0" fmla="*/ 8 w 43"/>
                <a:gd name="T1" fmla="*/ 0 h 158"/>
                <a:gd name="T2" fmla="*/ 43 w 43"/>
                <a:gd name="T3" fmla="*/ 6 h 158"/>
                <a:gd name="T4" fmla="*/ 35 w 43"/>
                <a:gd name="T5" fmla="*/ 158 h 158"/>
                <a:gd name="T6" fmla="*/ 0 w 43"/>
                <a:gd name="T7" fmla="*/ 153 h 158"/>
                <a:gd name="T8" fmla="*/ 8 w 43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58">
                  <a:moveTo>
                    <a:pt x="8" y="0"/>
                  </a:moveTo>
                  <a:lnTo>
                    <a:pt x="43" y="6"/>
                  </a:lnTo>
                  <a:lnTo>
                    <a:pt x="35" y="158"/>
                  </a:lnTo>
                  <a:lnTo>
                    <a:pt x="0" y="15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1" name="Freeform 373"/>
            <p:cNvSpPr>
              <a:spLocks/>
            </p:cNvSpPr>
            <p:nvPr/>
          </p:nvSpPr>
          <p:spPr bwMode="auto">
            <a:xfrm>
              <a:off x="-4224338" y="4708525"/>
              <a:ext cx="57150" cy="7938"/>
            </a:xfrm>
            <a:custGeom>
              <a:avLst/>
              <a:gdLst>
                <a:gd name="T0" fmla="*/ 0 w 36"/>
                <a:gd name="T1" fmla="*/ 0 h 5"/>
                <a:gd name="T2" fmla="*/ 36 w 36"/>
                <a:gd name="T3" fmla="*/ 5 h 5"/>
                <a:gd name="T4" fmla="*/ 0 w 36"/>
                <a:gd name="T5" fmla="*/ 4 h 5"/>
                <a:gd name="T6" fmla="*/ 0 w 36"/>
                <a:gd name="T7" fmla="*/ 3 h 5"/>
                <a:gd name="T8" fmla="*/ 0 w 3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">
                  <a:moveTo>
                    <a:pt x="0" y="0"/>
                  </a:moveTo>
                  <a:lnTo>
                    <a:pt x="36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2" name="Freeform 374"/>
            <p:cNvSpPr>
              <a:spLocks/>
            </p:cNvSpPr>
            <p:nvPr/>
          </p:nvSpPr>
          <p:spPr bwMode="auto">
            <a:xfrm>
              <a:off x="-4229100" y="4786313"/>
              <a:ext cx="114300" cy="58738"/>
            </a:xfrm>
            <a:custGeom>
              <a:avLst/>
              <a:gdLst>
                <a:gd name="T0" fmla="*/ 0 w 72"/>
                <a:gd name="T1" fmla="*/ 0 h 37"/>
                <a:gd name="T2" fmla="*/ 72 w 72"/>
                <a:gd name="T3" fmla="*/ 4 h 37"/>
                <a:gd name="T4" fmla="*/ 70 w 72"/>
                <a:gd name="T5" fmla="*/ 19 h 37"/>
                <a:gd name="T6" fmla="*/ 68 w 72"/>
                <a:gd name="T7" fmla="*/ 37 h 37"/>
                <a:gd name="T8" fmla="*/ 0 w 72"/>
                <a:gd name="T9" fmla="*/ 35 h 37"/>
                <a:gd name="T10" fmla="*/ 0 w 72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37">
                  <a:moveTo>
                    <a:pt x="0" y="0"/>
                  </a:moveTo>
                  <a:lnTo>
                    <a:pt x="72" y="4"/>
                  </a:lnTo>
                  <a:lnTo>
                    <a:pt x="70" y="19"/>
                  </a:lnTo>
                  <a:lnTo>
                    <a:pt x="68" y="37"/>
                  </a:ln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3" name="Freeform 375"/>
            <p:cNvSpPr>
              <a:spLocks/>
            </p:cNvSpPr>
            <p:nvPr/>
          </p:nvSpPr>
          <p:spPr bwMode="auto">
            <a:xfrm>
              <a:off x="-4229100" y="4913313"/>
              <a:ext cx="98425" cy="52388"/>
            </a:xfrm>
            <a:custGeom>
              <a:avLst/>
              <a:gdLst>
                <a:gd name="T0" fmla="*/ 0 w 62"/>
                <a:gd name="T1" fmla="*/ 0 h 33"/>
                <a:gd name="T2" fmla="*/ 62 w 62"/>
                <a:gd name="T3" fmla="*/ 4 h 33"/>
                <a:gd name="T4" fmla="*/ 61 w 62"/>
                <a:gd name="T5" fmla="*/ 19 h 33"/>
                <a:gd name="T6" fmla="*/ 61 w 62"/>
                <a:gd name="T7" fmla="*/ 33 h 33"/>
                <a:gd name="T8" fmla="*/ 31 w 62"/>
                <a:gd name="T9" fmla="*/ 28 h 33"/>
                <a:gd name="T10" fmla="*/ 0 w 62"/>
                <a:gd name="T11" fmla="*/ 23 h 33"/>
                <a:gd name="T12" fmla="*/ 0 w 62"/>
                <a:gd name="T13" fmla="*/ 12 h 33"/>
                <a:gd name="T14" fmla="*/ 0 w 62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33">
                  <a:moveTo>
                    <a:pt x="0" y="0"/>
                  </a:moveTo>
                  <a:lnTo>
                    <a:pt x="62" y="4"/>
                  </a:lnTo>
                  <a:lnTo>
                    <a:pt x="61" y="19"/>
                  </a:lnTo>
                  <a:lnTo>
                    <a:pt x="61" y="33"/>
                  </a:lnTo>
                  <a:lnTo>
                    <a:pt x="31" y="28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421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4" name="Freeform 376"/>
            <p:cNvSpPr>
              <a:spLocks/>
            </p:cNvSpPr>
            <p:nvPr/>
          </p:nvSpPr>
          <p:spPr bwMode="auto">
            <a:xfrm>
              <a:off x="-4187825" y="4713288"/>
              <a:ext cx="20638" cy="3175"/>
            </a:xfrm>
            <a:custGeom>
              <a:avLst/>
              <a:gdLst>
                <a:gd name="T0" fmla="*/ 0 w 13"/>
                <a:gd name="T1" fmla="*/ 0 h 2"/>
                <a:gd name="T2" fmla="*/ 13 w 13"/>
                <a:gd name="T3" fmla="*/ 2 h 2"/>
                <a:gd name="T4" fmla="*/ 0 w 13"/>
                <a:gd name="T5" fmla="*/ 1 h 2"/>
                <a:gd name="T6" fmla="*/ 0 w 1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">
                  <a:moveTo>
                    <a:pt x="0" y="0"/>
                  </a:moveTo>
                  <a:lnTo>
                    <a:pt x="13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5" name="Freeform 377"/>
            <p:cNvSpPr>
              <a:spLocks/>
            </p:cNvSpPr>
            <p:nvPr/>
          </p:nvSpPr>
          <p:spPr bwMode="auto">
            <a:xfrm>
              <a:off x="-4194175" y="4787900"/>
              <a:ext cx="57150" cy="57150"/>
            </a:xfrm>
            <a:custGeom>
              <a:avLst/>
              <a:gdLst>
                <a:gd name="T0" fmla="*/ 1 w 36"/>
                <a:gd name="T1" fmla="*/ 0 h 36"/>
                <a:gd name="T2" fmla="*/ 36 w 36"/>
                <a:gd name="T3" fmla="*/ 2 h 36"/>
                <a:gd name="T4" fmla="*/ 35 w 36"/>
                <a:gd name="T5" fmla="*/ 36 h 36"/>
                <a:gd name="T6" fmla="*/ 0 w 36"/>
                <a:gd name="T7" fmla="*/ 35 h 36"/>
                <a:gd name="T8" fmla="*/ 1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" y="0"/>
                  </a:moveTo>
                  <a:lnTo>
                    <a:pt x="36" y="2"/>
                  </a:lnTo>
                  <a:lnTo>
                    <a:pt x="35" y="36"/>
                  </a:lnTo>
                  <a:lnTo>
                    <a:pt x="0" y="3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6" name="Freeform 378"/>
            <p:cNvSpPr>
              <a:spLocks/>
            </p:cNvSpPr>
            <p:nvPr/>
          </p:nvSpPr>
          <p:spPr bwMode="auto">
            <a:xfrm>
              <a:off x="-4200525" y="4914900"/>
              <a:ext cx="57150" cy="49213"/>
            </a:xfrm>
            <a:custGeom>
              <a:avLst/>
              <a:gdLst>
                <a:gd name="T0" fmla="*/ 2 w 36"/>
                <a:gd name="T1" fmla="*/ 0 h 31"/>
                <a:gd name="T2" fmla="*/ 36 w 36"/>
                <a:gd name="T3" fmla="*/ 1 h 31"/>
                <a:gd name="T4" fmla="*/ 35 w 36"/>
                <a:gd name="T5" fmla="*/ 31 h 31"/>
                <a:gd name="T6" fmla="*/ 0 w 36"/>
                <a:gd name="T7" fmla="*/ 26 h 31"/>
                <a:gd name="T8" fmla="*/ 2 w 36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1">
                  <a:moveTo>
                    <a:pt x="2" y="0"/>
                  </a:moveTo>
                  <a:lnTo>
                    <a:pt x="36" y="1"/>
                  </a:lnTo>
                  <a:lnTo>
                    <a:pt x="35" y="31"/>
                  </a:lnTo>
                  <a:lnTo>
                    <a:pt x="0" y="2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D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7" name="Line 379"/>
            <p:cNvSpPr>
              <a:spLocks noChangeShapeType="1"/>
            </p:cNvSpPr>
            <p:nvPr/>
          </p:nvSpPr>
          <p:spPr bwMode="auto">
            <a:xfrm flipV="1">
              <a:off x="-4029075" y="5553075"/>
              <a:ext cx="2222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8" name="Line 380"/>
            <p:cNvSpPr>
              <a:spLocks noChangeShapeType="1"/>
            </p:cNvSpPr>
            <p:nvPr/>
          </p:nvSpPr>
          <p:spPr bwMode="auto">
            <a:xfrm>
              <a:off x="-4006850" y="5553075"/>
              <a:ext cx="19050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9" name="Line 381"/>
            <p:cNvSpPr>
              <a:spLocks noChangeShapeType="1"/>
            </p:cNvSpPr>
            <p:nvPr/>
          </p:nvSpPr>
          <p:spPr bwMode="auto">
            <a:xfrm>
              <a:off x="-3987800" y="5553075"/>
              <a:ext cx="1587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0" name="Line 382"/>
            <p:cNvSpPr>
              <a:spLocks noChangeShapeType="1"/>
            </p:cNvSpPr>
            <p:nvPr/>
          </p:nvSpPr>
          <p:spPr bwMode="auto">
            <a:xfrm flipV="1">
              <a:off x="-4041775" y="5572125"/>
              <a:ext cx="25400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1" name="Line 383"/>
            <p:cNvSpPr>
              <a:spLocks noChangeShapeType="1"/>
            </p:cNvSpPr>
            <p:nvPr/>
          </p:nvSpPr>
          <p:spPr bwMode="auto">
            <a:xfrm>
              <a:off x="-4016375" y="5572125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2" name="Line 384"/>
            <p:cNvSpPr>
              <a:spLocks noChangeShapeType="1"/>
            </p:cNvSpPr>
            <p:nvPr/>
          </p:nvSpPr>
          <p:spPr bwMode="auto">
            <a:xfrm>
              <a:off x="-3998913" y="5572125"/>
              <a:ext cx="14288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3" name="Line 385"/>
            <p:cNvSpPr>
              <a:spLocks noChangeShapeType="1"/>
            </p:cNvSpPr>
            <p:nvPr/>
          </p:nvSpPr>
          <p:spPr bwMode="auto">
            <a:xfrm flipV="1">
              <a:off x="-4030663" y="5583238"/>
              <a:ext cx="22225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4" name="Line 386"/>
            <p:cNvSpPr>
              <a:spLocks noChangeShapeType="1"/>
            </p:cNvSpPr>
            <p:nvPr/>
          </p:nvSpPr>
          <p:spPr bwMode="auto">
            <a:xfrm>
              <a:off x="-4008438" y="5583238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5" name="Line 387"/>
            <p:cNvSpPr>
              <a:spLocks noChangeShapeType="1"/>
            </p:cNvSpPr>
            <p:nvPr/>
          </p:nvSpPr>
          <p:spPr bwMode="auto">
            <a:xfrm>
              <a:off x="-3990975" y="5583238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6" name="Line 388"/>
            <p:cNvSpPr>
              <a:spLocks noChangeShapeType="1"/>
            </p:cNvSpPr>
            <p:nvPr/>
          </p:nvSpPr>
          <p:spPr bwMode="auto">
            <a:xfrm flipV="1">
              <a:off x="-4033838" y="5599113"/>
              <a:ext cx="23813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7" name="Line 389"/>
            <p:cNvSpPr>
              <a:spLocks noChangeShapeType="1"/>
            </p:cNvSpPr>
            <p:nvPr/>
          </p:nvSpPr>
          <p:spPr bwMode="auto">
            <a:xfrm>
              <a:off x="-4010025" y="5599113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8" name="Line 390"/>
            <p:cNvSpPr>
              <a:spLocks noChangeShapeType="1"/>
            </p:cNvSpPr>
            <p:nvPr/>
          </p:nvSpPr>
          <p:spPr bwMode="auto">
            <a:xfrm>
              <a:off x="-3992563" y="5599113"/>
              <a:ext cx="1587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9" name="Line 391"/>
            <p:cNvSpPr>
              <a:spLocks noChangeShapeType="1"/>
            </p:cNvSpPr>
            <p:nvPr/>
          </p:nvSpPr>
          <p:spPr bwMode="auto">
            <a:xfrm flipV="1">
              <a:off x="-4022725" y="5619750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0" name="Line 392"/>
            <p:cNvSpPr>
              <a:spLocks noChangeShapeType="1"/>
            </p:cNvSpPr>
            <p:nvPr/>
          </p:nvSpPr>
          <p:spPr bwMode="auto">
            <a:xfrm>
              <a:off x="-4005263" y="561975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1" name="Line 393"/>
            <p:cNvSpPr>
              <a:spLocks noChangeShapeType="1"/>
            </p:cNvSpPr>
            <p:nvPr/>
          </p:nvSpPr>
          <p:spPr bwMode="auto">
            <a:xfrm>
              <a:off x="-3987800" y="5619750"/>
              <a:ext cx="1111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2" name="Line 394"/>
            <p:cNvSpPr>
              <a:spLocks noChangeShapeType="1"/>
            </p:cNvSpPr>
            <p:nvPr/>
          </p:nvSpPr>
          <p:spPr bwMode="auto">
            <a:xfrm flipH="1" flipV="1">
              <a:off x="-3748088" y="5562600"/>
              <a:ext cx="2222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3" name="Line 395"/>
            <p:cNvSpPr>
              <a:spLocks noChangeShapeType="1"/>
            </p:cNvSpPr>
            <p:nvPr/>
          </p:nvSpPr>
          <p:spPr bwMode="auto">
            <a:xfrm flipH="1">
              <a:off x="-3765550" y="556260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4" name="Line 396"/>
            <p:cNvSpPr>
              <a:spLocks noChangeShapeType="1"/>
            </p:cNvSpPr>
            <p:nvPr/>
          </p:nvSpPr>
          <p:spPr bwMode="auto">
            <a:xfrm flipH="1">
              <a:off x="-3779838" y="5562600"/>
              <a:ext cx="14288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5" name="Line 397"/>
            <p:cNvSpPr>
              <a:spLocks noChangeShapeType="1"/>
            </p:cNvSpPr>
            <p:nvPr/>
          </p:nvSpPr>
          <p:spPr bwMode="auto">
            <a:xfrm flipH="1" flipV="1">
              <a:off x="-3743325" y="5581650"/>
              <a:ext cx="23813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6" name="Line 398"/>
            <p:cNvSpPr>
              <a:spLocks noChangeShapeType="1"/>
            </p:cNvSpPr>
            <p:nvPr/>
          </p:nvSpPr>
          <p:spPr bwMode="auto">
            <a:xfrm flipH="1">
              <a:off x="-3760788" y="5581650"/>
              <a:ext cx="17463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7" name="Line 399"/>
            <p:cNvSpPr>
              <a:spLocks noChangeShapeType="1"/>
            </p:cNvSpPr>
            <p:nvPr/>
          </p:nvSpPr>
          <p:spPr bwMode="auto">
            <a:xfrm flipH="1">
              <a:off x="-3776663" y="5581650"/>
              <a:ext cx="15875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8" name="Line 400"/>
            <p:cNvSpPr>
              <a:spLocks noChangeShapeType="1"/>
            </p:cNvSpPr>
            <p:nvPr/>
          </p:nvSpPr>
          <p:spPr bwMode="auto">
            <a:xfrm flipH="1" flipV="1">
              <a:off x="-3746500" y="5591175"/>
              <a:ext cx="23813" cy="3175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9" name="Line 401"/>
            <p:cNvSpPr>
              <a:spLocks noChangeShapeType="1"/>
            </p:cNvSpPr>
            <p:nvPr/>
          </p:nvSpPr>
          <p:spPr bwMode="auto">
            <a:xfrm flipH="1">
              <a:off x="-3763963" y="5591175"/>
              <a:ext cx="17463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0" name="Line 402"/>
            <p:cNvSpPr>
              <a:spLocks noChangeShapeType="1"/>
            </p:cNvSpPr>
            <p:nvPr/>
          </p:nvSpPr>
          <p:spPr bwMode="auto">
            <a:xfrm flipH="1">
              <a:off x="-3779838" y="5592763"/>
              <a:ext cx="15875" cy="1588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1" name="Line 403"/>
            <p:cNvSpPr>
              <a:spLocks noChangeShapeType="1"/>
            </p:cNvSpPr>
            <p:nvPr/>
          </p:nvSpPr>
          <p:spPr bwMode="auto">
            <a:xfrm flipH="1" flipV="1">
              <a:off x="-3749675" y="5608638"/>
              <a:ext cx="28575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2" name="Line 404"/>
            <p:cNvSpPr>
              <a:spLocks noChangeShapeType="1"/>
            </p:cNvSpPr>
            <p:nvPr/>
          </p:nvSpPr>
          <p:spPr bwMode="auto">
            <a:xfrm flipH="1">
              <a:off x="-3770313" y="5608638"/>
              <a:ext cx="20638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3" name="Line 405"/>
            <p:cNvSpPr>
              <a:spLocks noChangeShapeType="1"/>
            </p:cNvSpPr>
            <p:nvPr/>
          </p:nvSpPr>
          <p:spPr bwMode="auto">
            <a:xfrm flipH="1">
              <a:off x="-3789363" y="5608638"/>
              <a:ext cx="19050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4" name="Line 407"/>
            <p:cNvSpPr>
              <a:spLocks noChangeShapeType="1"/>
            </p:cNvSpPr>
            <p:nvPr/>
          </p:nvSpPr>
          <p:spPr bwMode="auto">
            <a:xfrm flipH="1" flipV="1">
              <a:off x="-3749675" y="5627688"/>
              <a:ext cx="17463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5" name="Line 408"/>
            <p:cNvSpPr>
              <a:spLocks noChangeShapeType="1"/>
            </p:cNvSpPr>
            <p:nvPr/>
          </p:nvSpPr>
          <p:spPr bwMode="auto">
            <a:xfrm flipH="1">
              <a:off x="-3763963" y="5627688"/>
              <a:ext cx="14288" cy="0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6" name="Line 409"/>
            <p:cNvSpPr>
              <a:spLocks noChangeShapeType="1"/>
            </p:cNvSpPr>
            <p:nvPr/>
          </p:nvSpPr>
          <p:spPr bwMode="auto">
            <a:xfrm flipH="1">
              <a:off x="-3776663" y="5627688"/>
              <a:ext cx="12700" cy="4763"/>
            </a:xfrm>
            <a:prstGeom prst="line">
              <a:avLst/>
            </a:prstGeom>
            <a:noFill/>
            <a:ln w="2222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7" name="Freeform 410"/>
            <p:cNvSpPr>
              <a:spLocks/>
            </p:cNvSpPr>
            <p:nvPr/>
          </p:nvSpPr>
          <p:spPr bwMode="auto">
            <a:xfrm>
              <a:off x="-3911600" y="5016501"/>
              <a:ext cx="57150" cy="120650"/>
            </a:xfrm>
            <a:custGeom>
              <a:avLst/>
              <a:gdLst>
                <a:gd name="T0" fmla="*/ 3 w 36"/>
                <a:gd name="T1" fmla="*/ 0 h 76"/>
                <a:gd name="T2" fmla="*/ 12 w 36"/>
                <a:gd name="T3" fmla="*/ 1 h 76"/>
                <a:gd name="T4" fmla="*/ 11 w 36"/>
                <a:gd name="T5" fmla="*/ 7 h 76"/>
                <a:gd name="T6" fmla="*/ 9 w 36"/>
                <a:gd name="T7" fmla="*/ 16 h 76"/>
                <a:gd name="T8" fmla="*/ 9 w 36"/>
                <a:gd name="T9" fmla="*/ 50 h 76"/>
                <a:gd name="T10" fmla="*/ 11 w 36"/>
                <a:gd name="T11" fmla="*/ 60 h 76"/>
                <a:gd name="T12" fmla="*/ 12 w 36"/>
                <a:gd name="T13" fmla="*/ 66 h 76"/>
                <a:gd name="T14" fmla="*/ 12 w 36"/>
                <a:gd name="T15" fmla="*/ 66 h 76"/>
                <a:gd name="T16" fmla="*/ 27 w 36"/>
                <a:gd name="T17" fmla="*/ 66 h 76"/>
                <a:gd name="T18" fmla="*/ 34 w 36"/>
                <a:gd name="T19" fmla="*/ 67 h 76"/>
                <a:gd name="T20" fmla="*/ 36 w 36"/>
                <a:gd name="T21" fmla="*/ 67 h 76"/>
                <a:gd name="T22" fmla="*/ 36 w 36"/>
                <a:gd name="T23" fmla="*/ 76 h 76"/>
                <a:gd name="T24" fmla="*/ 34 w 36"/>
                <a:gd name="T25" fmla="*/ 76 h 76"/>
                <a:gd name="T26" fmla="*/ 27 w 36"/>
                <a:gd name="T27" fmla="*/ 75 h 76"/>
                <a:gd name="T28" fmla="*/ 11 w 36"/>
                <a:gd name="T29" fmla="*/ 75 h 76"/>
                <a:gd name="T30" fmla="*/ 9 w 36"/>
                <a:gd name="T31" fmla="*/ 73 h 76"/>
                <a:gd name="T32" fmla="*/ 6 w 36"/>
                <a:gd name="T33" fmla="*/ 72 h 76"/>
                <a:gd name="T34" fmla="*/ 4 w 36"/>
                <a:gd name="T35" fmla="*/ 71 h 76"/>
                <a:gd name="T36" fmla="*/ 3 w 36"/>
                <a:gd name="T37" fmla="*/ 67 h 76"/>
                <a:gd name="T38" fmla="*/ 2 w 36"/>
                <a:gd name="T39" fmla="*/ 60 h 76"/>
                <a:gd name="T40" fmla="*/ 0 w 36"/>
                <a:gd name="T41" fmla="*/ 50 h 76"/>
                <a:gd name="T42" fmla="*/ 0 w 36"/>
                <a:gd name="T43" fmla="*/ 16 h 76"/>
                <a:gd name="T44" fmla="*/ 2 w 36"/>
                <a:gd name="T45" fmla="*/ 7 h 76"/>
                <a:gd name="T46" fmla="*/ 3 w 36"/>
                <a:gd name="T4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76">
                  <a:moveTo>
                    <a:pt x="3" y="0"/>
                  </a:moveTo>
                  <a:lnTo>
                    <a:pt x="12" y="1"/>
                  </a:lnTo>
                  <a:lnTo>
                    <a:pt x="11" y="7"/>
                  </a:lnTo>
                  <a:lnTo>
                    <a:pt x="9" y="16"/>
                  </a:lnTo>
                  <a:lnTo>
                    <a:pt x="9" y="50"/>
                  </a:lnTo>
                  <a:lnTo>
                    <a:pt x="11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27" y="66"/>
                  </a:lnTo>
                  <a:lnTo>
                    <a:pt x="34" y="67"/>
                  </a:lnTo>
                  <a:lnTo>
                    <a:pt x="36" y="67"/>
                  </a:lnTo>
                  <a:lnTo>
                    <a:pt x="36" y="76"/>
                  </a:lnTo>
                  <a:lnTo>
                    <a:pt x="34" y="76"/>
                  </a:lnTo>
                  <a:lnTo>
                    <a:pt x="27" y="75"/>
                  </a:lnTo>
                  <a:lnTo>
                    <a:pt x="11" y="75"/>
                  </a:lnTo>
                  <a:lnTo>
                    <a:pt x="9" y="73"/>
                  </a:lnTo>
                  <a:lnTo>
                    <a:pt x="6" y="72"/>
                  </a:lnTo>
                  <a:lnTo>
                    <a:pt x="4" y="71"/>
                  </a:lnTo>
                  <a:lnTo>
                    <a:pt x="3" y="67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0" y="16"/>
                  </a:lnTo>
                  <a:lnTo>
                    <a:pt x="2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8" name="Freeform 411"/>
            <p:cNvSpPr>
              <a:spLocks/>
            </p:cNvSpPr>
            <p:nvPr/>
          </p:nvSpPr>
          <p:spPr bwMode="auto">
            <a:xfrm>
              <a:off x="-3844925" y="6024563"/>
              <a:ext cx="144463" cy="65088"/>
            </a:xfrm>
            <a:custGeom>
              <a:avLst/>
              <a:gdLst>
                <a:gd name="T0" fmla="*/ 85 w 91"/>
                <a:gd name="T1" fmla="*/ 0 h 41"/>
                <a:gd name="T2" fmla="*/ 87 w 91"/>
                <a:gd name="T3" fmla="*/ 0 h 41"/>
                <a:gd name="T4" fmla="*/ 88 w 91"/>
                <a:gd name="T5" fmla="*/ 1 h 41"/>
                <a:gd name="T6" fmla="*/ 88 w 91"/>
                <a:gd name="T7" fmla="*/ 3 h 41"/>
                <a:gd name="T8" fmla="*/ 91 w 91"/>
                <a:gd name="T9" fmla="*/ 31 h 41"/>
                <a:gd name="T10" fmla="*/ 89 w 91"/>
                <a:gd name="T11" fmla="*/ 32 h 41"/>
                <a:gd name="T12" fmla="*/ 89 w 91"/>
                <a:gd name="T13" fmla="*/ 34 h 41"/>
                <a:gd name="T14" fmla="*/ 88 w 91"/>
                <a:gd name="T15" fmla="*/ 34 h 41"/>
                <a:gd name="T16" fmla="*/ 60 w 91"/>
                <a:gd name="T17" fmla="*/ 39 h 41"/>
                <a:gd name="T18" fmla="*/ 32 w 91"/>
                <a:gd name="T19" fmla="*/ 41 h 41"/>
                <a:gd name="T20" fmla="*/ 5 w 91"/>
                <a:gd name="T21" fmla="*/ 40 h 41"/>
                <a:gd name="T22" fmla="*/ 2 w 91"/>
                <a:gd name="T23" fmla="*/ 39 h 41"/>
                <a:gd name="T24" fmla="*/ 2 w 91"/>
                <a:gd name="T25" fmla="*/ 39 h 41"/>
                <a:gd name="T26" fmla="*/ 1 w 91"/>
                <a:gd name="T27" fmla="*/ 37 h 41"/>
                <a:gd name="T28" fmla="*/ 0 w 91"/>
                <a:gd name="T29" fmla="*/ 9 h 41"/>
                <a:gd name="T30" fmla="*/ 0 w 91"/>
                <a:gd name="T31" fmla="*/ 7 h 41"/>
                <a:gd name="T32" fmla="*/ 1 w 91"/>
                <a:gd name="T33" fmla="*/ 5 h 41"/>
                <a:gd name="T34" fmla="*/ 2 w 91"/>
                <a:gd name="T35" fmla="*/ 5 h 41"/>
                <a:gd name="T36" fmla="*/ 29 w 91"/>
                <a:gd name="T37" fmla="*/ 7 h 41"/>
                <a:gd name="T38" fmla="*/ 57 w 91"/>
                <a:gd name="T39" fmla="*/ 4 h 41"/>
                <a:gd name="T40" fmla="*/ 85 w 91"/>
                <a:gd name="T4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41">
                  <a:moveTo>
                    <a:pt x="85" y="0"/>
                  </a:moveTo>
                  <a:lnTo>
                    <a:pt x="87" y="0"/>
                  </a:lnTo>
                  <a:lnTo>
                    <a:pt x="88" y="1"/>
                  </a:lnTo>
                  <a:lnTo>
                    <a:pt x="88" y="3"/>
                  </a:lnTo>
                  <a:lnTo>
                    <a:pt x="91" y="31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88" y="34"/>
                  </a:lnTo>
                  <a:lnTo>
                    <a:pt x="60" y="39"/>
                  </a:lnTo>
                  <a:lnTo>
                    <a:pt x="32" y="41"/>
                  </a:lnTo>
                  <a:lnTo>
                    <a:pt x="5" y="40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1" y="37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5"/>
                  </a:lnTo>
                  <a:lnTo>
                    <a:pt x="29" y="7"/>
                  </a:lnTo>
                  <a:lnTo>
                    <a:pt x="57" y="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4A8BC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9" name="Line 412"/>
            <p:cNvSpPr>
              <a:spLocks noChangeShapeType="1"/>
            </p:cNvSpPr>
            <p:nvPr/>
          </p:nvSpPr>
          <p:spPr bwMode="auto">
            <a:xfrm flipV="1">
              <a:off x="-3700463" y="6280151"/>
              <a:ext cx="3175" cy="2381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0" name="Line 413"/>
            <p:cNvSpPr>
              <a:spLocks noChangeShapeType="1"/>
            </p:cNvSpPr>
            <p:nvPr/>
          </p:nvSpPr>
          <p:spPr bwMode="auto">
            <a:xfrm flipV="1">
              <a:off x="-3697288" y="6253163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1" name="Line 414"/>
            <p:cNvSpPr>
              <a:spLocks noChangeShapeType="1"/>
            </p:cNvSpPr>
            <p:nvPr/>
          </p:nvSpPr>
          <p:spPr bwMode="auto">
            <a:xfrm flipH="1" flipV="1">
              <a:off x="-3697288" y="6226176"/>
              <a:ext cx="1588" cy="2698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2" name="Line 415"/>
            <p:cNvSpPr>
              <a:spLocks noChangeShapeType="1"/>
            </p:cNvSpPr>
            <p:nvPr/>
          </p:nvSpPr>
          <p:spPr bwMode="auto">
            <a:xfrm flipH="1" flipV="1">
              <a:off x="-3703638" y="6203951"/>
              <a:ext cx="6350" cy="222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3" name="Line 416"/>
            <p:cNvSpPr>
              <a:spLocks noChangeShapeType="1"/>
            </p:cNvSpPr>
            <p:nvPr/>
          </p:nvSpPr>
          <p:spPr bwMode="auto">
            <a:xfrm flipH="1" flipV="1">
              <a:off x="-3705225" y="6191251"/>
              <a:ext cx="1588" cy="1270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4" name="Line 417"/>
            <p:cNvSpPr>
              <a:spLocks noChangeShapeType="1"/>
            </p:cNvSpPr>
            <p:nvPr/>
          </p:nvSpPr>
          <p:spPr bwMode="auto">
            <a:xfrm flipV="1">
              <a:off x="-3705225" y="6181726"/>
              <a:ext cx="4763" cy="9525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5" name="Line 418"/>
            <p:cNvSpPr>
              <a:spLocks noChangeShapeType="1"/>
            </p:cNvSpPr>
            <p:nvPr/>
          </p:nvSpPr>
          <p:spPr bwMode="auto">
            <a:xfrm flipV="1">
              <a:off x="-3700463" y="6176963"/>
              <a:ext cx="7938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6" name="Line 419"/>
            <p:cNvSpPr>
              <a:spLocks noChangeShapeType="1"/>
            </p:cNvSpPr>
            <p:nvPr/>
          </p:nvSpPr>
          <p:spPr bwMode="auto">
            <a:xfrm>
              <a:off x="-3692525" y="6176963"/>
              <a:ext cx="7938" cy="0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7" name="Line 420"/>
            <p:cNvSpPr>
              <a:spLocks noChangeShapeType="1"/>
            </p:cNvSpPr>
            <p:nvPr/>
          </p:nvSpPr>
          <p:spPr bwMode="auto">
            <a:xfrm>
              <a:off x="-3684588" y="6176963"/>
              <a:ext cx="9525" cy="4763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8" name="Line 421"/>
            <p:cNvSpPr>
              <a:spLocks noChangeShapeType="1"/>
            </p:cNvSpPr>
            <p:nvPr/>
          </p:nvSpPr>
          <p:spPr bwMode="auto">
            <a:xfrm>
              <a:off x="-3675063" y="6181726"/>
              <a:ext cx="7938" cy="7938"/>
            </a:xfrm>
            <a:prstGeom prst="line">
              <a:avLst/>
            </a:prstGeom>
            <a:noFill/>
            <a:ln w="6350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9" name="Freeform 422"/>
            <p:cNvSpPr>
              <a:spLocks/>
            </p:cNvSpPr>
            <p:nvPr/>
          </p:nvSpPr>
          <p:spPr bwMode="auto">
            <a:xfrm>
              <a:off x="-3941763" y="5176838"/>
              <a:ext cx="71438" cy="895350"/>
            </a:xfrm>
            <a:custGeom>
              <a:avLst/>
              <a:gdLst>
                <a:gd name="T0" fmla="*/ 37 w 45"/>
                <a:gd name="T1" fmla="*/ 0 h 564"/>
                <a:gd name="T2" fmla="*/ 45 w 45"/>
                <a:gd name="T3" fmla="*/ 2 h 564"/>
                <a:gd name="T4" fmla="*/ 43 w 45"/>
                <a:gd name="T5" fmla="*/ 13 h 564"/>
                <a:gd name="T6" fmla="*/ 40 w 45"/>
                <a:gd name="T7" fmla="*/ 29 h 564"/>
                <a:gd name="T8" fmla="*/ 35 w 45"/>
                <a:gd name="T9" fmla="*/ 61 h 564"/>
                <a:gd name="T10" fmla="*/ 30 w 45"/>
                <a:gd name="T11" fmla="*/ 95 h 564"/>
                <a:gd name="T12" fmla="*/ 25 w 45"/>
                <a:gd name="T13" fmla="*/ 131 h 564"/>
                <a:gd name="T14" fmla="*/ 22 w 45"/>
                <a:gd name="T15" fmla="*/ 169 h 564"/>
                <a:gd name="T16" fmla="*/ 19 w 45"/>
                <a:gd name="T17" fmla="*/ 203 h 564"/>
                <a:gd name="T18" fmla="*/ 19 w 45"/>
                <a:gd name="T19" fmla="*/ 235 h 564"/>
                <a:gd name="T20" fmla="*/ 21 w 45"/>
                <a:gd name="T21" fmla="*/ 249 h 564"/>
                <a:gd name="T22" fmla="*/ 22 w 45"/>
                <a:gd name="T23" fmla="*/ 262 h 564"/>
                <a:gd name="T24" fmla="*/ 22 w 45"/>
                <a:gd name="T25" fmla="*/ 276 h 564"/>
                <a:gd name="T26" fmla="*/ 23 w 45"/>
                <a:gd name="T27" fmla="*/ 293 h 564"/>
                <a:gd name="T28" fmla="*/ 23 w 45"/>
                <a:gd name="T29" fmla="*/ 331 h 564"/>
                <a:gd name="T30" fmla="*/ 22 w 45"/>
                <a:gd name="T31" fmla="*/ 353 h 564"/>
                <a:gd name="T32" fmla="*/ 18 w 45"/>
                <a:gd name="T33" fmla="*/ 423 h 564"/>
                <a:gd name="T34" fmla="*/ 14 w 45"/>
                <a:gd name="T35" fmla="*/ 469 h 564"/>
                <a:gd name="T36" fmla="*/ 12 w 45"/>
                <a:gd name="T37" fmla="*/ 510 h 564"/>
                <a:gd name="T38" fmla="*/ 10 w 45"/>
                <a:gd name="T39" fmla="*/ 527 h 564"/>
                <a:gd name="T40" fmla="*/ 9 w 45"/>
                <a:gd name="T41" fmla="*/ 542 h 564"/>
                <a:gd name="T42" fmla="*/ 9 w 45"/>
                <a:gd name="T43" fmla="*/ 564 h 564"/>
                <a:gd name="T44" fmla="*/ 0 w 45"/>
                <a:gd name="T45" fmla="*/ 564 h 564"/>
                <a:gd name="T46" fmla="*/ 0 w 45"/>
                <a:gd name="T47" fmla="*/ 542 h 564"/>
                <a:gd name="T48" fmla="*/ 2 w 45"/>
                <a:gd name="T49" fmla="*/ 527 h 564"/>
                <a:gd name="T50" fmla="*/ 3 w 45"/>
                <a:gd name="T51" fmla="*/ 510 h 564"/>
                <a:gd name="T52" fmla="*/ 5 w 45"/>
                <a:gd name="T53" fmla="*/ 469 h 564"/>
                <a:gd name="T54" fmla="*/ 9 w 45"/>
                <a:gd name="T55" fmla="*/ 423 h 564"/>
                <a:gd name="T56" fmla="*/ 13 w 45"/>
                <a:gd name="T57" fmla="*/ 353 h 564"/>
                <a:gd name="T58" fmla="*/ 14 w 45"/>
                <a:gd name="T59" fmla="*/ 331 h 564"/>
                <a:gd name="T60" fmla="*/ 14 w 45"/>
                <a:gd name="T61" fmla="*/ 293 h 564"/>
                <a:gd name="T62" fmla="*/ 13 w 45"/>
                <a:gd name="T63" fmla="*/ 276 h 564"/>
                <a:gd name="T64" fmla="*/ 13 w 45"/>
                <a:gd name="T65" fmla="*/ 263 h 564"/>
                <a:gd name="T66" fmla="*/ 10 w 45"/>
                <a:gd name="T67" fmla="*/ 235 h 564"/>
                <a:gd name="T68" fmla="*/ 10 w 45"/>
                <a:gd name="T69" fmla="*/ 203 h 564"/>
                <a:gd name="T70" fmla="*/ 13 w 45"/>
                <a:gd name="T71" fmla="*/ 169 h 564"/>
                <a:gd name="T72" fmla="*/ 16 w 45"/>
                <a:gd name="T73" fmla="*/ 131 h 564"/>
                <a:gd name="T74" fmla="*/ 21 w 45"/>
                <a:gd name="T75" fmla="*/ 95 h 564"/>
                <a:gd name="T76" fmla="*/ 26 w 45"/>
                <a:gd name="T77" fmla="*/ 61 h 564"/>
                <a:gd name="T78" fmla="*/ 31 w 45"/>
                <a:gd name="T79" fmla="*/ 29 h 564"/>
                <a:gd name="T80" fmla="*/ 34 w 45"/>
                <a:gd name="T81" fmla="*/ 13 h 564"/>
                <a:gd name="T82" fmla="*/ 37 w 45"/>
                <a:gd name="T83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5" h="564">
                  <a:moveTo>
                    <a:pt x="37" y="0"/>
                  </a:moveTo>
                  <a:lnTo>
                    <a:pt x="45" y="2"/>
                  </a:lnTo>
                  <a:lnTo>
                    <a:pt x="43" y="13"/>
                  </a:lnTo>
                  <a:lnTo>
                    <a:pt x="40" y="29"/>
                  </a:lnTo>
                  <a:lnTo>
                    <a:pt x="35" y="61"/>
                  </a:lnTo>
                  <a:lnTo>
                    <a:pt x="30" y="95"/>
                  </a:lnTo>
                  <a:lnTo>
                    <a:pt x="25" y="131"/>
                  </a:lnTo>
                  <a:lnTo>
                    <a:pt x="22" y="169"/>
                  </a:lnTo>
                  <a:lnTo>
                    <a:pt x="19" y="203"/>
                  </a:lnTo>
                  <a:lnTo>
                    <a:pt x="19" y="235"/>
                  </a:lnTo>
                  <a:lnTo>
                    <a:pt x="21" y="249"/>
                  </a:lnTo>
                  <a:lnTo>
                    <a:pt x="22" y="262"/>
                  </a:lnTo>
                  <a:lnTo>
                    <a:pt x="22" y="276"/>
                  </a:lnTo>
                  <a:lnTo>
                    <a:pt x="23" y="293"/>
                  </a:lnTo>
                  <a:lnTo>
                    <a:pt x="23" y="331"/>
                  </a:lnTo>
                  <a:lnTo>
                    <a:pt x="22" y="353"/>
                  </a:lnTo>
                  <a:lnTo>
                    <a:pt x="18" y="423"/>
                  </a:lnTo>
                  <a:lnTo>
                    <a:pt x="14" y="469"/>
                  </a:lnTo>
                  <a:lnTo>
                    <a:pt x="12" y="510"/>
                  </a:lnTo>
                  <a:lnTo>
                    <a:pt x="10" y="527"/>
                  </a:lnTo>
                  <a:lnTo>
                    <a:pt x="9" y="542"/>
                  </a:lnTo>
                  <a:lnTo>
                    <a:pt x="9" y="564"/>
                  </a:lnTo>
                  <a:lnTo>
                    <a:pt x="0" y="564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3" y="510"/>
                  </a:lnTo>
                  <a:lnTo>
                    <a:pt x="5" y="469"/>
                  </a:lnTo>
                  <a:lnTo>
                    <a:pt x="9" y="423"/>
                  </a:lnTo>
                  <a:lnTo>
                    <a:pt x="13" y="353"/>
                  </a:lnTo>
                  <a:lnTo>
                    <a:pt x="14" y="331"/>
                  </a:lnTo>
                  <a:lnTo>
                    <a:pt x="14" y="293"/>
                  </a:lnTo>
                  <a:lnTo>
                    <a:pt x="13" y="276"/>
                  </a:lnTo>
                  <a:lnTo>
                    <a:pt x="13" y="263"/>
                  </a:lnTo>
                  <a:lnTo>
                    <a:pt x="10" y="235"/>
                  </a:lnTo>
                  <a:lnTo>
                    <a:pt x="10" y="203"/>
                  </a:lnTo>
                  <a:lnTo>
                    <a:pt x="13" y="169"/>
                  </a:lnTo>
                  <a:lnTo>
                    <a:pt x="16" y="131"/>
                  </a:lnTo>
                  <a:lnTo>
                    <a:pt x="21" y="95"/>
                  </a:lnTo>
                  <a:lnTo>
                    <a:pt x="26" y="61"/>
                  </a:lnTo>
                  <a:lnTo>
                    <a:pt x="31" y="29"/>
                  </a:lnTo>
                  <a:lnTo>
                    <a:pt x="34" y="1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57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50" name="Freeform 423"/>
            <p:cNvSpPr>
              <a:spLocks/>
            </p:cNvSpPr>
            <p:nvPr/>
          </p:nvSpPr>
          <p:spPr bwMode="auto">
            <a:xfrm>
              <a:off x="-4041775" y="6024563"/>
              <a:ext cx="144463" cy="65088"/>
            </a:xfrm>
            <a:custGeom>
              <a:avLst/>
              <a:gdLst>
                <a:gd name="T0" fmla="*/ 5 w 91"/>
                <a:gd name="T1" fmla="*/ 0 h 41"/>
                <a:gd name="T2" fmla="*/ 34 w 91"/>
                <a:gd name="T3" fmla="*/ 4 h 41"/>
                <a:gd name="T4" fmla="*/ 62 w 91"/>
                <a:gd name="T5" fmla="*/ 7 h 41"/>
                <a:gd name="T6" fmla="*/ 89 w 91"/>
                <a:gd name="T7" fmla="*/ 5 h 41"/>
                <a:gd name="T8" fmla="*/ 90 w 91"/>
                <a:gd name="T9" fmla="*/ 5 h 41"/>
                <a:gd name="T10" fmla="*/ 91 w 91"/>
                <a:gd name="T11" fmla="*/ 7 h 41"/>
                <a:gd name="T12" fmla="*/ 91 w 91"/>
                <a:gd name="T13" fmla="*/ 9 h 41"/>
                <a:gd name="T14" fmla="*/ 90 w 91"/>
                <a:gd name="T15" fmla="*/ 37 h 41"/>
                <a:gd name="T16" fmla="*/ 89 w 91"/>
                <a:gd name="T17" fmla="*/ 39 h 41"/>
                <a:gd name="T18" fmla="*/ 89 w 91"/>
                <a:gd name="T19" fmla="*/ 39 h 41"/>
                <a:gd name="T20" fmla="*/ 86 w 91"/>
                <a:gd name="T21" fmla="*/ 40 h 41"/>
                <a:gd name="T22" fmla="*/ 59 w 91"/>
                <a:gd name="T23" fmla="*/ 41 h 41"/>
                <a:gd name="T24" fmla="*/ 31 w 91"/>
                <a:gd name="T25" fmla="*/ 39 h 41"/>
                <a:gd name="T26" fmla="*/ 3 w 91"/>
                <a:gd name="T27" fmla="*/ 34 h 41"/>
                <a:gd name="T28" fmla="*/ 2 w 91"/>
                <a:gd name="T29" fmla="*/ 34 h 41"/>
                <a:gd name="T30" fmla="*/ 0 w 91"/>
                <a:gd name="T31" fmla="*/ 32 h 41"/>
                <a:gd name="T32" fmla="*/ 0 w 91"/>
                <a:gd name="T33" fmla="*/ 31 h 41"/>
                <a:gd name="T34" fmla="*/ 3 w 91"/>
                <a:gd name="T35" fmla="*/ 3 h 41"/>
                <a:gd name="T36" fmla="*/ 3 w 91"/>
                <a:gd name="T37" fmla="*/ 1 h 41"/>
                <a:gd name="T38" fmla="*/ 4 w 91"/>
                <a:gd name="T39" fmla="*/ 0 h 41"/>
                <a:gd name="T40" fmla="*/ 5 w 91"/>
                <a:gd name="T4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41">
                  <a:moveTo>
                    <a:pt x="5" y="0"/>
                  </a:moveTo>
                  <a:lnTo>
                    <a:pt x="34" y="4"/>
                  </a:lnTo>
                  <a:lnTo>
                    <a:pt x="62" y="7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1" y="7"/>
                  </a:lnTo>
                  <a:lnTo>
                    <a:pt x="91" y="9"/>
                  </a:lnTo>
                  <a:lnTo>
                    <a:pt x="90" y="37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6" y="40"/>
                  </a:lnTo>
                  <a:lnTo>
                    <a:pt x="59" y="41"/>
                  </a:lnTo>
                  <a:lnTo>
                    <a:pt x="31" y="39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3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4A8BC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51" name="Freeform 424"/>
            <p:cNvSpPr>
              <a:spLocks/>
            </p:cNvSpPr>
            <p:nvPr/>
          </p:nvSpPr>
          <p:spPr bwMode="auto">
            <a:xfrm>
              <a:off x="-4251325" y="4943476"/>
              <a:ext cx="127000" cy="80963"/>
            </a:xfrm>
            <a:custGeom>
              <a:avLst/>
              <a:gdLst>
                <a:gd name="T0" fmla="*/ 3 w 80"/>
                <a:gd name="T1" fmla="*/ 0 h 51"/>
                <a:gd name="T2" fmla="*/ 40 w 80"/>
                <a:gd name="T3" fmla="*/ 4 h 51"/>
                <a:gd name="T4" fmla="*/ 77 w 80"/>
                <a:gd name="T5" fmla="*/ 2 h 51"/>
                <a:gd name="T6" fmla="*/ 78 w 80"/>
                <a:gd name="T7" fmla="*/ 4 h 51"/>
                <a:gd name="T8" fmla="*/ 80 w 80"/>
                <a:gd name="T9" fmla="*/ 5 h 51"/>
                <a:gd name="T10" fmla="*/ 80 w 80"/>
                <a:gd name="T11" fmla="*/ 6 h 51"/>
                <a:gd name="T12" fmla="*/ 78 w 80"/>
                <a:gd name="T13" fmla="*/ 15 h 51"/>
                <a:gd name="T14" fmla="*/ 78 w 80"/>
                <a:gd name="T15" fmla="*/ 27 h 51"/>
                <a:gd name="T16" fmla="*/ 77 w 80"/>
                <a:gd name="T17" fmla="*/ 38 h 51"/>
                <a:gd name="T18" fmla="*/ 77 w 80"/>
                <a:gd name="T19" fmla="*/ 47 h 51"/>
                <a:gd name="T20" fmla="*/ 77 w 80"/>
                <a:gd name="T21" fmla="*/ 49 h 51"/>
                <a:gd name="T22" fmla="*/ 76 w 80"/>
                <a:gd name="T23" fmla="*/ 50 h 51"/>
                <a:gd name="T24" fmla="*/ 75 w 80"/>
                <a:gd name="T25" fmla="*/ 50 h 51"/>
                <a:gd name="T26" fmla="*/ 52 w 80"/>
                <a:gd name="T27" fmla="*/ 51 h 51"/>
                <a:gd name="T28" fmla="*/ 32 w 80"/>
                <a:gd name="T29" fmla="*/ 50 h 51"/>
                <a:gd name="T30" fmla="*/ 9 w 80"/>
                <a:gd name="T31" fmla="*/ 46 h 51"/>
                <a:gd name="T32" fmla="*/ 8 w 80"/>
                <a:gd name="T33" fmla="*/ 45 h 51"/>
                <a:gd name="T34" fmla="*/ 7 w 80"/>
                <a:gd name="T35" fmla="*/ 44 h 51"/>
                <a:gd name="T36" fmla="*/ 4 w 80"/>
                <a:gd name="T37" fmla="*/ 35 h 51"/>
                <a:gd name="T38" fmla="*/ 3 w 80"/>
                <a:gd name="T39" fmla="*/ 23 h 51"/>
                <a:gd name="T40" fmla="*/ 0 w 80"/>
                <a:gd name="T41" fmla="*/ 11 h 51"/>
                <a:gd name="T42" fmla="*/ 0 w 80"/>
                <a:gd name="T43" fmla="*/ 2 h 51"/>
                <a:gd name="T44" fmla="*/ 0 w 80"/>
                <a:gd name="T45" fmla="*/ 1 h 51"/>
                <a:gd name="T46" fmla="*/ 1 w 80"/>
                <a:gd name="T47" fmla="*/ 0 h 51"/>
                <a:gd name="T48" fmla="*/ 3 w 80"/>
                <a:gd name="T4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51">
                  <a:moveTo>
                    <a:pt x="3" y="0"/>
                  </a:moveTo>
                  <a:lnTo>
                    <a:pt x="40" y="4"/>
                  </a:lnTo>
                  <a:lnTo>
                    <a:pt x="77" y="2"/>
                  </a:lnTo>
                  <a:lnTo>
                    <a:pt x="78" y="4"/>
                  </a:lnTo>
                  <a:lnTo>
                    <a:pt x="80" y="5"/>
                  </a:lnTo>
                  <a:lnTo>
                    <a:pt x="80" y="6"/>
                  </a:lnTo>
                  <a:lnTo>
                    <a:pt x="78" y="15"/>
                  </a:lnTo>
                  <a:lnTo>
                    <a:pt x="78" y="27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49"/>
                  </a:lnTo>
                  <a:lnTo>
                    <a:pt x="76" y="50"/>
                  </a:lnTo>
                  <a:lnTo>
                    <a:pt x="75" y="50"/>
                  </a:lnTo>
                  <a:lnTo>
                    <a:pt x="52" y="51"/>
                  </a:lnTo>
                  <a:lnTo>
                    <a:pt x="32" y="50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7" y="44"/>
                  </a:lnTo>
                  <a:lnTo>
                    <a:pt x="4" y="35"/>
                  </a:lnTo>
                  <a:lnTo>
                    <a:pt x="3" y="23"/>
                  </a:lnTo>
                  <a:lnTo>
                    <a:pt x="0" y="11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61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52" name="Freeform 425"/>
            <p:cNvSpPr>
              <a:spLocks/>
            </p:cNvSpPr>
            <p:nvPr/>
          </p:nvSpPr>
          <p:spPr bwMode="auto">
            <a:xfrm>
              <a:off x="-3986213" y="3663951"/>
              <a:ext cx="165100" cy="115888"/>
            </a:xfrm>
            <a:custGeom>
              <a:avLst/>
              <a:gdLst>
                <a:gd name="T0" fmla="*/ 5 w 104"/>
                <a:gd name="T1" fmla="*/ 0 h 73"/>
                <a:gd name="T2" fmla="*/ 15 w 104"/>
                <a:gd name="T3" fmla="*/ 21 h 73"/>
                <a:gd name="T4" fmla="*/ 27 w 104"/>
                <a:gd name="T5" fmla="*/ 35 h 73"/>
                <a:gd name="T6" fmla="*/ 40 w 104"/>
                <a:gd name="T7" fmla="*/ 46 h 73"/>
                <a:gd name="T8" fmla="*/ 54 w 104"/>
                <a:gd name="T9" fmla="*/ 54 h 73"/>
                <a:gd name="T10" fmla="*/ 69 w 104"/>
                <a:gd name="T11" fmla="*/ 58 h 73"/>
                <a:gd name="T12" fmla="*/ 86 w 104"/>
                <a:gd name="T13" fmla="*/ 62 h 73"/>
                <a:gd name="T14" fmla="*/ 104 w 104"/>
                <a:gd name="T15" fmla="*/ 64 h 73"/>
                <a:gd name="T16" fmla="*/ 85 w 104"/>
                <a:gd name="T17" fmla="*/ 71 h 73"/>
                <a:gd name="T18" fmla="*/ 65 w 104"/>
                <a:gd name="T19" fmla="*/ 73 h 73"/>
                <a:gd name="T20" fmla="*/ 47 w 104"/>
                <a:gd name="T21" fmla="*/ 72 h 73"/>
                <a:gd name="T22" fmla="*/ 31 w 104"/>
                <a:gd name="T23" fmla="*/ 67 h 73"/>
                <a:gd name="T24" fmla="*/ 17 w 104"/>
                <a:gd name="T25" fmla="*/ 58 h 73"/>
                <a:gd name="T26" fmla="*/ 6 w 104"/>
                <a:gd name="T27" fmla="*/ 46 h 73"/>
                <a:gd name="T28" fmla="*/ 0 w 104"/>
                <a:gd name="T29" fmla="*/ 34 h 73"/>
                <a:gd name="T30" fmla="*/ 0 w 104"/>
                <a:gd name="T31" fmla="*/ 18 h 73"/>
                <a:gd name="T32" fmla="*/ 5 w 104"/>
                <a:gd name="T3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5" y="0"/>
                  </a:moveTo>
                  <a:lnTo>
                    <a:pt x="15" y="21"/>
                  </a:lnTo>
                  <a:lnTo>
                    <a:pt x="27" y="35"/>
                  </a:lnTo>
                  <a:lnTo>
                    <a:pt x="40" y="46"/>
                  </a:lnTo>
                  <a:lnTo>
                    <a:pt x="54" y="54"/>
                  </a:lnTo>
                  <a:lnTo>
                    <a:pt x="69" y="58"/>
                  </a:lnTo>
                  <a:lnTo>
                    <a:pt x="86" y="62"/>
                  </a:lnTo>
                  <a:lnTo>
                    <a:pt x="104" y="64"/>
                  </a:lnTo>
                  <a:lnTo>
                    <a:pt x="85" y="71"/>
                  </a:lnTo>
                  <a:lnTo>
                    <a:pt x="65" y="73"/>
                  </a:lnTo>
                  <a:lnTo>
                    <a:pt x="47" y="72"/>
                  </a:lnTo>
                  <a:lnTo>
                    <a:pt x="31" y="67"/>
                  </a:lnTo>
                  <a:lnTo>
                    <a:pt x="17" y="58"/>
                  </a:lnTo>
                  <a:lnTo>
                    <a:pt x="6" y="46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C792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41" name="Group 1440"/>
          <p:cNvGrpSpPr/>
          <p:nvPr/>
        </p:nvGrpSpPr>
        <p:grpSpPr>
          <a:xfrm>
            <a:off x="6367096" y="4590297"/>
            <a:ext cx="125887" cy="432976"/>
            <a:chOff x="-3789363" y="465137"/>
            <a:chExt cx="1363663" cy="4737101"/>
          </a:xfrm>
        </p:grpSpPr>
        <p:sp>
          <p:nvSpPr>
            <p:cNvPr id="990" name="Freeform 1383"/>
            <p:cNvSpPr>
              <a:spLocks/>
            </p:cNvSpPr>
            <p:nvPr/>
          </p:nvSpPr>
          <p:spPr bwMode="auto">
            <a:xfrm>
              <a:off x="-3789363" y="4948238"/>
              <a:ext cx="600075" cy="234950"/>
            </a:xfrm>
            <a:custGeom>
              <a:avLst/>
              <a:gdLst>
                <a:gd name="T0" fmla="*/ 224 w 378"/>
                <a:gd name="T1" fmla="*/ 0 h 148"/>
                <a:gd name="T2" fmla="*/ 245 w 378"/>
                <a:gd name="T3" fmla="*/ 16 h 148"/>
                <a:gd name="T4" fmla="*/ 272 w 378"/>
                <a:gd name="T5" fmla="*/ 27 h 148"/>
                <a:gd name="T6" fmla="*/ 298 w 378"/>
                <a:gd name="T7" fmla="*/ 36 h 148"/>
                <a:gd name="T8" fmla="*/ 322 w 378"/>
                <a:gd name="T9" fmla="*/ 43 h 148"/>
                <a:gd name="T10" fmla="*/ 342 w 378"/>
                <a:gd name="T11" fmla="*/ 48 h 148"/>
                <a:gd name="T12" fmla="*/ 356 w 378"/>
                <a:gd name="T13" fmla="*/ 54 h 148"/>
                <a:gd name="T14" fmla="*/ 366 w 378"/>
                <a:gd name="T15" fmla="*/ 65 h 148"/>
                <a:gd name="T16" fmla="*/ 372 w 378"/>
                <a:gd name="T17" fmla="*/ 79 h 148"/>
                <a:gd name="T18" fmla="*/ 376 w 378"/>
                <a:gd name="T19" fmla="*/ 98 h 148"/>
                <a:gd name="T20" fmla="*/ 378 w 378"/>
                <a:gd name="T21" fmla="*/ 121 h 148"/>
                <a:gd name="T22" fmla="*/ 378 w 378"/>
                <a:gd name="T23" fmla="*/ 124 h 148"/>
                <a:gd name="T24" fmla="*/ 378 w 378"/>
                <a:gd name="T25" fmla="*/ 126 h 148"/>
                <a:gd name="T26" fmla="*/ 378 w 378"/>
                <a:gd name="T27" fmla="*/ 129 h 148"/>
                <a:gd name="T28" fmla="*/ 378 w 378"/>
                <a:gd name="T29" fmla="*/ 133 h 148"/>
                <a:gd name="T30" fmla="*/ 378 w 378"/>
                <a:gd name="T31" fmla="*/ 135 h 148"/>
                <a:gd name="T32" fmla="*/ 376 w 378"/>
                <a:gd name="T33" fmla="*/ 136 h 148"/>
                <a:gd name="T34" fmla="*/ 376 w 378"/>
                <a:gd name="T35" fmla="*/ 139 h 148"/>
                <a:gd name="T36" fmla="*/ 375 w 378"/>
                <a:gd name="T37" fmla="*/ 139 h 148"/>
                <a:gd name="T38" fmla="*/ 372 w 378"/>
                <a:gd name="T39" fmla="*/ 140 h 148"/>
                <a:gd name="T40" fmla="*/ 370 w 378"/>
                <a:gd name="T41" fmla="*/ 142 h 148"/>
                <a:gd name="T42" fmla="*/ 365 w 378"/>
                <a:gd name="T43" fmla="*/ 143 h 148"/>
                <a:gd name="T44" fmla="*/ 358 w 378"/>
                <a:gd name="T45" fmla="*/ 144 h 148"/>
                <a:gd name="T46" fmla="*/ 349 w 378"/>
                <a:gd name="T47" fmla="*/ 145 h 148"/>
                <a:gd name="T48" fmla="*/ 334 w 378"/>
                <a:gd name="T49" fmla="*/ 145 h 148"/>
                <a:gd name="T50" fmla="*/ 311 w 378"/>
                <a:gd name="T51" fmla="*/ 147 h 148"/>
                <a:gd name="T52" fmla="*/ 283 w 378"/>
                <a:gd name="T53" fmla="*/ 147 h 148"/>
                <a:gd name="T54" fmla="*/ 252 w 378"/>
                <a:gd name="T55" fmla="*/ 148 h 148"/>
                <a:gd name="T56" fmla="*/ 217 w 378"/>
                <a:gd name="T57" fmla="*/ 148 h 148"/>
                <a:gd name="T58" fmla="*/ 183 w 378"/>
                <a:gd name="T59" fmla="*/ 148 h 148"/>
                <a:gd name="T60" fmla="*/ 147 w 378"/>
                <a:gd name="T61" fmla="*/ 148 h 148"/>
                <a:gd name="T62" fmla="*/ 113 w 378"/>
                <a:gd name="T63" fmla="*/ 148 h 148"/>
                <a:gd name="T64" fmla="*/ 82 w 378"/>
                <a:gd name="T65" fmla="*/ 147 h 148"/>
                <a:gd name="T66" fmla="*/ 55 w 378"/>
                <a:gd name="T67" fmla="*/ 147 h 148"/>
                <a:gd name="T68" fmla="*/ 34 w 378"/>
                <a:gd name="T69" fmla="*/ 147 h 148"/>
                <a:gd name="T70" fmla="*/ 18 w 378"/>
                <a:gd name="T71" fmla="*/ 145 h 148"/>
                <a:gd name="T72" fmla="*/ 12 w 378"/>
                <a:gd name="T73" fmla="*/ 144 h 148"/>
                <a:gd name="T74" fmla="*/ 4 w 378"/>
                <a:gd name="T75" fmla="*/ 140 h 148"/>
                <a:gd name="T76" fmla="*/ 2 w 378"/>
                <a:gd name="T77" fmla="*/ 135 h 148"/>
                <a:gd name="T78" fmla="*/ 0 w 378"/>
                <a:gd name="T79" fmla="*/ 129 h 148"/>
                <a:gd name="T80" fmla="*/ 2 w 378"/>
                <a:gd name="T81" fmla="*/ 122 h 148"/>
                <a:gd name="T82" fmla="*/ 4 w 378"/>
                <a:gd name="T83" fmla="*/ 117 h 148"/>
                <a:gd name="T84" fmla="*/ 12 w 378"/>
                <a:gd name="T85" fmla="*/ 111 h 148"/>
                <a:gd name="T86" fmla="*/ 25 w 378"/>
                <a:gd name="T87" fmla="*/ 104 h 148"/>
                <a:gd name="T88" fmla="*/ 43 w 378"/>
                <a:gd name="T89" fmla="*/ 95 h 148"/>
                <a:gd name="T90" fmla="*/ 55 w 378"/>
                <a:gd name="T91" fmla="*/ 89 h 148"/>
                <a:gd name="T92" fmla="*/ 71 w 378"/>
                <a:gd name="T93" fmla="*/ 83 h 148"/>
                <a:gd name="T94" fmla="*/ 89 w 378"/>
                <a:gd name="T95" fmla="*/ 74 h 148"/>
                <a:gd name="T96" fmla="*/ 108 w 378"/>
                <a:gd name="T97" fmla="*/ 66 h 148"/>
                <a:gd name="T98" fmla="*/ 127 w 378"/>
                <a:gd name="T99" fmla="*/ 57 h 148"/>
                <a:gd name="T100" fmla="*/ 145 w 378"/>
                <a:gd name="T101" fmla="*/ 49 h 148"/>
                <a:gd name="T102" fmla="*/ 159 w 378"/>
                <a:gd name="T103" fmla="*/ 43 h 148"/>
                <a:gd name="T104" fmla="*/ 170 w 378"/>
                <a:gd name="T105" fmla="*/ 39 h 148"/>
                <a:gd name="T106" fmla="*/ 174 w 378"/>
                <a:gd name="T107" fmla="*/ 36 h 148"/>
                <a:gd name="T108" fmla="*/ 176 w 378"/>
                <a:gd name="T109" fmla="*/ 34 h 148"/>
                <a:gd name="T110" fmla="*/ 183 w 378"/>
                <a:gd name="T111" fmla="*/ 30 h 148"/>
                <a:gd name="T112" fmla="*/ 191 w 378"/>
                <a:gd name="T113" fmla="*/ 25 h 148"/>
                <a:gd name="T114" fmla="*/ 202 w 378"/>
                <a:gd name="T115" fmla="*/ 18 h 148"/>
                <a:gd name="T116" fmla="*/ 211 w 378"/>
                <a:gd name="T117" fmla="*/ 12 h 148"/>
                <a:gd name="T118" fmla="*/ 218 w 378"/>
                <a:gd name="T119" fmla="*/ 6 h 148"/>
                <a:gd name="T120" fmla="*/ 224 w 378"/>
                <a:gd name="T12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8" h="148">
                  <a:moveTo>
                    <a:pt x="224" y="0"/>
                  </a:moveTo>
                  <a:lnTo>
                    <a:pt x="245" y="16"/>
                  </a:lnTo>
                  <a:lnTo>
                    <a:pt x="272" y="27"/>
                  </a:lnTo>
                  <a:lnTo>
                    <a:pt x="298" y="36"/>
                  </a:lnTo>
                  <a:lnTo>
                    <a:pt x="322" y="43"/>
                  </a:lnTo>
                  <a:lnTo>
                    <a:pt x="342" y="48"/>
                  </a:lnTo>
                  <a:lnTo>
                    <a:pt x="356" y="54"/>
                  </a:lnTo>
                  <a:lnTo>
                    <a:pt x="366" y="65"/>
                  </a:lnTo>
                  <a:lnTo>
                    <a:pt x="372" y="79"/>
                  </a:lnTo>
                  <a:lnTo>
                    <a:pt x="376" y="98"/>
                  </a:lnTo>
                  <a:lnTo>
                    <a:pt x="378" y="121"/>
                  </a:lnTo>
                  <a:lnTo>
                    <a:pt x="378" y="124"/>
                  </a:lnTo>
                  <a:lnTo>
                    <a:pt x="378" y="126"/>
                  </a:lnTo>
                  <a:lnTo>
                    <a:pt x="378" y="129"/>
                  </a:lnTo>
                  <a:lnTo>
                    <a:pt x="378" y="133"/>
                  </a:lnTo>
                  <a:lnTo>
                    <a:pt x="378" y="135"/>
                  </a:lnTo>
                  <a:lnTo>
                    <a:pt x="376" y="136"/>
                  </a:lnTo>
                  <a:lnTo>
                    <a:pt x="376" y="139"/>
                  </a:lnTo>
                  <a:lnTo>
                    <a:pt x="375" y="139"/>
                  </a:lnTo>
                  <a:lnTo>
                    <a:pt x="372" y="140"/>
                  </a:lnTo>
                  <a:lnTo>
                    <a:pt x="370" y="142"/>
                  </a:lnTo>
                  <a:lnTo>
                    <a:pt x="365" y="143"/>
                  </a:lnTo>
                  <a:lnTo>
                    <a:pt x="358" y="144"/>
                  </a:lnTo>
                  <a:lnTo>
                    <a:pt x="349" y="145"/>
                  </a:lnTo>
                  <a:lnTo>
                    <a:pt x="334" y="145"/>
                  </a:lnTo>
                  <a:lnTo>
                    <a:pt x="311" y="147"/>
                  </a:lnTo>
                  <a:lnTo>
                    <a:pt x="283" y="147"/>
                  </a:lnTo>
                  <a:lnTo>
                    <a:pt x="252" y="148"/>
                  </a:lnTo>
                  <a:lnTo>
                    <a:pt x="217" y="148"/>
                  </a:lnTo>
                  <a:lnTo>
                    <a:pt x="183" y="148"/>
                  </a:lnTo>
                  <a:lnTo>
                    <a:pt x="147" y="148"/>
                  </a:lnTo>
                  <a:lnTo>
                    <a:pt x="113" y="148"/>
                  </a:lnTo>
                  <a:lnTo>
                    <a:pt x="82" y="147"/>
                  </a:lnTo>
                  <a:lnTo>
                    <a:pt x="55" y="147"/>
                  </a:lnTo>
                  <a:lnTo>
                    <a:pt x="34" y="147"/>
                  </a:lnTo>
                  <a:lnTo>
                    <a:pt x="18" y="145"/>
                  </a:lnTo>
                  <a:lnTo>
                    <a:pt x="12" y="144"/>
                  </a:lnTo>
                  <a:lnTo>
                    <a:pt x="4" y="140"/>
                  </a:lnTo>
                  <a:lnTo>
                    <a:pt x="2" y="135"/>
                  </a:lnTo>
                  <a:lnTo>
                    <a:pt x="0" y="129"/>
                  </a:lnTo>
                  <a:lnTo>
                    <a:pt x="2" y="122"/>
                  </a:lnTo>
                  <a:lnTo>
                    <a:pt x="4" y="117"/>
                  </a:lnTo>
                  <a:lnTo>
                    <a:pt x="12" y="111"/>
                  </a:lnTo>
                  <a:lnTo>
                    <a:pt x="25" y="104"/>
                  </a:lnTo>
                  <a:lnTo>
                    <a:pt x="43" y="95"/>
                  </a:lnTo>
                  <a:lnTo>
                    <a:pt x="55" y="89"/>
                  </a:lnTo>
                  <a:lnTo>
                    <a:pt x="71" y="83"/>
                  </a:lnTo>
                  <a:lnTo>
                    <a:pt x="89" y="74"/>
                  </a:lnTo>
                  <a:lnTo>
                    <a:pt x="108" y="66"/>
                  </a:lnTo>
                  <a:lnTo>
                    <a:pt x="127" y="57"/>
                  </a:lnTo>
                  <a:lnTo>
                    <a:pt x="145" y="49"/>
                  </a:lnTo>
                  <a:lnTo>
                    <a:pt x="159" y="43"/>
                  </a:lnTo>
                  <a:lnTo>
                    <a:pt x="170" y="39"/>
                  </a:lnTo>
                  <a:lnTo>
                    <a:pt x="174" y="36"/>
                  </a:lnTo>
                  <a:lnTo>
                    <a:pt x="176" y="34"/>
                  </a:lnTo>
                  <a:lnTo>
                    <a:pt x="183" y="30"/>
                  </a:lnTo>
                  <a:lnTo>
                    <a:pt x="191" y="25"/>
                  </a:lnTo>
                  <a:lnTo>
                    <a:pt x="202" y="18"/>
                  </a:lnTo>
                  <a:lnTo>
                    <a:pt x="211" y="12"/>
                  </a:lnTo>
                  <a:lnTo>
                    <a:pt x="218" y="6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58481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1" name="Freeform 1384"/>
            <p:cNvSpPr>
              <a:spLocks/>
            </p:cNvSpPr>
            <p:nvPr/>
          </p:nvSpPr>
          <p:spPr bwMode="auto">
            <a:xfrm>
              <a:off x="-3527425" y="2743200"/>
              <a:ext cx="976313" cy="2355850"/>
            </a:xfrm>
            <a:custGeom>
              <a:avLst/>
              <a:gdLst>
                <a:gd name="T0" fmla="*/ 465 w 615"/>
                <a:gd name="T1" fmla="*/ 10 h 1484"/>
                <a:gd name="T2" fmla="*/ 508 w 615"/>
                <a:gd name="T3" fmla="*/ 52 h 1484"/>
                <a:gd name="T4" fmla="*/ 518 w 615"/>
                <a:gd name="T5" fmla="*/ 87 h 1484"/>
                <a:gd name="T6" fmla="*/ 528 w 615"/>
                <a:gd name="T7" fmla="*/ 203 h 1484"/>
                <a:gd name="T8" fmla="*/ 537 w 615"/>
                <a:gd name="T9" fmla="*/ 304 h 1484"/>
                <a:gd name="T10" fmla="*/ 551 w 615"/>
                <a:gd name="T11" fmla="*/ 459 h 1484"/>
                <a:gd name="T12" fmla="*/ 563 w 615"/>
                <a:gd name="T13" fmla="*/ 607 h 1484"/>
                <a:gd name="T14" fmla="*/ 568 w 615"/>
                <a:gd name="T15" fmla="*/ 682 h 1484"/>
                <a:gd name="T16" fmla="*/ 569 w 615"/>
                <a:gd name="T17" fmla="*/ 808 h 1484"/>
                <a:gd name="T18" fmla="*/ 577 w 615"/>
                <a:gd name="T19" fmla="*/ 1007 h 1484"/>
                <a:gd name="T20" fmla="*/ 587 w 615"/>
                <a:gd name="T21" fmla="*/ 1210 h 1484"/>
                <a:gd name="T22" fmla="*/ 596 w 615"/>
                <a:gd name="T23" fmla="*/ 1350 h 1484"/>
                <a:gd name="T24" fmla="*/ 610 w 615"/>
                <a:gd name="T25" fmla="*/ 1409 h 1484"/>
                <a:gd name="T26" fmla="*/ 610 w 615"/>
                <a:gd name="T27" fmla="*/ 1450 h 1484"/>
                <a:gd name="T28" fmla="*/ 590 w 615"/>
                <a:gd name="T29" fmla="*/ 1472 h 1484"/>
                <a:gd name="T30" fmla="*/ 517 w 615"/>
                <a:gd name="T31" fmla="*/ 1481 h 1484"/>
                <a:gd name="T32" fmla="*/ 428 w 615"/>
                <a:gd name="T33" fmla="*/ 1483 h 1484"/>
                <a:gd name="T34" fmla="*/ 381 w 615"/>
                <a:gd name="T35" fmla="*/ 1457 h 1484"/>
                <a:gd name="T36" fmla="*/ 383 w 615"/>
                <a:gd name="T37" fmla="*/ 1437 h 1484"/>
                <a:gd name="T38" fmla="*/ 384 w 615"/>
                <a:gd name="T39" fmla="*/ 1418 h 1484"/>
                <a:gd name="T40" fmla="*/ 405 w 615"/>
                <a:gd name="T41" fmla="*/ 1364 h 1484"/>
                <a:gd name="T42" fmla="*/ 405 w 615"/>
                <a:gd name="T43" fmla="*/ 1325 h 1484"/>
                <a:gd name="T44" fmla="*/ 390 w 615"/>
                <a:gd name="T45" fmla="*/ 1069 h 1484"/>
                <a:gd name="T46" fmla="*/ 387 w 615"/>
                <a:gd name="T47" fmla="*/ 789 h 1484"/>
                <a:gd name="T48" fmla="*/ 365 w 615"/>
                <a:gd name="T49" fmla="*/ 650 h 1484"/>
                <a:gd name="T50" fmla="*/ 338 w 615"/>
                <a:gd name="T51" fmla="*/ 513 h 1484"/>
                <a:gd name="T52" fmla="*/ 305 w 615"/>
                <a:gd name="T53" fmla="*/ 364 h 1484"/>
                <a:gd name="T54" fmla="*/ 281 w 615"/>
                <a:gd name="T55" fmla="*/ 262 h 1484"/>
                <a:gd name="T56" fmla="*/ 263 w 615"/>
                <a:gd name="T57" fmla="*/ 246 h 1484"/>
                <a:gd name="T58" fmla="*/ 250 w 615"/>
                <a:gd name="T59" fmla="*/ 285 h 1484"/>
                <a:gd name="T60" fmla="*/ 236 w 615"/>
                <a:gd name="T61" fmla="*/ 389 h 1484"/>
                <a:gd name="T62" fmla="*/ 223 w 615"/>
                <a:gd name="T63" fmla="*/ 503 h 1484"/>
                <a:gd name="T64" fmla="*/ 216 w 615"/>
                <a:gd name="T65" fmla="*/ 555 h 1484"/>
                <a:gd name="T66" fmla="*/ 201 w 615"/>
                <a:gd name="T67" fmla="*/ 631 h 1484"/>
                <a:gd name="T68" fmla="*/ 195 w 615"/>
                <a:gd name="T69" fmla="*/ 697 h 1484"/>
                <a:gd name="T70" fmla="*/ 206 w 615"/>
                <a:gd name="T71" fmla="*/ 803 h 1484"/>
                <a:gd name="T72" fmla="*/ 213 w 615"/>
                <a:gd name="T73" fmla="*/ 893 h 1484"/>
                <a:gd name="T74" fmla="*/ 218 w 615"/>
                <a:gd name="T75" fmla="*/ 1047 h 1484"/>
                <a:gd name="T76" fmla="*/ 223 w 615"/>
                <a:gd name="T77" fmla="*/ 1228 h 1484"/>
                <a:gd name="T78" fmla="*/ 227 w 615"/>
                <a:gd name="T79" fmla="*/ 1373 h 1484"/>
                <a:gd name="T80" fmla="*/ 227 w 615"/>
                <a:gd name="T81" fmla="*/ 1432 h 1484"/>
                <a:gd name="T82" fmla="*/ 189 w 615"/>
                <a:gd name="T83" fmla="*/ 1475 h 1484"/>
                <a:gd name="T84" fmla="*/ 51 w 615"/>
                <a:gd name="T85" fmla="*/ 1420 h 1484"/>
                <a:gd name="T86" fmla="*/ 43 w 615"/>
                <a:gd name="T87" fmla="*/ 1365 h 1484"/>
                <a:gd name="T88" fmla="*/ 57 w 615"/>
                <a:gd name="T89" fmla="*/ 1318 h 1484"/>
                <a:gd name="T90" fmla="*/ 51 w 615"/>
                <a:gd name="T91" fmla="*/ 1191 h 1484"/>
                <a:gd name="T92" fmla="*/ 34 w 615"/>
                <a:gd name="T93" fmla="*/ 1016 h 1484"/>
                <a:gd name="T94" fmla="*/ 18 w 615"/>
                <a:gd name="T95" fmla="*/ 842 h 1484"/>
                <a:gd name="T96" fmla="*/ 5 w 615"/>
                <a:gd name="T97" fmla="*/ 730 h 1484"/>
                <a:gd name="T98" fmla="*/ 0 w 615"/>
                <a:gd name="T99" fmla="*/ 612 h 1484"/>
                <a:gd name="T100" fmla="*/ 1 w 615"/>
                <a:gd name="T101" fmla="*/ 446 h 1484"/>
                <a:gd name="T102" fmla="*/ 11 w 615"/>
                <a:gd name="T103" fmla="*/ 323 h 1484"/>
                <a:gd name="T104" fmla="*/ 21 w 615"/>
                <a:gd name="T105" fmla="*/ 191 h 1484"/>
                <a:gd name="T106" fmla="*/ 30 w 615"/>
                <a:gd name="T107" fmla="*/ 79 h 1484"/>
                <a:gd name="T108" fmla="*/ 94 w 615"/>
                <a:gd name="T109" fmla="*/ 24 h 1484"/>
                <a:gd name="T110" fmla="*/ 156 w 615"/>
                <a:gd name="T111" fmla="*/ 19 h 1484"/>
                <a:gd name="T112" fmla="*/ 290 w 615"/>
                <a:gd name="T113" fmla="*/ 10 h 1484"/>
                <a:gd name="T114" fmla="*/ 414 w 615"/>
                <a:gd name="T115" fmla="*/ 1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5" h="1484">
                  <a:moveTo>
                    <a:pt x="447" y="0"/>
                  </a:moveTo>
                  <a:lnTo>
                    <a:pt x="454" y="0"/>
                  </a:lnTo>
                  <a:lnTo>
                    <a:pt x="458" y="2"/>
                  </a:lnTo>
                  <a:lnTo>
                    <a:pt x="465" y="10"/>
                  </a:lnTo>
                  <a:lnTo>
                    <a:pt x="476" y="19"/>
                  </a:lnTo>
                  <a:lnTo>
                    <a:pt x="487" y="31"/>
                  </a:lnTo>
                  <a:lnTo>
                    <a:pt x="497" y="42"/>
                  </a:lnTo>
                  <a:lnTo>
                    <a:pt x="508" y="52"/>
                  </a:lnTo>
                  <a:lnTo>
                    <a:pt x="514" y="60"/>
                  </a:lnTo>
                  <a:lnTo>
                    <a:pt x="517" y="64"/>
                  </a:lnTo>
                  <a:lnTo>
                    <a:pt x="517" y="72"/>
                  </a:lnTo>
                  <a:lnTo>
                    <a:pt x="518" y="87"/>
                  </a:lnTo>
                  <a:lnTo>
                    <a:pt x="520" y="109"/>
                  </a:lnTo>
                  <a:lnTo>
                    <a:pt x="522" y="136"/>
                  </a:lnTo>
                  <a:lnTo>
                    <a:pt x="526" y="167"/>
                  </a:lnTo>
                  <a:lnTo>
                    <a:pt x="528" y="203"/>
                  </a:lnTo>
                  <a:lnTo>
                    <a:pt x="529" y="219"/>
                  </a:lnTo>
                  <a:lnTo>
                    <a:pt x="532" y="242"/>
                  </a:lnTo>
                  <a:lnTo>
                    <a:pt x="535" y="271"/>
                  </a:lnTo>
                  <a:lnTo>
                    <a:pt x="537" y="304"/>
                  </a:lnTo>
                  <a:lnTo>
                    <a:pt x="541" y="340"/>
                  </a:lnTo>
                  <a:lnTo>
                    <a:pt x="545" y="378"/>
                  </a:lnTo>
                  <a:lnTo>
                    <a:pt x="547" y="419"/>
                  </a:lnTo>
                  <a:lnTo>
                    <a:pt x="551" y="459"/>
                  </a:lnTo>
                  <a:lnTo>
                    <a:pt x="555" y="500"/>
                  </a:lnTo>
                  <a:lnTo>
                    <a:pt x="558" y="539"/>
                  </a:lnTo>
                  <a:lnTo>
                    <a:pt x="560" y="575"/>
                  </a:lnTo>
                  <a:lnTo>
                    <a:pt x="563" y="607"/>
                  </a:lnTo>
                  <a:lnTo>
                    <a:pt x="565" y="635"/>
                  </a:lnTo>
                  <a:lnTo>
                    <a:pt x="567" y="657"/>
                  </a:lnTo>
                  <a:lnTo>
                    <a:pt x="568" y="673"/>
                  </a:lnTo>
                  <a:lnTo>
                    <a:pt x="568" y="682"/>
                  </a:lnTo>
                  <a:lnTo>
                    <a:pt x="568" y="703"/>
                  </a:lnTo>
                  <a:lnTo>
                    <a:pt x="568" y="732"/>
                  </a:lnTo>
                  <a:lnTo>
                    <a:pt x="568" y="767"/>
                  </a:lnTo>
                  <a:lnTo>
                    <a:pt x="569" y="808"/>
                  </a:lnTo>
                  <a:lnTo>
                    <a:pt x="570" y="854"/>
                  </a:lnTo>
                  <a:lnTo>
                    <a:pt x="572" y="903"/>
                  </a:lnTo>
                  <a:lnTo>
                    <a:pt x="574" y="954"/>
                  </a:lnTo>
                  <a:lnTo>
                    <a:pt x="577" y="1007"/>
                  </a:lnTo>
                  <a:lnTo>
                    <a:pt x="579" y="1060"/>
                  </a:lnTo>
                  <a:lnTo>
                    <a:pt x="582" y="1112"/>
                  </a:lnTo>
                  <a:lnTo>
                    <a:pt x="585" y="1162"/>
                  </a:lnTo>
                  <a:lnTo>
                    <a:pt x="587" y="1210"/>
                  </a:lnTo>
                  <a:lnTo>
                    <a:pt x="590" y="1253"/>
                  </a:lnTo>
                  <a:lnTo>
                    <a:pt x="592" y="1292"/>
                  </a:lnTo>
                  <a:lnTo>
                    <a:pt x="594" y="1325"/>
                  </a:lnTo>
                  <a:lnTo>
                    <a:pt x="596" y="1350"/>
                  </a:lnTo>
                  <a:lnTo>
                    <a:pt x="597" y="1368"/>
                  </a:lnTo>
                  <a:lnTo>
                    <a:pt x="601" y="1386"/>
                  </a:lnTo>
                  <a:lnTo>
                    <a:pt x="605" y="1398"/>
                  </a:lnTo>
                  <a:lnTo>
                    <a:pt x="610" y="1409"/>
                  </a:lnTo>
                  <a:lnTo>
                    <a:pt x="614" y="1418"/>
                  </a:lnTo>
                  <a:lnTo>
                    <a:pt x="615" y="1427"/>
                  </a:lnTo>
                  <a:lnTo>
                    <a:pt x="613" y="1438"/>
                  </a:lnTo>
                  <a:lnTo>
                    <a:pt x="610" y="1450"/>
                  </a:lnTo>
                  <a:lnTo>
                    <a:pt x="608" y="1460"/>
                  </a:lnTo>
                  <a:lnTo>
                    <a:pt x="605" y="1469"/>
                  </a:lnTo>
                  <a:lnTo>
                    <a:pt x="600" y="1469"/>
                  </a:lnTo>
                  <a:lnTo>
                    <a:pt x="590" y="1472"/>
                  </a:lnTo>
                  <a:lnTo>
                    <a:pt x="576" y="1473"/>
                  </a:lnTo>
                  <a:lnTo>
                    <a:pt x="558" y="1475"/>
                  </a:lnTo>
                  <a:lnTo>
                    <a:pt x="538" y="1479"/>
                  </a:lnTo>
                  <a:lnTo>
                    <a:pt x="517" y="1481"/>
                  </a:lnTo>
                  <a:lnTo>
                    <a:pt x="494" y="1483"/>
                  </a:lnTo>
                  <a:lnTo>
                    <a:pt x="470" y="1484"/>
                  </a:lnTo>
                  <a:lnTo>
                    <a:pt x="449" y="1484"/>
                  </a:lnTo>
                  <a:lnTo>
                    <a:pt x="428" y="1483"/>
                  </a:lnTo>
                  <a:lnTo>
                    <a:pt x="411" y="1479"/>
                  </a:lnTo>
                  <a:lnTo>
                    <a:pt x="396" y="1474"/>
                  </a:lnTo>
                  <a:lnTo>
                    <a:pt x="386" y="1468"/>
                  </a:lnTo>
                  <a:lnTo>
                    <a:pt x="381" y="1457"/>
                  </a:lnTo>
                  <a:lnTo>
                    <a:pt x="381" y="1445"/>
                  </a:lnTo>
                  <a:lnTo>
                    <a:pt x="381" y="1442"/>
                  </a:lnTo>
                  <a:lnTo>
                    <a:pt x="382" y="1439"/>
                  </a:lnTo>
                  <a:lnTo>
                    <a:pt x="383" y="1437"/>
                  </a:lnTo>
                  <a:lnTo>
                    <a:pt x="384" y="1434"/>
                  </a:lnTo>
                  <a:lnTo>
                    <a:pt x="384" y="1432"/>
                  </a:lnTo>
                  <a:lnTo>
                    <a:pt x="384" y="1427"/>
                  </a:lnTo>
                  <a:lnTo>
                    <a:pt x="384" y="1418"/>
                  </a:lnTo>
                  <a:lnTo>
                    <a:pt x="388" y="1405"/>
                  </a:lnTo>
                  <a:lnTo>
                    <a:pt x="395" y="1391"/>
                  </a:lnTo>
                  <a:lnTo>
                    <a:pt x="401" y="1375"/>
                  </a:lnTo>
                  <a:lnTo>
                    <a:pt x="405" y="1364"/>
                  </a:lnTo>
                  <a:lnTo>
                    <a:pt x="408" y="1355"/>
                  </a:lnTo>
                  <a:lnTo>
                    <a:pt x="409" y="1347"/>
                  </a:lnTo>
                  <a:lnTo>
                    <a:pt x="408" y="1338"/>
                  </a:lnTo>
                  <a:lnTo>
                    <a:pt x="405" y="1325"/>
                  </a:lnTo>
                  <a:lnTo>
                    <a:pt x="396" y="1261"/>
                  </a:lnTo>
                  <a:lnTo>
                    <a:pt x="391" y="1198"/>
                  </a:lnTo>
                  <a:lnTo>
                    <a:pt x="390" y="1134"/>
                  </a:lnTo>
                  <a:lnTo>
                    <a:pt x="390" y="1069"/>
                  </a:lnTo>
                  <a:lnTo>
                    <a:pt x="391" y="1001"/>
                  </a:lnTo>
                  <a:lnTo>
                    <a:pt x="392" y="933"/>
                  </a:lnTo>
                  <a:lnTo>
                    <a:pt x="391" y="862"/>
                  </a:lnTo>
                  <a:lnTo>
                    <a:pt x="387" y="789"/>
                  </a:lnTo>
                  <a:lnTo>
                    <a:pt x="377" y="713"/>
                  </a:lnTo>
                  <a:lnTo>
                    <a:pt x="374" y="698"/>
                  </a:lnTo>
                  <a:lnTo>
                    <a:pt x="370" y="677"/>
                  </a:lnTo>
                  <a:lnTo>
                    <a:pt x="365" y="650"/>
                  </a:lnTo>
                  <a:lnTo>
                    <a:pt x="360" y="621"/>
                  </a:lnTo>
                  <a:lnTo>
                    <a:pt x="352" y="586"/>
                  </a:lnTo>
                  <a:lnTo>
                    <a:pt x="346" y="550"/>
                  </a:lnTo>
                  <a:lnTo>
                    <a:pt x="338" y="513"/>
                  </a:lnTo>
                  <a:lnTo>
                    <a:pt x="329" y="475"/>
                  </a:lnTo>
                  <a:lnTo>
                    <a:pt x="322" y="436"/>
                  </a:lnTo>
                  <a:lnTo>
                    <a:pt x="314" y="399"/>
                  </a:lnTo>
                  <a:lnTo>
                    <a:pt x="305" y="364"/>
                  </a:lnTo>
                  <a:lnTo>
                    <a:pt x="298" y="332"/>
                  </a:lnTo>
                  <a:lnTo>
                    <a:pt x="291" y="304"/>
                  </a:lnTo>
                  <a:lnTo>
                    <a:pt x="286" y="281"/>
                  </a:lnTo>
                  <a:lnTo>
                    <a:pt x="281" y="262"/>
                  </a:lnTo>
                  <a:lnTo>
                    <a:pt x="277" y="250"/>
                  </a:lnTo>
                  <a:lnTo>
                    <a:pt x="274" y="246"/>
                  </a:lnTo>
                  <a:lnTo>
                    <a:pt x="268" y="245"/>
                  </a:lnTo>
                  <a:lnTo>
                    <a:pt x="263" y="246"/>
                  </a:lnTo>
                  <a:lnTo>
                    <a:pt x="257" y="251"/>
                  </a:lnTo>
                  <a:lnTo>
                    <a:pt x="254" y="262"/>
                  </a:lnTo>
                  <a:lnTo>
                    <a:pt x="252" y="271"/>
                  </a:lnTo>
                  <a:lnTo>
                    <a:pt x="250" y="285"/>
                  </a:lnTo>
                  <a:lnTo>
                    <a:pt x="247" y="305"/>
                  </a:lnTo>
                  <a:lnTo>
                    <a:pt x="243" y="331"/>
                  </a:lnTo>
                  <a:lnTo>
                    <a:pt x="239" y="359"/>
                  </a:lnTo>
                  <a:lnTo>
                    <a:pt x="236" y="389"/>
                  </a:lnTo>
                  <a:lnTo>
                    <a:pt x="232" y="419"/>
                  </a:lnTo>
                  <a:lnTo>
                    <a:pt x="229" y="450"/>
                  </a:lnTo>
                  <a:lnTo>
                    <a:pt x="225" y="477"/>
                  </a:lnTo>
                  <a:lnTo>
                    <a:pt x="223" y="503"/>
                  </a:lnTo>
                  <a:lnTo>
                    <a:pt x="220" y="523"/>
                  </a:lnTo>
                  <a:lnTo>
                    <a:pt x="218" y="539"/>
                  </a:lnTo>
                  <a:lnTo>
                    <a:pt x="218" y="546"/>
                  </a:lnTo>
                  <a:lnTo>
                    <a:pt x="216" y="555"/>
                  </a:lnTo>
                  <a:lnTo>
                    <a:pt x="214" y="571"/>
                  </a:lnTo>
                  <a:lnTo>
                    <a:pt x="210" y="589"/>
                  </a:lnTo>
                  <a:lnTo>
                    <a:pt x="206" y="609"/>
                  </a:lnTo>
                  <a:lnTo>
                    <a:pt x="201" y="631"/>
                  </a:lnTo>
                  <a:lnTo>
                    <a:pt x="198" y="650"/>
                  </a:lnTo>
                  <a:lnTo>
                    <a:pt x="195" y="667"/>
                  </a:lnTo>
                  <a:lnTo>
                    <a:pt x="193" y="680"/>
                  </a:lnTo>
                  <a:lnTo>
                    <a:pt x="195" y="697"/>
                  </a:lnTo>
                  <a:lnTo>
                    <a:pt x="196" y="720"/>
                  </a:lnTo>
                  <a:lnTo>
                    <a:pt x="198" y="745"/>
                  </a:lnTo>
                  <a:lnTo>
                    <a:pt x="202" y="774"/>
                  </a:lnTo>
                  <a:lnTo>
                    <a:pt x="206" y="803"/>
                  </a:lnTo>
                  <a:lnTo>
                    <a:pt x="210" y="833"/>
                  </a:lnTo>
                  <a:lnTo>
                    <a:pt x="211" y="845"/>
                  </a:lnTo>
                  <a:lnTo>
                    <a:pt x="211" y="866"/>
                  </a:lnTo>
                  <a:lnTo>
                    <a:pt x="213" y="893"/>
                  </a:lnTo>
                  <a:lnTo>
                    <a:pt x="214" y="926"/>
                  </a:lnTo>
                  <a:lnTo>
                    <a:pt x="215" y="963"/>
                  </a:lnTo>
                  <a:lnTo>
                    <a:pt x="216" y="1004"/>
                  </a:lnTo>
                  <a:lnTo>
                    <a:pt x="218" y="1047"/>
                  </a:lnTo>
                  <a:lnTo>
                    <a:pt x="219" y="1093"/>
                  </a:lnTo>
                  <a:lnTo>
                    <a:pt x="220" y="1138"/>
                  </a:lnTo>
                  <a:lnTo>
                    <a:pt x="222" y="1184"/>
                  </a:lnTo>
                  <a:lnTo>
                    <a:pt x="223" y="1228"/>
                  </a:lnTo>
                  <a:lnTo>
                    <a:pt x="224" y="1270"/>
                  </a:lnTo>
                  <a:lnTo>
                    <a:pt x="225" y="1309"/>
                  </a:lnTo>
                  <a:lnTo>
                    <a:pt x="225" y="1343"/>
                  </a:lnTo>
                  <a:lnTo>
                    <a:pt x="227" y="1373"/>
                  </a:lnTo>
                  <a:lnTo>
                    <a:pt x="227" y="1396"/>
                  </a:lnTo>
                  <a:lnTo>
                    <a:pt x="227" y="1411"/>
                  </a:lnTo>
                  <a:lnTo>
                    <a:pt x="227" y="1419"/>
                  </a:lnTo>
                  <a:lnTo>
                    <a:pt x="227" y="1432"/>
                  </a:lnTo>
                  <a:lnTo>
                    <a:pt x="225" y="1447"/>
                  </a:lnTo>
                  <a:lnTo>
                    <a:pt x="224" y="1465"/>
                  </a:lnTo>
                  <a:lnTo>
                    <a:pt x="222" y="1482"/>
                  </a:lnTo>
                  <a:lnTo>
                    <a:pt x="189" y="1475"/>
                  </a:lnTo>
                  <a:lnTo>
                    <a:pt x="156" y="1464"/>
                  </a:lnTo>
                  <a:lnTo>
                    <a:pt x="120" y="1451"/>
                  </a:lnTo>
                  <a:lnTo>
                    <a:pt x="86" y="1437"/>
                  </a:lnTo>
                  <a:lnTo>
                    <a:pt x="51" y="1420"/>
                  </a:lnTo>
                  <a:lnTo>
                    <a:pt x="20" y="1406"/>
                  </a:lnTo>
                  <a:lnTo>
                    <a:pt x="26" y="1392"/>
                  </a:lnTo>
                  <a:lnTo>
                    <a:pt x="35" y="1378"/>
                  </a:lnTo>
                  <a:lnTo>
                    <a:pt x="43" y="1365"/>
                  </a:lnTo>
                  <a:lnTo>
                    <a:pt x="50" y="1356"/>
                  </a:lnTo>
                  <a:lnTo>
                    <a:pt x="53" y="1348"/>
                  </a:lnTo>
                  <a:lnTo>
                    <a:pt x="56" y="1336"/>
                  </a:lnTo>
                  <a:lnTo>
                    <a:pt x="57" y="1318"/>
                  </a:lnTo>
                  <a:lnTo>
                    <a:pt x="57" y="1294"/>
                  </a:lnTo>
                  <a:lnTo>
                    <a:pt x="56" y="1266"/>
                  </a:lnTo>
                  <a:lnTo>
                    <a:pt x="53" y="1232"/>
                  </a:lnTo>
                  <a:lnTo>
                    <a:pt x="51" y="1191"/>
                  </a:lnTo>
                  <a:lnTo>
                    <a:pt x="46" y="1142"/>
                  </a:lnTo>
                  <a:lnTo>
                    <a:pt x="42" y="1103"/>
                  </a:lnTo>
                  <a:lnTo>
                    <a:pt x="38" y="1061"/>
                  </a:lnTo>
                  <a:lnTo>
                    <a:pt x="34" y="1016"/>
                  </a:lnTo>
                  <a:lnTo>
                    <a:pt x="29" y="970"/>
                  </a:lnTo>
                  <a:lnTo>
                    <a:pt x="25" y="925"/>
                  </a:lnTo>
                  <a:lnTo>
                    <a:pt x="21" y="883"/>
                  </a:lnTo>
                  <a:lnTo>
                    <a:pt x="18" y="842"/>
                  </a:lnTo>
                  <a:lnTo>
                    <a:pt x="14" y="804"/>
                  </a:lnTo>
                  <a:lnTo>
                    <a:pt x="10" y="774"/>
                  </a:lnTo>
                  <a:lnTo>
                    <a:pt x="7" y="748"/>
                  </a:lnTo>
                  <a:lnTo>
                    <a:pt x="5" y="730"/>
                  </a:lnTo>
                  <a:lnTo>
                    <a:pt x="3" y="709"/>
                  </a:lnTo>
                  <a:lnTo>
                    <a:pt x="2" y="682"/>
                  </a:lnTo>
                  <a:lnTo>
                    <a:pt x="1" y="649"/>
                  </a:lnTo>
                  <a:lnTo>
                    <a:pt x="0" y="612"/>
                  </a:lnTo>
                  <a:lnTo>
                    <a:pt x="0" y="571"/>
                  </a:lnTo>
                  <a:lnTo>
                    <a:pt x="0" y="528"/>
                  </a:lnTo>
                  <a:lnTo>
                    <a:pt x="0" y="486"/>
                  </a:lnTo>
                  <a:lnTo>
                    <a:pt x="1" y="446"/>
                  </a:lnTo>
                  <a:lnTo>
                    <a:pt x="3" y="409"/>
                  </a:lnTo>
                  <a:lnTo>
                    <a:pt x="6" y="377"/>
                  </a:lnTo>
                  <a:lnTo>
                    <a:pt x="9" y="351"/>
                  </a:lnTo>
                  <a:lnTo>
                    <a:pt x="11" y="323"/>
                  </a:lnTo>
                  <a:lnTo>
                    <a:pt x="14" y="292"/>
                  </a:lnTo>
                  <a:lnTo>
                    <a:pt x="16" y="259"/>
                  </a:lnTo>
                  <a:lnTo>
                    <a:pt x="19" y="224"/>
                  </a:lnTo>
                  <a:lnTo>
                    <a:pt x="21" y="191"/>
                  </a:lnTo>
                  <a:lnTo>
                    <a:pt x="24" y="159"/>
                  </a:lnTo>
                  <a:lnTo>
                    <a:pt x="26" y="129"/>
                  </a:lnTo>
                  <a:lnTo>
                    <a:pt x="29" y="103"/>
                  </a:lnTo>
                  <a:lnTo>
                    <a:pt x="30" y="79"/>
                  </a:lnTo>
                  <a:lnTo>
                    <a:pt x="32" y="61"/>
                  </a:lnTo>
                  <a:lnTo>
                    <a:pt x="33" y="51"/>
                  </a:lnTo>
                  <a:lnTo>
                    <a:pt x="33" y="47"/>
                  </a:lnTo>
                  <a:lnTo>
                    <a:pt x="94" y="24"/>
                  </a:lnTo>
                  <a:lnTo>
                    <a:pt x="98" y="23"/>
                  </a:lnTo>
                  <a:lnTo>
                    <a:pt x="111" y="23"/>
                  </a:lnTo>
                  <a:lnTo>
                    <a:pt x="130" y="20"/>
                  </a:lnTo>
                  <a:lnTo>
                    <a:pt x="156" y="19"/>
                  </a:lnTo>
                  <a:lnTo>
                    <a:pt x="186" y="17"/>
                  </a:lnTo>
                  <a:lnTo>
                    <a:pt x="219" y="15"/>
                  </a:lnTo>
                  <a:lnTo>
                    <a:pt x="254" y="13"/>
                  </a:lnTo>
                  <a:lnTo>
                    <a:pt x="290" y="10"/>
                  </a:lnTo>
                  <a:lnTo>
                    <a:pt x="324" y="8"/>
                  </a:lnTo>
                  <a:lnTo>
                    <a:pt x="358" y="5"/>
                  </a:lnTo>
                  <a:lnTo>
                    <a:pt x="388" y="4"/>
                  </a:lnTo>
                  <a:lnTo>
                    <a:pt x="414" y="1"/>
                  </a:lnTo>
                  <a:lnTo>
                    <a:pt x="434" y="1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2" name="Freeform 1385"/>
            <p:cNvSpPr>
              <a:spLocks/>
            </p:cNvSpPr>
            <p:nvPr/>
          </p:nvSpPr>
          <p:spPr bwMode="auto">
            <a:xfrm>
              <a:off x="-3630613" y="1428750"/>
              <a:ext cx="1204913" cy="1539875"/>
            </a:xfrm>
            <a:custGeom>
              <a:avLst/>
              <a:gdLst>
                <a:gd name="T0" fmla="*/ 349 w 759"/>
                <a:gd name="T1" fmla="*/ 0 h 970"/>
                <a:gd name="T2" fmla="*/ 376 w 759"/>
                <a:gd name="T3" fmla="*/ 4 h 970"/>
                <a:gd name="T4" fmla="*/ 420 w 759"/>
                <a:gd name="T5" fmla="*/ 11 h 970"/>
                <a:gd name="T6" fmla="*/ 469 w 759"/>
                <a:gd name="T7" fmla="*/ 16 h 970"/>
                <a:gd name="T8" fmla="*/ 510 w 759"/>
                <a:gd name="T9" fmla="*/ 21 h 970"/>
                <a:gd name="T10" fmla="*/ 542 w 759"/>
                <a:gd name="T11" fmla="*/ 23 h 970"/>
                <a:gd name="T12" fmla="*/ 589 w 759"/>
                <a:gd name="T13" fmla="*/ 31 h 970"/>
                <a:gd name="T14" fmla="*/ 644 w 759"/>
                <a:gd name="T15" fmla="*/ 40 h 970"/>
                <a:gd name="T16" fmla="*/ 693 w 759"/>
                <a:gd name="T17" fmla="*/ 52 h 970"/>
                <a:gd name="T18" fmla="*/ 720 w 759"/>
                <a:gd name="T19" fmla="*/ 61 h 970"/>
                <a:gd name="T20" fmla="*/ 729 w 759"/>
                <a:gd name="T21" fmla="*/ 82 h 970"/>
                <a:gd name="T22" fmla="*/ 737 w 759"/>
                <a:gd name="T23" fmla="*/ 126 h 970"/>
                <a:gd name="T24" fmla="*/ 745 w 759"/>
                <a:gd name="T25" fmla="*/ 183 h 970"/>
                <a:gd name="T26" fmla="*/ 751 w 759"/>
                <a:gd name="T27" fmla="*/ 240 h 970"/>
                <a:gd name="T28" fmla="*/ 756 w 759"/>
                <a:gd name="T29" fmla="*/ 289 h 970"/>
                <a:gd name="T30" fmla="*/ 759 w 759"/>
                <a:gd name="T31" fmla="*/ 320 h 970"/>
                <a:gd name="T32" fmla="*/ 620 w 759"/>
                <a:gd name="T33" fmla="*/ 349 h 970"/>
                <a:gd name="T34" fmla="*/ 618 w 759"/>
                <a:gd name="T35" fmla="*/ 365 h 970"/>
                <a:gd name="T36" fmla="*/ 611 w 759"/>
                <a:gd name="T37" fmla="*/ 407 h 970"/>
                <a:gd name="T38" fmla="*/ 603 w 759"/>
                <a:gd name="T39" fmla="*/ 469 h 970"/>
                <a:gd name="T40" fmla="*/ 593 w 759"/>
                <a:gd name="T41" fmla="*/ 546 h 970"/>
                <a:gd name="T42" fmla="*/ 585 w 759"/>
                <a:gd name="T43" fmla="*/ 630 h 970"/>
                <a:gd name="T44" fmla="*/ 580 w 759"/>
                <a:gd name="T45" fmla="*/ 718 h 970"/>
                <a:gd name="T46" fmla="*/ 579 w 759"/>
                <a:gd name="T47" fmla="*/ 801 h 970"/>
                <a:gd name="T48" fmla="*/ 583 w 759"/>
                <a:gd name="T49" fmla="*/ 873 h 970"/>
                <a:gd name="T50" fmla="*/ 584 w 759"/>
                <a:gd name="T51" fmla="*/ 907 h 970"/>
                <a:gd name="T52" fmla="*/ 552 w 759"/>
                <a:gd name="T53" fmla="*/ 918 h 970"/>
                <a:gd name="T54" fmla="*/ 497 w 759"/>
                <a:gd name="T55" fmla="*/ 928 h 970"/>
                <a:gd name="T56" fmla="*/ 430 w 759"/>
                <a:gd name="T57" fmla="*/ 938 h 970"/>
                <a:gd name="T58" fmla="*/ 362 w 759"/>
                <a:gd name="T59" fmla="*/ 947 h 970"/>
                <a:gd name="T60" fmla="*/ 303 w 759"/>
                <a:gd name="T61" fmla="*/ 956 h 970"/>
                <a:gd name="T62" fmla="*/ 263 w 759"/>
                <a:gd name="T63" fmla="*/ 963 h 970"/>
                <a:gd name="T64" fmla="*/ 227 w 759"/>
                <a:gd name="T65" fmla="*/ 970 h 970"/>
                <a:gd name="T66" fmla="*/ 176 w 759"/>
                <a:gd name="T67" fmla="*/ 964 h 970"/>
                <a:gd name="T68" fmla="*/ 131 w 759"/>
                <a:gd name="T69" fmla="*/ 940 h 970"/>
                <a:gd name="T70" fmla="*/ 100 w 759"/>
                <a:gd name="T71" fmla="*/ 910 h 970"/>
                <a:gd name="T72" fmla="*/ 89 w 759"/>
                <a:gd name="T73" fmla="*/ 875 h 970"/>
                <a:gd name="T74" fmla="*/ 93 w 759"/>
                <a:gd name="T75" fmla="*/ 825 h 970"/>
                <a:gd name="T76" fmla="*/ 102 w 759"/>
                <a:gd name="T77" fmla="*/ 759 h 970"/>
                <a:gd name="T78" fmla="*/ 107 w 759"/>
                <a:gd name="T79" fmla="*/ 705 h 970"/>
                <a:gd name="T80" fmla="*/ 112 w 759"/>
                <a:gd name="T81" fmla="*/ 657 h 970"/>
                <a:gd name="T82" fmla="*/ 118 w 759"/>
                <a:gd name="T83" fmla="*/ 592 h 970"/>
                <a:gd name="T84" fmla="*/ 126 w 759"/>
                <a:gd name="T85" fmla="*/ 520 h 970"/>
                <a:gd name="T86" fmla="*/ 134 w 759"/>
                <a:gd name="T87" fmla="*/ 449 h 970"/>
                <a:gd name="T88" fmla="*/ 140 w 759"/>
                <a:gd name="T89" fmla="*/ 392 h 970"/>
                <a:gd name="T90" fmla="*/ 144 w 759"/>
                <a:gd name="T91" fmla="*/ 356 h 970"/>
                <a:gd name="T92" fmla="*/ 35 w 759"/>
                <a:gd name="T93" fmla="*/ 344 h 970"/>
                <a:gd name="T94" fmla="*/ 2 w 759"/>
                <a:gd name="T95" fmla="*/ 342 h 970"/>
                <a:gd name="T96" fmla="*/ 6 w 759"/>
                <a:gd name="T97" fmla="*/ 313 h 970"/>
                <a:gd name="T98" fmla="*/ 12 w 759"/>
                <a:gd name="T99" fmla="*/ 267 h 970"/>
                <a:gd name="T100" fmla="*/ 20 w 759"/>
                <a:gd name="T101" fmla="*/ 211 h 970"/>
                <a:gd name="T102" fmla="*/ 29 w 759"/>
                <a:gd name="T103" fmla="*/ 150 h 970"/>
                <a:gd name="T104" fmla="*/ 38 w 759"/>
                <a:gd name="T105" fmla="*/ 97 h 970"/>
                <a:gd name="T106" fmla="*/ 47 w 759"/>
                <a:gd name="T107" fmla="*/ 57 h 970"/>
                <a:gd name="T108" fmla="*/ 53 w 759"/>
                <a:gd name="T109" fmla="*/ 40 h 970"/>
                <a:gd name="T110" fmla="*/ 76 w 759"/>
                <a:gd name="T111" fmla="*/ 35 h 970"/>
                <a:gd name="T112" fmla="*/ 124 w 759"/>
                <a:gd name="T113" fmla="*/ 29 h 970"/>
                <a:gd name="T114" fmla="*/ 185 w 759"/>
                <a:gd name="T115" fmla="*/ 21 h 970"/>
                <a:gd name="T116" fmla="*/ 249 w 759"/>
                <a:gd name="T117" fmla="*/ 13 h 970"/>
                <a:gd name="T118" fmla="*/ 304 w 759"/>
                <a:gd name="T119" fmla="*/ 7 h 970"/>
                <a:gd name="T120" fmla="*/ 339 w 759"/>
                <a:gd name="T121" fmla="*/ 2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9" h="970">
                  <a:moveTo>
                    <a:pt x="346" y="0"/>
                  </a:moveTo>
                  <a:lnTo>
                    <a:pt x="349" y="0"/>
                  </a:lnTo>
                  <a:lnTo>
                    <a:pt x="360" y="2"/>
                  </a:lnTo>
                  <a:lnTo>
                    <a:pt x="376" y="4"/>
                  </a:lnTo>
                  <a:lnTo>
                    <a:pt x="397" y="7"/>
                  </a:lnTo>
                  <a:lnTo>
                    <a:pt x="420" y="11"/>
                  </a:lnTo>
                  <a:lnTo>
                    <a:pt x="444" y="13"/>
                  </a:lnTo>
                  <a:lnTo>
                    <a:pt x="469" y="16"/>
                  </a:lnTo>
                  <a:lnTo>
                    <a:pt x="491" y="18"/>
                  </a:lnTo>
                  <a:lnTo>
                    <a:pt x="510" y="21"/>
                  </a:lnTo>
                  <a:lnTo>
                    <a:pt x="525" y="22"/>
                  </a:lnTo>
                  <a:lnTo>
                    <a:pt x="542" y="23"/>
                  </a:lnTo>
                  <a:lnTo>
                    <a:pt x="564" y="27"/>
                  </a:lnTo>
                  <a:lnTo>
                    <a:pt x="589" y="31"/>
                  </a:lnTo>
                  <a:lnTo>
                    <a:pt x="618" y="35"/>
                  </a:lnTo>
                  <a:lnTo>
                    <a:pt x="644" y="40"/>
                  </a:lnTo>
                  <a:lnTo>
                    <a:pt x="670" y="47"/>
                  </a:lnTo>
                  <a:lnTo>
                    <a:pt x="693" y="52"/>
                  </a:lnTo>
                  <a:lnTo>
                    <a:pt x="710" y="57"/>
                  </a:lnTo>
                  <a:lnTo>
                    <a:pt x="720" y="61"/>
                  </a:lnTo>
                  <a:lnTo>
                    <a:pt x="725" y="68"/>
                  </a:lnTo>
                  <a:lnTo>
                    <a:pt x="729" y="82"/>
                  </a:lnTo>
                  <a:lnTo>
                    <a:pt x="733" y="102"/>
                  </a:lnTo>
                  <a:lnTo>
                    <a:pt x="737" y="126"/>
                  </a:lnTo>
                  <a:lnTo>
                    <a:pt x="741" y="153"/>
                  </a:lnTo>
                  <a:lnTo>
                    <a:pt x="745" y="183"/>
                  </a:lnTo>
                  <a:lnTo>
                    <a:pt x="748" y="212"/>
                  </a:lnTo>
                  <a:lnTo>
                    <a:pt x="751" y="240"/>
                  </a:lnTo>
                  <a:lnTo>
                    <a:pt x="754" y="267"/>
                  </a:lnTo>
                  <a:lnTo>
                    <a:pt x="756" y="289"/>
                  </a:lnTo>
                  <a:lnTo>
                    <a:pt x="757" y="307"/>
                  </a:lnTo>
                  <a:lnTo>
                    <a:pt x="759" y="320"/>
                  </a:lnTo>
                  <a:lnTo>
                    <a:pt x="759" y="324"/>
                  </a:lnTo>
                  <a:lnTo>
                    <a:pt x="620" y="349"/>
                  </a:lnTo>
                  <a:lnTo>
                    <a:pt x="619" y="353"/>
                  </a:lnTo>
                  <a:lnTo>
                    <a:pt x="618" y="365"/>
                  </a:lnTo>
                  <a:lnTo>
                    <a:pt x="615" y="383"/>
                  </a:lnTo>
                  <a:lnTo>
                    <a:pt x="611" y="407"/>
                  </a:lnTo>
                  <a:lnTo>
                    <a:pt x="607" y="435"/>
                  </a:lnTo>
                  <a:lnTo>
                    <a:pt x="603" y="469"/>
                  </a:lnTo>
                  <a:lnTo>
                    <a:pt x="598" y="506"/>
                  </a:lnTo>
                  <a:lnTo>
                    <a:pt x="593" y="546"/>
                  </a:lnTo>
                  <a:lnTo>
                    <a:pt x="589" y="588"/>
                  </a:lnTo>
                  <a:lnTo>
                    <a:pt x="585" y="630"/>
                  </a:lnTo>
                  <a:lnTo>
                    <a:pt x="583" y="674"/>
                  </a:lnTo>
                  <a:lnTo>
                    <a:pt x="580" y="718"/>
                  </a:lnTo>
                  <a:lnTo>
                    <a:pt x="579" y="760"/>
                  </a:lnTo>
                  <a:lnTo>
                    <a:pt x="579" y="801"/>
                  </a:lnTo>
                  <a:lnTo>
                    <a:pt x="580" y="838"/>
                  </a:lnTo>
                  <a:lnTo>
                    <a:pt x="583" y="873"/>
                  </a:lnTo>
                  <a:lnTo>
                    <a:pt x="588" y="904"/>
                  </a:lnTo>
                  <a:lnTo>
                    <a:pt x="584" y="907"/>
                  </a:lnTo>
                  <a:lnTo>
                    <a:pt x="571" y="913"/>
                  </a:lnTo>
                  <a:lnTo>
                    <a:pt x="552" y="918"/>
                  </a:lnTo>
                  <a:lnTo>
                    <a:pt x="526" y="923"/>
                  </a:lnTo>
                  <a:lnTo>
                    <a:pt x="497" y="928"/>
                  </a:lnTo>
                  <a:lnTo>
                    <a:pt x="465" y="933"/>
                  </a:lnTo>
                  <a:lnTo>
                    <a:pt x="430" y="938"/>
                  </a:lnTo>
                  <a:lnTo>
                    <a:pt x="396" y="943"/>
                  </a:lnTo>
                  <a:lnTo>
                    <a:pt x="362" y="947"/>
                  </a:lnTo>
                  <a:lnTo>
                    <a:pt x="331" y="952"/>
                  </a:lnTo>
                  <a:lnTo>
                    <a:pt x="303" y="956"/>
                  </a:lnTo>
                  <a:lnTo>
                    <a:pt x="280" y="960"/>
                  </a:lnTo>
                  <a:lnTo>
                    <a:pt x="263" y="963"/>
                  </a:lnTo>
                  <a:lnTo>
                    <a:pt x="256" y="964"/>
                  </a:lnTo>
                  <a:lnTo>
                    <a:pt x="227" y="970"/>
                  </a:lnTo>
                  <a:lnTo>
                    <a:pt x="202" y="970"/>
                  </a:lnTo>
                  <a:lnTo>
                    <a:pt x="176" y="964"/>
                  </a:lnTo>
                  <a:lnTo>
                    <a:pt x="152" y="952"/>
                  </a:lnTo>
                  <a:lnTo>
                    <a:pt x="131" y="940"/>
                  </a:lnTo>
                  <a:lnTo>
                    <a:pt x="113" y="924"/>
                  </a:lnTo>
                  <a:lnTo>
                    <a:pt x="100" y="910"/>
                  </a:lnTo>
                  <a:lnTo>
                    <a:pt x="93" y="895"/>
                  </a:lnTo>
                  <a:lnTo>
                    <a:pt x="89" y="875"/>
                  </a:lnTo>
                  <a:lnTo>
                    <a:pt x="90" y="852"/>
                  </a:lnTo>
                  <a:lnTo>
                    <a:pt x="93" y="825"/>
                  </a:lnTo>
                  <a:lnTo>
                    <a:pt x="98" y="795"/>
                  </a:lnTo>
                  <a:lnTo>
                    <a:pt x="102" y="759"/>
                  </a:lnTo>
                  <a:lnTo>
                    <a:pt x="106" y="720"/>
                  </a:lnTo>
                  <a:lnTo>
                    <a:pt x="107" y="705"/>
                  </a:lnTo>
                  <a:lnTo>
                    <a:pt x="109" y="684"/>
                  </a:lnTo>
                  <a:lnTo>
                    <a:pt x="112" y="657"/>
                  </a:lnTo>
                  <a:lnTo>
                    <a:pt x="115" y="625"/>
                  </a:lnTo>
                  <a:lnTo>
                    <a:pt x="118" y="592"/>
                  </a:lnTo>
                  <a:lnTo>
                    <a:pt x="122" y="556"/>
                  </a:lnTo>
                  <a:lnTo>
                    <a:pt x="126" y="520"/>
                  </a:lnTo>
                  <a:lnTo>
                    <a:pt x="131" y="484"/>
                  </a:lnTo>
                  <a:lnTo>
                    <a:pt x="134" y="449"/>
                  </a:lnTo>
                  <a:lnTo>
                    <a:pt x="138" y="419"/>
                  </a:lnTo>
                  <a:lnTo>
                    <a:pt x="140" y="392"/>
                  </a:lnTo>
                  <a:lnTo>
                    <a:pt x="143" y="370"/>
                  </a:lnTo>
                  <a:lnTo>
                    <a:pt x="144" y="356"/>
                  </a:lnTo>
                  <a:lnTo>
                    <a:pt x="145" y="349"/>
                  </a:lnTo>
                  <a:lnTo>
                    <a:pt x="35" y="344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3" y="330"/>
                  </a:lnTo>
                  <a:lnTo>
                    <a:pt x="6" y="313"/>
                  </a:lnTo>
                  <a:lnTo>
                    <a:pt x="8" y="293"/>
                  </a:lnTo>
                  <a:lnTo>
                    <a:pt x="12" y="267"/>
                  </a:lnTo>
                  <a:lnTo>
                    <a:pt x="16" y="240"/>
                  </a:lnTo>
                  <a:lnTo>
                    <a:pt x="20" y="211"/>
                  </a:lnTo>
                  <a:lnTo>
                    <a:pt x="25" y="180"/>
                  </a:lnTo>
                  <a:lnTo>
                    <a:pt x="29" y="150"/>
                  </a:lnTo>
                  <a:lnTo>
                    <a:pt x="34" y="122"/>
                  </a:lnTo>
                  <a:lnTo>
                    <a:pt x="38" y="97"/>
                  </a:lnTo>
                  <a:lnTo>
                    <a:pt x="43" y="75"/>
                  </a:lnTo>
                  <a:lnTo>
                    <a:pt x="47" y="57"/>
                  </a:lnTo>
                  <a:lnTo>
                    <a:pt x="50" y="45"/>
                  </a:lnTo>
                  <a:lnTo>
                    <a:pt x="53" y="40"/>
                  </a:lnTo>
                  <a:lnTo>
                    <a:pt x="61" y="38"/>
                  </a:lnTo>
                  <a:lnTo>
                    <a:pt x="76" y="35"/>
                  </a:lnTo>
                  <a:lnTo>
                    <a:pt x="98" y="32"/>
                  </a:lnTo>
                  <a:lnTo>
                    <a:pt x="124" y="29"/>
                  </a:lnTo>
                  <a:lnTo>
                    <a:pt x="153" y="25"/>
                  </a:lnTo>
                  <a:lnTo>
                    <a:pt x="185" y="21"/>
                  </a:lnTo>
                  <a:lnTo>
                    <a:pt x="217" y="17"/>
                  </a:lnTo>
                  <a:lnTo>
                    <a:pt x="249" y="13"/>
                  </a:lnTo>
                  <a:lnTo>
                    <a:pt x="279" y="9"/>
                  </a:lnTo>
                  <a:lnTo>
                    <a:pt x="304" y="7"/>
                  </a:lnTo>
                  <a:lnTo>
                    <a:pt x="325" y="4"/>
                  </a:lnTo>
                  <a:lnTo>
                    <a:pt x="339" y="2"/>
                  </a:lnTo>
                  <a:lnTo>
                    <a:pt x="346" y="0"/>
                  </a:lnTo>
                  <a:close/>
                </a:path>
              </a:pathLst>
            </a:custGeom>
            <a:solidFill>
              <a:srgbClr val="001F3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3" name="Freeform 1386"/>
            <p:cNvSpPr>
              <a:spLocks/>
            </p:cNvSpPr>
            <p:nvPr/>
          </p:nvSpPr>
          <p:spPr bwMode="auto">
            <a:xfrm>
              <a:off x="-3497263" y="2182812"/>
              <a:ext cx="808038" cy="785813"/>
            </a:xfrm>
            <a:custGeom>
              <a:avLst/>
              <a:gdLst>
                <a:gd name="T0" fmla="*/ 509 w 509"/>
                <a:gd name="T1" fmla="*/ 24 h 495"/>
                <a:gd name="T2" fmla="*/ 500 w 509"/>
                <a:gd name="T3" fmla="*/ 117 h 495"/>
                <a:gd name="T4" fmla="*/ 492 w 509"/>
                <a:gd name="T5" fmla="*/ 214 h 495"/>
                <a:gd name="T6" fmla="*/ 489 w 509"/>
                <a:gd name="T7" fmla="*/ 311 h 495"/>
                <a:gd name="T8" fmla="*/ 492 w 509"/>
                <a:gd name="T9" fmla="*/ 394 h 495"/>
                <a:gd name="T10" fmla="*/ 494 w 509"/>
                <a:gd name="T11" fmla="*/ 432 h 495"/>
                <a:gd name="T12" fmla="*/ 463 w 509"/>
                <a:gd name="T13" fmla="*/ 443 h 495"/>
                <a:gd name="T14" fmla="*/ 408 w 509"/>
                <a:gd name="T15" fmla="*/ 453 h 495"/>
                <a:gd name="T16" fmla="*/ 341 w 509"/>
                <a:gd name="T17" fmla="*/ 463 h 495"/>
                <a:gd name="T18" fmla="*/ 273 w 509"/>
                <a:gd name="T19" fmla="*/ 472 h 495"/>
                <a:gd name="T20" fmla="*/ 214 w 509"/>
                <a:gd name="T21" fmla="*/ 481 h 495"/>
                <a:gd name="T22" fmla="*/ 174 w 509"/>
                <a:gd name="T23" fmla="*/ 488 h 495"/>
                <a:gd name="T24" fmla="*/ 138 w 509"/>
                <a:gd name="T25" fmla="*/ 495 h 495"/>
                <a:gd name="T26" fmla="*/ 87 w 509"/>
                <a:gd name="T27" fmla="*/ 489 h 495"/>
                <a:gd name="T28" fmla="*/ 42 w 509"/>
                <a:gd name="T29" fmla="*/ 465 h 495"/>
                <a:gd name="T30" fmla="*/ 11 w 509"/>
                <a:gd name="T31" fmla="*/ 435 h 495"/>
                <a:gd name="T32" fmla="*/ 0 w 509"/>
                <a:gd name="T33" fmla="*/ 400 h 495"/>
                <a:gd name="T34" fmla="*/ 4 w 509"/>
                <a:gd name="T35" fmla="*/ 350 h 495"/>
                <a:gd name="T36" fmla="*/ 13 w 509"/>
                <a:gd name="T37" fmla="*/ 284 h 495"/>
                <a:gd name="T38" fmla="*/ 18 w 509"/>
                <a:gd name="T39" fmla="*/ 230 h 495"/>
                <a:gd name="T40" fmla="*/ 23 w 509"/>
                <a:gd name="T41" fmla="*/ 177 h 495"/>
                <a:gd name="T42" fmla="*/ 31 w 509"/>
                <a:gd name="T43" fmla="*/ 107 h 495"/>
                <a:gd name="T44" fmla="*/ 40 w 509"/>
                <a:gd name="T45" fmla="*/ 30 h 495"/>
                <a:gd name="T46" fmla="*/ 40 w 509"/>
                <a:gd name="T47" fmla="*/ 48 h 495"/>
                <a:gd name="T48" fmla="*/ 41 w 509"/>
                <a:gd name="T49" fmla="*/ 92 h 495"/>
                <a:gd name="T50" fmla="*/ 42 w 509"/>
                <a:gd name="T51" fmla="*/ 149 h 495"/>
                <a:gd name="T52" fmla="*/ 45 w 509"/>
                <a:gd name="T53" fmla="*/ 204 h 495"/>
                <a:gd name="T54" fmla="*/ 49 w 509"/>
                <a:gd name="T55" fmla="*/ 244 h 495"/>
                <a:gd name="T56" fmla="*/ 52 w 509"/>
                <a:gd name="T57" fmla="*/ 278 h 495"/>
                <a:gd name="T58" fmla="*/ 49 w 509"/>
                <a:gd name="T59" fmla="*/ 298 h 495"/>
                <a:gd name="T60" fmla="*/ 38 w 509"/>
                <a:gd name="T61" fmla="*/ 322 h 495"/>
                <a:gd name="T62" fmla="*/ 29 w 509"/>
                <a:gd name="T63" fmla="*/ 349 h 495"/>
                <a:gd name="T64" fmla="*/ 29 w 509"/>
                <a:gd name="T65" fmla="*/ 376 h 495"/>
                <a:gd name="T66" fmla="*/ 41 w 509"/>
                <a:gd name="T67" fmla="*/ 413 h 495"/>
                <a:gd name="T68" fmla="*/ 64 w 509"/>
                <a:gd name="T69" fmla="*/ 440 h 495"/>
                <a:gd name="T70" fmla="*/ 100 w 509"/>
                <a:gd name="T71" fmla="*/ 454 h 495"/>
                <a:gd name="T72" fmla="*/ 143 w 509"/>
                <a:gd name="T73" fmla="*/ 457 h 495"/>
                <a:gd name="T74" fmla="*/ 187 w 509"/>
                <a:gd name="T75" fmla="*/ 452 h 495"/>
                <a:gd name="T76" fmla="*/ 227 w 509"/>
                <a:gd name="T77" fmla="*/ 445 h 495"/>
                <a:gd name="T78" fmla="*/ 283 w 509"/>
                <a:gd name="T79" fmla="*/ 438 h 495"/>
                <a:gd name="T80" fmla="*/ 345 w 509"/>
                <a:gd name="T81" fmla="*/ 429 h 495"/>
                <a:gd name="T82" fmla="*/ 403 w 509"/>
                <a:gd name="T83" fmla="*/ 420 h 495"/>
                <a:gd name="T84" fmla="*/ 446 w 509"/>
                <a:gd name="T85" fmla="*/ 409 h 495"/>
                <a:gd name="T86" fmla="*/ 463 w 509"/>
                <a:gd name="T87" fmla="*/ 400 h 495"/>
                <a:gd name="T88" fmla="*/ 457 w 509"/>
                <a:gd name="T89" fmla="*/ 380 h 495"/>
                <a:gd name="T90" fmla="*/ 442 w 509"/>
                <a:gd name="T91" fmla="*/ 361 h 495"/>
                <a:gd name="T92" fmla="*/ 435 w 509"/>
                <a:gd name="T93" fmla="*/ 353 h 495"/>
                <a:gd name="T94" fmla="*/ 437 w 509"/>
                <a:gd name="T95" fmla="*/ 340 h 495"/>
                <a:gd name="T96" fmla="*/ 442 w 509"/>
                <a:gd name="T97" fmla="*/ 307 h 495"/>
                <a:gd name="T98" fmla="*/ 450 w 509"/>
                <a:gd name="T99" fmla="*/ 255 h 495"/>
                <a:gd name="T100" fmla="*/ 458 w 509"/>
                <a:gd name="T101" fmla="*/ 190 h 495"/>
                <a:gd name="T102" fmla="*/ 463 w 509"/>
                <a:gd name="T103" fmla="*/ 121 h 495"/>
                <a:gd name="T104" fmla="*/ 466 w 509"/>
                <a:gd name="T105" fmla="*/ 60 h 495"/>
                <a:gd name="T106" fmla="*/ 467 w 509"/>
                <a:gd name="T107" fmla="*/ 17 h 495"/>
                <a:gd name="T108" fmla="*/ 467 w 509"/>
                <a:gd name="T109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9" h="495">
                  <a:moveTo>
                    <a:pt x="467" y="0"/>
                  </a:moveTo>
                  <a:lnTo>
                    <a:pt x="509" y="24"/>
                  </a:lnTo>
                  <a:lnTo>
                    <a:pt x="504" y="69"/>
                  </a:lnTo>
                  <a:lnTo>
                    <a:pt x="500" y="117"/>
                  </a:lnTo>
                  <a:lnTo>
                    <a:pt x="495" y="166"/>
                  </a:lnTo>
                  <a:lnTo>
                    <a:pt x="492" y="214"/>
                  </a:lnTo>
                  <a:lnTo>
                    <a:pt x="490" y="263"/>
                  </a:lnTo>
                  <a:lnTo>
                    <a:pt x="489" y="311"/>
                  </a:lnTo>
                  <a:lnTo>
                    <a:pt x="490" y="354"/>
                  </a:lnTo>
                  <a:lnTo>
                    <a:pt x="492" y="394"/>
                  </a:lnTo>
                  <a:lnTo>
                    <a:pt x="498" y="429"/>
                  </a:lnTo>
                  <a:lnTo>
                    <a:pt x="494" y="432"/>
                  </a:lnTo>
                  <a:lnTo>
                    <a:pt x="482" y="438"/>
                  </a:lnTo>
                  <a:lnTo>
                    <a:pt x="463" y="443"/>
                  </a:lnTo>
                  <a:lnTo>
                    <a:pt x="437" y="448"/>
                  </a:lnTo>
                  <a:lnTo>
                    <a:pt x="408" y="453"/>
                  </a:lnTo>
                  <a:lnTo>
                    <a:pt x="376" y="458"/>
                  </a:lnTo>
                  <a:lnTo>
                    <a:pt x="341" y="463"/>
                  </a:lnTo>
                  <a:lnTo>
                    <a:pt x="306" y="468"/>
                  </a:lnTo>
                  <a:lnTo>
                    <a:pt x="273" y="472"/>
                  </a:lnTo>
                  <a:lnTo>
                    <a:pt x="242" y="477"/>
                  </a:lnTo>
                  <a:lnTo>
                    <a:pt x="214" y="481"/>
                  </a:lnTo>
                  <a:lnTo>
                    <a:pt x="191" y="485"/>
                  </a:lnTo>
                  <a:lnTo>
                    <a:pt x="174" y="488"/>
                  </a:lnTo>
                  <a:lnTo>
                    <a:pt x="165" y="489"/>
                  </a:lnTo>
                  <a:lnTo>
                    <a:pt x="138" y="495"/>
                  </a:lnTo>
                  <a:lnTo>
                    <a:pt x="113" y="495"/>
                  </a:lnTo>
                  <a:lnTo>
                    <a:pt x="87" y="489"/>
                  </a:lnTo>
                  <a:lnTo>
                    <a:pt x="63" y="477"/>
                  </a:lnTo>
                  <a:lnTo>
                    <a:pt x="42" y="465"/>
                  </a:lnTo>
                  <a:lnTo>
                    <a:pt x="24" y="449"/>
                  </a:lnTo>
                  <a:lnTo>
                    <a:pt x="11" y="435"/>
                  </a:lnTo>
                  <a:lnTo>
                    <a:pt x="4" y="420"/>
                  </a:lnTo>
                  <a:lnTo>
                    <a:pt x="0" y="400"/>
                  </a:lnTo>
                  <a:lnTo>
                    <a:pt x="1" y="377"/>
                  </a:lnTo>
                  <a:lnTo>
                    <a:pt x="4" y="350"/>
                  </a:lnTo>
                  <a:lnTo>
                    <a:pt x="9" y="320"/>
                  </a:lnTo>
                  <a:lnTo>
                    <a:pt x="13" y="284"/>
                  </a:lnTo>
                  <a:lnTo>
                    <a:pt x="16" y="245"/>
                  </a:lnTo>
                  <a:lnTo>
                    <a:pt x="18" y="230"/>
                  </a:lnTo>
                  <a:lnTo>
                    <a:pt x="20" y="207"/>
                  </a:lnTo>
                  <a:lnTo>
                    <a:pt x="23" y="177"/>
                  </a:lnTo>
                  <a:lnTo>
                    <a:pt x="27" y="144"/>
                  </a:lnTo>
                  <a:lnTo>
                    <a:pt x="31" y="107"/>
                  </a:lnTo>
                  <a:lnTo>
                    <a:pt x="34" y="68"/>
                  </a:lnTo>
                  <a:lnTo>
                    <a:pt x="40" y="30"/>
                  </a:lnTo>
                  <a:lnTo>
                    <a:pt x="40" y="35"/>
                  </a:lnTo>
                  <a:lnTo>
                    <a:pt x="40" y="48"/>
                  </a:lnTo>
                  <a:lnTo>
                    <a:pt x="40" y="68"/>
                  </a:lnTo>
                  <a:lnTo>
                    <a:pt x="41" y="92"/>
                  </a:lnTo>
                  <a:lnTo>
                    <a:pt x="41" y="119"/>
                  </a:lnTo>
                  <a:lnTo>
                    <a:pt x="42" y="149"/>
                  </a:lnTo>
                  <a:lnTo>
                    <a:pt x="43" y="177"/>
                  </a:lnTo>
                  <a:lnTo>
                    <a:pt x="45" y="204"/>
                  </a:lnTo>
                  <a:lnTo>
                    <a:pt x="47" y="227"/>
                  </a:lnTo>
                  <a:lnTo>
                    <a:pt x="49" y="244"/>
                  </a:lnTo>
                  <a:lnTo>
                    <a:pt x="51" y="264"/>
                  </a:lnTo>
                  <a:lnTo>
                    <a:pt x="52" y="278"/>
                  </a:lnTo>
                  <a:lnTo>
                    <a:pt x="51" y="289"/>
                  </a:lnTo>
                  <a:lnTo>
                    <a:pt x="49" y="298"/>
                  </a:lnTo>
                  <a:lnTo>
                    <a:pt x="45" y="308"/>
                  </a:lnTo>
                  <a:lnTo>
                    <a:pt x="38" y="322"/>
                  </a:lnTo>
                  <a:lnTo>
                    <a:pt x="32" y="336"/>
                  </a:lnTo>
                  <a:lnTo>
                    <a:pt x="29" y="349"/>
                  </a:lnTo>
                  <a:lnTo>
                    <a:pt x="28" y="362"/>
                  </a:lnTo>
                  <a:lnTo>
                    <a:pt x="29" y="376"/>
                  </a:lnTo>
                  <a:lnTo>
                    <a:pt x="33" y="393"/>
                  </a:lnTo>
                  <a:lnTo>
                    <a:pt x="41" y="413"/>
                  </a:lnTo>
                  <a:lnTo>
                    <a:pt x="50" y="429"/>
                  </a:lnTo>
                  <a:lnTo>
                    <a:pt x="64" y="440"/>
                  </a:lnTo>
                  <a:lnTo>
                    <a:pt x="81" y="448"/>
                  </a:lnTo>
                  <a:lnTo>
                    <a:pt x="100" y="454"/>
                  </a:lnTo>
                  <a:lnTo>
                    <a:pt x="122" y="457"/>
                  </a:lnTo>
                  <a:lnTo>
                    <a:pt x="143" y="457"/>
                  </a:lnTo>
                  <a:lnTo>
                    <a:pt x="165" y="456"/>
                  </a:lnTo>
                  <a:lnTo>
                    <a:pt x="187" y="452"/>
                  </a:lnTo>
                  <a:lnTo>
                    <a:pt x="204" y="449"/>
                  </a:lnTo>
                  <a:lnTo>
                    <a:pt x="227" y="445"/>
                  </a:lnTo>
                  <a:lnTo>
                    <a:pt x="254" y="441"/>
                  </a:lnTo>
                  <a:lnTo>
                    <a:pt x="283" y="438"/>
                  </a:lnTo>
                  <a:lnTo>
                    <a:pt x="314" y="434"/>
                  </a:lnTo>
                  <a:lnTo>
                    <a:pt x="345" y="429"/>
                  </a:lnTo>
                  <a:lnTo>
                    <a:pt x="376" y="425"/>
                  </a:lnTo>
                  <a:lnTo>
                    <a:pt x="403" y="420"/>
                  </a:lnTo>
                  <a:lnTo>
                    <a:pt x="427" y="414"/>
                  </a:lnTo>
                  <a:lnTo>
                    <a:pt x="446" y="409"/>
                  </a:lnTo>
                  <a:lnTo>
                    <a:pt x="458" y="405"/>
                  </a:lnTo>
                  <a:lnTo>
                    <a:pt x="463" y="400"/>
                  </a:lnTo>
                  <a:lnTo>
                    <a:pt x="462" y="390"/>
                  </a:lnTo>
                  <a:lnTo>
                    <a:pt x="457" y="380"/>
                  </a:lnTo>
                  <a:lnTo>
                    <a:pt x="450" y="370"/>
                  </a:lnTo>
                  <a:lnTo>
                    <a:pt x="442" y="361"/>
                  </a:lnTo>
                  <a:lnTo>
                    <a:pt x="437" y="355"/>
                  </a:lnTo>
                  <a:lnTo>
                    <a:pt x="435" y="353"/>
                  </a:lnTo>
                  <a:lnTo>
                    <a:pt x="435" y="350"/>
                  </a:lnTo>
                  <a:lnTo>
                    <a:pt x="437" y="340"/>
                  </a:lnTo>
                  <a:lnTo>
                    <a:pt x="440" y="326"/>
                  </a:lnTo>
                  <a:lnTo>
                    <a:pt x="442" y="307"/>
                  </a:lnTo>
                  <a:lnTo>
                    <a:pt x="446" y="282"/>
                  </a:lnTo>
                  <a:lnTo>
                    <a:pt x="450" y="255"/>
                  </a:lnTo>
                  <a:lnTo>
                    <a:pt x="454" y="223"/>
                  </a:lnTo>
                  <a:lnTo>
                    <a:pt x="458" y="190"/>
                  </a:lnTo>
                  <a:lnTo>
                    <a:pt x="462" y="155"/>
                  </a:lnTo>
                  <a:lnTo>
                    <a:pt x="463" y="121"/>
                  </a:lnTo>
                  <a:lnTo>
                    <a:pt x="464" y="89"/>
                  </a:lnTo>
                  <a:lnTo>
                    <a:pt x="466" y="60"/>
                  </a:lnTo>
                  <a:lnTo>
                    <a:pt x="467" y="36"/>
                  </a:lnTo>
                  <a:lnTo>
                    <a:pt x="467" y="17"/>
                  </a:lnTo>
                  <a:lnTo>
                    <a:pt x="467" y="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000B2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4" name="Freeform 1387"/>
            <p:cNvSpPr>
              <a:spLocks/>
            </p:cNvSpPr>
            <p:nvPr/>
          </p:nvSpPr>
          <p:spPr bwMode="auto">
            <a:xfrm>
              <a:off x="-3554413" y="1428750"/>
              <a:ext cx="1020763" cy="198438"/>
            </a:xfrm>
            <a:custGeom>
              <a:avLst/>
              <a:gdLst>
                <a:gd name="T0" fmla="*/ 296 w 643"/>
                <a:gd name="T1" fmla="*/ 0 h 125"/>
                <a:gd name="T2" fmla="*/ 323 w 643"/>
                <a:gd name="T3" fmla="*/ 4 h 125"/>
                <a:gd name="T4" fmla="*/ 367 w 643"/>
                <a:gd name="T5" fmla="*/ 11 h 125"/>
                <a:gd name="T6" fmla="*/ 416 w 643"/>
                <a:gd name="T7" fmla="*/ 16 h 125"/>
                <a:gd name="T8" fmla="*/ 457 w 643"/>
                <a:gd name="T9" fmla="*/ 21 h 125"/>
                <a:gd name="T10" fmla="*/ 489 w 643"/>
                <a:gd name="T11" fmla="*/ 23 h 125"/>
                <a:gd name="T12" fmla="*/ 537 w 643"/>
                <a:gd name="T13" fmla="*/ 31 h 125"/>
                <a:gd name="T14" fmla="*/ 594 w 643"/>
                <a:gd name="T15" fmla="*/ 41 h 125"/>
                <a:gd name="T16" fmla="*/ 643 w 643"/>
                <a:gd name="T17" fmla="*/ 52 h 125"/>
                <a:gd name="T18" fmla="*/ 605 w 643"/>
                <a:gd name="T19" fmla="*/ 49 h 125"/>
                <a:gd name="T20" fmla="*/ 573 w 643"/>
                <a:gd name="T21" fmla="*/ 48 h 125"/>
                <a:gd name="T22" fmla="*/ 559 w 643"/>
                <a:gd name="T23" fmla="*/ 47 h 125"/>
                <a:gd name="T24" fmla="*/ 561 w 643"/>
                <a:gd name="T25" fmla="*/ 49 h 125"/>
                <a:gd name="T26" fmla="*/ 564 w 643"/>
                <a:gd name="T27" fmla="*/ 54 h 125"/>
                <a:gd name="T28" fmla="*/ 570 w 643"/>
                <a:gd name="T29" fmla="*/ 58 h 125"/>
                <a:gd name="T30" fmla="*/ 572 w 643"/>
                <a:gd name="T31" fmla="*/ 61 h 125"/>
                <a:gd name="T32" fmla="*/ 522 w 643"/>
                <a:gd name="T33" fmla="*/ 57 h 125"/>
                <a:gd name="T34" fmla="*/ 507 w 643"/>
                <a:gd name="T35" fmla="*/ 71 h 125"/>
                <a:gd name="T36" fmla="*/ 476 w 643"/>
                <a:gd name="T37" fmla="*/ 93 h 125"/>
                <a:gd name="T38" fmla="*/ 432 w 643"/>
                <a:gd name="T39" fmla="*/ 113 h 125"/>
                <a:gd name="T40" fmla="*/ 375 w 643"/>
                <a:gd name="T41" fmla="*/ 125 h 125"/>
                <a:gd name="T42" fmla="*/ 322 w 643"/>
                <a:gd name="T43" fmla="*/ 122 h 125"/>
                <a:gd name="T44" fmla="*/ 280 w 643"/>
                <a:gd name="T45" fmla="*/ 108 h 125"/>
                <a:gd name="T46" fmla="*/ 242 w 643"/>
                <a:gd name="T47" fmla="*/ 90 h 125"/>
                <a:gd name="T48" fmla="*/ 197 w 643"/>
                <a:gd name="T49" fmla="*/ 72 h 125"/>
                <a:gd name="T50" fmla="*/ 163 w 643"/>
                <a:gd name="T51" fmla="*/ 66 h 125"/>
                <a:gd name="T52" fmla="*/ 147 w 643"/>
                <a:gd name="T53" fmla="*/ 64 h 125"/>
                <a:gd name="T54" fmla="*/ 151 w 643"/>
                <a:gd name="T55" fmla="*/ 57 h 125"/>
                <a:gd name="T56" fmla="*/ 162 w 643"/>
                <a:gd name="T57" fmla="*/ 45 h 125"/>
                <a:gd name="T58" fmla="*/ 172 w 643"/>
                <a:gd name="T59" fmla="*/ 35 h 125"/>
                <a:gd name="T60" fmla="*/ 0 w 643"/>
                <a:gd name="T61" fmla="*/ 40 h 125"/>
                <a:gd name="T62" fmla="*/ 23 w 643"/>
                <a:gd name="T63" fmla="*/ 35 h 125"/>
                <a:gd name="T64" fmla="*/ 70 w 643"/>
                <a:gd name="T65" fmla="*/ 29 h 125"/>
                <a:gd name="T66" fmla="*/ 132 w 643"/>
                <a:gd name="T67" fmla="*/ 21 h 125"/>
                <a:gd name="T68" fmla="*/ 196 w 643"/>
                <a:gd name="T69" fmla="*/ 13 h 125"/>
                <a:gd name="T70" fmla="*/ 250 w 643"/>
                <a:gd name="T71" fmla="*/ 7 h 125"/>
                <a:gd name="T72" fmla="*/ 286 w 643"/>
                <a:gd name="T73" fmla="*/ 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3" h="125">
                  <a:moveTo>
                    <a:pt x="292" y="0"/>
                  </a:moveTo>
                  <a:lnTo>
                    <a:pt x="296" y="0"/>
                  </a:lnTo>
                  <a:lnTo>
                    <a:pt x="307" y="2"/>
                  </a:lnTo>
                  <a:lnTo>
                    <a:pt x="323" y="4"/>
                  </a:lnTo>
                  <a:lnTo>
                    <a:pt x="344" y="7"/>
                  </a:lnTo>
                  <a:lnTo>
                    <a:pt x="367" y="11"/>
                  </a:lnTo>
                  <a:lnTo>
                    <a:pt x="391" y="13"/>
                  </a:lnTo>
                  <a:lnTo>
                    <a:pt x="416" y="16"/>
                  </a:lnTo>
                  <a:lnTo>
                    <a:pt x="437" y="18"/>
                  </a:lnTo>
                  <a:lnTo>
                    <a:pt x="457" y="21"/>
                  </a:lnTo>
                  <a:lnTo>
                    <a:pt x="472" y="22"/>
                  </a:lnTo>
                  <a:lnTo>
                    <a:pt x="489" y="23"/>
                  </a:lnTo>
                  <a:lnTo>
                    <a:pt x="511" y="27"/>
                  </a:lnTo>
                  <a:lnTo>
                    <a:pt x="537" y="31"/>
                  </a:lnTo>
                  <a:lnTo>
                    <a:pt x="566" y="36"/>
                  </a:lnTo>
                  <a:lnTo>
                    <a:pt x="594" y="41"/>
                  </a:lnTo>
                  <a:lnTo>
                    <a:pt x="621" y="47"/>
                  </a:lnTo>
                  <a:lnTo>
                    <a:pt x="643" y="52"/>
                  </a:lnTo>
                  <a:lnTo>
                    <a:pt x="625" y="50"/>
                  </a:lnTo>
                  <a:lnTo>
                    <a:pt x="605" y="49"/>
                  </a:lnTo>
                  <a:lnTo>
                    <a:pt x="589" y="48"/>
                  </a:lnTo>
                  <a:lnTo>
                    <a:pt x="573" y="48"/>
                  </a:lnTo>
                  <a:lnTo>
                    <a:pt x="563" y="47"/>
                  </a:lnTo>
                  <a:lnTo>
                    <a:pt x="559" y="47"/>
                  </a:lnTo>
                  <a:lnTo>
                    <a:pt x="559" y="48"/>
                  </a:lnTo>
                  <a:lnTo>
                    <a:pt x="561" y="49"/>
                  </a:lnTo>
                  <a:lnTo>
                    <a:pt x="563" y="52"/>
                  </a:lnTo>
                  <a:lnTo>
                    <a:pt x="564" y="54"/>
                  </a:lnTo>
                  <a:lnTo>
                    <a:pt x="567" y="57"/>
                  </a:lnTo>
                  <a:lnTo>
                    <a:pt x="570" y="58"/>
                  </a:lnTo>
                  <a:lnTo>
                    <a:pt x="571" y="61"/>
                  </a:lnTo>
                  <a:lnTo>
                    <a:pt x="572" y="61"/>
                  </a:lnTo>
                  <a:lnTo>
                    <a:pt x="525" y="56"/>
                  </a:lnTo>
                  <a:lnTo>
                    <a:pt x="522" y="57"/>
                  </a:lnTo>
                  <a:lnTo>
                    <a:pt x="516" y="63"/>
                  </a:lnTo>
                  <a:lnTo>
                    <a:pt x="507" y="71"/>
                  </a:lnTo>
                  <a:lnTo>
                    <a:pt x="493" y="82"/>
                  </a:lnTo>
                  <a:lnTo>
                    <a:pt x="476" y="93"/>
                  </a:lnTo>
                  <a:lnTo>
                    <a:pt x="455" y="104"/>
                  </a:lnTo>
                  <a:lnTo>
                    <a:pt x="432" y="113"/>
                  </a:lnTo>
                  <a:lnTo>
                    <a:pt x="405" y="121"/>
                  </a:lnTo>
                  <a:lnTo>
                    <a:pt x="375" y="125"/>
                  </a:lnTo>
                  <a:lnTo>
                    <a:pt x="348" y="125"/>
                  </a:lnTo>
                  <a:lnTo>
                    <a:pt x="322" y="122"/>
                  </a:lnTo>
                  <a:lnTo>
                    <a:pt x="300" y="116"/>
                  </a:lnTo>
                  <a:lnTo>
                    <a:pt x="280" y="108"/>
                  </a:lnTo>
                  <a:lnTo>
                    <a:pt x="260" y="99"/>
                  </a:lnTo>
                  <a:lnTo>
                    <a:pt x="242" y="90"/>
                  </a:lnTo>
                  <a:lnTo>
                    <a:pt x="219" y="80"/>
                  </a:lnTo>
                  <a:lnTo>
                    <a:pt x="197" y="72"/>
                  </a:lnTo>
                  <a:lnTo>
                    <a:pt x="178" y="67"/>
                  </a:lnTo>
                  <a:lnTo>
                    <a:pt x="163" y="66"/>
                  </a:lnTo>
                  <a:lnTo>
                    <a:pt x="151" y="66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51" y="57"/>
                  </a:lnTo>
                  <a:lnTo>
                    <a:pt x="156" y="50"/>
                  </a:lnTo>
                  <a:lnTo>
                    <a:pt x="162" y="45"/>
                  </a:lnTo>
                  <a:lnTo>
                    <a:pt x="168" y="39"/>
                  </a:lnTo>
                  <a:lnTo>
                    <a:pt x="172" y="35"/>
                  </a:lnTo>
                  <a:lnTo>
                    <a:pt x="173" y="34"/>
                  </a:lnTo>
                  <a:lnTo>
                    <a:pt x="0" y="40"/>
                  </a:lnTo>
                  <a:lnTo>
                    <a:pt x="8" y="38"/>
                  </a:lnTo>
                  <a:lnTo>
                    <a:pt x="23" y="35"/>
                  </a:lnTo>
                  <a:lnTo>
                    <a:pt x="45" y="32"/>
                  </a:lnTo>
                  <a:lnTo>
                    <a:pt x="70" y="29"/>
                  </a:lnTo>
                  <a:lnTo>
                    <a:pt x="100" y="25"/>
                  </a:lnTo>
                  <a:lnTo>
                    <a:pt x="132" y="21"/>
                  </a:lnTo>
                  <a:lnTo>
                    <a:pt x="164" y="17"/>
                  </a:lnTo>
                  <a:lnTo>
                    <a:pt x="196" y="13"/>
                  </a:lnTo>
                  <a:lnTo>
                    <a:pt x="224" y="9"/>
                  </a:lnTo>
                  <a:lnTo>
                    <a:pt x="250" y="7"/>
                  </a:lnTo>
                  <a:lnTo>
                    <a:pt x="272" y="4"/>
                  </a:lnTo>
                  <a:lnTo>
                    <a:pt x="286" y="2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00102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5" name="Freeform 1388"/>
            <p:cNvSpPr>
              <a:spLocks/>
            </p:cNvSpPr>
            <p:nvPr/>
          </p:nvSpPr>
          <p:spPr bwMode="auto">
            <a:xfrm>
              <a:off x="-3265488" y="1181100"/>
              <a:ext cx="530225" cy="396875"/>
            </a:xfrm>
            <a:custGeom>
              <a:avLst/>
              <a:gdLst>
                <a:gd name="T0" fmla="*/ 95 w 334"/>
                <a:gd name="T1" fmla="*/ 0 h 250"/>
                <a:gd name="T2" fmla="*/ 259 w 334"/>
                <a:gd name="T3" fmla="*/ 1 h 250"/>
                <a:gd name="T4" fmla="*/ 258 w 334"/>
                <a:gd name="T5" fmla="*/ 41 h 250"/>
                <a:gd name="T6" fmla="*/ 257 w 334"/>
                <a:gd name="T7" fmla="*/ 74 h 250"/>
                <a:gd name="T8" fmla="*/ 258 w 334"/>
                <a:gd name="T9" fmla="*/ 102 h 250"/>
                <a:gd name="T10" fmla="*/ 262 w 334"/>
                <a:gd name="T11" fmla="*/ 124 h 250"/>
                <a:gd name="T12" fmla="*/ 268 w 334"/>
                <a:gd name="T13" fmla="*/ 141 h 250"/>
                <a:gd name="T14" fmla="*/ 278 w 334"/>
                <a:gd name="T15" fmla="*/ 155 h 250"/>
                <a:gd name="T16" fmla="*/ 293 w 334"/>
                <a:gd name="T17" fmla="*/ 167 h 250"/>
                <a:gd name="T18" fmla="*/ 311 w 334"/>
                <a:gd name="T19" fmla="*/ 176 h 250"/>
                <a:gd name="T20" fmla="*/ 334 w 334"/>
                <a:gd name="T21" fmla="*/ 183 h 250"/>
                <a:gd name="T22" fmla="*/ 331 w 334"/>
                <a:gd name="T23" fmla="*/ 186 h 250"/>
                <a:gd name="T24" fmla="*/ 325 w 334"/>
                <a:gd name="T25" fmla="*/ 191 h 250"/>
                <a:gd name="T26" fmla="*/ 314 w 334"/>
                <a:gd name="T27" fmla="*/ 200 h 250"/>
                <a:gd name="T28" fmla="*/ 299 w 334"/>
                <a:gd name="T29" fmla="*/ 210 h 250"/>
                <a:gd name="T30" fmla="*/ 280 w 334"/>
                <a:gd name="T31" fmla="*/ 220 h 250"/>
                <a:gd name="T32" fmla="*/ 258 w 334"/>
                <a:gd name="T33" fmla="*/ 231 h 250"/>
                <a:gd name="T34" fmla="*/ 232 w 334"/>
                <a:gd name="T35" fmla="*/ 240 h 250"/>
                <a:gd name="T36" fmla="*/ 203 w 334"/>
                <a:gd name="T37" fmla="*/ 246 h 250"/>
                <a:gd name="T38" fmla="*/ 171 w 334"/>
                <a:gd name="T39" fmla="*/ 250 h 250"/>
                <a:gd name="T40" fmla="*/ 141 w 334"/>
                <a:gd name="T41" fmla="*/ 249 h 250"/>
                <a:gd name="T42" fmla="*/ 114 w 334"/>
                <a:gd name="T43" fmla="*/ 244 h 250"/>
                <a:gd name="T44" fmla="*/ 89 w 334"/>
                <a:gd name="T45" fmla="*/ 235 h 250"/>
                <a:gd name="T46" fmla="*/ 67 w 334"/>
                <a:gd name="T47" fmla="*/ 224 h 250"/>
                <a:gd name="T48" fmla="*/ 48 w 334"/>
                <a:gd name="T49" fmla="*/ 212 h 250"/>
                <a:gd name="T50" fmla="*/ 31 w 334"/>
                <a:gd name="T51" fmla="*/ 200 h 250"/>
                <a:gd name="T52" fmla="*/ 18 w 334"/>
                <a:gd name="T53" fmla="*/ 188 h 250"/>
                <a:gd name="T54" fmla="*/ 9 w 334"/>
                <a:gd name="T55" fmla="*/ 179 h 250"/>
                <a:gd name="T56" fmla="*/ 3 w 334"/>
                <a:gd name="T57" fmla="*/ 173 h 250"/>
                <a:gd name="T58" fmla="*/ 0 w 334"/>
                <a:gd name="T59" fmla="*/ 170 h 250"/>
                <a:gd name="T60" fmla="*/ 21 w 334"/>
                <a:gd name="T61" fmla="*/ 164 h 250"/>
                <a:gd name="T62" fmla="*/ 39 w 334"/>
                <a:gd name="T63" fmla="*/ 156 h 250"/>
                <a:gd name="T64" fmla="*/ 53 w 334"/>
                <a:gd name="T65" fmla="*/ 146 h 250"/>
                <a:gd name="T66" fmla="*/ 65 w 334"/>
                <a:gd name="T67" fmla="*/ 133 h 250"/>
                <a:gd name="T68" fmla="*/ 74 w 334"/>
                <a:gd name="T69" fmla="*/ 117 h 250"/>
                <a:gd name="T70" fmla="*/ 82 w 334"/>
                <a:gd name="T71" fmla="*/ 96 h 250"/>
                <a:gd name="T72" fmla="*/ 89 w 334"/>
                <a:gd name="T73" fmla="*/ 70 h 250"/>
                <a:gd name="T74" fmla="*/ 92 w 334"/>
                <a:gd name="T75" fmla="*/ 38 h 250"/>
                <a:gd name="T76" fmla="*/ 95 w 334"/>
                <a:gd name="T7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4" h="250">
                  <a:moveTo>
                    <a:pt x="95" y="0"/>
                  </a:moveTo>
                  <a:lnTo>
                    <a:pt x="259" y="1"/>
                  </a:lnTo>
                  <a:lnTo>
                    <a:pt x="258" y="41"/>
                  </a:lnTo>
                  <a:lnTo>
                    <a:pt x="257" y="74"/>
                  </a:lnTo>
                  <a:lnTo>
                    <a:pt x="258" y="102"/>
                  </a:lnTo>
                  <a:lnTo>
                    <a:pt x="262" y="124"/>
                  </a:lnTo>
                  <a:lnTo>
                    <a:pt x="268" y="141"/>
                  </a:lnTo>
                  <a:lnTo>
                    <a:pt x="278" y="155"/>
                  </a:lnTo>
                  <a:lnTo>
                    <a:pt x="293" y="167"/>
                  </a:lnTo>
                  <a:lnTo>
                    <a:pt x="311" y="176"/>
                  </a:lnTo>
                  <a:lnTo>
                    <a:pt x="334" y="183"/>
                  </a:lnTo>
                  <a:lnTo>
                    <a:pt x="331" y="186"/>
                  </a:lnTo>
                  <a:lnTo>
                    <a:pt x="325" y="191"/>
                  </a:lnTo>
                  <a:lnTo>
                    <a:pt x="314" y="200"/>
                  </a:lnTo>
                  <a:lnTo>
                    <a:pt x="299" y="210"/>
                  </a:lnTo>
                  <a:lnTo>
                    <a:pt x="280" y="220"/>
                  </a:lnTo>
                  <a:lnTo>
                    <a:pt x="258" y="231"/>
                  </a:lnTo>
                  <a:lnTo>
                    <a:pt x="232" y="240"/>
                  </a:lnTo>
                  <a:lnTo>
                    <a:pt x="203" y="246"/>
                  </a:lnTo>
                  <a:lnTo>
                    <a:pt x="171" y="250"/>
                  </a:lnTo>
                  <a:lnTo>
                    <a:pt x="141" y="249"/>
                  </a:lnTo>
                  <a:lnTo>
                    <a:pt x="114" y="244"/>
                  </a:lnTo>
                  <a:lnTo>
                    <a:pt x="89" y="235"/>
                  </a:lnTo>
                  <a:lnTo>
                    <a:pt x="67" y="224"/>
                  </a:lnTo>
                  <a:lnTo>
                    <a:pt x="48" y="212"/>
                  </a:lnTo>
                  <a:lnTo>
                    <a:pt x="31" y="200"/>
                  </a:lnTo>
                  <a:lnTo>
                    <a:pt x="18" y="188"/>
                  </a:lnTo>
                  <a:lnTo>
                    <a:pt x="9" y="179"/>
                  </a:lnTo>
                  <a:lnTo>
                    <a:pt x="3" y="173"/>
                  </a:lnTo>
                  <a:lnTo>
                    <a:pt x="0" y="170"/>
                  </a:lnTo>
                  <a:lnTo>
                    <a:pt x="21" y="164"/>
                  </a:lnTo>
                  <a:lnTo>
                    <a:pt x="39" y="156"/>
                  </a:lnTo>
                  <a:lnTo>
                    <a:pt x="53" y="146"/>
                  </a:lnTo>
                  <a:lnTo>
                    <a:pt x="65" y="133"/>
                  </a:lnTo>
                  <a:lnTo>
                    <a:pt x="74" y="117"/>
                  </a:lnTo>
                  <a:lnTo>
                    <a:pt x="82" y="96"/>
                  </a:lnTo>
                  <a:lnTo>
                    <a:pt x="89" y="70"/>
                  </a:lnTo>
                  <a:lnTo>
                    <a:pt x="92" y="38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4C2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6" name="Freeform 1389"/>
            <p:cNvSpPr>
              <a:spLocks/>
            </p:cNvSpPr>
            <p:nvPr/>
          </p:nvSpPr>
          <p:spPr bwMode="auto">
            <a:xfrm>
              <a:off x="-2778125" y="909637"/>
              <a:ext cx="79375" cy="177800"/>
            </a:xfrm>
            <a:custGeom>
              <a:avLst/>
              <a:gdLst>
                <a:gd name="T0" fmla="*/ 36 w 50"/>
                <a:gd name="T1" fmla="*/ 0 h 112"/>
                <a:gd name="T2" fmla="*/ 42 w 50"/>
                <a:gd name="T3" fmla="*/ 1 h 112"/>
                <a:gd name="T4" fmla="*/ 46 w 50"/>
                <a:gd name="T5" fmla="*/ 9 h 112"/>
                <a:gd name="T6" fmla="*/ 48 w 50"/>
                <a:gd name="T7" fmla="*/ 21 h 112"/>
                <a:gd name="T8" fmla="*/ 50 w 50"/>
                <a:gd name="T9" fmla="*/ 34 h 112"/>
                <a:gd name="T10" fmla="*/ 50 w 50"/>
                <a:gd name="T11" fmla="*/ 49 h 112"/>
                <a:gd name="T12" fmla="*/ 47 w 50"/>
                <a:gd name="T13" fmla="*/ 62 h 112"/>
                <a:gd name="T14" fmla="*/ 45 w 50"/>
                <a:gd name="T15" fmla="*/ 71 h 112"/>
                <a:gd name="T16" fmla="*/ 38 w 50"/>
                <a:gd name="T17" fmla="*/ 80 h 112"/>
                <a:gd name="T18" fmla="*/ 30 w 50"/>
                <a:gd name="T19" fmla="*/ 90 h 112"/>
                <a:gd name="T20" fmla="*/ 22 w 50"/>
                <a:gd name="T21" fmla="*/ 99 h 112"/>
                <a:gd name="T22" fmla="*/ 14 w 50"/>
                <a:gd name="T23" fmla="*/ 105 h 112"/>
                <a:gd name="T24" fmla="*/ 7 w 50"/>
                <a:gd name="T25" fmla="*/ 111 h 112"/>
                <a:gd name="T26" fmla="*/ 4 w 50"/>
                <a:gd name="T27" fmla="*/ 112 h 112"/>
                <a:gd name="T28" fmla="*/ 2 w 50"/>
                <a:gd name="T29" fmla="*/ 108 h 112"/>
                <a:gd name="T30" fmla="*/ 1 w 50"/>
                <a:gd name="T31" fmla="*/ 96 h 112"/>
                <a:gd name="T32" fmla="*/ 0 w 50"/>
                <a:gd name="T33" fmla="*/ 81 h 112"/>
                <a:gd name="T34" fmla="*/ 0 w 50"/>
                <a:gd name="T35" fmla="*/ 63 h 112"/>
                <a:gd name="T36" fmla="*/ 0 w 50"/>
                <a:gd name="T37" fmla="*/ 45 h 112"/>
                <a:gd name="T38" fmla="*/ 0 w 50"/>
                <a:gd name="T39" fmla="*/ 30 h 112"/>
                <a:gd name="T40" fmla="*/ 0 w 50"/>
                <a:gd name="T41" fmla="*/ 18 h 112"/>
                <a:gd name="T42" fmla="*/ 0 w 50"/>
                <a:gd name="T43" fmla="*/ 14 h 112"/>
                <a:gd name="T44" fmla="*/ 2 w 50"/>
                <a:gd name="T45" fmla="*/ 13 h 112"/>
                <a:gd name="T46" fmla="*/ 9 w 50"/>
                <a:gd name="T47" fmla="*/ 9 h 112"/>
                <a:gd name="T48" fmla="*/ 18 w 50"/>
                <a:gd name="T49" fmla="*/ 5 h 112"/>
                <a:gd name="T50" fmla="*/ 27 w 50"/>
                <a:gd name="T51" fmla="*/ 1 h 112"/>
                <a:gd name="T52" fmla="*/ 36 w 50"/>
                <a:gd name="T5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112">
                  <a:moveTo>
                    <a:pt x="36" y="0"/>
                  </a:moveTo>
                  <a:lnTo>
                    <a:pt x="42" y="1"/>
                  </a:lnTo>
                  <a:lnTo>
                    <a:pt x="46" y="9"/>
                  </a:lnTo>
                  <a:lnTo>
                    <a:pt x="48" y="21"/>
                  </a:lnTo>
                  <a:lnTo>
                    <a:pt x="50" y="34"/>
                  </a:lnTo>
                  <a:lnTo>
                    <a:pt x="50" y="49"/>
                  </a:lnTo>
                  <a:lnTo>
                    <a:pt x="47" y="62"/>
                  </a:lnTo>
                  <a:lnTo>
                    <a:pt x="45" y="71"/>
                  </a:lnTo>
                  <a:lnTo>
                    <a:pt x="38" y="80"/>
                  </a:lnTo>
                  <a:lnTo>
                    <a:pt x="30" y="90"/>
                  </a:lnTo>
                  <a:lnTo>
                    <a:pt x="22" y="99"/>
                  </a:lnTo>
                  <a:lnTo>
                    <a:pt x="14" y="105"/>
                  </a:lnTo>
                  <a:lnTo>
                    <a:pt x="7" y="111"/>
                  </a:lnTo>
                  <a:lnTo>
                    <a:pt x="4" y="112"/>
                  </a:lnTo>
                  <a:lnTo>
                    <a:pt x="2" y="108"/>
                  </a:lnTo>
                  <a:lnTo>
                    <a:pt x="1" y="96"/>
                  </a:lnTo>
                  <a:lnTo>
                    <a:pt x="0" y="81"/>
                  </a:lnTo>
                  <a:lnTo>
                    <a:pt x="0" y="63"/>
                  </a:lnTo>
                  <a:lnTo>
                    <a:pt x="0" y="45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9" y="9"/>
                  </a:lnTo>
                  <a:lnTo>
                    <a:pt x="18" y="5"/>
                  </a:lnTo>
                  <a:lnTo>
                    <a:pt x="27" y="1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3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7" name="Freeform 1390"/>
            <p:cNvSpPr>
              <a:spLocks/>
            </p:cNvSpPr>
            <p:nvPr/>
          </p:nvSpPr>
          <p:spPr bwMode="auto">
            <a:xfrm>
              <a:off x="-2778125" y="928687"/>
              <a:ext cx="60325" cy="131763"/>
            </a:xfrm>
            <a:custGeom>
              <a:avLst/>
              <a:gdLst>
                <a:gd name="T0" fmla="*/ 24 w 38"/>
                <a:gd name="T1" fmla="*/ 0 h 83"/>
                <a:gd name="T2" fmla="*/ 32 w 38"/>
                <a:gd name="T3" fmla="*/ 0 h 83"/>
                <a:gd name="T4" fmla="*/ 37 w 38"/>
                <a:gd name="T5" fmla="*/ 6 h 83"/>
                <a:gd name="T6" fmla="*/ 38 w 38"/>
                <a:gd name="T7" fmla="*/ 16 h 83"/>
                <a:gd name="T8" fmla="*/ 38 w 38"/>
                <a:gd name="T9" fmla="*/ 29 h 83"/>
                <a:gd name="T10" fmla="*/ 37 w 38"/>
                <a:gd name="T11" fmla="*/ 41 h 83"/>
                <a:gd name="T12" fmla="*/ 33 w 38"/>
                <a:gd name="T13" fmla="*/ 51 h 83"/>
                <a:gd name="T14" fmla="*/ 30 w 38"/>
                <a:gd name="T15" fmla="*/ 57 h 83"/>
                <a:gd name="T16" fmla="*/ 25 w 38"/>
                <a:gd name="T17" fmla="*/ 64 h 83"/>
                <a:gd name="T18" fmla="*/ 20 w 38"/>
                <a:gd name="T19" fmla="*/ 72 h 83"/>
                <a:gd name="T20" fmla="*/ 15 w 38"/>
                <a:gd name="T21" fmla="*/ 78 h 83"/>
                <a:gd name="T22" fmla="*/ 11 w 38"/>
                <a:gd name="T23" fmla="*/ 82 h 83"/>
                <a:gd name="T24" fmla="*/ 7 w 38"/>
                <a:gd name="T25" fmla="*/ 83 h 83"/>
                <a:gd name="T26" fmla="*/ 6 w 38"/>
                <a:gd name="T27" fmla="*/ 79 h 83"/>
                <a:gd name="T28" fmla="*/ 7 w 38"/>
                <a:gd name="T29" fmla="*/ 66 h 83"/>
                <a:gd name="T30" fmla="*/ 13 w 38"/>
                <a:gd name="T31" fmla="*/ 57 h 83"/>
                <a:gd name="T32" fmla="*/ 16 w 38"/>
                <a:gd name="T33" fmla="*/ 50 h 83"/>
                <a:gd name="T34" fmla="*/ 18 w 38"/>
                <a:gd name="T35" fmla="*/ 38 h 83"/>
                <a:gd name="T36" fmla="*/ 15 w 38"/>
                <a:gd name="T37" fmla="*/ 25 h 83"/>
                <a:gd name="T38" fmla="*/ 13 w 38"/>
                <a:gd name="T39" fmla="*/ 23 h 83"/>
                <a:gd name="T40" fmla="*/ 10 w 38"/>
                <a:gd name="T41" fmla="*/ 19 h 83"/>
                <a:gd name="T42" fmla="*/ 7 w 38"/>
                <a:gd name="T43" fmla="*/ 16 h 83"/>
                <a:gd name="T44" fmla="*/ 5 w 38"/>
                <a:gd name="T45" fmla="*/ 14 h 83"/>
                <a:gd name="T46" fmla="*/ 2 w 38"/>
                <a:gd name="T47" fmla="*/ 13 h 83"/>
                <a:gd name="T48" fmla="*/ 1 w 38"/>
                <a:gd name="T49" fmla="*/ 11 h 83"/>
                <a:gd name="T50" fmla="*/ 0 w 38"/>
                <a:gd name="T51" fmla="*/ 11 h 83"/>
                <a:gd name="T52" fmla="*/ 7 w 38"/>
                <a:gd name="T53" fmla="*/ 9 h 83"/>
                <a:gd name="T54" fmla="*/ 16 w 38"/>
                <a:gd name="T55" fmla="*/ 4 h 83"/>
                <a:gd name="T56" fmla="*/ 24 w 38"/>
                <a:gd name="T5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8" h="83">
                  <a:moveTo>
                    <a:pt x="24" y="0"/>
                  </a:moveTo>
                  <a:lnTo>
                    <a:pt x="32" y="0"/>
                  </a:lnTo>
                  <a:lnTo>
                    <a:pt x="37" y="6"/>
                  </a:lnTo>
                  <a:lnTo>
                    <a:pt x="38" y="16"/>
                  </a:lnTo>
                  <a:lnTo>
                    <a:pt x="38" y="29"/>
                  </a:lnTo>
                  <a:lnTo>
                    <a:pt x="37" y="41"/>
                  </a:lnTo>
                  <a:lnTo>
                    <a:pt x="33" y="51"/>
                  </a:lnTo>
                  <a:lnTo>
                    <a:pt x="30" y="57"/>
                  </a:lnTo>
                  <a:lnTo>
                    <a:pt x="25" y="64"/>
                  </a:lnTo>
                  <a:lnTo>
                    <a:pt x="20" y="72"/>
                  </a:lnTo>
                  <a:lnTo>
                    <a:pt x="15" y="78"/>
                  </a:lnTo>
                  <a:lnTo>
                    <a:pt x="11" y="82"/>
                  </a:lnTo>
                  <a:lnTo>
                    <a:pt x="7" y="83"/>
                  </a:lnTo>
                  <a:lnTo>
                    <a:pt x="6" y="79"/>
                  </a:lnTo>
                  <a:lnTo>
                    <a:pt x="7" y="66"/>
                  </a:lnTo>
                  <a:lnTo>
                    <a:pt x="13" y="57"/>
                  </a:lnTo>
                  <a:lnTo>
                    <a:pt x="16" y="50"/>
                  </a:lnTo>
                  <a:lnTo>
                    <a:pt x="18" y="38"/>
                  </a:lnTo>
                  <a:lnTo>
                    <a:pt x="15" y="25"/>
                  </a:lnTo>
                  <a:lnTo>
                    <a:pt x="13" y="23"/>
                  </a:lnTo>
                  <a:lnTo>
                    <a:pt x="10" y="19"/>
                  </a:lnTo>
                  <a:lnTo>
                    <a:pt x="7" y="16"/>
                  </a:lnTo>
                  <a:lnTo>
                    <a:pt x="5" y="14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7" y="9"/>
                  </a:lnTo>
                  <a:lnTo>
                    <a:pt x="16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E89C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8" name="Freeform 1391"/>
            <p:cNvSpPr>
              <a:spLocks/>
            </p:cNvSpPr>
            <p:nvPr/>
          </p:nvSpPr>
          <p:spPr bwMode="auto">
            <a:xfrm>
              <a:off x="-3278188" y="885825"/>
              <a:ext cx="82550" cy="176213"/>
            </a:xfrm>
            <a:custGeom>
              <a:avLst/>
              <a:gdLst>
                <a:gd name="T0" fmla="*/ 13 w 52"/>
                <a:gd name="T1" fmla="*/ 0 h 111"/>
                <a:gd name="T2" fmla="*/ 22 w 52"/>
                <a:gd name="T3" fmla="*/ 1 h 111"/>
                <a:gd name="T4" fmla="*/ 31 w 52"/>
                <a:gd name="T5" fmla="*/ 5 h 111"/>
                <a:gd name="T6" fmla="*/ 40 w 52"/>
                <a:gd name="T7" fmla="*/ 9 h 111"/>
                <a:gd name="T8" fmla="*/ 47 w 52"/>
                <a:gd name="T9" fmla="*/ 13 h 111"/>
                <a:gd name="T10" fmla="*/ 49 w 52"/>
                <a:gd name="T11" fmla="*/ 14 h 111"/>
                <a:gd name="T12" fmla="*/ 49 w 52"/>
                <a:gd name="T13" fmla="*/ 18 h 111"/>
                <a:gd name="T14" fmla="*/ 50 w 52"/>
                <a:gd name="T15" fmla="*/ 29 h 111"/>
                <a:gd name="T16" fmla="*/ 50 w 52"/>
                <a:gd name="T17" fmla="*/ 45 h 111"/>
                <a:gd name="T18" fmla="*/ 52 w 52"/>
                <a:gd name="T19" fmla="*/ 63 h 111"/>
                <a:gd name="T20" fmla="*/ 52 w 52"/>
                <a:gd name="T21" fmla="*/ 81 h 111"/>
                <a:gd name="T22" fmla="*/ 52 w 52"/>
                <a:gd name="T23" fmla="*/ 96 h 111"/>
                <a:gd name="T24" fmla="*/ 50 w 52"/>
                <a:gd name="T25" fmla="*/ 108 h 111"/>
                <a:gd name="T26" fmla="*/ 49 w 52"/>
                <a:gd name="T27" fmla="*/ 111 h 111"/>
                <a:gd name="T28" fmla="*/ 45 w 52"/>
                <a:gd name="T29" fmla="*/ 110 h 111"/>
                <a:gd name="T30" fmla="*/ 39 w 52"/>
                <a:gd name="T31" fmla="*/ 105 h 111"/>
                <a:gd name="T32" fmla="*/ 31 w 52"/>
                <a:gd name="T33" fmla="*/ 99 h 111"/>
                <a:gd name="T34" fmla="*/ 22 w 52"/>
                <a:gd name="T35" fmla="*/ 90 h 111"/>
                <a:gd name="T36" fmla="*/ 13 w 52"/>
                <a:gd name="T37" fmla="*/ 79 h 111"/>
                <a:gd name="T38" fmla="*/ 7 w 52"/>
                <a:gd name="T39" fmla="*/ 70 h 111"/>
                <a:gd name="T40" fmla="*/ 3 w 52"/>
                <a:gd name="T41" fmla="*/ 61 h 111"/>
                <a:gd name="T42" fmla="*/ 2 w 52"/>
                <a:gd name="T43" fmla="*/ 49 h 111"/>
                <a:gd name="T44" fmla="*/ 0 w 52"/>
                <a:gd name="T45" fmla="*/ 33 h 111"/>
                <a:gd name="T46" fmla="*/ 0 w 52"/>
                <a:gd name="T47" fmla="*/ 20 h 111"/>
                <a:gd name="T48" fmla="*/ 3 w 52"/>
                <a:gd name="T49" fmla="*/ 9 h 111"/>
                <a:gd name="T50" fmla="*/ 7 w 52"/>
                <a:gd name="T51" fmla="*/ 1 h 111"/>
                <a:gd name="T52" fmla="*/ 13 w 52"/>
                <a:gd name="T5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" h="111">
                  <a:moveTo>
                    <a:pt x="13" y="0"/>
                  </a:moveTo>
                  <a:lnTo>
                    <a:pt x="22" y="1"/>
                  </a:lnTo>
                  <a:lnTo>
                    <a:pt x="31" y="5"/>
                  </a:lnTo>
                  <a:lnTo>
                    <a:pt x="40" y="9"/>
                  </a:lnTo>
                  <a:lnTo>
                    <a:pt x="47" y="13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0" y="29"/>
                  </a:lnTo>
                  <a:lnTo>
                    <a:pt x="50" y="45"/>
                  </a:lnTo>
                  <a:lnTo>
                    <a:pt x="52" y="63"/>
                  </a:lnTo>
                  <a:lnTo>
                    <a:pt x="52" y="81"/>
                  </a:lnTo>
                  <a:lnTo>
                    <a:pt x="52" y="96"/>
                  </a:lnTo>
                  <a:lnTo>
                    <a:pt x="50" y="108"/>
                  </a:lnTo>
                  <a:lnTo>
                    <a:pt x="49" y="111"/>
                  </a:lnTo>
                  <a:lnTo>
                    <a:pt x="45" y="110"/>
                  </a:lnTo>
                  <a:lnTo>
                    <a:pt x="39" y="105"/>
                  </a:lnTo>
                  <a:lnTo>
                    <a:pt x="31" y="99"/>
                  </a:lnTo>
                  <a:lnTo>
                    <a:pt x="22" y="90"/>
                  </a:lnTo>
                  <a:lnTo>
                    <a:pt x="13" y="79"/>
                  </a:lnTo>
                  <a:lnTo>
                    <a:pt x="7" y="70"/>
                  </a:lnTo>
                  <a:lnTo>
                    <a:pt x="3" y="61"/>
                  </a:lnTo>
                  <a:lnTo>
                    <a:pt x="2" y="49"/>
                  </a:lnTo>
                  <a:lnTo>
                    <a:pt x="0" y="33"/>
                  </a:lnTo>
                  <a:lnTo>
                    <a:pt x="0" y="20"/>
                  </a:lnTo>
                  <a:lnTo>
                    <a:pt x="3" y="9"/>
                  </a:lnTo>
                  <a:lnTo>
                    <a:pt x="7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3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9" name="Freeform 1392"/>
            <p:cNvSpPr>
              <a:spLocks/>
            </p:cNvSpPr>
            <p:nvPr/>
          </p:nvSpPr>
          <p:spPr bwMode="auto">
            <a:xfrm>
              <a:off x="-3255963" y="903287"/>
              <a:ext cx="53975" cy="120650"/>
            </a:xfrm>
            <a:custGeom>
              <a:avLst/>
              <a:gdLst>
                <a:gd name="T0" fmla="*/ 7 w 34"/>
                <a:gd name="T1" fmla="*/ 0 h 76"/>
                <a:gd name="T2" fmla="*/ 13 w 34"/>
                <a:gd name="T3" fmla="*/ 0 h 76"/>
                <a:gd name="T4" fmla="*/ 21 w 34"/>
                <a:gd name="T5" fmla="*/ 3 h 76"/>
                <a:gd name="T6" fmla="*/ 29 w 34"/>
                <a:gd name="T7" fmla="*/ 5 h 76"/>
                <a:gd name="T8" fmla="*/ 34 w 34"/>
                <a:gd name="T9" fmla="*/ 7 h 76"/>
                <a:gd name="T10" fmla="*/ 34 w 34"/>
                <a:gd name="T11" fmla="*/ 7 h 76"/>
                <a:gd name="T12" fmla="*/ 34 w 34"/>
                <a:gd name="T13" fmla="*/ 8 h 76"/>
                <a:gd name="T14" fmla="*/ 34 w 34"/>
                <a:gd name="T15" fmla="*/ 9 h 76"/>
                <a:gd name="T16" fmla="*/ 34 w 34"/>
                <a:gd name="T17" fmla="*/ 12 h 76"/>
                <a:gd name="T18" fmla="*/ 33 w 34"/>
                <a:gd name="T19" fmla="*/ 16 h 76"/>
                <a:gd name="T20" fmla="*/ 33 w 34"/>
                <a:gd name="T21" fmla="*/ 20 h 76"/>
                <a:gd name="T22" fmla="*/ 31 w 34"/>
                <a:gd name="T23" fmla="*/ 22 h 76"/>
                <a:gd name="T24" fmla="*/ 30 w 34"/>
                <a:gd name="T25" fmla="*/ 25 h 76"/>
                <a:gd name="T26" fmla="*/ 27 w 34"/>
                <a:gd name="T27" fmla="*/ 26 h 76"/>
                <a:gd name="T28" fmla="*/ 25 w 34"/>
                <a:gd name="T29" fmla="*/ 27 h 76"/>
                <a:gd name="T30" fmla="*/ 22 w 34"/>
                <a:gd name="T31" fmla="*/ 29 h 76"/>
                <a:gd name="T32" fmla="*/ 20 w 34"/>
                <a:gd name="T33" fmla="*/ 31 h 76"/>
                <a:gd name="T34" fmla="*/ 18 w 34"/>
                <a:gd name="T35" fmla="*/ 34 h 76"/>
                <a:gd name="T36" fmla="*/ 18 w 34"/>
                <a:gd name="T37" fmla="*/ 38 h 76"/>
                <a:gd name="T38" fmla="*/ 20 w 34"/>
                <a:gd name="T39" fmla="*/ 41 h 76"/>
                <a:gd name="T40" fmla="*/ 22 w 34"/>
                <a:gd name="T41" fmla="*/ 46 h 76"/>
                <a:gd name="T42" fmla="*/ 26 w 34"/>
                <a:gd name="T43" fmla="*/ 54 h 76"/>
                <a:gd name="T44" fmla="*/ 29 w 34"/>
                <a:gd name="T45" fmla="*/ 63 h 76"/>
                <a:gd name="T46" fmla="*/ 31 w 34"/>
                <a:gd name="T47" fmla="*/ 71 h 76"/>
                <a:gd name="T48" fmla="*/ 31 w 34"/>
                <a:gd name="T49" fmla="*/ 75 h 76"/>
                <a:gd name="T50" fmla="*/ 27 w 34"/>
                <a:gd name="T51" fmla="*/ 76 h 76"/>
                <a:gd name="T52" fmla="*/ 22 w 34"/>
                <a:gd name="T53" fmla="*/ 75 h 76"/>
                <a:gd name="T54" fmla="*/ 15 w 34"/>
                <a:gd name="T55" fmla="*/ 68 h 76"/>
                <a:gd name="T56" fmla="*/ 9 w 34"/>
                <a:gd name="T57" fmla="*/ 61 h 76"/>
                <a:gd name="T58" fmla="*/ 7 w 34"/>
                <a:gd name="T59" fmla="*/ 52 h 76"/>
                <a:gd name="T60" fmla="*/ 4 w 34"/>
                <a:gd name="T61" fmla="*/ 41 h 76"/>
                <a:gd name="T62" fmla="*/ 2 w 34"/>
                <a:gd name="T63" fmla="*/ 29 h 76"/>
                <a:gd name="T64" fmla="*/ 0 w 34"/>
                <a:gd name="T65" fmla="*/ 17 h 76"/>
                <a:gd name="T66" fmla="*/ 0 w 34"/>
                <a:gd name="T67" fmla="*/ 8 h 76"/>
                <a:gd name="T68" fmla="*/ 2 w 34"/>
                <a:gd name="T69" fmla="*/ 2 h 76"/>
                <a:gd name="T70" fmla="*/ 7 w 34"/>
                <a:gd name="T7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" h="76">
                  <a:moveTo>
                    <a:pt x="7" y="0"/>
                  </a:moveTo>
                  <a:lnTo>
                    <a:pt x="13" y="0"/>
                  </a:lnTo>
                  <a:lnTo>
                    <a:pt x="21" y="3"/>
                  </a:lnTo>
                  <a:lnTo>
                    <a:pt x="29" y="5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1" y="22"/>
                  </a:lnTo>
                  <a:lnTo>
                    <a:pt x="30" y="25"/>
                  </a:lnTo>
                  <a:lnTo>
                    <a:pt x="27" y="26"/>
                  </a:lnTo>
                  <a:lnTo>
                    <a:pt x="25" y="27"/>
                  </a:lnTo>
                  <a:lnTo>
                    <a:pt x="22" y="29"/>
                  </a:lnTo>
                  <a:lnTo>
                    <a:pt x="20" y="31"/>
                  </a:lnTo>
                  <a:lnTo>
                    <a:pt x="18" y="34"/>
                  </a:lnTo>
                  <a:lnTo>
                    <a:pt x="18" y="38"/>
                  </a:lnTo>
                  <a:lnTo>
                    <a:pt x="20" y="41"/>
                  </a:lnTo>
                  <a:lnTo>
                    <a:pt x="22" y="46"/>
                  </a:lnTo>
                  <a:lnTo>
                    <a:pt x="26" y="54"/>
                  </a:lnTo>
                  <a:lnTo>
                    <a:pt x="29" y="63"/>
                  </a:lnTo>
                  <a:lnTo>
                    <a:pt x="31" y="71"/>
                  </a:lnTo>
                  <a:lnTo>
                    <a:pt x="31" y="75"/>
                  </a:lnTo>
                  <a:lnTo>
                    <a:pt x="27" y="76"/>
                  </a:lnTo>
                  <a:lnTo>
                    <a:pt x="22" y="75"/>
                  </a:lnTo>
                  <a:lnTo>
                    <a:pt x="15" y="68"/>
                  </a:lnTo>
                  <a:lnTo>
                    <a:pt x="9" y="61"/>
                  </a:lnTo>
                  <a:lnTo>
                    <a:pt x="7" y="52"/>
                  </a:lnTo>
                  <a:lnTo>
                    <a:pt x="4" y="41"/>
                  </a:lnTo>
                  <a:lnTo>
                    <a:pt x="2" y="29"/>
                  </a:lnTo>
                  <a:lnTo>
                    <a:pt x="0" y="17"/>
                  </a:lnTo>
                  <a:lnTo>
                    <a:pt x="0" y="8"/>
                  </a:lnTo>
                  <a:lnTo>
                    <a:pt x="2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89C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0" name="Freeform 1393"/>
            <p:cNvSpPr>
              <a:spLocks/>
            </p:cNvSpPr>
            <p:nvPr/>
          </p:nvSpPr>
          <p:spPr bwMode="auto">
            <a:xfrm>
              <a:off x="-3217863" y="641350"/>
              <a:ext cx="460375" cy="698500"/>
            </a:xfrm>
            <a:custGeom>
              <a:avLst/>
              <a:gdLst>
                <a:gd name="T0" fmla="*/ 155 w 290"/>
                <a:gd name="T1" fmla="*/ 1 h 440"/>
                <a:gd name="T2" fmla="*/ 187 w 290"/>
                <a:gd name="T3" fmla="*/ 1 h 440"/>
                <a:gd name="T4" fmla="*/ 201 w 290"/>
                <a:gd name="T5" fmla="*/ 1 h 440"/>
                <a:gd name="T6" fmla="*/ 211 w 290"/>
                <a:gd name="T7" fmla="*/ 7 h 440"/>
                <a:gd name="T8" fmla="*/ 236 w 290"/>
                <a:gd name="T9" fmla="*/ 23 h 440"/>
                <a:gd name="T10" fmla="*/ 261 w 290"/>
                <a:gd name="T11" fmla="*/ 41 h 440"/>
                <a:gd name="T12" fmla="*/ 278 w 290"/>
                <a:gd name="T13" fmla="*/ 55 h 440"/>
                <a:gd name="T14" fmla="*/ 287 w 290"/>
                <a:gd name="T15" fmla="*/ 77 h 440"/>
                <a:gd name="T16" fmla="*/ 290 w 290"/>
                <a:gd name="T17" fmla="*/ 104 h 440"/>
                <a:gd name="T18" fmla="*/ 290 w 290"/>
                <a:gd name="T19" fmla="*/ 118 h 440"/>
                <a:gd name="T20" fmla="*/ 290 w 290"/>
                <a:gd name="T21" fmla="*/ 135 h 440"/>
                <a:gd name="T22" fmla="*/ 288 w 290"/>
                <a:gd name="T23" fmla="*/ 178 h 440"/>
                <a:gd name="T24" fmla="*/ 287 w 290"/>
                <a:gd name="T25" fmla="*/ 232 h 440"/>
                <a:gd name="T26" fmla="*/ 286 w 290"/>
                <a:gd name="T27" fmla="*/ 286 h 440"/>
                <a:gd name="T28" fmla="*/ 283 w 290"/>
                <a:gd name="T29" fmla="*/ 324 h 440"/>
                <a:gd name="T30" fmla="*/ 278 w 290"/>
                <a:gd name="T31" fmla="*/ 342 h 440"/>
                <a:gd name="T32" fmla="*/ 260 w 290"/>
                <a:gd name="T33" fmla="*/ 364 h 440"/>
                <a:gd name="T34" fmla="*/ 236 w 290"/>
                <a:gd name="T35" fmla="*/ 391 h 440"/>
                <a:gd name="T36" fmla="*/ 209 w 290"/>
                <a:gd name="T37" fmla="*/ 417 h 440"/>
                <a:gd name="T38" fmla="*/ 188 w 290"/>
                <a:gd name="T39" fmla="*/ 433 h 440"/>
                <a:gd name="T40" fmla="*/ 171 w 290"/>
                <a:gd name="T41" fmla="*/ 439 h 440"/>
                <a:gd name="T42" fmla="*/ 141 w 290"/>
                <a:gd name="T43" fmla="*/ 440 h 440"/>
                <a:gd name="T44" fmla="*/ 110 w 290"/>
                <a:gd name="T45" fmla="*/ 439 h 440"/>
                <a:gd name="T46" fmla="*/ 96 w 290"/>
                <a:gd name="T47" fmla="*/ 433 h 440"/>
                <a:gd name="T48" fmla="*/ 77 w 290"/>
                <a:gd name="T49" fmla="*/ 417 h 440"/>
                <a:gd name="T50" fmla="*/ 52 w 290"/>
                <a:gd name="T51" fmla="*/ 391 h 440"/>
                <a:gd name="T52" fmla="*/ 28 w 290"/>
                <a:gd name="T53" fmla="*/ 365 h 440"/>
                <a:gd name="T54" fmla="*/ 12 w 290"/>
                <a:gd name="T55" fmla="*/ 349 h 440"/>
                <a:gd name="T56" fmla="*/ 10 w 290"/>
                <a:gd name="T57" fmla="*/ 341 h 440"/>
                <a:gd name="T58" fmla="*/ 9 w 290"/>
                <a:gd name="T59" fmla="*/ 310 h 440"/>
                <a:gd name="T60" fmla="*/ 6 w 290"/>
                <a:gd name="T61" fmla="*/ 260 h 440"/>
                <a:gd name="T62" fmla="*/ 3 w 290"/>
                <a:gd name="T63" fmla="*/ 200 h 440"/>
                <a:gd name="T64" fmla="*/ 1 w 290"/>
                <a:gd name="T65" fmla="*/ 141 h 440"/>
                <a:gd name="T66" fmla="*/ 0 w 290"/>
                <a:gd name="T67" fmla="*/ 95 h 440"/>
                <a:gd name="T68" fmla="*/ 0 w 290"/>
                <a:gd name="T69" fmla="*/ 72 h 440"/>
                <a:gd name="T70" fmla="*/ 10 w 290"/>
                <a:gd name="T71" fmla="*/ 56 h 440"/>
                <a:gd name="T72" fmla="*/ 35 w 290"/>
                <a:gd name="T73" fmla="*/ 37 h 440"/>
                <a:gd name="T74" fmla="*/ 65 w 290"/>
                <a:gd name="T75" fmla="*/ 18 h 440"/>
                <a:gd name="T76" fmla="*/ 91 w 290"/>
                <a:gd name="T77" fmla="*/ 5 h 440"/>
                <a:gd name="T78" fmla="*/ 106 w 290"/>
                <a:gd name="T79" fmla="*/ 1 h 440"/>
                <a:gd name="T80" fmla="*/ 137 w 290"/>
                <a:gd name="T81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0" h="440">
                  <a:moveTo>
                    <a:pt x="137" y="0"/>
                  </a:moveTo>
                  <a:lnTo>
                    <a:pt x="155" y="1"/>
                  </a:lnTo>
                  <a:lnTo>
                    <a:pt x="173" y="1"/>
                  </a:lnTo>
                  <a:lnTo>
                    <a:pt x="187" y="1"/>
                  </a:lnTo>
                  <a:lnTo>
                    <a:pt x="197" y="1"/>
                  </a:lnTo>
                  <a:lnTo>
                    <a:pt x="201" y="1"/>
                  </a:lnTo>
                  <a:lnTo>
                    <a:pt x="204" y="4"/>
                  </a:lnTo>
                  <a:lnTo>
                    <a:pt x="211" y="7"/>
                  </a:lnTo>
                  <a:lnTo>
                    <a:pt x="223" y="15"/>
                  </a:lnTo>
                  <a:lnTo>
                    <a:pt x="236" y="23"/>
                  </a:lnTo>
                  <a:lnTo>
                    <a:pt x="248" y="32"/>
                  </a:lnTo>
                  <a:lnTo>
                    <a:pt x="261" y="41"/>
                  </a:lnTo>
                  <a:lnTo>
                    <a:pt x="272" y="49"/>
                  </a:lnTo>
                  <a:lnTo>
                    <a:pt x="278" y="55"/>
                  </a:lnTo>
                  <a:lnTo>
                    <a:pt x="283" y="64"/>
                  </a:lnTo>
                  <a:lnTo>
                    <a:pt x="287" y="77"/>
                  </a:lnTo>
                  <a:lnTo>
                    <a:pt x="288" y="91"/>
                  </a:lnTo>
                  <a:lnTo>
                    <a:pt x="290" y="104"/>
                  </a:lnTo>
                  <a:lnTo>
                    <a:pt x="290" y="114"/>
                  </a:lnTo>
                  <a:lnTo>
                    <a:pt x="290" y="118"/>
                  </a:lnTo>
                  <a:lnTo>
                    <a:pt x="290" y="122"/>
                  </a:lnTo>
                  <a:lnTo>
                    <a:pt x="290" y="135"/>
                  </a:lnTo>
                  <a:lnTo>
                    <a:pt x="290" y="154"/>
                  </a:lnTo>
                  <a:lnTo>
                    <a:pt x="288" y="178"/>
                  </a:lnTo>
                  <a:lnTo>
                    <a:pt x="288" y="204"/>
                  </a:lnTo>
                  <a:lnTo>
                    <a:pt x="287" y="232"/>
                  </a:lnTo>
                  <a:lnTo>
                    <a:pt x="287" y="260"/>
                  </a:lnTo>
                  <a:lnTo>
                    <a:pt x="286" y="286"/>
                  </a:lnTo>
                  <a:lnTo>
                    <a:pt x="284" y="308"/>
                  </a:lnTo>
                  <a:lnTo>
                    <a:pt x="283" y="324"/>
                  </a:lnTo>
                  <a:lnTo>
                    <a:pt x="282" y="335"/>
                  </a:lnTo>
                  <a:lnTo>
                    <a:pt x="278" y="342"/>
                  </a:lnTo>
                  <a:lnTo>
                    <a:pt x="270" y="353"/>
                  </a:lnTo>
                  <a:lnTo>
                    <a:pt x="260" y="364"/>
                  </a:lnTo>
                  <a:lnTo>
                    <a:pt x="248" y="377"/>
                  </a:lnTo>
                  <a:lnTo>
                    <a:pt x="236" y="391"/>
                  </a:lnTo>
                  <a:lnTo>
                    <a:pt x="222" y="404"/>
                  </a:lnTo>
                  <a:lnTo>
                    <a:pt x="209" y="417"/>
                  </a:lnTo>
                  <a:lnTo>
                    <a:pt x="197" y="427"/>
                  </a:lnTo>
                  <a:lnTo>
                    <a:pt x="188" y="433"/>
                  </a:lnTo>
                  <a:lnTo>
                    <a:pt x="182" y="437"/>
                  </a:lnTo>
                  <a:lnTo>
                    <a:pt x="171" y="439"/>
                  </a:lnTo>
                  <a:lnTo>
                    <a:pt x="157" y="440"/>
                  </a:lnTo>
                  <a:lnTo>
                    <a:pt x="141" y="440"/>
                  </a:lnTo>
                  <a:lnTo>
                    <a:pt x="124" y="440"/>
                  </a:lnTo>
                  <a:lnTo>
                    <a:pt x="110" y="439"/>
                  </a:lnTo>
                  <a:lnTo>
                    <a:pt x="101" y="437"/>
                  </a:lnTo>
                  <a:lnTo>
                    <a:pt x="96" y="433"/>
                  </a:lnTo>
                  <a:lnTo>
                    <a:pt x="88" y="427"/>
                  </a:lnTo>
                  <a:lnTo>
                    <a:pt x="77" y="417"/>
                  </a:lnTo>
                  <a:lnTo>
                    <a:pt x="65" y="404"/>
                  </a:lnTo>
                  <a:lnTo>
                    <a:pt x="52" y="391"/>
                  </a:lnTo>
                  <a:lnTo>
                    <a:pt x="39" y="377"/>
                  </a:lnTo>
                  <a:lnTo>
                    <a:pt x="28" y="365"/>
                  </a:lnTo>
                  <a:lnTo>
                    <a:pt x="19" y="355"/>
                  </a:lnTo>
                  <a:lnTo>
                    <a:pt x="12" y="349"/>
                  </a:lnTo>
                  <a:lnTo>
                    <a:pt x="10" y="346"/>
                  </a:lnTo>
                  <a:lnTo>
                    <a:pt x="10" y="341"/>
                  </a:lnTo>
                  <a:lnTo>
                    <a:pt x="10" y="330"/>
                  </a:lnTo>
                  <a:lnTo>
                    <a:pt x="9" y="310"/>
                  </a:lnTo>
                  <a:lnTo>
                    <a:pt x="7" y="287"/>
                  </a:lnTo>
                  <a:lnTo>
                    <a:pt x="6" y="260"/>
                  </a:lnTo>
                  <a:lnTo>
                    <a:pt x="5" y="231"/>
                  </a:lnTo>
                  <a:lnTo>
                    <a:pt x="3" y="200"/>
                  </a:lnTo>
                  <a:lnTo>
                    <a:pt x="2" y="169"/>
                  </a:lnTo>
                  <a:lnTo>
                    <a:pt x="1" y="141"/>
                  </a:lnTo>
                  <a:lnTo>
                    <a:pt x="1" y="115"/>
                  </a:lnTo>
                  <a:lnTo>
                    <a:pt x="0" y="9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2" y="64"/>
                  </a:lnTo>
                  <a:lnTo>
                    <a:pt x="10" y="56"/>
                  </a:lnTo>
                  <a:lnTo>
                    <a:pt x="21" y="47"/>
                  </a:lnTo>
                  <a:lnTo>
                    <a:pt x="35" y="37"/>
                  </a:lnTo>
                  <a:lnTo>
                    <a:pt x="51" y="27"/>
                  </a:lnTo>
                  <a:lnTo>
                    <a:pt x="65" y="18"/>
                  </a:lnTo>
                  <a:lnTo>
                    <a:pt x="79" y="11"/>
                  </a:lnTo>
                  <a:lnTo>
                    <a:pt x="91" y="5"/>
                  </a:lnTo>
                  <a:lnTo>
                    <a:pt x="98" y="2"/>
                  </a:lnTo>
                  <a:lnTo>
                    <a:pt x="106" y="1"/>
                  </a:lnTo>
                  <a:lnTo>
                    <a:pt x="120" y="1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1" name="Freeform 1394"/>
            <p:cNvSpPr>
              <a:spLocks/>
            </p:cNvSpPr>
            <p:nvPr/>
          </p:nvSpPr>
          <p:spPr bwMode="auto">
            <a:xfrm>
              <a:off x="-3289300" y="465137"/>
              <a:ext cx="579438" cy="522288"/>
            </a:xfrm>
            <a:custGeom>
              <a:avLst/>
              <a:gdLst>
                <a:gd name="T0" fmla="*/ 157 w 365"/>
                <a:gd name="T1" fmla="*/ 0 h 329"/>
                <a:gd name="T2" fmla="*/ 170 w 365"/>
                <a:gd name="T3" fmla="*/ 8 h 329"/>
                <a:gd name="T4" fmla="*/ 196 w 365"/>
                <a:gd name="T5" fmla="*/ 21 h 329"/>
                <a:gd name="T6" fmla="*/ 228 w 365"/>
                <a:gd name="T7" fmla="*/ 30 h 329"/>
                <a:gd name="T8" fmla="*/ 267 w 365"/>
                <a:gd name="T9" fmla="*/ 47 h 329"/>
                <a:gd name="T10" fmla="*/ 313 w 365"/>
                <a:gd name="T11" fmla="*/ 74 h 329"/>
                <a:gd name="T12" fmla="*/ 341 w 365"/>
                <a:gd name="T13" fmla="*/ 90 h 329"/>
                <a:gd name="T14" fmla="*/ 351 w 365"/>
                <a:gd name="T15" fmla="*/ 111 h 329"/>
                <a:gd name="T16" fmla="*/ 360 w 365"/>
                <a:gd name="T17" fmla="*/ 149 h 329"/>
                <a:gd name="T18" fmla="*/ 365 w 365"/>
                <a:gd name="T19" fmla="*/ 190 h 329"/>
                <a:gd name="T20" fmla="*/ 364 w 365"/>
                <a:gd name="T21" fmla="*/ 213 h 329"/>
                <a:gd name="T22" fmla="*/ 358 w 365"/>
                <a:gd name="T23" fmla="*/ 243 h 329"/>
                <a:gd name="T24" fmla="*/ 347 w 365"/>
                <a:gd name="T25" fmla="*/ 280 h 329"/>
                <a:gd name="T26" fmla="*/ 338 w 365"/>
                <a:gd name="T27" fmla="*/ 314 h 329"/>
                <a:gd name="T28" fmla="*/ 333 w 365"/>
                <a:gd name="T29" fmla="*/ 329 h 329"/>
                <a:gd name="T30" fmla="*/ 333 w 365"/>
                <a:gd name="T31" fmla="*/ 290 h 329"/>
                <a:gd name="T32" fmla="*/ 331 w 365"/>
                <a:gd name="T33" fmla="*/ 244 h 329"/>
                <a:gd name="T34" fmla="*/ 322 w 365"/>
                <a:gd name="T35" fmla="*/ 202 h 329"/>
                <a:gd name="T36" fmla="*/ 302 w 365"/>
                <a:gd name="T37" fmla="*/ 170 h 329"/>
                <a:gd name="T38" fmla="*/ 292 w 365"/>
                <a:gd name="T39" fmla="*/ 175 h 329"/>
                <a:gd name="T40" fmla="*/ 265 w 365"/>
                <a:gd name="T41" fmla="*/ 185 h 329"/>
                <a:gd name="T42" fmla="*/ 231 w 365"/>
                <a:gd name="T43" fmla="*/ 198 h 329"/>
                <a:gd name="T44" fmla="*/ 197 w 365"/>
                <a:gd name="T45" fmla="*/ 206 h 329"/>
                <a:gd name="T46" fmla="*/ 173 w 365"/>
                <a:gd name="T47" fmla="*/ 206 h 329"/>
                <a:gd name="T48" fmla="*/ 146 w 365"/>
                <a:gd name="T49" fmla="*/ 198 h 329"/>
                <a:gd name="T50" fmla="*/ 116 w 365"/>
                <a:gd name="T51" fmla="*/ 186 h 329"/>
                <a:gd name="T52" fmla="*/ 88 w 365"/>
                <a:gd name="T53" fmla="*/ 179 h 329"/>
                <a:gd name="T54" fmla="*/ 66 w 365"/>
                <a:gd name="T55" fmla="*/ 180 h 329"/>
                <a:gd name="T56" fmla="*/ 55 w 365"/>
                <a:gd name="T57" fmla="*/ 195 h 329"/>
                <a:gd name="T58" fmla="*/ 50 w 365"/>
                <a:gd name="T59" fmla="*/ 242 h 329"/>
                <a:gd name="T60" fmla="*/ 48 w 365"/>
                <a:gd name="T61" fmla="*/ 289 h 329"/>
                <a:gd name="T62" fmla="*/ 45 w 365"/>
                <a:gd name="T63" fmla="*/ 310 h 329"/>
                <a:gd name="T64" fmla="*/ 36 w 365"/>
                <a:gd name="T65" fmla="*/ 275 h 329"/>
                <a:gd name="T66" fmla="*/ 25 w 365"/>
                <a:gd name="T67" fmla="*/ 230 h 329"/>
                <a:gd name="T68" fmla="*/ 18 w 365"/>
                <a:gd name="T69" fmla="*/ 185 h 329"/>
                <a:gd name="T70" fmla="*/ 15 w 365"/>
                <a:gd name="T71" fmla="*/ 152 h 329"/>
                <a:gd name="T72" fmla="*/ 21 w 365"/>
                <a:gd name="T73" fmla="*/ 129 h 329"/>
                <a:gd name="T74" fmla="*/ 29 w 365"/>
                <a:gd name="T75" fmla="*/ 107 h 329"/>
                <a:gd name="T76" fmla="*/ 33 w 365"/>
                <a:gd name="T77" fmla="*/ 99 h 329"/>
                <a:gd name="T78" fmla="*/ 23 w 365"/>
                <a:gd name="T79" fmla="*/ 99 h 329"/>
                <a:gd name="T80" fmla="*/ 5 w 365"/>
                <a:gd name="T81" fmla="*/ 99 h 329"/>
                <a:gd name="T82" fmla="*/ 1 w 365"/>
                <a:gd name="T83" fmla="*/ 98 h 329"/>
                <a:gd name="T84" fmla="*/ 20 w 365"/>
                <a:gd name="T85" fmla="*/ 88 h 329"/>
                <a:gd name="T86" fmla="*/ 56 w 365"/>
                <a:gd name="T87" fmla="*/ 68 h 329"/>
                <a:gd name="T88" fmla="*/ 83 w 365"/>
                <a:gd name="T89" fmla="*/ 54 h 329"/>
                <a:gd name="T90" fmla="*/ 93 w 365"/>
                <a:gd name="T91" fmla="*/ 50 h 329"/>
                <a:gd name="T92" fmla="*/ 96 w 365"/>
                <a:gd name="T93" fmla="*/ 50 h 329"/>
                <a:gd name="T94" fmla="*/ 95 w 365"/>
                <a:gd name="T95" fmla="*/ 49 h 329"/>
                <a:gd name="T96" fmla="*/ 86 w 365"/>
                <a:gd name="T97" fmla="*/ 50 h 329"/>
                <a:gd name="T98" fmla="*/ 65 w 365"/>
                <a:gd name="T99" fmla="*/ 50 h 329"/>
                <a:gd name="T100" fmla="*/ 51 w 365"/>
                <a:gd name="T101" fmla="*/ 50 h 329"/>
                <a:gd name="T102" fmla="*/ 56 w 365"/>
                <a:gd name="T103" fmla="*/ 48 h 329"/>
                <a:gd name="T104" fmla="*/ 80 w 365"/>
                <a:gd name="T105" fmla="*/ 36 h 329"/>
                <a:gd name="T106" fmla="*/ 123 w 365"/>
                <a:gd name="T107" fmla="*/ 24 h 329"/>
                <a:gd name="T108" fmla="*/ 159 w 365"/>
                <a:gd name="T109" fmla="*/ 22 h 329"/>
                <a:gd name="T110" fmla="*/ 177 w 365"/>
                <a:gd name="T111" fmla="*/ 27 h 329"/>
                <a:gd name="T112" fmla="*/ 173 w 365"/>
                <a:gd name="T113" fmla="*/ 22 h 329"/>
                <a:gd name="T114" fmla="*/ 163 w 365"/>
                <a:gd name="T115" fmla="*/ 9 h 329"/>
                <a:gd name="T116" fmla="*/ 156 w 365"/>
                <a:gd name="T1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329">
                  <a:moveTo>
                    <a:pt x="156" y="0"/>
                  </a:moveTo>
                  <a:lnTo>
                    <a:pt x="157" y="0"/>
                  </a:lnTo>
                  <a:lnTo>
                    <a:pt x="163" y="3"/>
                  </a:lnTo>
                  <a:lnTo>
                    <a:pt x="170" y="8"/>
                  </a:lnTo>
                  <a:lnTo>
                    <a:pt x="182" y="15"/>
                  </a:lnTo>
                  <a:lnTo>
                    <a:pt x="196" y="21"/>
                  </a:lnTo>
                  <a:lnTo>
                    <a:pt x="211" y="26"/>
                  </a:lnTo>
                  <a:lnTo>
                    <a:pt x="228" y="30"/>
                  </a:lnTo>
                  <a:lnTo>
                    <a:pt x="246" y="36"/>
                  </a:lnTo>
                  <a:lnTo>
                    <a:pt x="267" y="47"/>
                  </a:lnTo>
                  <a:lnTo>
                    <a:pt x="292" y="61"/>
                  </a:lnTo>
                  <a:lnTo>
                    <a:pt x="313" y="74"/>
                  </a:lnTo>
                  <a:lnTo>
                    <a:pt x="329" y="84"/>
                  </a:lnTo>
                  <a:lnTo>
                    <a:pt x="341" y="90"/>
                  </a:lnTo>
                  <a:lnTo>
                    <a:pt x="346" y="98"/>
                  </a:lnTo>
                  <a:lnTo>
                    <a:pt x="351" y="111"/>
                  </a:lnTo>
                  <a:lnTo>
                    <a:pt x="355" y="129"/>
                  </a:lnTo>
                  <a:lnTo>
                    <a:pt x="360" y="149"/>
                  </a:lnTo>
                  <a:lnTo>
                    <a:pt x="364" y="170"/>
                  </a:lnTo>
                  <a:lnTo>
                    <a:pt x="365" y="190"/>
                  </a:lnTo>
                  <a:lnTo>
                    <a:pt x="365" y="207"/>
                  </a:lnTo>
                  <a:lnTo>
                    <a:pt x="364" y="213"/>
                  </a:lnTo>
                  <a:lnTo>
                    <a:pt x="361" y="226"/>
                  </a:lnTo>
                  <a:lnTo>
                    <a:pt x="358" y="243"/>
                  </a:lnTo>
                  <a:lnTo>
                    <a:pt x="352" y="261"/>
                  </a:lnTo>
                  <a:lnTo>
                    <a:pt x="347" y="280"/>
                  </a:lnTo>
                  <a:lnTo>
                    <a:pt x="342" y="298"/>
                  </a:lnTo>
                  <a:lnTo>
                    <a:pt x="338" y="314"/>
                  </a:lnTo>
                  <a:lnTo>
                    <a:pt x="335" y="325"/>
                  </a:lnTo>
                  <a:lnTo>
                    <a:pt x="333" y="329"/>
                  </a:lnTo>
                  <a:lnTo>
                    <a:pt x="333" y="311"/>
                  </a:lnTo>
                  <a:lnTo>
                    <a:pt x="333" y="290"/>
                  </a:lnTo>
                  <a:lnTo>
                    <a:pt x="333" y="269"/>
                  </a:lnTo>
                  <a:lnTo>
                    <a:pt x="331" y="244"/>
                  </a:lnTo>
                  <a:lnTo>
                    <a:pt x="328" y="222"/>
                  </a:lnTo>
                  <a:lnTo>
                    <a:pt x="322" y="202"/>
                  </a:lnTo>
                  <a:lnTo>
                    <a:pt x="314" y="184"/>
                  </a:lnTo>
                  <a:lnTo>
                    <a:pt x="302" y="170"/>
                  </a:lnTo>
                  <a:lnTo>
                    <a:pt x="300" y="171"/>
                  </a:lnTo>
                  <a:lnTo>
                    <a:pt x="292" y="175"/>
                  </a:lnTo>
                  <a:lnTo>
                    <a:pt x="281" y="180"/>
                  </a:lnTo>
                  <a:lnTo>
                    <a:pt x="265" y="185"/>
                  </a:lnTo>
                  <a:lnTo>
                    <a:pt x="249" y="192"/>
                  </a:lnTo>
                  <a:lnTo>
                    <a:pt x="231" y="198"/>
                  </a:lnTo>
                  <a:lnTo>
                    <a:pt x="214" y="203"/>
                  </a:lnTo>
                  <a:lnTo>
                    <a:pt x="197" y="206"/>
                  </a:lnTo>
                  <a:lnTo>
                    <a:pt x="183" y="207"/>
                  </a:lnTo>
                  <a:lnTo>
                    <a:pt x="173" y="206"/>
                  </a:lnTo>
                  <a:lnTo>
                    <a:pt x="160" y="203"/>
                  </a:lnTo>
                  <a:lnTo>
                    <a:pt x="146" y="198"/>
                  </a:lnTo>
                  <a:lnTo>
                    <a:pt x="131" y="193"/>
                  </a:lnTo>
                  <a:lnTo>
                    <a:pt x="116" y="186"/>
                  </a:lnTo>
                  <a:lnTo>
                    <a:pt x="101" y="183"/>
                  </a:lnTo>
                  <a:lnTo>
                    <a:pt x="88" y="179"/>
                  </a:lnTo>
                  <a:lnTo>
                    <a:pt x="75" y="178"/>
                  </a:lnTo>
                  <a:lnTo>
                    <a:pt x="66" y="180"/>
                  </a:lnTo>
                  <a:lnTo>
                    <a:pt x="59" y="185"/>
                  </a:lnTo>
                  <a:lnTo>
                    <a:pt x="55" y="195"/>
                  </a:lnTo>
                  <a:lnTo>
                    <a:pt x="51" y="220"/>
                  </a:lnTo>
                  <a:lnTo>
                    <a:pt x="50" y="242"/>
                  </a:lnTo>
                  <a:lnTo>
                    <a:pt x="48" y="263"/>
                  </a:lnTo>
                  <a:lnTo>
                    <a:pt x="48" y="289"/>
                  </a:lnTo>
                  <a:lnTo>
                    <a:pt x="50" y="320"/>
                  </a:lnTo>
                  <a:lnTo>
                    <a:pt x="45" y="310"/>
                  </a:lnTo>
                  <a:lnTo>
                    <a:pt x="41" y="294"/>
                  </a:lnTo>
                  <a:lnTo>
                    <a:pt x="36" y="275"/>
                  </a:lnTo>
                  <a:lnTo>
                    <a:pt x="30" y="253"/>
                  </a:lnTo>
                  <a:lnTo>
                    <a:pt x="25" y="230"/>
                  </a:lnTo>
                  <a:lnTo>
                    <a:pt x="20" y="207"/>
                  </a:lnTo>
                  <a:lnTo>
                    <a:pt x="18" y="185"/>
                  </a:lnTo>
                  <a:lnTo>
                    <a:pt x="15" y="167"/>
                  </a:lnTo>
                  <a:lnTo>
                    <a:pt x="15" y="152"/>
                  </a:lnTo>
                  <a:lnTo>
                    <a:pt x="15" y="143"/>
                  </a:lnTo>
                  <a:lnTo>
                    <a:pt x="21" y="129"/>
                  </a:lnTo>
                  <a:lnTo>
                    <a:pt x="25" y="116"/>
                  </a:lnTo>
                  <a:lnTo>
                    <a:pt x="29" y="107"/>
                  </a:lnTo>
                  <a:lnTo>
                    <a:pt x="32" y="102"/>
                  </a:lnTo>
                  <a:lnTo>
                    <a:pt x="33" y="99"/>
                  </a:lnTo>
                  <a:lnTo>
                    <a:pt x="30" y="99"/>
                  </a:lnTo>
                  <a:lnTo>
                    <a:pt x="23" y="99"/>
                  </a:lnTo>
                  <a:lnTo>
                    <a:pt x="12" y="99"/>
                  </a:lnTo>
                  <a:lnTo>
                    <a:pt x="5" y="99"/>
                  </a:lnTo>
                  <a:lnTo>
                    <a:pt x="0" y="99"/>
                  </a:lnTo>
                  <a:lnTo>
                    <a:pt x="1" y="98"/>
                  </a:lnTo>
                  <a:lnTo>
                    <a:pt x="7" y="94"/>
                  </a:lnTo>
                  <a:lnTo>
                    <a:pt x="20" y="88"/>
                  </a:lnTo>
                  <a:lnTo>
                    <a:pt x="36" y="80"/>
                  </a:lnTo>
                  <a:lnTo>
                    <a:pt x="56" y="68"/>
                  </a:lnTo>
                  <a:lnTo>
                    <a:pt x="72" y="59"/>
                  </a:lnTo>
                  <a:lnTo>
                    <a:pt x="83" y="54"/>
                  </a:lnTo>
                  <a:lnTo>
                    <a:pt x="89" y="50"/>
                  </a:lnTo>
                  <a:lnTo>
                    <a:pt x="93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5" y="49"/>
                  </a:lnTo>
                  <a:lnTo>
                    <a:pt x="93" y="50"/>
                  </a:lnTo>
                  <a:lnTo>
                    <a:pt x="86" y="50"/>
                  </a:lnTo>
                  <a:lnTo>
                    <a:pt x="75" y="50"/>
                  </a:lnTo>
                  <a:lnTo>
                    <a:pt x="65" y="50"/>
                  </a:lnTo>
                  <a:lnTo>
                    <a:pt x="56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6" y="48"/>
                  </a:lnTo>
                  <a:lnTo>
                    <a:pt x="65" y="43"/>
                  </a:lnTo>
                  <a:lnTo>
                    <a:pt x="80" y="36"/>
                  </a:lnTo>
                  <a:lnTo>
                    <a:pt x="100" y="29"/>
                  </a:lnTo>
                  <a:lnTo>
                    <a:pt x="123" y="24"/>
                  </a:lnTo>
                  <a:lnTo>
                    <a:pt x="142" y="22"/>
                  </a:lnTo>
                  <a:lnTo>
                    <a:pt x="159" y="22"/>
                  </a:lnTo>
                  <a:lnTo>
                    <a:pt x="170" y="25"/>
                  </a:lnTo>
                  <a:lnTo>
                    <a:pt x="177" y="27"/>
                  </a:lnTo>
                  <a:lnTo>
                    <a:pt x="177" y="26"/>
                  </a:lnTo>
                  <a:lnTo>
                    <a:pt x="173" y="22"/>
                  </a:lnTo>
                  <a:lnTo>
                    <a:pt x="168" y="16"/>
                  </a:lnTo>
                  <a:lnTo>
                    <a:pt x="163" y="9"/>
                  </a:lnTo>
                  <a:lnTo>
                    <a:pt x="159" y="4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6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2" name="Freeform 1395"/>
            <p:cNvSpPr>
              <a:spLocks/>
            </p:cNvSpPr>
            <p:nvPr/>
          </p:nvSpPr>
          <p:spPr bwMode="auto">
            <a:xfrm>
              <a:off x="-3187700" y="892175"/>
              <a:ext cx="157163" cy="33338"/>
            </a:xfrm>
            <a:custGeom>
              <a:avLst/>
              <a:gdLst>
                <a:gd name="T0" fmla="*/ 67 w 99"/>
                <a:gd name="T1" fmla="*/ 0 h 21"/>
                <a:gd name="T2" fmla="*/ 82 w 99"/>
                <a:gd name="T3" fmla="*/ 1 h 21"/>
                <a:gd name="T4" fmla="*/ 91 w 99"/>
                <a:gd name="T5" fmla="*/ 3 h 21"/>
                <a:gd name="T6" fmla="*/ 96 w 99"/>
                <a:gd name="T7" fmla="*/ 6 h 21"/>
                <a:gd name="T8" fmla="*/ 97 w 99"/>
                <a:gd name="T9" fmla="*/ 9 h 21"/>
                <a:gd name="T10" fmla="*/ 99 w 99"/>
                <a:gd name="T11" fmla="*/ 11 h 21"/>
                <a:gd name="T12" fmla="*/ 97 w 99"/>
                <a:gd name="T13" fmla="*/ 14 h 21"/>
                <a:gd name="T14" fmla="*/ 96 w 99"/>
                <a:gd name="T15" fmla="*/ 16 h 21"/>
                <a:gd name="T16" fmla="*/ 92 w 99"/>
                <a:gd name="T17" fmla="*/ 18 h 21"/>
                <a:gd name="T18" fmla="*/ 90 w 99"/>
                <a:gd name="T19" fmla="*/ 18 h 21"/>
                <a:gd name="T20" fmla="*/ 86 w 99"/>
                <a:gd name="T21" fmla="*/ 19 h 21"/>
                <a:gd name="T22" fmla="*/ 72 w 99"/>
                <a:gd name="T23" fmla="*/ 19 h 21"/>
                <a:gd name="T24" fmla="*/ 60 w 99"/>
                <a:gd name="T25" fmla="*/ 19 h 21"/>
                <a:gd name="T26" fmla="*/ 51 w 99"/>
                <a:gd name="T27" fmla="*/ 18 h 21"/>
                <a:gd name="T28" fmla="*/ 41 w 99"/>
                <a:gd name="T29" fmla="*/ 18 h 21"/>
                <a:gd name="T30" fmla="*/ 27 w 99"/>
                <a:gd name="T31" fmla="*/ 19 h 21"/>
                <a:gd name="T32" fmla="*/ 9 w 99"/>
                <a:gd name="T33" fmla="*/ 21 h 21"/>
                <a:gd name="T34" fmla="*/ 5 w 99"/>
                <a:gd name="T35" fmla="*/ 21 h 21"/>
                <a:gd name="T36" fmla="*/ 2 w 99"/>
                <a:gd name="T37" fmla="*/ 20 h 21"/>
                <a:gd name="T38" fmla="*/ 1 w 99"/>
                <a:gd name="T39" fmla="*/ 19 h 21"/>
                <a:gd name="T40" fmla="*/ 0 w 99"/>
                <a:gd name="T41" fmla="*/ 16 h 21"/>
                <a:gd name="T42" fmla="*/ 1 w 99"/>
                <a:gd name="T43" fmla="*/ 14 h 21"/>
                <a:gd name="T44" fmla="*/ 4 w 99"/>
                <a:gd name="T45" fmla="*/ 10 h 21"/>
                <a:gd name="T46" fmla="*/ 8 w 99"/>
                <a:gd name="T47" fmla="*/ 7 h 21"/>
                <a:gd name="T48" fmla="*/ 18 w 99"/>
                <a:gd name="T49" fmla="*/ 3 h 21"/>
                <a:gd name="T50" fmla="*/ 32 w 99"/>
                <a:gd name="T51" fmla="*/ 1 h 21"/>
                <a:gd name="T52" fmla="*/ 50 w 99"/>
                <a:gd name="T53" fmla="*/ 0 h 21"/>
                <a:gd name="T54" fmla="*/ 67 w 99"/>
                <a:gd name="T5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9" h="21">
                  <a:moveTo>
                    <a:pt x="67" y="0"/>
                  </a:moveTo>
                  <a:lnTo>
                    <a:pt x="82" y="1"/>
                  </a:lnTo>
                  <a:lnTo>
                    <a:pt x="91" y="3"/>
                  </a:lnTo>
                  <a:lnTo>
                    <a:pt x="96" y="6"/>
                  </a:lnTo>
                  <a:lnTo>
                    <a:pt x="97" y="9"/>
                  </a:lnTo>
                  <a:lnTo>
                    <a:pt x="99" y="11"/>
                  </a:lnTo>
                  <a:lnTo>
                    <a:pt x="97" y="14"/>
                  </a:lnTo>
                  <a:lnTo>
                    <a:pt x="96" y="16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86" y="19"/>
                  </a:lnTo>
                  <a:lnTo>
                    <a:pt x="72" y="19"/>
                  </a:lnTo>
                  <a:lnTo>
                    <a:pt x="60" y="19"/>
                  </a:lnTo>
                  <a:lnTo>
                    <a:pt x="51" y="18"/>
                  </a:lnTo>
                  <a:lnTo>
                    <a:pt x="41" y="18"/>
                  </a:lnTo>
                  <a:lnTo>
                    <a:pt x="27" y="19"/>
                  </a:lnTo>
                  <a:lnTo>
                    <a:pt x="9" y="21"/>
                  </a:lnTo>
                  <a:lnTo>
                    <a:pt x="5" y="21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4" y="10"/>
                  </a:lnTo>
                  <a:lnTo>
                    <a:pt x="8" y="7"/>
                  </a:lnTo>
                  <a:lnTo>
                    <a:pt x="18" y="3"/>
                  </a:lnTo>
                  <a:lnTo>
                    <a:pt x="32" y="1"/>
                  </a:lnTo>
                  <a:lnTo>
                    <a:pt x="50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6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3" name="Freeform 1396"/>
            <p:cNvSpPr>
              <a:spLocks/>
            </p:cNvSpPr>
            <p:nvPr/>
          </p:nvSpPr>
          <p:spPr bwMode="auto">
            <a:xfrm>
              <a:off x="-2936875" y="892175"/>
              <a:ext cx="150813" cy="33338"/>
            </a:xfrm>
            <a:custGeom>
              <a:avLst/>
              <a:gdLst>
                <a:gd name="T0" fmla="*/ 29 w 95"/>
                <a:gd name="T1" fmla="*/ 0 h 21"/>
                <a:gd name="T2" fmla="*/ 46 w 95"/>
                <a:gd name="T3" fmla="*/ 0 h 21"/>
                <a:gd name="T4" fmla="*/ 64 w 95"/>
                <a:gd name="T5" fmla="*/ 1 h 21"/>
                <a:gd name="T6" fmla="*/ 78 w 95"/>
                <a:gd name="T7" fmla="*/ 3 h 21"/>
                <a:gd name="T8" fmla="*/ 88 w 95"/>
                <a:gd name="T9" fmla="*/ 7 h 21"/>
                <a:gd name="T10" fmla="*/ 92 w 95"/>
                <a:gd name="T11" fmla="*/ 10 h 21"/>
                <a:gd name="T12" fmla="*/ 93 w 95"/>
                <a:gd name="T13" fmla="*/ 14 h 21"/>
                <a:gd name="T14" fmla="*/ 95 w 95"/>
                <a:gd name="T15" fmla="*/ 16 h 21"/>
                <a:gd name="T16" fmla="*/ 95 w 95"/>
                <a:gd name="T17" fmla="*/ 19 h 21"/>
                <a:gd name="T18" fmla="*/ 93 w 95"/>
                <a:gd name="T19" fmla="*/ 20 h 21"/>
                <a:gd name="T20" fmla="*/ 91 w 95"/>
                <a:gd name="T21" fmla="*/ 21 h 21"/>
                <a:gd name="T22" fmla="*/ 87 w 95"/>
                <a:gd name="T23" fmla="*/ 21 h 21"/>
                <a:gd name="T24" fmla="*/ 69 w 95"/>
                <a:gd name="T25" fmla="*/ 19 h 21"/>
                <a:gd name="T26" fmla="*/ 56 w 95"/>
                <a:gd name="T27" fmla="*/ 18 h 21"/>
                <a:gd name="T28" fmla="*/ 46 w 95"/>
                <a:gd name="T29" fmla="*/ 18 h 21"/>
                <a:gd name="T30" fmla="*/ 37 w 95"/>
                <a:gd name="T31" fmla="*/ 19 h 21"/>
                <a:gd name="T32" fmla="*/ 27 w 95"/>
                <a:gd name="T33" fmla="*/ 19 h 21"/>
                <a:gd name="T34" fmla="*/ 12 w 95"/>
                <a:gd name="T35" fmla="*/ 19 h 21"/>
                <a:gd name="T36" fmla="*/ 9 w 95"/>
                <a:gd name="T37" fmla="*/ 18 h 21"/>
                <a:gd name="T38" fmla="*/ 5 w 95"/>
                <a:gd name="T39" fmla="*/ 18 h 21"/>
                <a:gd name="T40" fmla="*/ 2 w 95"/>
                <a:gd name="T41" fmla="*/ 16 h 21"/>
                <a:gd name="T42" fmla="*/ 1 w 95"/>
                <a:gd name="T43" fmla="*/ 14 h 21"/>
                <a:gd name="T44" fmla="*/ 0 w 95"/>
                <a:gd name="T45" fmla="*/ 11 h 21"/>
                <a:gd name="T46" fmla="*/ 0 w 95"/>
                <a:gd name="T47" fmla="*/ 9 h 21"/>
                <a:gd name="T48" fmla="*/ 2 w 95"/>
                <a:gd name="T49" fmla="*/ 6 h 21"/>
                <a:gd name="T50" fmla="*/ 6 w 95"/>
                <a:gd name="T51" fmla="*/ 3 h 21"/>
                <a:gd name="T52" fmla="*/ 15 w 95"/>
                <a:gd name="T53" fmla="*/ 1 h 21"/>
                <a:gd name="T54" fmla="*/ 29 w 95"/>
                <a:gd name="T5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21">
                  <a:moveTo>
                    <a:pt x="29" y="0"/>
                  </a:moveTo>
                  <a:lnTo>
                    <a:pt x="46" y="0"/>
                  </a:lnTo>
                  <a:lnTo>
                    <a:pt x="64" y="1"/>
                  </a:lnTo>
                  <a:lnTo>
                    <a:pt x="78" y="3"/>
                  </a:lnTo>
                  <a:lnTo>
                    <a:pt x="88" y="7"/>
                  </a:lnTo>
                  <a:lnTo>
                    <a:pt x="92" y="10"/>
                  </a:lnTo>
                  <a:lnTo>
                    <a:pt x="93" y="14"/>
                  </a:lnTo>
                  <a:lnTo>
                    <a:pt x="95" y="16"/>
                  </a:lnTo>
                  <a:lnTo>
                    <a:pt x="95" y="19"/>
                  </a:lnTo>
                  <a:lnTo>
                    <a:pt x="93" y="20"/>
                  </a:lnTo>
                  <a:lnTo>
                    <a:pt x="91" y="21"/>
                  </a:lnTo>
                  <a:lnTo>
                    <a:pt x="87" y="21"/>
                  </a:lnTo>
                  <a:lnTo>
                    <a:pt x="69" y="19"/>
                  </a:lnTo>
                  <a:lnTo>
                    <a:pt x="56" y="18"/>
                  </a:lnTo>
                  <a:lnTo>
                    <a:pt x="46" y="18"/>
                  </a:lnTo>
                  <a:lnTo>
                    <a:pt x="37" y="19"/>
                  </a:lnTo>
                  <a:lnTo>
                    <a:pt x="27" y="19"/>
                  </a:lnTo>
                  <a:lnTo>
                    <a:pt x="12" y="1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6"/>
                  </a:lnTo>
                  <a:lnTo>
                    <a:pt x="6" y="3"/>
                  </a:lnTo>
                  <a:lnTo>
                    <a:pt x="15" y="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C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4" name="Freeform 1397"/>
            <p:cNvSpPr>
              <a:spLocks/>
            </p:cNvSpPr>
            <p:nvPr/>
          </p:nvSpPr>
          <p:spPr bwMode="auto">
            <a:xfrm>
              <a:off x="-3152775" y="936625"/>
              <a:ext cx="107950" cy="42863"/>
            </a:xfrm>
            <a:custGeom>
              <a:avLst/>
              <a:gdLst>
                <a:gd name="T0" fmla="*/ 32 w 68"/>
                <a:gd name="T1" fmla="*/ 0 h 27"/>
                <a:gd name="T2" fmla="*/ 38 w 68"/>
                <a:gd name="T3" fmla="*/ 1 h 27"/>
                <a:gd name="T4" fmla="*/ 47 w 68"/>
                <a:gd name="T5" fmla="*/ 2 h 27"/>
                <a:gd name="T6" fmla="*/ 56 w 68"/>
                <a:gd name="T7" fmla="*/ 4 h 27"/>
                <a:gd name="T8" fmla="*/ 64 w 68"/>
                <a:gd name="T9" fmla="*/ 8 h 27"/>
                <a:gd name="T10" fmla="*/ 68 w 68"/>
                <a:gd name="T11" fmla="*/ 11 h 27"/>
                <a:gd name="T12" fmla="*/ 64 w 68"/>
                <a:gd name="T13" fmla="*/ 15 h 27"/>
                <a:gd name="T14" fmla="*/ 56 w 68"/>
                <a:gd name="T15" fmla="*/ 20 h 27"/>
                <a:gd name="T16" fmla="*/ 45 w 68"/>
                <a:gd name="T17" fmla="*/ 25 h 27"/>
                <a:gd name="T18" fmla="*/ 32 w 68"/>
                <a:gd name="T19" fmla="*/ 27 h 27"/>
                <a:gd name="T20" fmla="*/ 21 w 68"/>
                <a:gd name="T21" fmla="*/ 25 h 27"/>
                <a:gd name="T22" fmla="*/ 11 w 68"/>
                <a:gd name="T23" fmla="*/ 22 h 27"/>
                <a:gd name="T24" fmla="*/ 3 w 68"/>
                <a:gd name="T25" fmla="*/ 18 h 27"/>
                <a:gd name="T26" fmla="*/ 0 w 68"/>
                <a:gd name="T27" fmla="*/ 14 h 27"/>
                <a:gd name="T28" fmla="*/ 0 w 68"/>
                <a:gd name="T29" fmla="*/ 14 h 27"/>
                <a:gd name="T30" fmla="*/ 0 w 68"/>
                <a:gd name="T31" fmla="*/ 11 h 27"/>
                <a:gd name="T32" fmla="*/ 1 w 68"/>
                <a:gd name="T33" fmla="*/ 10 h 27"/>
                <a:gd name="T34" fmla="*/ 2 w 68"/>
                <a:gd name="T35" fmla="*/ 8 h 27"/>
                <a:gd name="T36" fmla="*/ 9 w 68"/>
                <a:gd name="T37" fmla="*/ 4 h 27"/>
                <a:gd name="T38" fmla="*/ 18 w 68"/>
                <a:gd name="T39" fmla="*/ 1 h 27"/>
                <a:gd name="T40" fmla="*/ 32 w 68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27">
                  <a:moveTo>
                    <a:pt x="32" y="0"/>
                  </a:moveTo>
                  <a:lnTo>
                    <a:pt x="38" y="1"/>
                  </a:lnTo>
                  <a:lnTo>
                    <a:pt x="47" y="2"/>
                  </a:lnTo>
                  <a:lnTo>
                    <a:pt x="56" y="4"/>
                  </a:lnTo>
                  <a:lnTo>
                    <a:pt x="64" y="8"/>
                  </a:lnTo>
                  <a:lnTo>
                    <a:pt x="68" y="11"/>
                  </a:lnTo>
                  <a:lnTo>
                    <a:pt x="64" y="15"/>
                  </a:lnTo>
                  <a:lnTo>
                    <a:pt x="56" y="20"/>
                  </a:lnTo>
                  <a:lnTo>
                    <a:pt x="45" y="25"/>
                  </a:lnTo>
                  <a:lnTo>
                    <a:pt x="32" y="27"/>
                  </a:lnTo>
                  <a:lnTo>
                    <a:pt x="21" y="25"/>
                  </a:lnTo>
                  <a:lnTo>
                    <a:pt x="11" y="22"/>
                  </a:lnTo>
                  <a:lnTo>
                    <a:pt x="3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2" y="8"/>
                  </a:lnTo>
                  <a:lnTo>
                    <a:pt x="9" y="4"/>
                  </a:lnTo>
                  <a:lnTo>
                    <a:pt x="18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5" name="Freeform 1398"/>
            <p:cNvSpPr>
              <a:spLocks/>
            </p:cNvSpPr>
            <p:nvPr/>
          </p:nvSpPr>
          <p:spPr bwMode="auto">
            <a:xfrm>
              <a:off x="-3121025" y="936625"/>
              <a:ext cx="42863" cy="42863"/>
            </a:xfrm>
            <a:custGeom>
              <a:avLst/>
              <a:gdLst>
                <a:gd name="T0" fmla="*/ 14 w 27"/>
                <a:gd name="T1" fmla="*/ 0 h 27"/>
                <a:gd name="T2" fmla="*/ 18 w 27"/>
                <a:gd name="T3" fmla="*/ 1 h 27"/>
                <a:gd name="T4" fmla="*/ 22 w 27"/>
                <a:gd name="T5" fmla="*/ 2 h 27"/>
                <a:gd name="T6" fmla="*/ 25 w 27"/>
                <a:gd name="T7" fmla="*/ 6 h 27"/>
                <a:gd name="T8" fmla="*/ 27 w 27"/>
                <a:gd name="T9" fmla="*/ 10 h 27"/>
                <a:gd name="T10" fmla="*/ 27 w 27"/>
                <a:gd name="T11" fmla="*/ 14 h 27"/>
                <a:gd name="T12" fmla="*/ 26 w 27"/>
                <a:gd name="T13" fmla="*/ 18 h 27"/>
                <a:gd name="T14" fmla="*/ 25 w 27"/>
                <a:gd name="T15" fmla="*/ 22 h 27"/>
                <a:gd name="T16" fmla="*/ 22 w 27"/>
                <a:gd name="T17" fmla="*/ 24 h 27"/>
                <a:gd name="T18" fmla="*/ 18 w 27"/>
                <a:gd name="T19" fmla="*/ 27 h 27"/>
                <a:gd name="T20" fmla="*/ 13 w 27"/>
                <a:gd name="T21" fmla="*/ 27 h 27"/>
                <a:gd name="T22" fmla="*/ 9 w 27"/>
                <a:gd name="T23" fmla="*/ 25 h 27"/>
                <a:gd name="T24" fmla="*/ 5 w 27"/>
                <a:gd name="T25" fmla="*/ 24 h 27"/>
                <a:gd name="T26" fmla="*/ 3 w 27"/>
                <a:gd name="T27" fmla="*/ 20 h 27"/>
                <a:gd name="T28" fmla="*/ 1 w 27"/>
                <a:gd name="T29" fmla="*/ 17 h 27"/>
                <a:gd name="T30" fmla="*/ 0 w 27"/>
                <a:gd name="T31" fmla="*/ 13 h 27"/>
                <a:gd name="T32" fmla="*/ 1 w 27"/>
                <a:gd name="T33" fmla="*/ 9 h 27"/>
                <a:gd name="T34" fmla="*/ 3 w 27"/>
                <a:gd name="T35" fmla="*/ 5 h 27"/>
                <a:gd name="T36" fmla="*/ 7 w 27"/>
                <a:gd name="T37" fmla="*/ 2 h 27"/>
                <a:gd name="T38" fmla="*/ 10 w 27"/>
                <a:gd name="T39" fmla="*/ 0 h 27"/>
                <a:gd name="T40" fmla="*/ 14 w 27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7">
                  <a:moveTo>
                    <a:pt x="14" y="0"/>
                  </a:moveTo>
                  <a:lnTo>
                    <a:pt x="18" y="1"/>
                  </a:lnTo>
                  <a:lnTo>
                    <a:pt x="22" y="2"/>
                  </a:lnTo>
                  <a:lnTo>
                    <a:pt x="25" y="6"/>
                  </a:lnTo>
                  <a:lnTo>
                    <a:pt x="27" y="10"/>
                  </a:lnTo>
                  <a:lnTo>
                    <a:pt x="27" y="14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2" y="24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5"/>
                  </a:lnTo>
                  <a:lnTo>
                    <a:pt x="5" y="24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1" y="9"/>
                  </a:lnTo>
                  <a:lnTo>
                    <a:pt x="3" y="5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37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6" name="Freeform 1399"/>
            <p:cNvSpPr>
              <a:spLocks/>
            </p:cNvSpPr>
            <p:nvPr/>
          </p:nvSpPr>
          <p:spPr bwMode="auto">
            <a:xfrm>
              <a:off x="-3098800" y="942975"/>
              <a:ext cx="14288" cy="14288"/>
            </a:xfrm>
            <a:custGeom>
              <a:avLst/>
              <a:gdLst>
                <a:gd name="T0" fmla="*/ 5 w 9"/>
                <a:gd name="T1" fmla="*/ 0 h 9"/>
                <a:gd name="T2" fmla="*/ 8 w 9"/>
                <a:gd name="T3" fmla="*/ 1 h 9"/>
                <a:gd name="T4" fmla="*/ 9 w 9"/>
                <a:gd name="T5" fmla="*/ 2 h 9"/>
                <a:gd name="T6" fmla="*/ 9 w 9"/>
                <a:gd name="T7" fmla="*/ 5 h 9"/>
                <a:gd name="T8" fmla="*/ 9 w 9"/>
                <a:gd name="T9" fmla="*/ 6 h 9"/>
                <a:gd name="T10" fmla="*/ 8 w 9"/>
                <a:gd name="T11" fmla="*/ 7 h 9"/>
                <a:gd name="T12" fmla="*/ 5 w 9"/>
                <a:gd name="T13" fmla="*/ 9 h 9"/>
                <a:gd name="T14" fmla="*/ 3 w 9"/>
                <a:gd name="T15" fmla="*/ 7 h 9"/>
                <a:gd name="T16" fmla="*/ 2 w 9"/>
                <a:gd name="T17" fmla="*/ 6 h 9"/>
                <a:gd name="T18" fmla="*/ 0 w 9"/>
                <a:gd name="T19" fmla="*/ 4 h 9"/>
                <a:gd name="T20" fmla="*/ 2 w 9"/>
                <a:gd name="T21" fmla="*/ 2 h 9"/>
                <a:gd name="T22" fmla="*/ 3 w 9"/>
                <a:gd name="T23" fmla="*/ 0 h 9"/>
                <a:gd name="T24" fmla="*/ 5 w 9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8" y="1"/>
                  </a:lnTo>
                  <a:lnTo>
                    <a:pt x="9" y="2"/>
                  </a:lnTo>
                  <a:lnTo>
                    <a:pt x="9" y="5"/>
                  </a:lnTo>
                  <a:lnTo>
                    <a:pt x="9" y="6"/>
                  </a:lnTo>
                  <a:lnTo>
                    <a:pt x="8" y="7"/>
                  </a:lnTo>
                  <a:lnTo>
                    <a:pt x="5" y="9"/>
                  </a:lnTo>
                  <a:lnTo>
                    <a:pt x="3" y="7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7" name="Freeform 1400"/>
            <p:cNvSpPr>
              <a:spLocks/>
            </p:cNvSpPr>
            <p:nvPr/>
          </p:nvSpPr>
          <p:spPr bwMode="auto">
            <a:xfrm>
              <a:off x="-3151188" y="936625"/>
              <a:ext cx="103188" cy="14288"/>
            </a:xfrm>
            <a:custGeom>
              <a:avLst/>
              <a:gdLst>
                <a:gd name="T0" fmla="*/ 28 w 65"/>
                <a:gd name="T1" fmla="*/ 0 h 9"/>
                <a:gd name="T2" fmla="*/ 42 w 65"/>
                <a:gd name="T3" fmla="*/ 0 h 9"/>
                <a:gd name="T4" fmla="*/ 55 w 65"/>
                <a:gd name="T5" fmla="*/ 2 h 9"/>
                <a:gd name="T6" fmla="*/ 65 w 65"/>
                <a:gd name="T7" fmla="*/ 9 h 9"/>
                <a:gd name="T8" fmla="*/ 46 w 65"/>
                <a:gd name="T9" fmla="*/ 2 h 9"/>
                <a:gd name="T10" fmla="*/ 28 w 65"/>
                <a:gd name="T11" fmla="*/ 1 h 9"/>
                <a:gd name="T12" fmla="*/ 15 w 65"/>
                <a:gd name="T13" fmla="*/ 2 h 9"/>
                <a:gd name="T14" fmla="*/ 5 w 65"/>
                <a:gd name="T15" fmla="*/ 6 h 9"/>
                <a:gd name="T16" fmla="*/ 0 w 65"/>
                <a:gd name="T17" fmla="*/ 9 h 9"/>
                <a:gd name="T18" fmla="*/ 0 w 65"/>
                <a:gd name="T19" fmla="*/ 9 h 9"/>
                <a:gd name="T20" fmla="*/ 0 w 65"/>
                <a:gd name="T21" fmla="*/ 8 h 9"/>
                <a:gd name="T22" fmla="*/ 1 w 65"/>
                <a:gd name="T23" fmla="*/ 6 h 9"/>
                <a:gd name="T24" fmla="*/ 4 w 65"/>
                <a:gd name="T25" fmla="*/ 5 h 9"/>
                <a:gd name="T26" fmla="*/ 6 w 65"/>
                <a:gd name="T27" fmla="*/ 4 h 9"/>
                <a:gd name="T28" fmla="*/ 11 w 65"/>
                <a:gd name="T29" fmla="*/ 1 h 9"/>
                <a:gd name="T30" fmla="*/ 17 w 65"/>
                <a:gd name="T31" fmla="*/ 0 h 9"/>
                <a:gd name="T32" fmla="*/ 28 w 65"/>
                <a:gd name="T3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9">
                  <a:moveTo>
                    <a:pt x="28" y="0"/>
                  </a:moveTo>
                  <a:lnTo>
                    <a:pt x="42" y="0"/>
                  </a:lnTo>
                  <a:lnTo>
                    <a:pt x="55" y="2"/>
                  </a:lnTo>
                  <a:lnTo>
                    <a:pt x="65" y="9"/>
                  </a:lnTo>
                  <a:lnTo>
                    <a:pt x="46" y="2"/>
                  </a:lnTo>
                  <a:lnTo>
                    <a:pt x="28" y="1"/>
                  </a:lnTo>
                  <a:lnTo>
                    <a:pt x="15" y="2"/>
                  </a:lnTo>
                  <a:lnTo>
                    <a:pt x="5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4" y="5"/>
                  </a:lnTo>
                  <a:lnTo>
                    <a:pt x="6" y="4"/>
                  </a:lnTo>
                  <a:lnTo>
                    <a:pt x="11" y="1"/>
                  </a:lnTo>
                  <a:lnTo>
                    <a:pt x="1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8" name="Freeform 1401"/>
            <p:cNvSpPr>
              <a:spLocks/>
            </p:cNvSpPr>
            <p:nvPr/>
          </p:nvSpPr>
          <p:spPr bwMode="auto">
            <a:xfrm>
              <a:off x="-2921000" y="939800"/>
              <a:ext cx="107950" cy="42863"/>
            </a:xfrm>
            <a:custGeom>
              <a:avLst/>
              <a:gdLst>
                <a:gd name="T0" fmla="*/ 32 w 68"/>
                <a:gd name="T1" fmla="*/ 0 h 27"/>
                <a:gd name="T2" fmla="*/ 38 w 68"/>
                <a:gd name="T3" fmla="*/ 0 h 27"/>
                <a:gd name="T4" fmla="*/ 47 w 68"/>
                <a:gd name="T5" fmla="*/ 2 h 27"/>
                <a:gd name="T6" fmla="*/ 58 w 68"/>
                <a:gd name="T7" fmla="*/ 4 h 27"/>
                <a:gd name="T8" fmla="*/ 65 w 68"/>
                <a:gd name="T9" fmla="*/ 7 h 27"/>
                <a:gd name="T10" fmla="*/ 68 w 68"/>
                <a:gd name="T11" fmla="*/ 11 h 27"/>
                <a:gd name="T12" fmla="*/ 65 w 68"/>
                <a:gd name="T13" fmla="*/ 16 h 27"/>
                <a:gd name="T14" fmla="*/ 58 w 68"/>
                <a:gd name="T15" fmla="*/ 21 h 27"/>
                <a:gd name="T16" fmla="*/ 46 w 68"/>
                <a:gd name="T17" fmla="*/ 25 h 27"/>
                <a:gd name="T18" fmla="*/ 33 w 68"/>
                <a:gd name="T19" fmla="*/ 27 h 27"/>
                <a:gd name="T20" fmla="*/ 23 w 68"/>
                <a:gd name="T21" fmla="*/ 26 h 27"/>
                <a:gd name="T22" fmla="*/ 13 w 68"/>
                <a:gd name="T23" fmla="*/ 22 h 27"/>
                <a:gd name="T24" fmla="*/ 4 w 68"/>
                <a:gd name="T25" fmla="*/ 18 h 27"/>
                <a:gd name="T26" fmla="*/ 0 w 68"/>
                <a:gd name="T27" fmla="*/ 15 h 27"/>
                <a:gd name="T28" fmla="*/ 0 w 68"/>
                <a:gd name="T29" fmla="*/ 13 h 27"/>
                <a:gd name="T30" fmla="*/ 1 w 68"/>
                <a:gd name="T31" fmla="*/ 12 h 27"/>
                <a:gd name="T32" fmla="*/ 1 w 68"/>
                <a:gd name="T33" fmla="*/ 9 h 27"/>
                <a:gd name="T34" fmla="*/ 2 w 68"/>
                <a:gd name="T35" fmla="*/ 7 h 27"/>
                <a:gd name="T36" fmla="*/ 9 w 68"/>
                <a:gd name="T37" fmla="*/ 3 h 27"/>
                <a:gd name="T38" fmla="*/ 19 w 68"/>
                <a:gd name="T39" fmla="*/ 0 h 27"/>
                <a:gd name="T40" fmla="*/ 32 w 68"/>
                <a:gd name="T4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27">
                  <a:moveTo>
                    <a:pt x="32" y="0"/>
                  </a:moveTo>
                  <a:lnTo>
                    <a:pt x="38" y="0"/>
                  </a:lnTo>
                  <a:lnTo>
                    <a:pt x="47" y="2"/>
                  </a:lnTo>
                  <a:lnTo>
                    <a:pt x="58" y="4"/>
                  </a:lnTo>
                  <a:lnTo>
                    <a:pt x="65" y="7"/>
                  </a:lnTo>
                  <a:lnTo>
                    <a:pt x="68" y="11"/>
                  </a:lnTo>
                  <a:lnTo>
                    <a:pt x="65" y="16"/>
                  </a:lnTo>
                  <a:lnTo>
                    <a:pt x="58" y="21"/>
                  </a:lnTo>
                  <a:lnTo>
                    <a:pt x="46" y="25"/>
                  </a:lnTo>
                  <a:lnTo>
                    <a:pt x="33" y="27"/>
                  </a:lnTo>
                  <a:lnTo>
                    <a:pt x="23" y="26"/>
                  </a:lnTo>
                  <a:lnTo>
                    <a:pt x="13" y="22"/>
                  </a:lnTo>
                  <a:lnTo>
                    <a:pt x="4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1" y="9"/>
                  </a:lnTo>
                  <a:lnTo>
                    <a:pt x="2" y="7"/>
                  </a:lnTo>
                  <a:lnTo>
                    <a:pt x="9" y="3"/>
                  </a:lnTo>
                  <a:lnTo>
                    <a:pt x="19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9" name="Freeform 1402"/>
            <p:cNvSpPr>
              <a:spLocks/>
            </p:cNvSpPr>
            <p:nvPr/>
          </p:nvSpPr>
          <p:spPr bwMode="auto">
            <a:xfrm>
              <a:off x="-2886075" y="938212"/>
              <a:ext cx="42863" cy="44450"/>
            </a:xfrm>
            <a:custGeom>
              <a:avLst/>
              <a:gdLst>
                <a:gd name="T0" fmla="*/ 14 w 27"/>
                <a:gd name="T1" fmla="*/ 0 h 28"/>
                <a:gd name="T2" fmla="*/ 18 w 27"/>
                <a:gd name="T3" fmla="*/ 1 h 28"/>
                <a:gd name="T4" fmla="*/ 22 w 27"/>
                <a:gd name="T5" fmla="*/ 4 h 28"/>
                <a:gd name="T6" fmla="*/ 24 w 27"/>
                <a:gd name="T7" fmla="*/ 7 h 28"/>
                <a:gd name="T8" fmla="*/ 25 w 27"/>
                <a:gd name="T9" fmla="*/ 10 h 28"/>
                <a:gd name="T10" fmla="*/ 27 w 27"/>
                <a:gd name="T11" fmla="*/ 14 h 28"/>
                <a:gd name="T12" fmla="*/ 25 w 27"/>
                <a:gd name="T13" fmla="*/ 19 h 28"/>
                <a:gd name="T14" fmla="*/ 23 w 27"/>
                <a:gd name="T15" fmla="*/ 23 h 28"/>
                <a:gd name="T16" fmla="*/ 20 w 27"/>
                <a:gd name="T17" fmla="*/ 26 h 28"/>
                <a:gd name="T18" fmla="*/ 16 w 27"/>
                <a:gd name="T19" fmla="*/ 27 h 28"/>
                <a:gd name="T20" fmla="*/ 13 w 27"/>
                <a:gd name="T21" fmla="*/ 28 h 28"/>
                <a:gd name="T22" fmla="*/ 9 w 27"/>
                <a:gd name="T23" fmla="*/ 27 h 28"/>
                <a:gd name="T24" fmla="*/ 5 w 27"/>
                <a:gd name="T25" fmla="*/ 24 h 28"/>
                <a:gd name="T26" fmla="*/ 2 w 27"/>
                <a:gd name="T27" fmla="*/ 22 h 28"/>
                <a:gd name="T28" fmla="*/ 0 w 27"/>
                <a:gd name="T29" fmla="*/ 18 h 28"/>
                <a:gd name="T30" fmla="*/ 0 w 27"/>
                <a:gd name="T31" fmla="*/ 14 h 28"/>
                <a:gd name="T32" fmla="*/ 0 w 27"/>
                <a:gd name="T33" fmla="*/ 9 h 28"/>
                <a:gd name="T34" fmla="*/ 2 w 27"/>
                <a:gd name="T35" fmla="*/ 5 h 28"/>
                <a:gd name="T36" fmla="*/ 5 w 27"/>
                <a:gd name="T37" fmla="*/ 3 h 28"/>
                <a:gd name="T38" fmla="*/ 9 w 27"/>
                <a:gd name="T39" fmla="*/ 1 h 28"/>
                <a:gd name="T40" fmla="*/ 14 w 27"/>
                <a:gd name="T4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8">
                  <a:moveTo>
                    <a:pt x="14" y="0"/>
                  </a:moveTo>
                  <a:lnTo>
                    <a:pt x="18" y="1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5" y="10"/>
                  </a:lnTo>
                  <a:lnTo>
                    <a:pt x="27" y="14"/>
                  </a:lnTo>
                  <a:lnTo>
                    <a:pt x="25" y="19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6" y="27"/>
                  </a:lnTo>
                  <a:lnTo>
                    <a:pt x="13" y="28"/>
                  </a:lnTo>
                  <a:lnTo>
                    <a:pt x="9" y="27"/>
                  </a:lnTo>
                  <a:lnTo>
                    <a:pt x="5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37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0" name="Freeform 1403"/>
            <p:cNvSpPr>
              <a:spLocks/>
            </p:cNvSpPr>
            <p:nvPr/>
          </p:nvSpPr>
          <p:spPr bwMode="auto">
            <a:xfrm>
              <a:off x="-2863850" y="946150"/>
              <a:ext cx="14288" cy="12700"/>
            </a:xfrm>
            <a:custGeom>
              <a:avLst/>
              <a:gdLst>
                <a:gd name="T0" fmla="*/ 4 w 9"/>
                <a:gd name="T1" fmla="*/ 0 h 8"/>
                <a:gd name="T2" fmla="*/ 6 w 9"/>
                <a:gd name="T3" fmla="*/ 0 h 8"/>
                <a:gd name="T4" fmla="*/ 9 w 9"/>
                <a:gd name="T5" fmla="*/ 2 h 8"/>
                <a:gd name="T6" fmla="*/ 9 w 9"/>
                <a:gd name="T7" fmla="*/ 4 h 8"/>
                <a:gd name="T8" fmla="*/ 9 w 9"/>
                <a:gd name="T9" fmla="*/ 7 h 8"/>
                <a:gd name="T10" fmla="*/ 6 w 9"/>
                <a:gd name="T11" fmla="*/ 8 h 8"/>
                <a:gd name="T12" fmla="*/ 4 w 9"/>
                <a:gd name="T13" fmla="*/ 8 h 8"/>
                <a:gd name="T14" fmla="*/ 1 w 9"/>
                <a:gd name="T15" fmla="*/ 8 h 8"/>
                <a:gd name="T16" fmla="*/ 0 w 9"/>
                <a:gd name="T17" fmla="*/ 5 h 8"/>
                <a:gd name="T18" fmla="*/ 0 w 9"/>
                <a:gd name="T19" fmla="*/ 4 h 8"/>
                <a:gd name="T20" fmla="*/ 0 w 9"/>
                <a:gd name="T21" fmla="*/ 2 h 8"/>
                <a:gd name="T22" fmla="*/ 2 w 9"/>
                <a:gd name="T23" fmla="*/ 0 h 8"/>
                <a:gd name="T24" fmla="*/ 4 w 9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8">
                  <a:moveTo>
                    <a:pt x="4" y="0"/>
                  </a:moveTo>
                  <a:lnTo>
                    <a:pt x="6" y="0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7"/>
                  </a:lnTo>
                  <a:lnTo>
                    <a:pt x="6" y="8"/>
                  </a:lnTo>
                  <a:lnTo>
                    <a:pt x="4" y="8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1" name="Freeform 1404"/>
            <p:cNvSpPr>
              <a:spLocks/>
            </p:cNvSpPr>
            <p:nvPr/>
          </p:nvSpPr>
          <p:spPr bwMode="auto">
            <a:xfrm>
              <a:off x="-2917825" y="938212"/>
              <a:ext cx="103188" cy="15875"/>
            </a:xfrm>
            <a:custGeom>
              <a:avLst/>
              <a:gdLst>
                <a:gd name="T0" fmla="*/ 29 w 65"/>
                <a:gd name="T1" fmla="*/ 0 h 10"/>
                <a:gd name="T2" fmla="*/ 43 w 65"/>
                <a:gd name="T3" fmla="*/ 1 h 10"/>
                <a:gd name="T4" fmla="*/ 56 w 65"/>
                <a:gd name="T5" fmla="*/ 4 h 10"/>
                <a:gd name="T6" fmla="*/ 65 w 65"/>
                <a:gd name="T7" fmla="*/ 10 h 10"/>
                <a:gd name="T8" fmla="*/ 45 w 65"/>
                <a:gd name="T9" fmla="*/ 3 h 10"/>
                <a:gd name="T10" fmla="*/ 29 w 65"/>
                <a:gd name="T11" fmla="*/ 1 h 10"/>
                <a:gd name="T12" fmla="*/ 15 w 65"/>
                <a:gd name="T13" fmla="*/ 4 h 10"/>
                <a:gd name="T14" fmla="*/ 6 w 65"/>
                <a:gd name="T15" fmla="*/ 8 h 10"/>
                <a:gd name="T16" fmla="*/ 0 w 65"/>
                <a:gd name="T17" fmla="*/ 10 h 10"/>
                <a:gd name="T18" fmla="*/ 0 w 65"/>
                <a:gd name="T19" fmla="*/ 9 h 10"/>
                <a:gd name="T20" fmla="*/ 0 w 65"/>
                <a:gd name="T21" fmla="*/ 9 h 10"/>
                <a:gd name="T22" fmla="*/ 2 w 65"/>
                <a:gd name="T23" fmla="*/ 8 h 10"/>
                <a:gd name="T24" fmla="*/ 4 w 65"/>
                <a:gd name="T25" fmla="*/ 5 h 10"/>
                <a:gd name="T26" fmla="*/ 7 w 65"/>
                <a:gd name="T27" fmla="*/ 4 h 10"/>
                <a:gd name="T28" fmla="*/ 11 w 65"/>
                <a:gd name="T29" fmla="*/ 3 h 10"/>
                <a:gd name="T30" fmla="*/ 17 w 65"/>
                <a:gd name="T31" fmla="*/ 1 h 10"/>
                <a:gd name="T32" fmla="*/ 29 w 65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0">
                  <a:moveTo>
                    <a:pt x="29" y="0"/>
                  </a:moveTo>
                  <a:lnTo>
                    <a:pt x="43" y="1"/>
                  </a:lnTo>
                  <a:lnTo>
                    <a:pt x="56" y="4"/>
                  </a:lnTo>
                  <a:lnTo>
                    <a:pt x="65" y="10"/>
                  </a:lnTo>
                  <a:lnTo>
                    <a:pt x="45" y="3"/>
                  </a:lnTo>
                  <a:lnTo>
                    <a:pt x="29" y="1"/>
                  </a:lnTo>
                  <a:lnTo>
                    <a:pt x="15" y="4"/>
                  </a:lnTo>
                  <a:lnTo>
                    <a:pt x="6" y="8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7" y="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2" name="Freeform 1405"/>
            <p:cNvSpPr>
              <a:spLocks/>
            </p:cNvSpPr>
            <p:nvPr/>
          </p:nvSpPr>
          <p:spPr bwMode="auto">
            <a:xfrm>
              <a:off x="-3073400" y="1187450"/>
              <a:ext cx="176213" cy="22225"/>
            </a:xfrm>
            <a:custGeom>
              <a:avLst/>
              <a:gdLst>
                <a:gd name="T0" fmla="*/ 0 w 111"/>
                <a:gd name="T1" fmla="*/ 0 h 14"/>
                <a:gd name="T2" fmla="*/ 10 w 111"/>
                <a:gd name="T3" fmla="*/ 5 h 14"/>
                <a:gd name="T4" fmla="*/ 23 w 111"/>
                <a:gd name="T5" fmla="*/ 9 h 14"/>
                <a:gd name="T6" fmla="*/ 38 w 111"/>
                <a:gd name="T7" fmla="*/ 10 h 14"/>
                <a:gd name="T8" fmla="*/ 56 w 111"/>
                <a:gd name="T9" fmla="*/ 11 h 14"/>
                <a:gd name="T10" fmla="*/ 73 w 111"/>
                <a:gd name="T11" fmla="*/ 10 h 14"/>
                <a:gd name="T12" fmla="*/ 88 w 111"/>
                <a:gd name="T13" fmla="*/ 9 h 14"/>
                <a:gd name="T14" fmla="*/ 101 w 111"/>
                <a:gd name="T15" fmla="*/ 5 h 14"/>
                <a:gd name="T16" fmla="*/ 111 w 111"/>
                <a:gd name="T17" fmla="*/ 0 h 14"/>
                <a:gd name="T18" fmla="*/ 104 w 111"/>
                <a:gd name="T19" fmla="*/ 6 h 14"/>
                <a:gd name="T20" fmla="*/ 91 w 111"/>
                <a:gd name="T21" fmla="*/ 11 h 14"/>
                <a:gd name="T22" fmla="*/ 74 w 111"/>
                <a:gd name="T23" fmla="*/ 14 h 14"/>
                <a:gd name="T24" fmla="*/ 56 w 111"/>
                <a:gd name="T25" fmla="*/ 14 h 14"/>
                <a:gd name="T26" fmla="*/ 38 w 111"/>
                <a:gd name="T27" fmla="*/ 14 h 14"/>
                <a:gd name="T28" fmla="*/ 21 w 111"/>
                <a:gd name="T29" fmla="*/ 11 h 14"/>
                <a:gd name="T30" fmla="*/ 9 w 111"/>
                <a:gd name="T31" fmla="*/ 6 h 14"/>
                <a:gd name="T32" fmla="*/ 0 w 111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4">
                  <a:moveTo>
                    <a:pt x="0" y="0"/>
                  </a:moveTo>
                  <a:lnTo>
                    <a:pt x="10" y="5"/>
                  </a:lnTo>
                  <a:lnTo>
                    <a:pt x="23" y="9"/>
                  </a:lnTo>
                  <a:lnTo>
                    <a:pt x="38" y="10"/>
                  </a:lnTo>
                  <a:lnTo>
                    <a:pt x="56" y="11"/>
                  </a:lnTo>
                  <a:lnTo>
                    <a:pt x="73" y="10"/>
                  </a:lnTo>
                  <a:lnTo>
                    <a:pt x="88" y="9"/>
                  </a:lnTo>
                  <a:lnTo>
                    <a:pt x="101" y="5"/>
                  </a:lnTo>
                  <a:lnTo>
                    <a:pt x="111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74" y="14"/>
                  </a:lnTo>
                  <a:lnTo>
                    <a:pt x="56" y="14"/>
                  </a:lnTo>
                  <a:lnTo>
                    <a:pt x="38" y="14"/>
                  </a:lnTo>
                  <a:lnTo>
                    <a:pt x="21" y="11"/>
                  </a:lnTo>
                  <a:lnTo>
                    <a:pt x="9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9D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3" name="Freeform 1406"/>
            <p:cNvSpPr>
              <a:spLocks/>
            </p:cNvSpPr>
            <p:nvPr/>
          </p:nvSpPr>
          <p:spPr bwMode="auto">
            <a:xfrm>
              <a:off x="-3043238" y="1230312"/>
              <a:ext cx="106363" cy="11113"/>
            </a:xfrm>
            <a:custGeom>
              <a:avLst/>
              <a:gdLst>
                <a:gd name="T0" fmla="*/ 0 w 67"/>
                <a:gd name="T1" fmla="*/ 0 h 7"/>
                <a:gd name="T2" fmla="*/ 22 w 67"/>
                <a:gd name="T3" fmla="*/ 0 h 7"/>
                <a:gd name="T4" fmla="*/ 45 w 67"/>
                <a:gd name="T5" fmla="*/ 1 h 7"/>
                <a:gd name="T6" fmla="*/ 67 w 67"/>
                <a:gd name="T7" fmla="*/ 0 h 7"/>
                <a:gd name="T8" fmla="*/ 65 w 67"/>
                <a:gd name="T9" fmla="*/ 1 h 7"/>
                <a:gd name="T10" fmla="*/ 64 w 67"/>
                <a:gd name="T11" fmla="*/ 1 h 7"/>
                <a:gd name="T12" fmla="*/ 61 w 67"/>
                <a:gd name="T13" fmla="*/ 3 h 7"/>
                <a:gd name="T14" fmla="*/ 58 w 67"/>
                <a:gd name="T15" fmla="*/ 5 h 7"/>
                <a:gd name="T16" fmla="*/ 54 w 67"/>
                <a:gd name="T17" fmla="*/ 6 h 7"/>
                <a:gd name="T18" fmla="*/ 50 w 67"/>
                <a:gd name="T19" fmla="*/ 7 h 7"/>
                <a:gd name="T20" fmla="*/ 42 w 67"/>
                <a:gd name="T21" fmla="*/ 7 h 7"/>
                <a:gd name="T22" fmla="*/ 32 w 67"/>
                <a:gd name="T23" fmla="*/ 7 h 7"/>
                <a:gd name="T24" fmla="*/ 22 w 67"/>
                <a:gd name="T25" fmla="*/ 7 h 7"/>
                <a:gd name="T26" fmla="*/ 18 w 67"/>
                <a:gd name="T27" fmla="*/ 7 h 7"/>
                <a:gd name="T28" fmla="*/ 17 w 67"/>
                <a:gd name="T29" fmla="*/ 6 h 7"/>
                <a:gd name="T30" fmla="*/ 15 w 67"/>
                <a:gd name="T31" fmla="*/ 6 h 7"/>
                <a:gd name="T32" fmla="*/ 11 w 67"/>
                <a:gd name="T33" fmla="*/ 5 h 7"/>
                <a:gd name="T34" fmla="*/ 9 w 67"/>
                <a:gd name="T35" fmla="*/ 3 h 7"/>
                <a:gd name="T36" fmla="*/ 6 w 67"/>
                <a:gd name="T37" fmla="*/ 1 h 7"/>
                <a:gd name="T38" fmla="*/ 2 w 67"/>
                <a:gd name="T39" fmla="*/ 0 h 7"/>
                <a:gd name="T40" fmla="*/ 1 w 67"/>
                <a:gd name="T41" fmla="*/ 0 h 7"/>
                <a:gd name="T42" fmla="*/ 0 w 67"/>
                <a:gd name="T4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7">
                  <a:moveTo>
                    <a:pt x="0" y="0"/>
                  </a:moveTo>
                  <a:lnTo>
                    <a:pt x="22" y="0"/>
                  </a:lnTo>
                  <a:lnTo>
                    <a:pt x="45" y="1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4" y="1"/>
                  </a:lnTo>
                  <a:lnTo>
                    <a:pt x="61" y="3"/>
                  </a:lnTo>
                  <a:lnTo>
                    <a:pt x="58" y="5"/>
                  </a:lnTo>
                  <a:lnTo>
                    <a:pt x="54" y="6"/>
                  </a:lnTo>
                  <a:lnTo>
                    <a:pt x="50" y="7"/>
                  </a:lnTo>
                  <a:lnTo>
                    <a:pt x="42" y="7"/>
                  </a:lnTo>
                  <a:lnTo>
                    <a:pt x="32" y="7"/>
                  </a:lnTo>
                  <a:lnTo>
                    <a:pt x="22" y="7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9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BEB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4" name="Freeform 1407"/>
            <p:cNvSpPr>
              <a:spLocks/>
            </p:cNvSpPr>
            <p:nvPr/>
          </p:nvSpPr>
          <p:spPr bwMode="auto">
            <a:xfrm>
              <a:off x="-3035300" y="1122362"/>
              <a:ext cx="92075" cy="17463"/>
            </a:xfrm>
            <a:custGeom>
              <a:avLst/>
              <a:gdLst>
                <a:gd name="T0" fmla="*/ 28 w 58"/>
                <a:gd name="T1" fmla="*/ 0 h 11"/>
                <a:gd name="T2" fmla="*/ 42 w 58"/>
                <a:gd name="T3" fmla="*/ 0 h 11"/>
                <a:gd name="T4" fmla="*/ 58 w 58"/>
                <a:gd name="T5" fmla="*/ 1 h 11"/>
                <a:gd name="T6" fmla="*/ 56 w 58"/>
                <a:gd name="T7" fmla="*/ 1 h 11"/>
                <a:gd name="T8" fmla="*/ 55 w 58"/>
                <a:gd name="T9" fmla="*/ 2 h 11"/>
                <a:gd name="T10" fmla="*/ 53 w 58"/>
                <a:gd name="T11" fmla="*/ 3 h 11"/>
                <a:gd name="T12" fmla="*/ 50 w 58"/>
                <a:gd name="T13" fmla="*/ 6 h 11"/>
                <a:gd name="T14" fmla="*/ 48 w 58"/>
                <a:gd name="T15" fmla="*/ 7 h 11"/>
                <a:gd name="T16" fmla="*/ 44 w 58"/>
                <a:gd name="T17" fmla="*/ 9 h 11"/>
                <a:gd name="T18" fmla="*/ 41 w 58"/>
                <a:gd name="T19" fmla="*/ 10 h 11"/>
                <a:gd name="T20" fmla="*/ 39 w 58"/>
                <a:gd name="T21" fmla="*/ 10 h 11"/>
                <a:gd name="T22" fmla="*/ 33 w 58"/>
                <a:gd name="T23" fmla="*/ 11 h 11"/>
                <a:gd name="T24" fmla="*/ 30 w 58"/>
                <a:gd name="T25" fmla="*/ 11 h 11"/>
                <a:gd name="T26" fmla="*/ 30 w 58"/>
                <a:gd name="T27" fmla="*/ 11 h 11"/>
                <a:gd name="T28" fmla="*/ 24 w 58"/>
                <a:gd name="T29" fmla="*/ 11 h 11"/>
                <a:gd name="T30" fmla="*/ 19 w 58"/>
                <a:gd name="T31" fmla="*/ 10 h 11"/>
                <a:gd name="T32" fmla="*/ 17 w 58"/>
                <a:gd name="T33" fmla="*/ 10 h 11"/>
                <a:gd name="T34" fmla="*/ 14 w 58"/>
                <a:gd name="T35" fmla="*/ 9 h 11"/>
                <a:gd name="T36" fmla="*/ 10 w 58"/>
                <a:gd name="T37" fmla="*/ 7 h 11"/>
                <a:gd name="T38" fmla="*/ 8 w 58"/>
                <a:gd name="T39" fmla="*/ 6 h 11"/>
                <a:gd name="T40" fmla="*/ 4 w 58"/>
                <a:gd name="T41" fmla="*/ 3 h 11"/>
                <a:gd name="T42" fmla="*/ 3 w 58"/>
                <a:gd name="T43" fmla="*/ 2 h 11"/>
                <a:gd name="T44" fmla="*/ 1 w 58"/>
                <a:gd name="T45" fmla="*/ 1 h 11"/>
                <a:gd name="T46" fmla="*/ 0 w 58"/>
                <a:gd name="T47" fmla="*/ 1 h 11"/>
                <a:gd name="T48" fmla="*/ 15 w 58"/>
                <a:gd name="T49" fmla="*/ 0 h 11"/>
                <a:gd name="T50" fmla="*/ 28 w 58"/>
                <a:gd name="T5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" h="11">
                  <a:moveTo>
                    <a:pt x="28" y="0"/>
                  </a:moveTo>
                  <a:lnTo>
                    <a:pt x="42" y="0"/>
                  </a:lnTo>
                  <a:lnTo>
                    <a:pt x="58" y="1"/>
                  </a:lnTo>
                  <a:lnTo>
                    <a:pt x="56" y="1"/>
                  </a:lnTo>
                  <a:lnTo>
                    <a:pt x="55" y="2"/>
                  </a:lnTo>
                  <a:lnTo>
                    <a:pt x="53" y="3"/>
                  </a:lnTo>
                  <a:lnTo>
                    <a:pt x="50" y="6"/>
                  </a:lnTo>
                  <a:lnTo>
                    <a:pt x="48" y="7"/>
                  </a:lnTo>
                  <a:lnTo>
                    <a:pt x="44" y="9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3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4" y="11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9"/>
                  </a:lnTo>
                  <a:lnTo>
                    <a:pt x="10" y="7"/>
                  </a:lnTo>
                  <a:lnTo>
                    <a:pt x="8" y="6"/>
                  </a:lnTo>
                  <a:lnTo>
                    <a:pt x="4" y="3"/>
                  </a:lnTo>
                  <a:lnTo>
                    <a:pt x="3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5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1B4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5" name="Freeform 1408"/>
            <p:cNvSpPr>
              <a:spLocks/>
            </p:cNvSpPr>
            <p:nvPr/>
          </p:nvSpPr>
          <p:spPr bwMode="auto">
            <a:xfrm>
              <a:off x="-3030538" y="965200"/>
              <a:ext cx="36513" cy="146050"/>
            </a:xfrm>
            <a:custGeom>
              <a:avLst/>
              <a:gdLst>
                <a:gd name="T0" fmla="*/ 23 w 23"/>
                <a:gd name="T1" fmla="*/ 0 h 92"/>
                <a:gd name="T2" fmla="*/ 16 w 23"/>
                <a:gd name="T3" fmla="*/ 73 h 92"/>
                <a:gd name="T4" fmla="*/ 11 w 23"/>
                <a:gd name="T5" fmla="*/ 90 h 92"/>
                <a:gd name="T6" fmla="*/ 0 w 23"/>
                <a:gd name="T7" fmla="*/ 92 h 92"/>
                <a:gd name="T8" fmla="*/ 0 w 23"/>
                <a:gd name="T9" fmla="*/ 92 h 92"/>
                <a:gd name="T10" fmla="*/ 1 w 23"/>
                <a:gd name="T11" fmla="*/ 90 h 92"/>
                <a:gd name="T12" fmla="*/ 2 w 23"/>
                <a:gd name="T13" fmla="*/ 87 h 92"/>
                <a:gd name="T14" fmla="*/ 3 w 23"/>
                <a:gd name="T15" fmla="*/ 84 h 92"/>
                <a:gd name="T16" fmla="*/ 5 w 23"/>
                <a:gd name="T17" fmla="*/ 82 h 92"/>
                <a:gd name="T18" fmla="*/ 6 w 23"/>
                <a:gd name="T19" fmla="*/ 78 h 92"/>
                <a:gd name="T20" fmla="*/ 7 w 23"/>
                <a:gd name="T21" fmla="*/ 76 h 92"/>
                <a:gd name="T22" fmla="*/ 9 w 23"/>
                <a:gd name="T23" fmla="*/ 74 h 92"/>
                <a:gd name="T24" fmla="*/ 10 w 23"/>
                <a:gd name="T25" fmla="*/ 68 h 92"/>
                <a:gd name="T26" fmla="*/ 12 w 23"/>
                <a:gd name="T27" fmla="*/ 56 h 92"/>
                <a:gd name="T28" fmla="*/ 15 w 23"/>
                <a:gd name="T29" fmla="*/ 41 h 92"/>
                <a:gd name="T30" fmla="*/ 19 w 23"/>
                <a:gd name="T31" fmla="*/ 24 h 92"/>
                <a:gd name="T32" fmla="*/ 21 w 23"/>
                <a:gd name="T33" fmla="*/ 10 h 92"/>
                <a:gd name="T34" fmla="*/ 23 w 23"/>
                <a:gd name="T3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92">
                  <a:moveTo>
                    <a:pt x="23" y="0"/>
                  </a:moveTo>
                  <a:lnTo>
                    <a:pt x="16" y="73"/>
                  </a:lnTo>
                  <a:lnTo>
                    <a:pt x="11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1" y="90"/>
                  </a:lnTo>
                  <a:lnTo>
                    <a:pt x="2" y="87"/>
                  </a:lnTo>
                  <a:lnTo>
                    <a:pt x="3" y="84"/>
                  </a:lnTo>
                  <a:lnTo>
                    <a:pt x="5" y="82"/>
                  </a:lnTo>
                  <a:lnTo>
                    <a:pt x="6" y="78"/>
                  </a:lnTo>
                  <a:lnTo>
                    <a:pt x="7" y="76"/>
                  </a:lnTo>
                  <a:lnTo>
                    <a:pt x="9" y="74"/>
                  </a:lnTo>
                  <a:lnTo>
                    <a:pt x="10" y="68"/>
                  </a:lnTo>
                  <a:lnTo>
                    <a:pt x="12" y="56"/>
                  </a:lnTo>
                  <a:lnTo>
                    <a:pt x="15" y="41"/>
                  </a:lnTo>
                  <a:lnTo>
                    <a:pt x="19" y="24"/>
                  </a:lnTo>
                  <a:lnTo>
                    <a:pt x="21" y="1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1B4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6" name="Freeform 1409"/>
            <p:cNvSpPr>
              <a:spLocks/>
            </p:cNvSpPr>
            <p:nvPr/>
          </p:nvSpPr>
          <p:spPr bwMode="auto">
            <a:xfrm>
              <a:off x="-3633788" y="1974850"/>
              <a:ext cx="754063" cy="350838"/>
            </a:xfrm>
            <a:custGeom>
              <a:avLst/>
              <a:gdLst>
                <a:gd name="T0" fmla="*/ 85 w 475"/>
                <a:gd name="T1" fmla="*/ 0 h 221"/>
                <a:gd name="T2" fmla="*/ 128 w 475"/>
                <a:gd name="T3" fmla="*/ 1 h 221"/>
                <a:gd name="T4" fmla="*/ 155 w 475"/>
                <a:gd name="T5" fmla="*/ 5 h 221"/>
                <a:gd name="T6" fmla="*/ 155 w 475"/>
                <a:gd name="T7" fmla="*/ 19 h 221"/>
                <a:gd name="T8" fmla="*/ 155 w 475"/>
                <a:gd name="T9" fmla="*/ 49 h 221"/>
                <a:gd name="T10" fmla="*/ 159 w 475"/>
                <a:gd name="T11" fmla="*/ 75 h 221"/>
                <a:gd name="T12" fmla="*/ 170 w 475"/>
                <a:gd name="T13" fmla="*/ 81 h 221"/>
                <a:gd name="T14" fmla="*/ 205 w 475"/>
                <a:gd name="T15" fmla="*/ 86 h 221"/>
                <a:gd name="T16" fmla="*/ 256 w 475"/>
                <a:gd name="T17" fmla="*/ 91 h 221"/>
                <a:gd name="T18" fmla="*/ 314 w 475"/>
                <a:gd name="T19" fmla="*/ 94 h 221"/>
                <a:gd name="T20" fmla="*/ 365 w 475"/>
                <a:gd name="T21" fmla="*/ 99 h 221"/>
                <a:gd name="T22" fmla="*/ 416 w 475"/>
                <a:gd name="T23" fmla="*/ 105 h 221"/>
                <a:gd name="T24" fmla="*/ 451 w 475"/>
                <a:gd name="T25" fmla="*/ 113 h 221"/>
                <a:gd name="T26" fmla="*/ 466 w 475"/>
                <a:gd name="T27" fmla="*/ 116 h 221"/>
                <a:gd name="T28" fmla="*/ 469 w 475"/>
                <a:gd name="T29" fmla="*/ 121 h 221"/>
                <a:gd name="T30" fmla="*/ 475 w 475"/>
                <a:gd name="T31" fmla="*/ 132 h 221"/>
                <a:gd name="T32" fmla="*/ 467 w 475"/>
                <a:gd name="T33" fmla="*/ 149 h 221"/>
                <a:gd name="T34" fmla="*/ 435 w 475"/>
                <a:gd name="T35" fmla="*/ 167 h 221"/>
                <a:gd name="T36" fmla="*/ 392 w 475"/>
                <a:gd name="T37" fmla="*/ 179 h 221"/>
                <a:gd name="T38" fmla="*/ 328 w 475"/>
                <a:gd name="T39" fmla="*/ 190 h 221"/>
                <a:gd name="T40" fmla="*/ 255 w 475"/>
                <a:gd name="T41" fmla="*/ 200 h 221"/>
                <a:gd name="T42" fmla="*/ 182 w 475"/>
                <a:gd name="T43" fmla="*/ 209 h 221"/>
                <a:gd name="T44" fmla="*/ 118 w 475"/>
                <a:gd name="T45" fmla="*/ 217 h 221"/>
                <a:gd name="T46" fmla="*/ 74 w 475"/>
                <a:gd name="T47" fmla="*/ 221 h 221"/>
                <a:gd name="T48" fmla="*/ 46 w 475"/>
                <a:gd name="T49" fmla="*/ 218 h 221"/>
                <a:gd name="T50" fmla="*/ 22 w 475"/>
                <a:gd name="T51" fmla="*/ 198 h 221"/>
                <a:gd name="T52" fmla="*/ 8 w 475"/>
                <a:gd name="T53" fmla="*/ 163 h 221"/>
                <a:gd name="T54" fmla="*/ 1 w 475"/>
                <a:gd name="T55" fmla="*/ 120 h 221"/>
                <a:gd name="T56" fmla="*/ 0 w 475"/>
                <a:gd name="T57" fmla="*/ 73 h 221"/>
                <a:gd name="T58" fmla="*/ 1 w 475"/>
                <a:gd name="T59" fmla="*/ 32 h 221"/>
                <a:gd name="T60" fmla="*/ 4 w 475"/>
                <a:gd name="T61" fmla="*/ 0 h 221"/>
                <a:gd name="T62" fmla="*/ 20 w 475"/>
                <a:gd name="T63" fmla="*/ 0 h 221"/>
                <a:gd name="T64" fmla="*/ 60 w 475"/>
                <a:gd name="T6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5" h="221">
                  <a:moveTo>
                    <a:pt x="60" y="0"/>
                  </a:moveTo>
                  <a:lnTo>
                    <a:pt x="85" y="0"/>
                  </a:lnTo>
                  <a:lnTo>
                    <a:pt x="108" y="0"/>
                  </a:lnTo>
                  <a:lnTo>
                    <a:pt x="128" y="1"/>
                  </a:lnTo>
                  <a:lnTo>
                    <a:pt x="145" y="3"/>
                  </a:lnTo>
                  <a:lnTo>
                    <a:pt x="155" y="5"/>
                  </a:lnTo>
                  <a:lnTo>
                    <a:pt x="155" y="9"/>
                  </a:lnTo>
                  <a:lnTo>
                    <a:pt x="155" y="19"/>
                  </a:lnTo>
                  <a:lnTo>
                    <a:pt x="155" y="34"/>
                  </a:lnTo>
                  <a:lnTo>
                    <a:pt x="155" y="49"/>
                  </a:lnTo>
                  <a:lnTo>
                    <a:pt x="156" y="63"/>
                  </a:lnTo>
                  <a:lnTo>
                    <a:pt x="159" y="75"/>
                  </a:lnTo>
                  <a:lnTo>
                    <a:pt x="163" y="80"/>
                  </a:lnTo>
                  <a:lnTo>
                    <a:pt x="170" y="81"/>
                  </a:lnTo>
                  <a:lnTo>
                    <a:pt x="186" y="84"/>
                  </a:lnTo>
                  <a:lnTo>
                    <a:pt x="205" y="86"/>
                  </a:lnTo>
                  <a:lnTo>
                    <a:pt x="229" y="89"/>
                  </a:lnTo>
                  <a:lnTo>
                    <a:pt x="256" y="91"/>
                  </a:lnTo>
                  <a:lnTo>
                    <a:pt x="285" y="93"/>
                  </a:lnTo>
                  <a:lnTo>
                    <a:pt x="314" y="94"/>
                  </a:lnTo>
                  <a:lnTo>
                    <a:pt x="340" y="95"/>
                  </a:lnTo>
                  <a:lnTo>
                    <a:pt x="365" y="99"/>
                  </a:lnTo>
                  <a:lnTo>
                    <a:pt x="391" y="102"/>
                  </a:lnTo>
                  <a:lnTo>
                    <a:pt x="416" y="105"/>
                  </a:lnTo>
                  <a:lnTo>
                    <a:pt x="435" y="109"/>
                  </a:lnTo>
                  <a:lnTo>
                    <a:pt x="451" y="113"/>
                  </a:lnTo>
                  <a:lnTo>
                    <a:pt x="462" y="114"/>
                  </a:lnTo>
                  <a:lnTo>
                    <a:pt x="466" y="116"/>
                  </a:lnTo>
                  <a:lnTo>
                    <a:pt x="467" y="117"/>
                  </a:lnTo>
                  <a:lnTo>
                    <a:pt x="469" y="121"/>
                  </a:lnTo>
                  <a:lnTo>
                    <a:pt x="473" y="126"/>
                  </a:lnTo>
                  <a:lnTo>
                    <a:pt x="475" y="132"/>
                  </a:lnTo>
                  <a:lnTo>
                    <a:pt x="473" y="140"/>
                  </a:lnTo>
                  <a:lnTo>
                    <a:pt x="467" y="149"/>
                  </a:lnTo>
                  <a:lnTo>
                    <a:pt x="455" y="158"/>
                  </a:lnTo>
                  <a:lnTo>
                    <a:pt x="435" y="167"/>
                  </a:lnTo>
                  <a:lnTo>
                    <a:pt x="417" y="172"/>
                  </a:lnTo>
                  <a:lnTo>
                    <a:pt x="392" y="179"/>
                  </a:lnTo>
                  <a:lnTo>
                    <a:pt x="363" y="184"/>
                  </a:lnTo>
                  <a:lnTo>
                    <a:pt x="328" y="190"/>
                  </a:lnTo>
                  <a:lnTo>
                    <a:pt x="292" y="195"/>
                  </a:lnTo>
                  <a:lnTo>
                    <a:pt x="255" y="200"/>
                  </a:lnTo>
                  <a:lnTo>
                    <a:pt x="218" y="205"/>
                  </a:lnTo>
                  <a:lnTo>
                    <a:pt x="182" y="209"/>
                  </a:lnTo>
                  <a:lnTo>
                    <a:pt x="147" y="213"/>
                  </a:lnTo>
                  <a:lnTo>
                    <a:pt x="118" y="217"/>
                  </a:lnTo>
                  <a:lnTo>
                    <a:pt x="92" y="220"/>
                  </a:lnTo>
                  <a:lnTo>
                    <a:pt x="74" y="221"/>
                  </a:lnTo>
                  <a:lnTo>
                    <a:pt x="63" y="221"/>
                  </a:lnTo>
                  <a:lnTo>
                    <a:pt x="46" y="218"/>
                  </a:lnTo>
                  <a:lnTo>
                    <a:pt x="33" y="211"/>
                  </a:lnTo>
                  <a:lnTo>
                    <a:pt x="22" y="198"/>
                  </a:lnTo>
                  <a:lnTo>
                    <a:pt x="14" y="181"/>
                  </a:lnTo>
                  <a:lnTo>
                    <a:pt x="8" y="163"/>
                  </a:lnTo>
                  <a:lnTo>
                    <a:pt x="4" y="141"/>
                  </a:lnTo>
                  <a:lnTo>
                    <a:pt x="1" y="120"/>
                  </a:lnTo>
                  <a:lnTo>
                    <a:pt x="0" y="96"/>
                  </a:lnTo>
                  <a:lnTo>
                    <a:pt x="0" y="73"/>
                  </a:lnTo>
                  <a:lnTo>
                    <a:pt x="1" y="52"/>
                  </a:lnTo>
                  <a:lnTo>
                    <a:pt x="1" y="32"/>
                  </a:lnTo>
                  <a:lnTo>
                    <a:pt x="2" y="14"/>
                  </a:lnTo>
                  <a:lnTo>
                    <a:pt x="4" y="0"/>
                  </a:lnTo>
                  <a:lnTo>
                    <a:pt x="9" y="0"/>
                  </a:lnTo>
                  <a:lnTo>
                    <a:pt x="20" y="0"/>
                  </a:lnTo>
                  <a:lnTo>
                    <a:pt x="38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7" name="Freeform 1410"/>
            <p:cNvSpPr>
              <a:spLocks/>
            </p:cNvSpPr>
            <p:nvPr/>
          </p:nvSpPr>
          <p:spPr bwMode="auto">
            <a:xfrm>
              <a:off x="-3414713" y="1979612"/>
              <a:ext cx="420688" cy="247650"/>
            </a:xfrm>
            <a:custGeom>
              <a:avLst/>
              <a:gdLst>
                <a:gd name="T0" fmla="*/ 0 w 265"/>
                <a:gd name="T1" fmla="*/ 0 h 156"/>
                <a:gd name="T2" fmla="*/ 7 w 265"/>
                <a:gd name="T3" fmla="*/ 0 h 156"/>
                <a:gd name="T4" fmla="*/ 13 w 265"/>
                <a:gd name="T5" fmla="*/ 1 h 156"/>
                <a:gd name="T6" fmla="*/ 17 w 265"/>
                <a:gd name="T7" fmla="*/ 2 h 156"/>
                <a:gd name="T8" fmla="*/ 17 w 265"/>
                <a:gd name="T9" fmla="*/ 6 h 156"/>
                <a:gd name="T10" fmla="*/ 17 w 265"/>
                <a:gd name="T11" fmla="*/ 16 h 156"/>
                <a:gd name="T12" fmla="*/ 17 w 265"/>
                <a:gd name="T13" fmla="*/ 31 h 156"/>
                <a:gd name="T14" fmla="*/ 17 w 265"/>
                <a:gd name="T15" fmla="*/ 46 h 156"/>
                <a:gd name="T16" fmla="*/ 18 w 265"/>
                <a:gd name="T17" fmla="*/ 60 h 156"/>
                <a:gd name="T18" fmla="*/ 21 w 265"/>
                <a:gd name="T19" fmla="*/ 72 h 156"/>
                <a:gd name="T20" fmla="*/ 25 w 265"/>
                <a:gd name="T21" fmla="*/ 77 h 156"/>
                <a:gd name="T22" fmla="*/ 34 w 265"/>
                <a:gd name="T23" fmla="*/ 79 h 156"/>
                <a:gd name="T24" fmla="*/ 50 w 265"/>
                <a:gd name="T25" fmla="*/ 81 h 156"/>
                <a:gd name="T26" fmla="*/ 72 w 265"/>
                <a:gd name="T27" fmla="*/ 83 h 156"/>
                <a:gd name="T28" fmla="*/ 99 w 265"/>
                <a:gd name="T29" fmla="*/ 86 h 156"/>
                <a:gd name="T30" fmla="*/ 130 w 265"/>
                <a:gd name="T31" fmla="*/ 88 h 156"/>
                <a:gd name="T32" fmla="*/ 161 w 265"/>
                <a:gd name="T33" fmla="*/ 91 h 156"/>
                <a:gd name="T34" fmla="*/ 184 w 265"/>
                <a:gd name="T35" fmla="*/ 105 h 156"/>
                <a:gd name="T36" fmla="*/ 204 w 265"/>
                <a:gd name="T37" fmla="*/ 119 h 156"/>
                <a:gd name="T38" fmla="*/ 224 w 265"/>
                <a:gd name="T39" fmla="*/ 131 h 156"/>
                <a:gd name="T40" fmla="*/ 240 w 265"/>
                <a:gd name="T41" fmla="*/ 141 h 156"/>
                <a:gd name="T42" fmla="*/ 253 w 265"/>
                <a:gd name="T43" fmla="*/ 150 h 156"/>
                <a:gd name="T44" fmla="*/ 262 w 265"/>
                <a:gd name="T45" fmla="*/ 155 h 156"/>
                <a:gd name="T46" fmla="*/ 265 w 265"/>
                <a:gd name="T47" fmla="*/ 156 h 156"/>
                <a:gd name="T48" fmla="*/ 260 w 265"/>
                <a:gd name="T49" fmla="*/ 155 h 156"/>
                <a:gd name="T50" fmla="*/ 248 w 265"/>
                <a:gd name="T51" fmla="*/ 154 h 156"/>
                <a:gd name="T52" fmla="*/ 230 w 265"/>
                <a:gd name="T53" fmla="*/ 150 h 156"/>
                <a:gd name="T54" fmla="*/ 208 w 265"/>
                <a:gd name="T55" fmla="*/ 145 h 156"/>
                <a:gd name="T56" fmla="*/ 183 w 265"/>
                <a:gd name="T57" fmla="*/ 140 h 156"/>
                <a:gd name="T58" fmla="*/ 154 w 265"/>
                <a:gd name="T59" fmla="*/ 133 h 156"/>
                <a:gd name="T60" fmla="*/ 126 w 265"/>
                <a:gd name="T61" fmla="*/ 127 h 156"/>
                <a:gd name="T62" fmla="*/ 98 w 265"/>
                <a:gd name="T63" fmla="*/ 120 h 156"/>
                <a:gd name="T64" fmla="*/ 71 w 265"/>
                <a:gd name="T65" fmla="*/ 113 h 156"/>
                <a:gd name="T66" fmla="*/ 48 w 265"/>
                <a:gd name="T67" fmla="*/ 106 h 156"/>
                <a:gd name="T68" fmla="*/ 29 w 265"/>
                <a:gd name="T69" fmla="*/ 100 h 156"/>
                <a:gd name="T70" fmla="*/ 16 w 265"/>
                <a:gd name="T71" fmla="*/ 93 h 156"/>
                <a:gd name="T72" fmla="*/ 9 w 265"/>
                <a:gd name="T73" fmla="*/ 88 h 156"/>
                <a:gd name="T74" fmla="*/ 6 w 265"/>
                <a:gd name="T75" fmla="*/ 73 h 156"/>
                <a:gd name="T76" fmla="*/ 3 w 265"/>
                <a:gd name="T77" fmla="*/ 54 h 156"/>
                <a:gd name="T78" fmla="*/ 0 w 265"/>
                <a:gd name="T79" fmla="*/ 33 h 156"/>
                <a:gd name="T80" fmla="*/ 0 w 265"/>
                <a:gd name="T81" fmla="*/ 14 h 156"/>
                <a:gd name="T82" fmla="*/ 0 w 265"/>
                <a:gd name="T8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5" h="156">
                  <a:moveTo>
                    <a:pt x="0" y="0"/>
                  </a:moveTo>
                  <a:lnTo>
                    <a:pt x="7" y="0"/>
                  </a:lnTo>
                  <a:lnTo>
                    <a:pt x="13" y="1"/>
                  </a:lnTo>
                  <a:lnTo>
                    <a:pt x="17" y="2"/>
                  </a:lnTo>
                  <a:lnTo>
                    <a:pt x="17" y="6"/>
                  </a:lnTo>
                  <a:lnTo>
                    <a:pt x="17" y="16"/>
                  </a:lnTo>
                  <a:lnTo>
                    <a:pt x="17" y="31"/>
                  </a:lnTo>
                  <a:lnTo>
                    <a:pt x="17" y="46"/>
                  </a:lnTo>
                  <a:lnTo>
                    <a:pt x="18" y="60"/>
                  </a:lnTo>
                  <a:lnTo>
                    <a:pt x="21" y="72"/>
                  </a:lnTo>
                  <a:lnTo>
                    <a:pt x="25" y="77"/>
                  </a:lnTo>
                  <a:lnTo>
                    <a:pt x="34" y="79"/>
                  </a:lnTo>
                  <a:lnTo>
                    <a:pt x="50" y="81"/>
                  </a:lnTo>
                  <a:lnTo>
                    <a:pt x="72" y="83"/>
                  </a:lnTo>
                  <a:lnTo>
                    <a:pt x="99" y="86"/>
                  </a:lnTo>
                  <a:lnTo>
                    <a:pt x="130" y="88"/>
                  </a:lnTo>
                  <a:lnTo>
                    <a:pt x="161" y="91"/>
                  </a:lnTo>
                  <a:lnTo>
                    <a:pt x="184" y="105"/>
                  </a:lnTo>
                  <a:lnTo>
                    <a:pt x="204" y="119"/>
                  </a:lnTo>
                  <a:lnTo>
                    <a:pt x="224" y="131"/>
                  </a:lnTo>
                  <a:lnTo>
                    <a:pt x="240" y="141"/>
                  </a:lnTo>
                  <a:lnTo>
                    <a:pt x="253" y="150"/>
                  </a:lnTo>
                  <a:lnTo>
                    <a:pt x="262" y="155"/>
                  </a:lnTo>
                  <a:lnTo>
                    <a:pt x="265" y="156"/>
                  </a:lnTo>
                  <a:lnTo>
                    <a:pt x="260" y="155"/>
                  </a:lnTo>
                  <a:lnTo>
                    <a:pt x="248" y="154"/>
                  </a:lnTo>
                  <a:lnTo>
                    <a:pt x="230" y="150"/>
                  </a:lnTo>
                  <a:lnTo>
                    <a:pt x="208" y="145"/>
                  </a:lnTo>
                  <a:lnTo>
                    <a:pt x="183" y="140"/>
                  </a:lnTo>
                  <a:lnTo>
                    <a:pt x="154" y="133"/>
                  </a:lnTo>
                  <a:lnTo>
                    <a:pt x="126" y="127"/>
                  </a:lnTo>
                  <a:lnTo>
                    <a:pt x="98" y="120"/>
                  </a:lnTo>
                  <a:lnTo>
                    <a:pt x="71" y="113"/>
                  </a:lnTo>
                  <a:lnTo>
                    <a:pt x="48" y="106"/>
                  </a:lnTo>
                  <a:lnTo>
                    <a:pt x="29" y="100"/>
                  </a:lnTo>
                  <a:lnTo>
                    <a:pt x="16" y="93"/>
                  </a:lnTo>
                  <a:lnTo>
                    <a:pt x="9" y="88"/>
                  </a:lnTo>
                  <a:lnTo>
                    <a:pt x="6" y="73"/>
                  </a:lnTo>
                  <a:lnTo>
                    <a:pt x="3" y="54"/>
                  </a:lnTo>
                  <a:lnTo>
                    <a:pt x="0" y="33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C2B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8" name="Freeform 1411"/>
            <p:cNvSpPr>
              <a:spLocks/>
            </p:cNvSpPr>
            <p:nvPr/>
          </p:nvSpPr>
          <p:spPr bwMode="auto">
            <a:xfrm>
              <a:off x="-3389313" y="1944687"/>
              <a:ext cx="938213" cy="368300"/>
            </a:xfrm>
            <a:custGeom>
              <a:avLst/>
              <a:gdLst>
                <a:gd name="T0" fmla="*/ 589 w 591"/>
                <a:gd name="T1" fmla="*/ 15 h 232"/>
                <a:gd name="T2" fmla="*/ 586 w 591"/>
                <a:gd name="T3" fmla="*/ 54 h 232"/>
                <a:gd name="T4" fmla="*/ 584 w 591"/>
                <a:gd name="T5" fmla="*/ 100 h 232"/>
                <a:gd name="T6" fmla="*/ 577 w 591"/>
                <a:gd name="T7" fmla="*/ 147 h 232"/>
                <a:gd name="T8" fmla="*/ 567 w 591"/>
                <a:gd name="T9" fmla="*/ 190 h 232"/>
                <a:gd name="T10" fmla="*/ 548 w 591"/>
                <a:gd name="T11" fmla="*/ 221 h 232"/>
                <a:gd name="T12" fmla="*/ 518 w 591"/>
                <a:gd name="T13" fmla="*/ 232 h 232"/>
                <a:gd name="T14" fmla="*/ 490 w 591"/>
                <a:gd name="T15" fmla="*/ 228 h 232"/>
                <a:gd name="T16" fmla="*/ 437 w 591"/>
                <a:gd name="T17" fmla="*/ 219 h 232"/>
                <a:gd name="T18" fmla="*/ 369 w 591"/>
                <a:gd name="T19" fmla="*/ 205 h 232"/>
                <a:gd name="T20" fmla="*/ 292 w 591"/>
                <a:gd name="T21" fmla="*/ 189 h 232"/>
                <a:gd name="T22" fmla="*/ 215 w 591"/>
                <a:gd name="T23" fmla="*/ 171 h 232"/>
                <a:gd name="T24" fmla="*/ 147 w 591"/>
                <a:gd name="T25" fmla="*/ 154 h 232"/>
                <a:gd name="T26" fmla="*/ 97 w 591"/>
                <a:gd name="T27" fmla="*/ 141 h 232"/>
                <a:gd name="T28" fmla="*/ 56 w 591"/>
                <a:gd name="T29" fmla="*/ 126 h 232"/>
                <a:gd name="T30" fmla="*/ 24 w 591"/>
                <a:gd name="T31" fmla="*/ 110 h 232"/>
                <a:gd name="T32" fmla="*/ 10 w 591"/>
                <a:gd name="T33" fmla="*/ 101 h 232"/>
                <a:gd name="T34" fmla="*/ 6 w 591"/>
                <a:gd name="T35" fmla="*/ 97 h 232"/>
                <a:gd name="T36" fmla="*/ 1 w 591"/>
                <a:gd name="T37" fmla="*/ 82 h 232"/>
                <a:gd name="T38" fmla="*/ 0 w 591"/>
                <a:gd name="T39" fmla="*/ 58 h 232"/>
                <a:gd name="T40" fmla="*/ 1 w 591"/>
                <a:gd name="T41" fmla="*/ 45 h 232"/>
                <a:gd name="T42" fmla="*/ 63 w 591"/>
                <a:gd name="T43" fmla="*/ 49 h 232"/>
                <a:gd name="T44" fmla="*/ 145 w 591"/>
                <a:gd name="T45" fmla="*/ 56 h 232"/>
                <a:gd name="T46" fmla="*/ 233 w 591"/>
                <a:gd name="T47" fmla="*/ 67 h 232"/>
                <a:gd name="T48" fmla="*/ 318 w 591"/>
                <a:gd name="T49" fmla="*/ 76 h 232"/>
                <a:gd name="T50" fmla="*/ 382 w 591"/>
                <a:gd name="T51" fmla="*/ 82 h 232"/>
                <a:gd name="T52" fmla="*/ 426 w 591"/>
                <a:gd name="T53" fmla="*/ 83 h 232"/>
                <a:gd name="T54" fmla="*/ 444 w 591"/>
                <a:gd name="T55" fmla="*/ 77 h 232"/>
                <a:gd name="T56" fmla="*/ 451 w 591"/>
                <a:gd name="T57" fmla="*/ 53 h 232"/>
                <a:gd name="T58" fmla="*/ 455 w 591"/>
                <a:gd name="T59" fmla="*/ 31 h 232"/>
                <a:gd name="T60" fmla="*/ 466 w 591"/>
                <a:gd name="T61" fmla="*/ 24 h 232"/>
                <a:gd name="T62" fmla="*/ 500 w 591"/>
                <a:gd name="T63" fmla="*/ 18 h 232"/>
                <a:gd name="T64" fmla="*/ 541 w 591"/>
                <a:gd name="T65" fmla="*/ 9 h 232"/>
                <a:gd name="T66" fmla="*/ 576 w 591"/>
                <a:gd name="T67" fmla="*/ 3 h 232"/>
                <a:gd name="T68" fmla="*/ 591 w 591"/>
                <a:gd name="T6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1" h="232">
                  <a:moveTo>
                    <a:pt x="591" y="0"/>
                  </a:moveTo>
                  <a:lnTo>
                    <a:pt x="589" y="15"/>
                  </a:lnTo>
                  <a:lnTo>
                    <a:pt x="587" y="33"/>
                  </a:lnTo>
                  <a:lnTo>
                    <a:pt x="586" y="54"/>
                  </a:lnTo>
                  <a:lnTo>
                    <a:pt x="585" y="76"/>
                  </a:lnTo>
                  <a:lnTo>
                    <a:pt x="584" y="100"/>
                  </a:lnTo>
                  <a:lnTo>
                    <a:pt x="581" y="124"/>
                  </a:lnTo>
                  <a:lnTo>
                    <a:pt x="577" y="147"/>
                  </a:lnTo>
                  <a:lnTo>
                    <a:pt x="573" y="171"/>
                  </a:lnTo>
                  <a:lnTo>
                    <a:pt x="567" y="190"/>
                  </a:lnTo>
                  <a:lnTo>
                    <a:pt x="558" y="208"/>
                  </a:lnTo>
                  <a:lnTo>
                    <a:pt x="548" y="221"/>
                  </a:lnTo>
                  <a:lnTo>
                    <a:pt x="534" y="228"/>
                  </a:lnTo>
                  <a:lnTo>
                    <a:pt x="518" y="232"/>
                  </a:lnTo>
                  <a:lnTo>
                    <a:pt x="508" y="231"/>
                  </a:lnTo>
                  <a:lnTo>
                    <a:pt x="490" y="228"/>
                  </a:lnTo>
                  <a:lnTo>
                    <a:pt x="467" y="224"/>
                  </a:lnTo>
                  <a:lnTo>
                    <a:pt x="437" y="219"/>
                  </a:lnTo>
                  <a:lnTo>
                    <a:pt x="405" y="212"/>
                  </a:lnTo>
                  <a:lnTo>
                    <a:pt x="369" y="205"/>
                  </a:lnTo>
                  <a:lnTo>
                    <a:pt x="331" y="196"/>
                  </a:lnTo>
                  <a:lnTo>
                    <a:pt x="292" y="189"/>
                  </a:lnTo>
                  <a:lnTo>
                    <a:pt x="253" y="180"/>
                  </a:lnTo>
                  <a:lnTo>
                    <a:pt x="215" y="171"/>
                  </a:lnTo>
                  <a:lnTo>
                    <a:pt x="179" y="163"/>
                  </a:lnTo>
                  <a:lnTo>
                    <a:pt x="147" y="154"/>
                  </a:lnTo>
                  <a:lnTo>
                    <a:pt x="119" y="147"/>
                  </a:lnTo>
                  <a:lnTo>
                    <a:pt x="97" y="141"/>
                  </a:lnTo>
                  <a:lnTo>
                    <a:pt x="81" y="136"/>
                  </a:lnTo>
                  <a:lnTo>
                    <a:pt x="56" y="126"/>
                  </a:lnTo>
                  <a:lnTo>
                    <a:pt x="38" y="118"/>
                  </a:lnTo>
                  <a:lnTo>
                    <a:pt x="24" y="110"/>
                  </a:lnTo>
                  <a:lnTo>
                    <a:pt x="15" y="105"/>
                  </a:lnTo>
                  <a:lnTo>
                    <a:pt x="10" y="101"/>
                  </a:lnTo>
                  <a:lnTo>
                    <a:pt x="7" y="99"/>
                  </a:lnTo>
                  <a:lnTo>
                    <a:pt x="6" y="97"/>
                  </a:lnTo>
                  <a:lnTo>
                    <a:pt x="4" y="92"/>
                  </a:lnTo>
                  <a:lnTo>
                    <a:pt x="1" y="82"/>
                  </a:lnTo>
                  <a:lnTo>
                    <a:pt x="0" y="69"/>
                  </a:lnTo>
                  <a:lnTo>
                    <a:pt x="0" y="58"/>
                  </a:lnTo>
                  <a:lnTo>
                    <a:pt x="0" y="49"/>
                  </a:lnTo>
                  <a:lnTo>
                    <a:pt x="1" y="45"/>
                  </a:lnTo>
                  <a:lnTo>
                    <a:pt x="29" y="46"/>
                  </a:lnTo>
                  <a:lnTo>
                    <a:pt x="63" y="49"/>
                  </a:lnTo>
                  <a:lnTo>
                    <a:pt x="102" y="53"/>
                  </a:lnTo>
                  <a:lnTo>
                    <a:pt x="145" y="56"/>
                  </a:lnTo>
                  <a:lnTo>
                    <a:pt x="188" y="62"/>
                  </a:lnTo>
                  <a:lnTo>
                    <a:pt x="233" y="67"/>
                  </a:lnTo>
                  <a:lnTo>
                    <a:pt x="277" y="72"/>
                  </a:lnTo>
                  <a:lnTo>
                    <a:pt x="318" y="76"/>
                  </a:lnTo>
                  <a:lnTo>
                    <a:pt x="353" y="79"/>
                  </a:lnTo>
                  <a:lnTo>
                    <a:pt x="382" y="82"/>
                  </a:lnTo>
                  <a:lnTo>
                    <a:pt x="407" y="83"/>
                  </a:lnTo>
                  <a:lnTo>
                    <a:pt x="426" y="83"/>
                  </a:lnTo>
                  <a:lnTo>
                    <a:pt x="439" y="82"/>
                  </a:lnTo>
                  <a:lnTo>
                    <a:pt x="444" y="77"/>
                  </a:lnTo>
                  <a:lnTo>
                    <a:pt x="448" y="65"/>
                  </a:lnTo>
                  <a:lnTo>
                    <a:pt x="451" y="53"/>
                  </a:lnTo>
                  <a:lnTo>
                    <a:pt x="454" y="41"/>
                  </a:lnTo>
                  <a:lnTo>
                    <a:pt x="455" y="31"/>
                  </a:lnTo>
                  <a:lnTo>
                    <a:pt x="455" y="27"/>
                  </a:lnTo>
                  <a:lnTo>
                    <a:pt x="466" y="24"/>
                  </a:lnTo>
                  <a:lnTo>
                    <a:pt x="481" y="22"/>
                  </a:lnTo>
                  <a:lnTo>
                    <a:pt x="500" y="18"/>
                  </a:lnTo>
                  <a:lnTo>
                    <a:pt x="521" y="13"/>
                  </a:lnTo>
                  <a:lnTo>
                    <a:pt x="541" y="9"/>
                  </a:lnTo>
                  <a:lnTo>
                    <a:pt x="560" y="6"/>
                  </a:lnTo>
                  <a:lnTo>
                    <a:pt x="576" y="3"/>
                  </a:lnTo>
                  <a:lnTo>
                    <a:pt x="587" y="1"/>
                  </a:lnTo>
                  <a:lnTo>
                    <a:pt x="591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9" name="Freeform 1412"/>
            <p:cNvSpPr>
              <a:spLocks/>
            </p:cNvSpPr>
            <p:nvPr/>
          </p:nvSpPr>
          <p:spPr bwMode="auto">
            <a:xfrm>
              <a:off x="-3389313" y="1957387"/>
              <a:ext cx="887413" cy="150813"/>
            </a:xfrm>
            <a:custGeom>
              <a:avLst/>
              <a:gdLst>
                <a:gd name="T0" fmla="*/ 554 w 559"/>
                <a:gd name="T1" fmla="*/ 1 h 95"/>
                <a:gd name="T2" fmla="*/ 559 w 559"/>
                <a:gd name="T3" fmla="*/ 6 h 95"/>
                <a:gd name="T4" fmla="*/ 559 w 559"/>
                <a:gd name="T5" fmla="*/ 11 h 95"/>
                <a:gd name="T6" fmla="*/ 554 w 559"/>
                <a:gd name="T7" fmla="*/ 19 h 95"/>
                <a:gd name="T8" fmla="*/ 549 w 559"/>
                <a:gd name="T9" fmla="*/ 24 h 95"/>
                <a:gd name="T10" fmla="*/ 545 w 559"/>
                <a:gd name="T11" fmla="*/ 28 h 95"/>
                <a:gd name="T12" fmla="*/ 545 w 559"/>
                <a:gd name="T13" fmla="*/ 30 h 95"/>
                <a:gd name="T14" fmla="*/ 545 w 559"/>
                <a:gd name="T15" fmla="*/ 45 h 95"/>
                <a:gd name="T16" fmla="*/ 535 w 559"/>
                <a:gd name="T17" fmla="*/ 57 h 95"/>
                <a:gd name="T18" fmla="*/ 509 w 559"/>
                <a:gd name="T19" fmla="*/ 61 h 95"/>
                <a:gd name="T20" fmla="*/ 476 w 559"/>
                <a:gd name="T21" fmla="*/ 63 h 95"/>
                <a:gd name="T22" fmla="*/ 458 w 559"/>
                <a:gd name="T23" fmla="*/ 65 h 95"/>
                <a:gd name="T24" fmla="*/ 458 w 559"/>
                <a:gd name="T25" fmla="*/ 74 h 95"/>
                <a:gd name="T26" fmla="*/ 455 w 559"/>
                <a:gd name="T27" fmla="*/ 87 h 95"/>
                <a:gd name="T28" fmla="*/ 439 w 559"/>
                <a:gd name="T29" fmla="*/ 95 h 95"/>
                <a:gd name="T30" fmla="*/ 403 w 559"/>
                <a:gd name="T31" fmla="*/ 93 h 95"/>
                <a:gd name="T32" fmla="*/ 346 w 559"/>
                <a:gd name="T33" fmla="*/ 88 h 95"/>
                <a:gd name="T34" fmla="*/ 277 w 559"/>
                <a:gd name="T35" fmla="*/ 82 h 95"/>
                <a:gd name="T36" fmla="*/ 201 w 559"/>
                <a:gd name="T37" fmla="*/ 74 h 95"/>
                <a:gd name="T38" fmla="*/ 128 w 559"/>
                <a:gd name="T39" fmla="*/ 65 h 95"/>
                <a:gd name="T40" fmla="*/ 64 w 559"/>
                <a:gd name="T41" fmla="*/ 57 h 95"/>
                <a:gd name="T42" fmla="*/ 15 w 559"/>
                <a:gd name="T43" fmla="*/ 52 h 95"/>
                <a:gd name="T44" fmla="*/ 0 w 559"/>
                <a:gd name="T45" fmla="*/ 45 h 95"/>
                <a:gd name="T46" fmla="*/ 0 w 559"/>
                <a:gd name="T47" fmla="*/ 38 h 95"/>
                <a:gd name="T48" fmla="*/ 29 w 559"/>
                <a:gd name="T49" fmla="*/ 38 h 95"/>
                <a:gd name="T50" fmla="*/ 102 w 559"/>
                <a:gd name="T51" fmla="*/ 45 h 95"/>
                <a:gd name="T52" fmla="*/ 188 w 559"/>
                <a:gd name="T53" fmla="*/ 54 h 95"/>
                <a:gd name="T54" fmla="*/ 277 w 559"/>
                <a:gd name="T55" fmla="*/ 64 h 95"/>
                <a:gd name="T56" fmla="*/ 353 w 559"/>
                <a:gd name="T57" fmla="*/ 71 h 95"/>
                <a:gd name="T58" fmla="*/ 407 w 559"/>
                <a:gd name="T59" fmla="*/ 75 h 95"/>
                <a:gd name="T60" fmla="*/ 439 w 559"/>
                <a:gd name="T61" fmla="*/ 74 h 95"/>
                <a:gd name="T62" fmla="*/ 448 w 559"/>
                <a:gd name="T63" fmla="*/ 57 h 95"/>
                <a:gd name="T64" fmla="*/ 454 w 559"/>
                <a:gd name="T65" fmla="*/ 30 h 95"/>
                <a:gd name="T66" fmla="*/ 482 w 559"/>
                <a:gd name="T67" fmla="*/ 15 h 95"/>
                <a:gd name="T68" fmla="*/ 530 w 559"/>
                <a:gd name="T69" fmla="*/ 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9" h="95">
                  <a:moveTo>
                    <a:pt x="551" y="0"/>
                  </a:moveTo>
                  <a:lnTo>
                    <a:pt x="554" y="1"/>
                  </a:lnTo>
                  <a:lnTo>
                    <a:pt x="557" y="3"/>
                  </a:lnTo>
                  <a:lnTo>
                    <a:pt x="559" y="6"/>
                  </a:lnTo>
                  <a:lnTo>
                    <a:pt x="559" y="9"/>
                  </a:lnTo>
                  <a:lnTo>
                    <a:pt x="559" y="11"/>
                  </a:lnTo>
                  <a:lnTo>
                    <a:pt x="557" y="15"/>
                  </a:lnTo>
                  <a:lnTo>
                    <a:pt x="554" y="19"/>
                  </a:lnTo>
                  <a:lnTo>
                    <a:pt x="551" y="21"/>
                  </a:lnTo>
                  <a:lnTo>
                    <a:pt x="549" y="24"/>
                  </a:lnTo>
                  <a:lnTo>
                    <a:pt x="548" y="27"/>
                  </a:lnTo>
                  <a:lnTo>
                    <a:pt x="545" y="28"/>
                  </a:lnTo>
                  <a:lnTo>
                    <a:pt x="545" y="28"/>
                  </a:lnTo>
                  <a:lnTo>
                    <a:pt x="545" y="30"/>
                  </a:lnTo>
                  <a:lnTo>
                    <a:pt x="546" y="37"/>
                  </a:lnTo>
                  <a:lnTo>
                    <a:pt x="545" y="45"/>
                  </a:lnTo>
                  <a:lnTo>
                    <a:pt x="543" y="51"/>
                  </a:lnTo>
                  <a:lnTo>
                    <a:pt x="535" y="57"/>
                  </a:lnTo>
                  <a:lnTo>
                    <a:pt x="525" y="60"/>
                  </a:lnTo>
                  <a:lnTo>
                    <a:pt x="509" y="61"/>
                  </a:lnTo>
                  <a:lnTo>
                    <a:pt x="491" y="63"/>
                  </a:lnTo>
                  <a:lnTo>
                    <a:pt x="476" y="63"/>
                  </a:lnTo>
                  <a:lnTo>
                    <a:pt x="463" y="64"/>
                  </a:lnTo>
                  <a:lnTo>
                    <a:pt x="458" y="65"/>
                  </a:lnTo>
                  <a:lnTo>
                    <a:pt x="458" y="69"/>
                  </a:lnTo>
                  <a:lnTo>
                    <a:pt x="458" y="74"/>
                  </a:lnTo>
                  <a:lnTo>
                    <a:pt x="458" y="80"/>
                  </a:lnTo>
                  <a:lnTo>
                    <a:pt x="455" y="87"/>
                  </a:lnTo>
                  <a:lnTo>
                    <a:pt x="446" y="93"/>
                  </a:lnTo>
                  <a:lnTo>
                    <a:pt x="439" y="95"/>
                  </a:lnTo>
                  <a:lnTo>
                    <a:pt x="423" y="93"/>
                  </a:lnTo>
                  <a:lnTo>
                    <a:pt x="403" y="93"/>
                  </a:lnTo>
                  <a:lnTo>
                    <a:pt x="377" y="91"/>
                  </a:lnTo>
                  <a:lnTo>
                    <a:pt x="346" y="88"/>
                  </a:lnTo>
                  <a:lnTo>
                    <a:pt x="313" y="86"/>
                  </a:lnTo>
                  <a:lnTo>
                    <a:pt x="277" y="82"/>
                  </a:lnTo>
                  <a:lnTo>
                    <a:pt x="240" y="78"/>
                  </a:lnTo>
                  <a:lnTo>
                    <a:pt x="201" y="74"/>
                  </a:lnTo>
                  <a:lnTo>
                    <a:pt x="164" y="69"/>
                  </a:lnTo>
                  <a:lnTo>
                    <a:pt x="128" y="65"/>
                  </a:lnTo>
                  <a:lnTo>
                    <a:pt x="93" y="61"/>
                  </a:lnTo>
                  <a:lnTo>
                    <a:pt x="64" y="57"/>
                  </a:lnTo>
                  <a:lnTo>
                    <a:pt x="37" y="55"/>
                  </a:lnTo>
                  <a:lnTo>
                    <a:pt x="15" y="52"/>
                  </a:lnTo>
                  <a:lnTo>
                    <a:pt x="0" y="50"/>
                  </a:lnTo>
                  <a:lnTo>
                    <a:pt x="0" y="45"/>
                  </a:lnTo>
                  <a:lnTo>
                    <a:pt x="0" y="41"/>
                  </a:lnTo>
                  <a:lnTo>
                    <a:pt x="0" y="38"/>
                  </a:lnTo>
                  <a:lnTo>
                    <a:pt x="1" y="37"/>
                  </a:lnTo>
                  <a:lnTo>
                    <a:pt x="29" y="38"/>
                  </a:lnTo>
                  <a:lnTo>
                    <a:pt x="63" y="41"/>
                  </a:lnTo>
                  <a:lnTo>
                    <a:pt x="102" y="45"/>
                  </a:lnTo>
                  <a:lnTo>
                    <a:pt x="145" y="48"/>
                  </a:lnTo>
                  <a:lnTo>
                    <a:pt x="188" y="54"/>
                  </a:lnTo>
                  <a:lnTo>
                    <a:pt x="233" y="59"/>
                  </a:lnTo>
                  <a:lnTo>
                    <a:pt x="277" y="64"/>
                  </a:lnTo>
                  <a:lnTo>
                    <a:pt x="318" y="68"/>
                  </a:lnTo>
                  <a:lnTo>
                    <a:pt x="353" y="71"/>
                  </a:lnTo>
                  <a:lnTo>
                    <a:pt x="382" y="74"/>
                  </a:lnTo>
                  <a:lnTo>
                    <a:pt x="407" y="75"/>
                  </a:lnTo>
                  <a:lnTo>
                    <a:pt x="426" y="75"/>
                  </a:lnTo>
                  <a:lnTo>
                    <a:pt x="439" y="74"/>
                  </a:lnTo>
                  <a:lnTo>
                    <a:pt x="444" y="68"/>
                  </a:lnTo>
                  <a:lnTo>
                    <a:pt x="448" y="57"/>
                  </a:lnTo>
                  <a:lnTo>
                    <a:pt x="451" y="43"/>
                  </a:lnTo>
                  <a:lnTo>
                    <a:pt x="454" y="30"/>
                  </a:lnTo>
                  <a:lnTo>
                    <a:pt x="455" y="21"/>
                  </a:lnTo>
                  <a:lnTo>
                    <a:pt x="482" y="15"/>
                  </a:lnTo>
                  <a:lnTo>
                    <a:pt x="505" y="9"/>
                  </a:lnTo>
                  <a:lnTo>
                    <a:pt x="530" y="3"/>
                  </a:lnTo>
                  <a:lnTo>
                    <a:pt x="551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0" name="Freeform 1413"/>
            <p:cNvSpPr>
              <a:spLocks/>
            </p:cNvSpPr>
            <p:nvPr/>
          </p:nvSpPr>
          <p:spPr bwMode="auto">
            <a:xfrm>
              <a:off x="-2876550" y="1849437"/>
              <a:ext cx="376238" cy="227013"/>
            </a:xfrm>
            <a:custGeom>
              <a:avLst/>
              <a:gdLst>
                <a:gd name="T0" fmla="*/ 225 w 237"/>
                <a:gd name="T1" fmla="*/ 1 h 143"/>
                <a:gd name="T2" fmla="*/ 230 w 237"/>
                <a:gd name="T3" fmla="*/ 5 h 143"/>
                <a:gd name="T4" fmla="*/ 231 w 237"/>
                <a:gd name="T5" fmla="*/ 10 h 143"/>
                <a:gd name="T6" fmla="*/ 228 w 237"/>
                <a:gd name="T7" fmla="*/ 15 h 143"/>
                <a:gd name="T8" fmla="*/ 223 w 237"/>
                <a:gd name="T9" fmla="*/ 20 h 143"/>
                <a:gd name="T10" fmla="*/ 204 w 237"/>
                <a:gd name="T11" fmla="*/ 27 h 143"/>
                <a:gd name="T12" fmla="*/ 180 w 237"/>
                <a:gd name="T13" fmla="*/ 34 h 143"/>
                <a:gd name="T14" fmla="*/ 164 w 237"/>
                <a:gd name="T15" fmla="*/ 41 h 143"/>
                <a:gd name="T16" fmla="*/ 167 w 237"/>
                <a:gd name="T17" fmla="*/ 41 h 143"/>
                <a:gd name="T18" fmla="*/ 190 w 237"/>
                <a:gd name="T19" fmla="*/ 36 h 143"/>
                <a:gd name="T20" fmla="*/ 218 w 237"/>
                <a:gd name="T21" fmla="*/ 32 h 143"/>
                <a:gd name="T22" fmla="*/ 234 w 237"/>
                <a:gd name="T23" fmla="*/ 32 h 143"/>
                <a:gd name="T24" fmla="*/ 237 w 237"/>
                <a:gd name="T25" fmla="*/ 37 h 143"/>
                <a:gd name="T26" fmla="*/ 236 w 237"/>
                <a:gd name="T27" fmla="*/ 45 h 143"/>
                <a:gd name="T28" fmla="*/ 231 w 237"/>
                <a:gd name="T29" fmla="*/ 51 h 143"/>
                <a:gd name="T30" fmla="*/ 216 w 237"/>
                <a:gd name="T31" fmla="*/ 56 h 143"/>
                <a:gd name="T32" fmla="*/ 184 w 237"/>
                <a:gd name="T33" fmla="*/ 63 h 143"/>
                <a:gd name="T34" fmla="*/ 154 w 237"/>
                <a:gd name="T35" fmla="*/ 69 h 143"/>
                <a:gd name="T36" fmla="*/ 140 w 237"/>
                <a:gd name="T37" fmla="*/ 71 h 143"/>
                <a:gd name="T38" fmla="*/ 154 w 237"/>
                <a:gd name="T39" fmla="*/ 70 h 143"/>
                <a:gd name="T40" fmla="*/ 185 w 237"/>
                <a:gd name="T41" fmla="*/ 70 h 143"/>
                <a:gd name="T42" fmla="*/ 217 w 237"/>
                <a:gd name="T43" fmla="*/ 71 h 143"/>
                <a:gd name="T44" fmla="*/ 232 w 237"/>
                <a:gd name="T45" fmla="*/ 73 h 143"/>
                <a:gd name="T46" fmla="*/ 227 w 237"/>
                <a:gd name="T47" fmla="*/ 82 h 143"/>
                <a:gd name="T48" fmla="*/ 216 w 237"/>
                <a:gd name="T49" fmla="*/ 91 h 143"/>
                <a:gd name="T50" fmla="*/ 204 w 237"/>
                <a:gd name="T51" fmla="*/ 93 h 143"/>
                <a:gd name="T52" fmla="*/ 177 w 237"/>
                <a:gd name="T53" fmla="*/ 96 h 143"/>
                <a:gd name="T54" fmla="*/ 145 w 237"/>
                <a:gd name="T55" fmla="*/ 98 h 143"/>
                <a:gd name="T56" fmla="*/ 123 w 237"/>
                <a:gd name="T57" fmla="*/ 101 h 143"/>
                <a:gd name="T58" fmla="*/ 125 w 237"/>
                <a:gd name="T59" fmla="*/ 101 h 143"/>
                <a:gd name="T60" fmla="*/ 149 w 237"/>
                <a:gd name="T61" fmla="*/ 102 h 143"/>
                <a:gd name="T62" fmla="*/ 180 w 237"/>
                <a:gd name="T63" fmla="*/ 105 h 143"/>
                <a:gd name="T64" fmla="*/ 203 w 237"/>
                <a:gd name="T65" fmla="*/ 107 h 143"/>
                <a:gd name="T66" fmla="*/ 207 w 237"/>
                <a:gd name="T67" fmla="*/ 114 h 143"/>
                <a:gd name="T68" fmla="*/ 203 w 237"/>
                <a:gd name="T69" fmla="*/ 120 h 143"/>
                <a:gd name="T70" fmla="*/ 194 w 237"/>
                <a:gd name="T71" fmla="*/ 124 h 143"/>
                <a:gd name="T72" fmla="*/ 182 w 237"/>
                <a:gd name="T73" fmla="*/ 125 h 143"/>
                <a:gd name="T74" fmla="*/ 157 w 237"/>
                <a:gd name="T75" fmla="*/ 124 h 143"/>
                <a:gd name="T76" fmla="*/ 135 w 237"/>
                <a:gd name="T77" fmla="*/ 127 h 143"/>
                <a:gd name="T78" fmla="*/ 126 w 237"/>
                <a:gd name="T79" fmla="*/ 128 h 143"/>
                <a:gd name="T80" fmla="*/ 118 w 237"/>
                <a:gd name="T81" fmla="*/ 133 h 143"/>
                <a:gd name="T82" fmla="*/ 107 w 237"/>
                <a:gd name="T83" fmla="*/ 142 h 143"/>
                <a:gd name="T84" fmla="*/ 103 w 237"/>
                <a:gd name="T85" fmla="*/ 143 h 143"/>
                <a:gd name="T86" fmla="*/ 96 w 237"/>
                <a:gd name="T87" fmla="*/ 143 h 143"/>
                <a:gd name="T88" fmla="*/ 73 w 237"/>
                <a:gd name="T89" fmla="*/ 143 h 143"/>
                <a:gd name="T90" fmla="*/ 32 w 237"/>
                <a:gd name="T91" fmla="*/ 141 h 143"/>
                <a:gd name="T92" fmla="*/ 4 w 237"/>
                <a:gd name="T93" fmla="*/ 137 h 143"/>
                <a:gd name="T94" fmla="*/ 68 w 237"/>
                <a:gd name="T95" fmla="*/ 63 h 143"/>
                <a:gd name="T96" fmla="*/ 85 w 237"/>
                <a:gd name="T97" fmla="*/ 45 h 143"/>
                <a:gd name="T98" fmla="*/ 113 w 237"/>
                <a:gd name="T99" fmla="*/ 24 h 143"/>
                <a:gd name="T100" fmla="*/ 141 w 237"/>
                <a:gd name="T101" fmla="*/ 14 h 143"/>
                <a:gd name="T102" fmla="*/ 178 w 237"/>
                <a:gd name="T103" fmla="*/ 5 h 143"/>
                <a:gd name="T104" fmla="*/ 211 w 237"/>
                <a:gd name="T105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7" h="143">
                  <a:moveTo>
                    <a:pt x="221" y="0"/>
                  </a:moveTo>
                  <a:lnTo>
                    <a:pt x="225" y="1"/>
                  </a:lnTo>
                  <a:lnTo>
                    <a:pt x="227" y="2"/>
                  </a:lnTo>
                  <a:lnTo>
                    <a:pt x="230" y="5"/>
                  </a:lnTo>
                  <a:lnTo>
                    <a:pt x="230" y="7"/>
                  </a:lnTo>
                  <a:lnTo>
                    <a:pt x="231" y="10"/>
                  </a:lnTo>
                  <a:lnTo>
                    <a:pt x="230" y="12"/>
                  </a:lnTo>
                  <a:lnTo>
                    <a:pt x="228" y="15"/>
                  </a:lnTo>
                  <a:lnTo>
                    <a:pt x="227" y="18"/>
                  </a:lnTo>
                  <a:lnTo>
                    <a:pt x="223" y="20"/>
                  </a:lnTo>
                  <a:lnTo>
                    <a:pt x="216" y="23"/>
                  </a:lnTo>
                  <a:lnTo>
                    <a:pt x="204" y="27"/>
                  </a:lnTo>
                  <a:lnTo>
                    <a:pt x="193" y="32"/>
                  </a:lnTo>
                  <a:lnTo>
                    <a:pt x="180" y="34"/>
                  </a:lnTo>
                  <a:lnTo>
                    <a:pt x="171" y="38"/>
                  </a:lnTo>
                  <a:lnTo>
                    <a:pt x="164" y="41"/>
                  </a:lnTo>
                  <a:lnTo>
                    <a:pt x="163" y="41"/>
                  </a:lnTo>
                  <a:lnTo>
                    <a:pt x="167" y="41"/>
                  </a:lnTo>
                  <a:lnTo>
                    <a:pt x="177" y="38"/>
                  </a:lnTo>
                  <a:lnTo>
                    <a:pt x="190" y="36"/>
                  </a:lnTo>
                  <a:lnTo>
                    <a:pt x="204" y="33"/>
                  </a:lnTo>
                  <a:lnTo>
                    <a:pt x="218" y="32"/>
                  </a:lnTo>
                  <a:lnTo>
                    <a:pt x="228" y="30"/>
                  </a:lnTo>
                  <a:lnTo>
                    <a:pt x="234" y="32"/>
                  </a:lnTo>
                  <a:lnTo>
                    <a:pt x="236" y="34"/>
                  </a:lnTo>
                  <a:lnTo>
                    <a:pt x="237" y="37"/>
                  </a:lnTo>
                  <a:lnTo>
                    <a:pt x="237" y="41"/>
                  </a:lnTo>
                  <a:lnTo>
                    <a:pt x="236" y="45"/>
                  </a:lnTo>
                  <a:lnTo>
                    <a:pt x="234" y="47"/>
                  </a:lnTo>
                  <a:lnTo>
                    <a:pt x="231" y="51"/>
                  </a:lnTo>
                  <a:lnTo>
                    <a:pt x="226" y="54"/>
                  </a:lnTo>
                  <a:lnTo>
                    <a:pt x="216" y="56"/>
                  </a:lnTo>
                  <a:lnTo>
                    <a:pt x="200" y="59"/>
                  </a:lnTo>
                  <a:lnTo>
                    <a:pt x="184" y="63"/>
                  </a:lnTo>
                  <a:lnTo>
                    <a:pt x="168" y="66"/>
                  </a:lnTo>
                  <a:lnTo>
                    <a:pt x="154" y="69"/>
                  </a:lnTo>
                  <a:lnTo>
                    <a:pt x="144" y="70"/>
                  </a:lnTo>
                  <a:lnTo>
                    <a:pt x="140" y="71"/>
                  </a:lnTo>
                  <a:lnTo>
                    <a:pt x="144" y="71"/>
                  </a:lnTo>
                  <a:lnTo>
                    <a:pt x="154" y="70"/>
                  </a:lnTo>
                  <a:lnTo>
                    <a:pt x="168" y="70"/>
                  </a:lnTo>
                  <a:lnTo>
                    <a:pt x="185" y="70"/>
                  </a:lnTo>
                  <a:lnTo>
                    <a:pt x="202" y="70"/>
                  </a:lnTo>
                  <a:lnTo>
                    <a:pt x="217" y="71"/>
                  </a:lnTo>
                  <a:lnTo>
                    <a:pt x="227" y="71"/>
                  </a:lnTo>
                  <a:lnTo>
                    <a:pt x="232" y="73"/>
                  </a:lnTo>
                  <a:lnTo>
                    <a:pt x="231" y="77"/>
                  </a:lnTo>
                  <a:lnTo>
                    <a:pt x="227" y="82"/>
                  </a:lnTo>
                  <a:lnTo>
                    <a:pt x="222" y="87"/>
                  </a:lnTo>
                  <a:lnTo>
                    <a:pt x="216" y="91"/>
                  </a:lnTo>
                  <a:lnTo>
                    <a:pt x="211" y="93"/>
                  </a:lnTo>
                  <a:lnTo>
                    <a:pt x="204" y="93"/>
                  </a:lnTo>
                  <a:lnTo>
                    <a:pt x="193" y="95"/>
                  </a:lnTo>
                  <a:lnTo>
                    <a:pt x="177" y="96"/>
                  </a:lnTo>
                  <a:lnTo>
                    <a:pt x="160" y="97"/>
                  </a:lnTo>
                  <a:lnTo>
                    <a:pt x="145" y="98"/>
                  </a:lnTo>
                  <a:lnTo>
                    <a:pt x="132" y="100"/>
                  </a:lnTo>
                  <a:lnTo>
                    <a:pt x="123" y="101"/>
                  </a:lnTo>
                  <a:lnTo>
                    <a:pt x="121" y="101"/>
                  </a:lnTo>
                  <a:lnTo>
                    <a:pt x="125" y="101"/>
                  </a:lnTo>
                  <a:lnTo>
                    <a:pt x="135" y="102"/>
                  </a:lnTo>
                  <a:lnTo>
                    <a:pt x="149" y="102"/>
                  </a:lnTo>
                  <a:lnTo>
                    <a:pt x="164" y="104"/>
                  </a:lnTo>
                  <a:lnTo>
                    <a:pt x="180" y="105"/>
                  </a:lnTo>
                  <a:lnTo>
                    <a:pt x="194" y="106"/>
                  </a:lnTo>
                  <a:lnTo>
                    <a:pt x="203" y="107"/>
                  </a:lnTo>
                  <a:lnTo>
                    <a:pt x="207" y="110"/>
                  </a:lnTo>
                  <a:lnTo>
                    <a:pt x="207" y="114"/>
                  </a:lnTo>
                  <a:lnTo>
                    <a:pt x="205" y="116"/>
                  </a:lnTo>
                  <a:lnTo>
                    <a:pt x="203" y="120"/>
                  </a:lnTo>
                  <a:lnTo>
                    <a:pt x="199" y="123"/>
                  </a:lnTo>
                  <a:lnTo>
                    <a:pt x="194" y="124"/>
                  </a:lnTo>
                  <a:lnTo>
                    <a:pt x="187" y="125"/>
                  </a:lnTo>
                  <a:lnTo>
                    <a:pt x="182" y="125"/>
                  </a:lnTo>
                  <a:lnTo>
                    <a:pt x="171" y="124"/>
                  </a:lnTo>
                  <a:lnTo>
                    <a:pt x="157" y="124"/>
                  </a:lnTo>
                  <a:lnTo>
                    <a:pt x="145" y="125"/>
                  </a:lnTo>
                  <a:lnTo>
                    <a:pt x="135" y="127"/>
                  </a:lnTo>
                  <a:lnTo>
                    <a:pt x="128" y="128"/>
                  </a:lnTo>
                  <a:lnTo>
                    <a:pt x="126" y="128"/>
                  </a:lnTo>
                  <a:lnTo>
                    <a:pt x="123" y="129"/>
                  </a:lnTo>
                  <a:lnTo>
                    <a:pt x="118" y="133"/>
                  </a:lnTo>
                  <a:lnTo>
                    <a:pt x="112" y="138"/>
                  </a:lnTo>
                  <a:lnTo>
                    <a:pt x="107" y="142"/>
                  </a:lnTo>
                  <a:lnTo>
                    <a:pt x="103" y="143"/>
                  </a:lnTo>
                  <a:lnTo>
                    <a:pt x="103" y="143"/>
                  </a:lnTo>
                  <a:lnTo>
                    <a:pt x="101" y="143"/>
                  </a:lnTo>
                  <a:lnTo>
                    <a:pt x="96" y="143"/>
                  </a:lnTo>
                  <a:lnTo>
                    <a:pt x="87" y="143"/>
                  </a:lnTo>
                  <a:lnTo>
                    <a:pt x="73" y="143"/>
                  </a:lnTo>
                  <a:lnTo>
                    <a:pt x="51" y="142"/>
                  </a:lnTo>
                  <a:lnTo>
                    <a:pt x="32" y="141"/>
                  </a:lnTo>
                  <a:lnTo>
                    <a:pt x="16" y="139"/>
                  </a:lnTo>
                  <a:lnTo>
                    <a:pt x="4" y="137"/>
                  </a:lnTo>
                  <a:lnTo>
                    <a:pt x="0" y="137"/>
                  </a:lnTo>
                  <a:lnTo>
                    <a:pt x="68" y="63"/>
                  </a:lnTo>
                  <a:lnTo>
                    <a:pt x="75" y="55"/>
                  </a:lnTo>
                  <a:lnTo>
                    <a:pt x="85" y="45"/>
                  </a:lnTo>
                  <a:lnTo>
                    <a:pt x="98" y="34"/>
                  </a:lnTo>
                  <a:lnTo>
                    <a:pt x="113" y="24"/>
                  </a:lnTo>
                  <a:lnTo>
                    <a:pt x="127" y="18"/>
                  </a:lnTo>
                  <a:lnTo>
                    <a:pt x="141" y="14"/>
                  </a:lnTo>
                  <a:lnTo>
                    <a:pt x="159" y="9"/>
                  </a:lnTo>
                  <a:lnTo>
                    <a:pt x="178" y="5"/>
                  </a:lnTo>
                  <a:lnTo>
                    <a:pt x="196" y="2"/>
                  </a:lnTo>
                  <a:lnTo>
                    <a:pt x="211" y="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ECDC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1" name="Freeform 1414"/>
            <p:cNvSpPr>
              <a:spLocks/>
            </p:cNvSpPr>
            <p:nvPr/>
          </p:nvSpPr>
          <p:spPr bwMode="auto">
            <a:xfrm>
              <a:off x="-2949575" y="4997450"/>
              <a:ext cx="412750" cy="204788"/>
            </a:xfrm>
            <a:custGeom>
              <a:avLst/>
              <a:gdLst>
                <a:gd name="T0" fmla="*/ 131 w 260"/>
                <a:gd name="T1" fmla="*/ 0 h 129"/>
                <a:gd name="T2" fmla="*/ 155 w 260"/>
                <a:gd name="T3" fmla="*/ 3 h 129"/>
                <a:gd name="T4" fmla="*/ 180 w 260"/>
                <a:gd name="T5" fmla="*/ 9 h 129"/>
                <a:gd name="T6" fmla="*/ 201 w 260"/>
                <a:gd name="T7" fmla="*/ 19 h 129"/>
                <a:gd name="T8" fmla="*/ 222 w 260"/>
                <a:gd name="T9" fmla="*/ 34 h 129"/>
                <a:gd name="T10" fmla="*/ 239 w 260"/>
                <a:gd name="T11" fmla="*/ 52 h 129"/>
                <a:gd name="T12" fmla="*/ 251 w 260"/>
                <a:gd name="T13" fmla="*/ 75 h 129"/>
                <a:gd name="T14" fmla="*/ 260 w 260"/>
                <a:gd name="T15" fmla="*/ 103 h 129"/>
                <a:gd name="T16" fmla="*/ 260 w 260"/>
                <a:gd name="T17" fmla="*/ 109 h 129"/>
                <a:gd name="T18" fmla="*/ 260 w 260"/>
                <a:gd name="T19" fmla="*/ 116 h 129"/>
                <a:gd name="T20" fmla="*/ 257 w 260"/>
                <a:gd name="T21" fmla="*/ 121 h 129"/>
                <a:gd name="T22" fmla="*/ 250 w 260"/>
                <a:gd name="T23" fmla="*/ 125 h 129"/>
                <a:gd name="T24" fmla="*/ 242 w 260"/>
                <a:gd name="T25" fmla="*/ 126 h 129"/>
                <a:gd name="T26" fmla="*/ 227 w 260"/>
                <a:gd name="T27" fmla="*/ 127 h 129"/>
                <a:gd name="T28" fmla="*/ 205 w 260"/>
                <a:gd name="T29" fmla="*/ 127 h 129"/>
                <a:gd name="T30" fmla="*/ 181 w 260"/>
                <a:gd name="T31" fmla="*/ 129 h 129"/>
                <a:gd name="T32" fmla="*/ 153 w 260"/>
                <a:gd name="T33" fmla="*/ 129 h 129"/>
                <a:gd name="T34" fmla="*/ 123 w 260"/>
                <a:gd name="T35" fmla="*/ 129 h 129"/>
                <a:gd name="T36" fmla="*/ 94 w 260"/>
                <a:gd name="T37" fmla="*/ 129 h 129"/>
                <a:gd name="T38" fmla="*/ 68 w 260"/>
                <a:gd name="T39" fmla="*/ 129 h 129"/>
                <a:gd name="T40" fmla="*/ 45 w 260"/>
                <a:gd name="T41" fmla="*/ 129 h 129"/>
                <a:gd name="T42" fmla="*/ 28 w 260"/>
                <a:gd name="T43" fmla="*/ 127 h 129"/>
                <a:gd name="T44" fmla="*/ 19 w 260"/>
                <a:gd name="T45" fmla="*/ 127 h 129"/>
                <a:gd name="T46" fmla="*/ 13 w 260"/>
                <a:gd name="T47" fmla="*/ 125 h 129"/>
                <a:gd name="T48" fmla="*/ 8 w 260"/>
                <a:gd name="T49" fmla="*/ 123 h 129"/>
                <a:gd name="T50" fmla="*/ 5 w 260"/>
                <a:gd name="T51" fmla="*/ 121 h 129"/>
                <a:gd name="T52" fmla="*/ 2 w 260"/>
                <a:gd name="T53" fmla="*/ 118 h 129"/>
                <a:gd name="T54" fmla="*/ 1 w 260"/>
                <a:gd name="T55" fmla="*/ 116 h 129"/>
                <a:gd name="T56" fmla="*/ 0 w 260"/>
                <a:gd name="T57" fmla="*/ 113 h 129"/>
                <a:gd name="T58" fmla="*/ 0 w 260"/>
                <a:gd name="T59" fmla="*/ 111 h 129"/>
                <a:gd name="T60" fmla="*/ 0 w 260"/>
                <a:gd name="T61" fmla="*/ 109 h 129"/>
                <a:gd name="T62" fmla="*/ 0 w 260"/>
                <a:gd name="T63" fmla="*/ 103 h 129"/>
                <a:gd name="T64" fmla="*/ 0 w 260"/>
                <a:gd name="T65" fmla="*/ 94 h 129"/>
                <a:gd name="T66" fmla="*/ 1 w 260"/>
                <a:gd name="T67" fmla="*/ 86 h 129"/>
                <a:gd name="T68" fmla="*/ 0 w 260"/>
                <a:gd name="T69" fmla="*/ 81 h 129"/>
                <a:gd name="T70" fmla="*/ 2 w 260"/>
                <a:gd name="T71" fmla="*/ 63 h 129"/>
                <a:gd name="T72" fmla="*/ 11 w 260"/>
                <a:gd name="T73" fmla="*/ 46 h 129"/>
                <a:gd name="T74" fmla="*/ 24 w 260"/>
                <a:gd name="T75" fmla="*/ 32 h 129"/>
                <a:gd name="T76" fmla="*/ 41 w 260"/>
                <a:gd name="T77" fmla="*/ 21 h 129"/>
                <a:gd name="T78" fmla="*/ 62 w 260"/>
                <a:gd name="T79" fmla="*/ 10 h 129"/>
                <a:gd name="T80" fmla="*/ 83 w 260"/>
                <a:gd name="T81" fmla="*/ 4 h 129"/>
                <a:gd name="T82" fmla="*/ 106 w 260"/>
                <a:gd name="T83" fmla="*/ 0 h 129"/>
                <a:gd name="T84" fmla="*/ 131 w 260"/>
                <a:gd name="T85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0" h="129">
                  <a:moveTo>
                    <a:pt x="131" y="0"/>
                  </a:moveTo>
                  <a:lnTo>
                    <a:pt x="155" y="3"/>
                  </a:lnTo>
                  <a:lnTo>
                    <a:pt x="180" y="9"/>
                  </a:lnTo>
                  <a:lnTo>
                    <a:pt x="201" y="19"/>
                  </a:lnTo>
                  <a:lnTo>
                    <a:pt x="222" y="34"/>
                  </a:lnTo>
                  <a:lnTo>
                    <a:pt x="239" y="52"/>
                  </a:lnTo>
                  <a:lnTo>
                    <a:pt x="251" y="75"/>
                  </a:lnTo>
                  <a:lnTo>
                    <a:pt x="260" y="103"/>
                  </a:lnTo>
                  <a:lnTo>
                    <a:pt x="260" y="109"/>
                  </a:lnTo>
                  <a:lnTo>
                    <a:pt x="260" y="116"/>
                  </a:lnTo>
                  <a:lnTo>
                    <a:pt x="257" y="121"/>
                  </a:lnTo>
                  <a:lnTo>
                    <a:pt x="250" y="125"/>
                  </a:lnTo>
                  <a:lnTo>
                    <a:pt x="242" y="126"/>
                  </a:lnTo>
                  <a:lnTo>
                    <a:pt x="227" y="127"/>
                  </a:lnTo>
                  <a:lnTo>
                    <a:pt x="205" y="127"/>
                  </a:lnTo>
                  <a:lnTo>
                    <a:pt x="181" y="129"/>
                  </a:lnTo>
                  <a:lnTo>
                    <a:pt x="153" y="129"/>
                  </a:lnTo>
                  <a:lnTo>
                    <a:pt x="123" y="129"/>
                  </a:lnTo>
                  <a:lnTo>
                    <a:pt x="94" y="129"/>
                  </a:lnTo>
                  <a:lnTo>
                    <a:pt x="68" y="129"/>
                  </a:lnTo>
                  <a:lnTo>
                    <a:pt x="45" y="129"/>
                  </a:lnTo>
                  <a:lnTo>
                    <a:pt x="28" y="127"/>
                  </a:lnTo>
                  <a:lnTo>
                    <a:pt x="19" y="127"/>
                  </a:lnTo>
                  <a:lnTo>
                    <a:pt x="13" y="125"/>
                  </a:lnTo>
                  <a:lnTo>
                    <a:pt x="8" y="123"/>
                  </a:lnTo>
                  <a:lnTo>
                    <a:pt x="5" y="121"/>
                  </a:lnTo>
                  <a:lnTo>
                    <a:pt x="2" y="118"/>
                  </a:lnTo>
                  <a:lnTo>
                    <a:pt x="1" y="116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0" y="103"/>
                  </a:lnTo>
                  <a:lnTo>
                    <a:pt x="0" y="94"/>
                  </a:lnTo>
                  <a:lnTo>
                    <a:pt x="1" y="86"/>
                  </a:lnTo>
                  <a:lnTo>
                    <a:pt x="0" y="81"/>
                  </a:lnTo>
                  <a:lnTo>
                    <a:pt x="2" y="63"/>
                  </a:lnTo>
                  <a:lnTo>
                    <a:pt x="11" y="46"/>
                  </a:lnTo>
                  <a:lnTo>
                    <a:pt x="24" y="32"/>
                  </a:lnTo>
                  <a:lnTo>
                    <a:pt x="41" y="21"/>
                  </a:lnTo>
                  <a:lnTo>
                    <a:pt x="62" y="10"/>
                  </a:lnTo>
                  <a:lnTo>
                    <a:pt x="83" y="4"/>
                  </a:lnTo>
                  <a:lnTo>
                    <a:pt x="106" y="0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58481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2" name="Freeform 1415"/>
            <p:cNvSpPr>
              <a:spLocks/>
            </p:cNvSpPr>
            <p:nvPr/>
          </p:nvSpPr>
          <p:spPr bwMode="auto">
            <a:xfrm>
              <a:off x="-3232150" y="496887"/>
              <a:ext cx="463550" cy="276225"/>
            </a:xfrm>
            <a:custGeom>
              <a:avLst/>
              <a:gdLst>
                <a:gd name="T0" fmla="*/ 155 w 292"/>
                <a:gd name="T1" fmla="*/ 4 h 174"/>
                <a:gd name="T2" fmla="*/ 192 w 292"/>
                <a:gd name="T3" fmla="*/ 22 h 174"/>
                <a:gd name="T4" fmla="*/ 246 w 292"/>
                <a:gd name="T5" fmla="*/ 52 h 174"/>
                <a:gd name="T6" fmla="*/ 275 w 292"/>
                <a:gd name="T7" fmla="*/ 75 h 174"/>
                <a:gd name="T8" fmla="*/ 290 w 292"/>
                <a:gd name="T9" fmla="*/ 95 h 174"/>
                <a:gd name="T10" fmla="*/ 286 w 292"/>
                <a:gd name="T11" fmla="*/ 92 h 174"/>
                <a:gd name="T12" fmla="*/ 246 w 292"/>
                <a:gd name="T13" fmla="*/ 68 h 174"/>
                <a:gd name="T14" fmla="*/ 200 w 292"/>
                <a:gd name="T15" fmla="*/ 47 h 174"/>
                <a:gd name="T16" fmla="*/ 178 w 292"/>
                <a:gd name="T17" fmla="*/ 39 h 174"/>
                <a:gd name="T18" fmla="*/ 219 w 292"/>
                <a:gd name="T19" fmla="*/ 66 h 174"/>
                <a:gd name="T20" fmla="*/ 204 w 292"/>
                <a:gd name="T21" fmla="*/ 64 h 174"/>
                <a:gd name="T22" fmla="*/ 172 w 292"/>
                <a:gd name="T23" fmla="*/ 64 h 174"/>
                <a:gd name="T24" fmla="*/ 161 w 292"/>
                <a:gd name="T25" fmla="*/ 64 h 174"/>
                <a:gd name="T26" fmla="*/ 189 w 292"/>
                <a:gd name="T27" fmla="*/ 70 h 174"/>
                <a:gd name="T28" fmla="*/ 229 w 292"/>
                <a:gd name="T29" fmla="*/ 84 h 174"/>
                <a:gd name="T30" fmla="*/ 251 w 292"/>
                <a:gd name="T31" fmla="*/ 93 h 174"/>
                <a:gd name="T32" fmla="*/ 227 w 292"/>
                <a:gd name="T33" fmla="*/ 93 h 174"/>
                <a:gd name="T34" fmla="*/ 184 w 292"/>
                <a:gd name="T35" fmla="*/ 96 h 174"/>
                <a:gd name="T36" fmla="*/ 138 w 292"/>
                <a:gd name="T37" fmla="*/ 104 h 174"/>
                <a:gd name="T38" fmla="*/ 112 w 292"/>
                <a:gd name="T39" fmla="*/ 109 h 174"/>
                <a:gd name="T40" fmla="*/ 139 w 292"/>
                <a:gd name="T41" fmla="*/ 107 h 174"/>
                <a:gd name="T42" fmla="*/ 205 w 292"/>
                <a:gd name="T43" fmla="*/ 105 h 174"/>
                <a:gd name="T44" fmla="*/ 256 w 292"/>
                <a:gd name="T45" fmla="*/ 106 h 174"/>
                <a:gd name="T46" fmla="*/ 252 w 292"/>
                <a:gd name="T47" fmla="*/ 106 h 174"/>
                <a:gd name="T48" fmla="*/ 204 w 292"/>
                <a:gd name="T49" fmla="*/ 115 h 174"/>
                <a:gd name="T50" fmla="*/ 177 w 292"/>
                <a:gd name="T51" fmla="*/ 133 h 174"/>
                <a:gd name="T52" fmla="*/ 233 w 292"/>
                <a:gd name="T53" fmla="*/ 125 h 174"/>
                <a:gd name="T54" fmla="*/ 205 w 292"/>
                <a:gd name="T55" fmla="*/ 138 h 174"/>
                <a:gd name="T56" fmla="*/ 183 w 292"/>
                <a:gd name="T57" fmla="*/ 156 h 174"/>
                <a:gd name="T58" fmla="*/ 255 w 292"/>
                <a:gd name="T59" fmla="*/ 142 h 174"/>
                <a:gd name="T60" fmla="*/ 219 w 292"/>
                <a:gd name="T61" fmla="*/ 160 h 174"/>
                <a:gd name="T62" fmla="*/ 179 w 292"/>
                <a:gd name="T63" fmla="*/ 174 h 174"/>
                <a:gd name="T64" fmla="*/ 130 w 292"/>
                <a:gd name="T65" fmla="*/ 168 h 174"/>
                <a:gd name="T66" fmla="*/ 77 w 292"/>
                <a:gd name="T67" fmla="*/ 152 h 174"/>
                <a:gd name="T68" fmla="*/ 80 w 292"/>
                <a:gd name="T69" fmla="*/ 146 h 174"/>
                <a:gd name="T70" fmla="*/ 133 w 292"/>
                <a:gd name="T71" fmla="*/ 143 h 174"/>
                <a:gd name="T72" fmla="*/ 150 w 292"/>
                <a:gd name="T73" fmla="*/ 141 h 174"/>
                <a:gd name="T74" fmla="*/ 101 w 292"/>
                <a:gd name="T75" fmla="*/ 122 h 174"/>
                <a:gd name="T76" fmla="*/ 42 w 292"/>
                <a:gd name="T77" fmla="*/ 119 h 174"/>
                <a:gd name="T78" fmla="*/ 32 w 292"/>
                <a:gd name="T79" fmla="*/ 122 h 174"/>
                <a:gd name="T80" fmla="*/ 66 w 292"/>
                <a:gd name="T81" fmla="*/ 100 h 174"/>
                <a:gd name="T82" fmla="*/ 123 w 292"/>
                <a:gd name="T83" fmla="*/ 83 h 174"/>
                <a:gd name="T84" fmla="*/ 169 w 292"/>
                <a:gd name="T85" fmla="*/ 83 h 174"/>
                <a:gd name="T86" fmla="*/ 178 w 292"/>
                <a:gd name="T87" fmla="*/ 84 h 174"/>
                <a:gd name="T88" fmla="*/ 143 w 292"/>
                <a:gd name="T89" fmla="*/ 74 h 174"/>
                <a:gd name="T90" fmla="*/ 84 w 292"/>
                <a:gd name="T91" fmla="*/ 68 h 174"/>
                <a:gd name="T92" fmla="*/ 27 w 292"/>
                <a:gd name="T93" fmla="*/ 70 h 174"/>
                <a:gd name="T94" fmla="*/ 0 w 292"/>
                <a:gd name="T95" fmla="*/ 72 h 174"/>
                <a:gd name="T96" fmla="*/ 21 w 292"/>
                <a:gd name="T97" fmla="*/ 63 h 174"/>
                <a:gd name="T98" fmla="*/ 69 w 292"/>
                <a:gd name="T99" fmla="*/ 47 h 174"/>
                <a:gd name="T100" fmla="*/ 127 w 292"/>
                <a:gd name="T101" fmla="*/ 47 h 174"/>
                <a:gd name="T102" fmla="*/ 166 w 292"/>
                <a:gd name="T103" fmla="*/ 51 h 174"/>
                <a:gd name="T104" fmla="*/ 160 w 292"/>
                <a:gd name="T105" fmla="*/ 45 h 174"/>
                <a:gd name="T106" fmla="*/ 111 w 292"/>
                <a:gd name="T107" fmla="*/ 25 h 174"/>
                <a:gd name="T108" fmla="*/ 64 w 292"/>
                <a:gd name="T109" fmla="*/ 20 h 174"/>
                <a:gd name="T110" fmla="*/ 55 w 292"/>
                <a:gd name="T111" fmla="*/ 19 h 174"/>
                <a:gd name="T112" fmla="*/ 98 w 292"/>
                <a:gd name="T113" fmla="*/ 13 h 174"/>
                <a:gd name="T114" fmla="*/ 154 w 292"/>
                <a:gd name="T115" fmla="*/ 18 h 174"/>
                <a:gd name="T116" fmla="*/ 174 w 292"/>
                <a:gd name="T117" fmla="*/ 29 h 174"/>
                <a:gd name="T118" fmla="*/ 174 w 292"/>
                <a:gd name="T119" fmla="*/ 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174">
                  <a:moveTo>
                    <a:pt x="145" y="0"/>
                  </a:moveTo>
                  <a:lnTo>
                    <a:pt x="147" y="1"/>
                  </a:lnTo>
                  <a:lnTo>
                    <a:pt x="155" y="4"/>
                  </a:lnTo>
                  <a:lnTo>
                    <a:pt x="165" y="9"/>
                  </a:lnTo>
                  <a:lnTo>
                    <a:pt x="178" y="15"/>
                  </a:lnTo>
                  <a:lnTo>
                    <a:pt x="192" y="22"/>
                  </a:lnTo>
                  <a:lnTo>
                    <a:pt x="209" y="30"/>
                  </a:lnTo>
                  <a:lnTo>
                    <a:pt x="227" y="41"/>
                  </a:lnTo>
                  <a:lnTo>
                    <a:pt x="246" y="52"/>
                  </a:lnTo>
                  <a:lnTo>
                    <a:pt x="261" y="64"/>
                  </a:lnTo>
                  <a:lnTo>
                    <a:pt x="273" y="73"/>
                  </a:lnTo>
                  <a:lnTo>
                    <a:pt x="275" y="75"/>
                  </a:lnTo>
                  <a:lnTo>
                    <a:pt x="279" y="81"/>
                  </a:lnTo>
                  <a:lnTo>
                    <a:pt x="286" y="88"/>
                  </a:lnTo>
                  <a:lnTo>
                    <a:pt x="290" y="95"/>
                  </a:lnTo>
                  <a:lnTo>
                    <a:pt x="292" y="97"/>
                  </a:lnTo>
                  <a:lnTo>
                    <a:pt x="291" y="96"/>
                  </a:lnTo>
                  <a:lnTo>
                    <a:pt x="286" y="92"/>
                  </a:lnTo>
                  <a:lnTo>
                    <a:pt x="275" y="86"/>
                  </a:lnTo>
                  <a:lnTo>
                    <a:pt x="263" y="77"/>
                  </a:lnTo>
                  <a:lnTo>
                    <a:pt x="246" y="68"/>
                  </a:lnTo>
                  <a:lnTo>
                    <a:pt x="231" y="60"/>
                  </a:lnTo>
                  <a:lnTo>
                    <a:pt x="214" y="52"/>
                  </a:lnTo>
                  <a:lnTo>
                    <a:pt x="200" y="47"/>
                  </a:lnTo>
                  <a:lnTo>
                    <a:pt x="188" y="43"/>
                  </a:lnTo>
                  <a:lnTo>
                    <a:pt x="180" y="41"/>
                  </a:lnTo>
                  <a:lnTo>
                    <a:pt x="178" y="39"/>
                  </a:lnTo>
                  <a:lnTo>
                    <a:pt x="220" y="66"/>
                  </a:lnTo>
                  <a:lnTo>
                    <a:pt x="220" y="66"/>
                  </a:lnTo>
                  <a:lnTo>
                    <a:pt x="219" y="66"/>
                  </a:lnTo>
                  <a:lnTo>
                    <a:pt x="215" y="65"/>
                  </a:lnTo>
                  <a:lnTo>
                    <a:pt x="210" y="65"/>
                  </a:lnTo>
                  <a:lnTo>
                    <a:pt x="204" y="64"/>
                  </a:lnTo>
                  <a:lnTo>
                    <a:pt x="195" y="63"/>
                  </a:lnTo>
                  <a:lnTo>
                    <a:pt x="183" y="63"/>
                  </a:lnTo>
                  <a:lnTo>
                    <a:pt x="172" y="64"/>
                  </a:lnTo>
                  <a:lnTo>
                    <a:pt x="163" y="64"/>
                  </a:lnTo>
                  <a:lnTo>
                    <a:pt x="160" y="64"/>
                  </a:lnTo>
                  <a:lnTo>
                    <a:pt x="161" y="64"/>
                  </a:lnTo>
                  <a:lnTo>
                    <a:pt x="166" y="65"/>
                  </a:lnTo>
                  <a:lnTo>
                    <a:pt x="175" y="66"/>
                  </a:lnTo>
                  <a:lnTo>
                    <a:pt x="189" y="70"/>
                  </a:lnTo>
                  <a:lnTo>
                    <a:pt x="202" y="74"/>
                  </a:lnTo>
                  <a:lnTo>
                    <a:pt x="216" y="78"/>
                  </a:lnTo>
                  <a:lnTo>
                    <a:pt x="229" y="84"/>
                  </a:lnTo>
                  <a:lnTo>
                    <a:pt x="241" y="88"/>
                  </a:lnTo>
                  <a:lnTo>
                    <a:pt x="248" y="92"/>
                  </a:lnTo>
                  <a:lnTo>
                    <a:pt x="251" y="93"/>
                  </a:lnTo>
                  <a:lnTo>
                    <a:pt x="248" y="93"/>
                  </a:lnTo>
                  <a:lnTo>
                    <a:pt x="240" y="93"/>
                  </a:lnTo>
                  <a:lnTo>
                    <a:pt x="227" y="93"/>
                  </a:lnTo>
                  <a:lnTo>
                    <a:pt x="211" y="93"/>
                  </a:lnTo>
                  <a:lnTo>
                    <a:pt x="197" y="95"/>
                  </a:lnTo>
                  <a:lnTo>
                    <a:pt x="184" y="96"/>
                  </a:lnTo>
                  <a:lnTo>
                    <a:pt x="169" y="98"/>
                  </a:lnTo>
                  <a:lnTo>
                    <a:pt x="154" y="101"/>
                  </a:lnTo>
                  <a:lnTo>
                    <a:pt x="138" y="104"/>
                  </a:lnTo>
                  <a:lnTo>
                    <a:pt x="125" y="106"/>
                  </a:lnTo>
                  <a:lnTo>
                    <a:pt x="116" y="109"/>
                  </a:lnTo>
                  <a:lnTo>
                    <a:pt x="112" y="109"/>
                  </a:lnTo>
                  <a:lnTo>
                    <a:pt x="114" y="110"/>
                  </a:lnTo>
                  <a:lnTo>
                    <a:pt x="123" y="109"/>
                  </a:lnTo>
                  <a:lnTo>
                    <a:pt x="139" y="107"/>
                  </a:lnTo>
                  <a:lnTo>
                    <a:pt x="164" y="106"/>
                  </a:lnTo>
                  <a:lnTo>
                    <a:pt x="183" y="105"/>
                  </a:lnTo>
                  <a:lnTo>
                    <a:pt x="205" y="105"/>
                  </a:lnTo>
                  <a:lnTo>
                    <a:pt x="225" y="105"/>
                  </a:lnTo>
                  <a:lnTo>
                    <a:pt x="243" y="105"/>
                  </a:lnTo>
                  <a:lnTo>
                    <a:pt x="256" y="106"/>
                  </a:lnTo>
                  <a:lnTo>
                    <a:pt x="263" y="106"/>
                  </a:lnTo>
                  <a:lnTo>
                    <a:pt x="261" y="106"/>
                  </a:lnTo>
                  <a:lnTo>
                    <a:pt x="252" y="106"/>
                  </a:lnTo>
                  <a:lnTo>
                    <a:pt x="237" y="107"/>
                  </a:lnTo>
                  <a:lnTo>
                    <a:pt x="219" y="111"/>
                  </a:lnTo>
                  <a:lnTo>
                    <a:pt x="204" y="115"/>
                  </a:lnTo>
                  <a:lnTo>
                    <a:pt x="192" y="122"/>
                  </a:lnTo>
                  <a:lnTo>
                    <a:pt x="183" y="128"/>
                  </a:lnTo>
                  <a:lnTo>
                    <a:pt x="177" y="133"/>
                  </a:lnTo>
                  <a:lnTo>
                    <a:pt x="175" y="134"/>
                  </a:lnTo>
                  <a:lnTo>
                    <a:pt x="234" y="124"/>
                  </a:lnTo>
                  <a:lnTo>
                    <a:pt x="233" y="125"/>
                  </a:lnTo>
                  <a:lnTo>
                    <a:pt x="228" y="128"/>
                  </a:lnTo>
                  <a:lnTo>
                    <a:pt x="219" y="132"/>
                  </a:lnTo>
                  <a:lnTo>
                    <a:pt x="205" y="138"/>
                  </a:lnTo>
                  <a:lnTo>
                    <a:pt x="192" y="145"/>
                  </a:lnTo>
                  <a:lnTo>
                    <a:pt x="186" y="151"/>
                  </a:lnTo>
                  <a:lnTo>
                    <a:pt x="183" y="156"/>
                  </a:lnTo>
                  <a:lnTo>
                    <a:pt x="182" y="158"/>
                  </a:lnTo>
                  <a:lnTo>
                    <a:pt x="257" y="141"/>
                  </a:lnTo>
                  <a:lnTo>
                    <a:pt x="255" y="142"/>
                  </a:lnTo>
                  <a:lnTo>
                    <a:pt x="246" y="147"/>
                  </a:lnTo>
                  <a:lnTo>
                    <a:pt x="234" y="154"/>
                  </a:lnTo>
                  <a:lnTo>
                    <a:pt x="219" y="160"/>
                  </a:lnTo>
                  <a:lnTo>
                    <a:pt x="202" y="166"/>
                  </a:lnTo>
                  <a:lnTo>
                    <a:pt x="189" y="172"/>
                  </a:lnTo>
                  <a:lnTo>
                    <a:pt x="179" y="174"/>
                  </a:lnTo>
                  <a:lnTo>
                    <a:pt x="175" y="174"/>
                  </a:lnTo>
                  <a:lnTo>
                    <a:pt x="152" y="172"/>
                  </a:lnTo>
                  <a:lnTo>
                    <a:pt x="130" y="168"/>
                  </a:lnTo>
                  <a:lnTo>
                    <a:pt x="110" y="161"/>
                  </a:lnTo>
                  <a:lnTo>
                    <a:pt x="92" y="156"/>
                  </a:lnTo>
                  <a:lnTo>
                    <a:pt x="77" y="152"/>
                  </a:lnTo>
                  <a:lnTo>
                    <a:pt x="66" y="149"/>
                  </a:lnTo>
                  <a:lnTo>
                    <a:pt x="61" y="147"/>
                  </a:lnTo>
                  <a:lnTo>
                    <a:pt x="80" y="146"/>
                  </a:lnTo>
                  <a:lnTo>
                    <a:pt x="97" y="145"/>
                  </a:lnTo>
                  <a:lnTo>
                    <a:pt x="114" y="143"/>
                  </a:lnTo>
                  <a:lnTo>
                    <a:pt x="133" y="143"/>
                  </a:lnTo>
                  <a:lnTo>
                    <a:pt x="157" y="146"/>
                  </a:lnTo>
                  <a:lnTo>
                    <a:pt x="155" y="145"/>
                  </a:lnTo>
                  <a:lnTo>
                    <a:pt x="150" y="141"/>
                  </a:lnTo>
                  <a:lnTo>
                    <a:pt x="138" y="134"/>
                  </a:lnTo>
                  <a:lnTo>
                    <a:pt x="123" y="128"/>
                  </a:lnTo>
                  <a:lnTo>
                    <a:pt x="101" y="122"/>
                  </a:lnTo>
                  <a:lnTo>
                    <a:pt x="77" y="118"/>
                  </a:lnTo>
                  <a:lnTo>
                    <a:pt x="57" y="118"/>
                  </a:lnTo>
                  <a:lnTo>
                    <a:pt x="42" y="119"/>
                  </a:lnTo>
                  <a:lnTo>
                    <a:pt x="33" y="122"/>
                  </a:lnTo>
                  <a:lnTo>
                    <a:pt x="29" y="123"/>
                  </a:lnTo>
                  <a:lnTo>
                    <a:pt x="32" y="122"/>
                  </a:lnTo>
                  <a:lnTo>
                    <a:pt x="39" y="116"/>
                  </a:lnTo>
                  <a:lnTo>
                    <a:pt x="51" y="109"/>
                  </a:lnTo>
                  <a:lnTo>
                    <a:pt x="66" y="100"/>
                  </a:lnTo>
                  <a:lnTo>
                    <a:pt x="88" y="91"/>
                  </a:lnTo>
                  <a:lnTo>
                    <a:pt x="105" y="86"/>
                  </a:lnTo>
                  <a:lnTo>
                    <a:pt x="123" y="83"/>
                  </a:lnTo>
                  <a:lnTo>
                    <a:pt x="141" y="82"/>
                  </a:lnTo>
                  <a:lnTo>
                    <a:pt x="156" y="83"/>
                  </a:lnTo>
                  <a:lnTo>
                    <a:pt x="169" y="83"/>
                  </a:lnTo>
                  <a:lnTo>
                    <a:pt x="177" y="84"/>
                  </a:lnTo>
                  <a:lnTo>
                    <a:pt x="180" y="84"/>
                  </a:lnTo>
                  <a:lnTo>
                    <a:pt x="178" y="84"/>
                  </a:lnTo>
                  <a:lnTo>
                    <a:pt x="172" y="82"/>
                  </a:lnTo>
                  <a:lnTo>
                    <a:pt x="160" y="78"/>
                  </a:lnTo>
                  <a:lnTo>
                    <a:pt x="143" y="74"/>
                  </a:lnTo>
                  <a:lnTo>
                    <a:pt x="121" y="70"/>
                  </a:lnTo>
                  <a:lnTo>
                    <a:pt x="104" y="68"/>
                  </a:lnTo>
                  <a:lnTo>
                    <a:pt x="84" y="68"/>
                  </a:lnTo>
                  <a:lnTo>
                    <a:pt x="64" y="68"/>
                  </a:lnTo>
                  <a:lnTo>
                    <a:pt x="44" y="69"/>
                  </a:lnTo>
                  <a:lnTo>
                    <a:pt x="27" y="70"/>
                  </a:lnTo>
                  <a:lnTo>
                    <a:pt x="12" y="70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2" y="70"/>
                  </a:lnTo>
                  <a:lnTo>
                    <a:pt x="10" y="68"/>
                  </a:lnTo>
                  <a:lnTo>
                    <a:pt x="21" y="63"/>
                  </a:lnTo>
                  <a:lnTo>
                    <a:pt x="36" y="57"/>
                  </a:lnTo>
                  <a:lnTo>
                    <a:pt x="52" y="52"/>
                  </a:lnTo>
                  <a:lnTo>
                    <a:pt x="69" y="47"/>
                  </a:lnTo>
                  <a:lnTo>
                    <a:pt x="87" y="46"/>
                  </a:lnTo>
                  <a:lnTo>
                    <a:pt x="107" y="46"/>
                  </a:lnTo>
                  <a:lnTo>
                    <a:pt x="127" y="47"/>
                  </a:lnTo>
                  <a:lnTo>
                    <a:pt x="143" y="48"/>
                  </a:lnTo>
                  <a:lnTo>
                    <a:pt x="157" y="50"/>
                  </a:lnTo>
                  <a:lnTo>
                    <a:pt x="166" y="51"/>
                  </a:lnTo>
                  <a:lnTo>
                    <a:pt x="169" y="51"/>
                  </a:lnTo>
                  <a:lnTo>
                    <a:pt x="168" y="50"/>
                  </a:lnTo>
                  <a:lnTo>
                    <a:pt x="160" y="45"/>
                  </a:lnTo>
                  <a:lnTo>
                    <a:pt x="147" y="37"/>
                  </a:lnTo>
                  <a:lnTo>
                    <a:pt x="128" y="29"/>
                  </a:lnTo>
                  <a:lnTo>
                    <a:pt x="111" y="25"/>
                  </a:lnTo>
                  <a:lnTo>
                    <a:pt x="95" y="22"/>
                  </a:lnTo>
                  <a:lnTo>
                    <a:pt x="78" y="20"/>
                  </a:lnTo>
                  <a:lnTo>
                    <a:pt x="64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5" y="19"/>
                  </a:lnTo>
                  <a:lnTo>
                    <a:pt x="64" y="16"/>
                  </a:lnTo>
                  <a:lnTo>
                    <a:pt x="79" y="14"/>
                  </a:lnTo>
                  <a:lnTo>
                    <a:pt x="98" y="13"/>
                  </a:lnTo>
                  <a:lnTo>
                    <a:pt x="121" y="13"/>
                  </a:lnTo>
                  <a:lnTo>
                    <a:pt x="139" y="15"/>
                  </a:lnTo>
                  <a:lnTo>
                    <a:pt x="154" y="18"/>
                  </a:lnTo>
                  <a:lnTo>
                    <a:pt x="164" y="23"/>
                  </a:lnTo>
                  <a:lnTo>
                    <a:pt x="170" y="27"/>
                  </a:lnTo>
                  <a:lnTo>
                    <a:pt x="174" y="29"/>
                  </a:lnTo>
                  <a:lnTo>
                    <a:pt x="175" y="30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3" name="Freeform 1416"/>
            <p:cNvSpPr>
              <a:spLocks/>
            </p:cNvSpPr>
            <p:nvPr/>
          </p:nvSpPr>
          <p:spPr bwMode="auto">
            <a:xfrm>
              <a:off x="-3251200" y="612775"/>
              <a:ext cx="146050" cy="288925"/>
            </a:xfrm>
            <a:custGeom>
              <a:avLst/>
              <a:gdLst>
                <a:gd name="T0" fmla="*/ 54 w 92"/>
                <a:gd name="T1" fmla="*/ 0 h 182"/>
                <a:gd name="T2" fmla="*/ 51 w 92"/>
                <a:gd name="T3" fmla="*/ 1 h 182"/>
                <a:gd name="T4" fmla="*/ 48 w 92"/>
                <a:gd name="T5" fmla="*/ 5 h 182"/>
                <a:gd name="T6" fmla="*/ 39 w 92"/>
                <a:gd name="T7" fmla="*/ 10 h 182"/>
                <a:gd name="T8" fmla="*/ 26 w 92"/>
                <a:gd name="T9" fmla="*/ 25 h 182"/>
                <a:gd name="T10" fmla="*/ 18 w 92"/>
                <a:gd name="T11" fmla="*/ 40 h 182"/>
                <a:gd name="T12" fmla="*/ 24 w 92"/>
                <a:gd name="T13" fmla="*/ 36 h 182"/>
                <a:gd name="T14" fmla="*/ 48 w 92"/>
                <a:gd name="T15" fmla="*/ 22 h 182"/>
                <a:gd name="T16" fmla="*/ 74 w 92"/>
                <a:gd name="T17" fmla="*/ 10 h 182"/>
                <a:gd name="T18" fmla="*/ 92 w 92"/>
                <a:gd name="T19" fmla="*/ 5 h 182"/>
                <a:gd name="T20" fmla="*/ 82 w 92"/>
                <a:gd name="T21" fmla="*/ 10 h 182"/>
                <a:gd name="T22" fmla="*/ 58 w 92"/>
                <a:gd name="T23" fmla="*/ 23 h 182"/>
                <a:gd name="T24" fmla="*/ 35 w 92"/>
                <a:gd name="T25" fmla="*/ 41 h 182"/>
                <a:gd name="T26" fmla="*/ 18 w 92"/>
                <a:gd name="T27" fmla="*/ 60 h 182"/>
                <a:gd name="T28" fmla="*/ 13 w 92"/>
                <a:gd name="T29" fmla="*/ 72 h 182"/>
                <a:gd name="T30" fmla="*/ 14 w 92"/>
                <a:gd name="T31" fmla="*/ 74 h 182"/>
                <a:gd name="T32" fmla="*/ 28 w 92"/>
                <a:gd name="T33" fmla="*/ 68 h 182"/>
                <a:gd name="T34" fmla="*/ 42 w 92"/>
                <a:gd name="T35" fmla="*/ 61 h 182"/>
                <a:gd name="T36" fmla="*/ 45 w 92"/>
                <a:gd name="T37" fmla="*/ 61 h 182"/>
                <a:gd name="T38" fmla="*/ 35 w 92"/>
                <a:gd name="T39" fmla="*/ 70 h 182"/>
                <a:gd name="T40" fmla="*/ 21 w 92"/>
                <a:gd name="T41" fmla="*/ 83 h 182"/>
                <a:gd name="T42" fmla="*/ 14 w 92"/>
                <a:gd name="T43" fmla="*/ 100 h 182"/>
                <a:gd name="T44" fmla="*/ 14 w 92"/>
                <a:gd name="T45" fmla="*/ 132 h 182"/>
                <a:gd name="T46" fmla="*/ 15 w 92"/>
                <a:gd name="T47" fmla="*/ 164 h 182"/>
                <a:gd name="T48" fmla="*/ 18 w 92"/>
                <a:gd name="T49" fmla="*/ 182 h 182"/>
                <a:gd name="T50" fmla="*/ 15 w 92"/>
                <a:gd name="T51" fmla="*/ 176 h 182"/>
                <a:gd name="T52" fmla="*/ 10 w 92"/>
                <a:gd name="T53" fmla="*/ 155 h 182"/>
                <a:gd name="T54" fmla="*/ 4 w 92"/>
                <a:gd name="T55" fmla="*/ 129 h 182"/>
                <a:gd name="T56" fmla="*/ 0 w 92"/>
                <a:gd name="T57" fmla="*/ 99 h 182"/>
                <a:gd name="T58" fmla="*/ 0 w 92"/>
                <a:gd name="T59" fmla="*/ 68 h 182"/>
                <a:gd name="T60" fmla="*/ 0 w 92"/>
                <a:gd name="T61" fmla="*/ 51 h 182"/>
                <a:gd name="T62" fmla="*/ 15 w 92"/>
                <a:gd name="T63" fmla="*/ 25 h 182"/>
                <a:gd name="T64" fmla="*/ 40 w 92"/>
                <a:gd name="T65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82">
                  <a:moveTo>
                    <a:pt x="54" y="0"/>
                  </a:moveTo>
                  <a:lnTo>
                    <a:pt x="54" y="0"/>
                  </a:lnTo>
                  <a:lnTo>
                    <a:pt x="53" y="0"/>
                  </a:lnTo>
                  <a:lnTo>
                    <a:pt x="51" y="1"/>
                  </a:lnTo>
                  <a:lnTo>
                    <a:pt x="50" y="2"/>
                  </a:lnTo>
                  <a:lnTo>
                    <a:pt x="48" y="5"/>
                  </a:lnTo>
                  <a:lnTo>
                    <a:pt x="44" y="8"/>
                  </a:lnTo>
                  <a:lnTo>
                    <a:pt x="39" y="10"/>
                  </a:lnTo>
                  <a:lnTo>
                    <a:pt x="32" y="17"/>
                  </a:lnTo>
                  <a:lnTo>
                    <a:pt x="26" y="25"/>
                  </a:lnTo>
                  <a:lnTo>
                    <a:pt x="22" y="33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35" y="29"/>
                  </a:lnTo>
                  <a:lnTo>
                    <a:pt x="48" y="22"/>
                  </a:lnTo>
                  <a:lnTo>
                    <a:pt x="60" y="15"/>
                  </a:lnTo>
                  <a:lnTo>
                    <a:pt x="74" y="10"/>
                  </a:lnTo>
                  <a:lnTo>
                    <a:pt x="85" y="6"/>
                  </a:lnTo>
                  <a:lnTo>
                    <a:pt x="92" y="5"/>
                  </a:lnTo>
                  <a:lnTo>
                    <a:pt x="90" y="6"/>
                  </a:lnTo>
                  <a:lnTo>
                    <a:pt x="82" y="10"/>
                  </a:lnTo>
                  <a:lnTo>
                    <a:pt x="71" y="15"/>
                  </a:lnTo>
                  <a:lnTo>
                    <a:pt x="58" y="23"/>
                  </a:lnTo>
                  <a:lnTo>
                    <a:pt x="46" y="32"/>
                  </a:lnTo>
                  <a:lnTo>
                    <a:pt x="35" y="41"/>
                  </a:lnTo>
                  <a:lnTo>
                    <a:pt x="24" y="52"/>
                  </a:lnTo>
                  <a:lnTo>
                    <a:pt x="18" y="60"/>
                  </a:lnTo>
                  <a:lnTo>
                    <a:pt x="14" y="67"/>
                  </a:lnTo>
                  <a:lnTo>
                    <a:pt x="13" y="72"/>
                  </a:lnTo>
                  <a:lnTo>
                    <a:pt x="13" y="74"/>
                  </a:lnTo>
                  <a:lnTo>
                    <a:pt x="14" y="74"/>
                  </a:lnTo>
                  <a:lnTo>
                    <a:pt x="21" y="72"/>
                  </a:lnTo>
                  <a:lnTo>
                    <a:pt x="28" y="68"/>
                  </a:lnTo>
                  <a:lnTo>
                    <a:pt x="36" y="64"/>
                  </a:lnTo>
                  <a:lnTo>
                    <a:pt x="42" y="61"/>
                  </a:lnTo>
                  <a:lnTo>
                    <a:pt x="45" y="60"/>
                  </a:lnTo>
                  <a:lnTo>
                    <a:pt x="45" y="61"/>
                  </a:lnTo>
                  <a:lnTo>
                    <a:pt x="40" y="64"/>
                  </a:lnTo>
                  <a:lnTo>
                    <a:pt x="35" y="70"/>
                  </a:lnTo>
                  <a:lnTo>
                    <a:pt x="27" y="77"/>
                  </a:lnTo>
                  <a:lnTo>
                    <a:pt x="21" y="83"/>
                  </a:lnTo>
                  <a:lnTo>
                    <a:pt x="17" y="91"/>
                  </a:lnTo>
                  <a:lnTo>
                    <a:pt x="14" y="100"/>
                  </a:lnTo>
                  <a:lnTo>
                    <a:pt x="14" y="114"/>
                  </a:lnTo>
                  <a:lnTo>
                    <a:pt x="14" y="132"/>
                  </a:lnTo>
                  <a:lnTo>
                    <a:pt x="15" y="149"/>
                  </a:lnTo>
                  <a:lnTo>
                    <a:pt x="15" y="164"/>
                  </a:lnTo>
                  <a:lnTo>
                    <a:pt x="17" y="177"/>
                  </a:lnTo>
                  <a:lnTo>
                    <a:pt x="18" y="182"/>
                  </a:lnTo>
                  <a:lnTo>
                    <a:pt x="17" y="181"/>
                  </a:lnTo>
                  <a:lnTo>
                    <a:pt x="15" y="176"/>
                  </a:lnTo>
                  <a:lnTo>
                    <a:pt x="13" y="167"/>
                  </a:lnTo>
                  <a:lnTo>
                    <a:pt x="10" y="155"/>
                  </a:lnTo>
                  <a:lnTo>
                    <a:pt x="8" y="142"/>
                  </a:lnTo>
                  <a:lnTo>
                    <a:pt x="4" y="129"/>
                  </a:lnTo>
                  <a:lnTo>
                    <a:pt x="3" y="115"/>
                  </a:lnTo>
                  <a:lnTo>
                    <a:pt x="0" y="99"/>
                  </a:lnTo>
                  <a:lnTo>
                    <a:pt x="0" y="83"/>
                  </a:lnTo>
                  <a:lnTo>
                    <a:pt x="0" y="68"/>
                  </a:lnTo>
                  <a:lnTo>
                    <a:pt x="0" y="56"/>
                  </a:lnTo>
                  <a:lnTo>
                    <a:pt x="0" y="51"/>
                  </a:lnTo>
                  <a:lnTo>
                    <a:pt x="6" y="40"/>
                  </a:lnTo>
                  <a:lnTo>
                    <a:pt x="15" y="25"/>
                  </a:lnTo>
                  <a:lnTo>
                    <a:pt x="27" y="13"/>
                  </a:lnTo>
                  <a:lnTo>
                    <a:pt x="40" y="4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4" name="Freeform 1417"/>
            <p:cNvSpPr>
              <a:spLocks/>
            </p:cNvSpPr>
            <p:nvPr/>
          </p:nvSpPr>
          <p:spPr bwMode="auto">
            <a:xfrm>
              <a:off x="-2763838" y="635000"/>
              <a:ext cx="42863" cy="304800"/>
            </a:xfrm>
            <a:custGeom>
              <a:avLst/>
              <a:gdLst>
                <a:gd name="T0" fmla="*/ 6 w 27"/>
                <a:gd name="T1" fmla="*/ 0 h 192"/>
                <a:gd name="T2" fmla="*/ 14 w 27"/>
                <a:gd name="T3" fmla="*/ 46 h 192"/>
                <a:gd name="T4" fmla="*/ 21 w 27"/>
                <a:gd name="T5" fmla="*/ 28 h 192"/>
                <a:gd name="T6" fmla="*/ 21 w 27"/>
                <a:gd name="T7" fmla="*/ 32 h 192"/>
                <a:gd name="T8" fmla="*/ 23 w 27"/>
                <a:gd name="T9" fmla="*/ 41 h 192"/>
                <a:gd name="T10" fmla="*/ 23 w 27"/>
                <a:gd name="T11" fmla="*/ 54 h 192"/>
                <a:gd name="T12" fmla="*/ 24 w 27"/>
                <a:gd name="T13" fmla="*/ 69 h 192"/>
                <a:gd name="T14" fmla="*/ 25 w 27"/>
                <a:gd name="T15" fmla="*/ 83 h 192"/>
                <a:gd name="T16" fmla="*/ 27 w 27"/>
                <a:gd name="T17" fmla="*/ 96 h 192"/>
                <a:gd name="T18" fmla="*/ 25 w 27"/>
                <a:gd name="T19" fmla="*/ 106 h 192"/>
                <a:gd name="T20" fmla="*/ 24 w 27"/>
                <a:gd name="T21" fmla="*/ 121 h 192"/>
                <a:gd name="T22" fmla="*/ 20 w 27"/>
                <a:gd name="T23" fmla="*/ 137 h 192"/>
                <a:gd name="T24" fmla="*/ 18 w 27"/>
                <a:gd name="T25" fmla="*/ 154 h 192"/>
                <a:gd name="T26" fmla="*/ 14 w 27"/>
                <a:gd name="T27" fmla="*/ 169 h 192"/>
                <a:gd name="T28" fmla="*/ 11 w 27"/>
                <a:gd name="T29" fmla="*/ 182 h 192"/>
                <a:gd name="T30" fmla="*/ 9 w 27"/>
                <a:gd name="T31" fmla="*/ 191 h 192"/>
                <a:gd name="T32" fmla="*/ 7 w 27"/>
                <a:gd name="T33" fmla="*/ 192 h 192"/>
                <a:gd name="T34" fmla="*/ 9 w 27"/>
                <a:gd name="T35" fmla="*/ 187 h 192"/>
                <a:gd name="T36" fmla="*/ 9 w 27"/>
                <a:gd name="T37" fmla="*/ 177 h 192"/>
                <a:gd name="T38" fmla="*/ 10 w 27"/>
                <a:gd name="T39" fmla="*/ 164 h 192"/>
                <a:gd name="T40" fmla="*/ 11 w 27"/>
                <a:gd name="T41" fmla="*/ 150 h 192"/>
                <a:gd name="T42" fmla="*/ 13 w 27"/>
                <a:gd name="T43" fmla="*/ 137 h 192"/>
                <a:gd name="T44" fmla="*/ 14 w 27"/>
                <a:gd name="T45" fmla="*/ 127 h 192"/>
                <a:gd name="T46" fmla="*/ 14 w 27"/>
                <a:gd name="T47" fmla="*/ 115 h 192"/>
                <a:gd name="T48" fmla="*/ 14 w 27"/>
                <a:gd name="T49" fmla="*/ 104 h 192"/>
                <a:gd name="T50" fmla="*/ 14 w 27"/>
                <a:gd name="T51" fmla="*/ 95 h 192"/>
                <a:gd name="T52" fmla="*/ 13 w 27"/>
                <a:gd name="T53" fmla="*/ 91 h 192"/>
                <a:gd name="T54" fmla="*/ 13 w 27"/>
                <a:gd name="T55" fmla="*/ 92 h 192"/>
                <a:gd name="T56" fmla="*/ 13 w 27"/>
                <a:gd name="T57" fmla="*/ 94 h 192"/>
                <a:gd name="T58" fmla="*/ 11 w 27"/>
                <a:gd name="T59" fmla="*/ 96 h 192"/>
                <a:gd name="T60" fmla="*/ 10 w 27"/>
                <a:gd name="T61" fmla="*/ 99 h 192"/>
                <a:gd name="T62" fmla="*/ 9 w 27"/>
                <a:gd name="T63" fmla="*/ 103 h 192"/>
                <a:gd name="T64" fmla="*/ 7 w 27"/>
                <a:gd name="T65" fmla="*/ 105 h 192"/>
                <a:gd name="T66" fmla="*/ 6 w 27"/>
                <a:gd name="T67" fmla="*/ 108 h 192"/>
                <a:gd name="T68" fmla="*/ 5 w 27"/>
                <a:gd name="T69" fmla="*/ 110 h 192"/>
                <a:gd name="T70" fmla="*/ 4 w 27"/>
                <a:gd name="T71" fmla="*/ 112 h 192"/>
                <a:gd name="T72" fmla="*/ 4 w 27"/>
                <a:gd name="T73" fmla="*/ 113 h 192"/>
                <a:gd name="T74" fmla="*/ 4 w 27"/>
                <a:gd name="T75" fmla="*/ 112 h 192"/>
                <a:gd name="T76" fmla="*/ 5 w 27"/>
                <a:gd name="T77" fmla="*/ 105 h 192"/>
                <a:gd name="T78" fmla="*/ 7 w 27"/>
                <a:gd name="T79" fmla="*/ 96 h 192"/>
                <a:gd name="T80" fmla="*/ 9 w 27"/>
                <a:gd name="T81" fmla="*/ 86 h 192"/>
                <a:gd name="T82" fmla="*/ 11 w 27"/>
                <a:gd name="T83" fmla="*/ 76 h 192"/>
                <a:gd name="T84" fmla="*/ 13 w 27"/>
                <a:gd name="T85" fmla="*/ 68 h 192"/>
                <a:gd name="T86" fmla="*/ 13 w 27"/>
                <a:gd name="T87" fmla="*/ 64 h 192"/>
                <a:gd name="T88" fmla="*/ 13 w 27"/>
                <a:gd name="T89" fmla="*/ 62 h 192"/>
                <a:gd name="T90" fmla="*/ 13 w 27"/>
                <a:gd name="T91" fmla="*/ 60 h 192"/>
                <a:gd name="T92" fmla="*/ 13 w 27"/>
                <a:gd name="T93" fmla="*/ 60 h 192"/>
                <a:gd name="T94" fmla="*/ 13 w 27"/>
                <a:gd name="T95" fmla="*/ 60 h 192"/>
                <a:gd name="T96" fmla="*/ 13 w 27"/>
                <a:gd name="T97" fmla="*/ 60 h 192"/>
                <a:gd name="T98" fmla="*/ 13 w 27"/>
                <a:gd name="T99" fmla="*/ 60 h 192"/>
                <a:gd name="T100" fmla="*/ 0 w 27"/>
                <a:gd name="T101" fmla="*/ 77 h 192"/>
                <a:gd name="T102" fmla="*/ 5 w 27"/>
                <a:gd name="T103" fmla="*/ 51 h 192"/>
                <a:gd name="T104" fmla="*/ 6 w 27"/>
                <a:gd name="T105" fmla="*/ 27 h 192"/>
                <a:gd name="T106" fmla="*/ 6 w 27"/>
                <a:gd name="T10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" h="192">
                  <a:moveTo>
                    <a:pt x="6" y="0"/>
                  </a:moveTo>
                  <a:lnTo>
                    <a:pt x="14" y="46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41"/>
                  </a:lnTo>
                  <a:lnTo>
                    <a:pt x="23" y="54"/>
                  </a:lnTo>
                  <a:lnTo>
                    <a:pt x="24" y="69"/>
                  </a:lnTo>
                  <a:lnTo>
                    <a:pt x="25" y="83"/>
                  </a:lnTo>
                  <a:lnTo>
                    <a:pt x="27" y="96"/>
                  </a:lnTo>
                  <a:lnTo>
                    <a:pt x="25" y="106"/>
                  </a:lnTo>
                  <a:lnTo>
                    <a:pt x="24" y="121"/>
                  </a:lnTo>
                  <a:lnTo>
                    <a:pt x="20" y="137"/>
                  </a:lnTo>
                  <a:lnTo>
                    <a:pt x="18" y="154"/>
                  </a:lnTo>
                  <a:lnTo>
                    <a:pt x="14" y="169"/>
                  </a:lnTo>
                  <a:lnTo>
                    <a:pt x="11" y="182"/>
                  </a:lnTo>
                  <a:lnTo>
                    <a:pt x="9" y="191"/>
                  </a:lnTo>
                  <a:lnTo>
                    <a:pt x="7" y="192"/>
                  </a:lnTo>
                  <a:lnTo>
                    <a:pt x="9" y="187"/>
                  </a:lnTo>
                  <a:lnTo>
                    <a:pt x="9" y="177"/>
                  </a:lnTo>
                  <a:lnTo>
                    <a:pt x="10" y="164"/>
                  </a:lnTo>
                  <a:lnTo>
                    <a:pt x="11" y="150"/>
                  </a:lnTo>
                  <a:lnTo>
                    <a:pt x="13" y="137"/>
                  </a:lnTo>
                  <a:lnTo>
                    <a:pt x="14" y="127"/>
                  </a:lnTo>
                  <a:lnTo>
                    <a:pt x="14" y="115"/>
                  </a:lnTo>
                  <a:lnTo>
                    <a:pt x="14" y="104"/>
                  </a:lnTo>
                  <a:lnTo>
                    <a:pt x="14" y="95"/>
                  </a:lnTo>
                  <a:lnTo>
                    <a:pt x="13" y="91"/>
                  </a:lnTo>
                  <a:lnTo>
                    <a:pt x="13" y="92"/>
                  </a:lnTo>
                  <a:lnTo>
                    <a:pt x="13" y="94"/>
                  </a:lnTo>
                  <a:lnTo>
                    <a:pt x="11" y="96"/>
                  </a:lnTo>
                  <a:lnTo>
                    <a:pt x="10" y="99"/>
                  </a:lnTo>
                  <a:lnTo>
                    <a:pt x="9" y="103"/>
                  </a:lnTo>
                  <a:lnTo>
                    <a:pt x="7" y="105"/>
                  </a:lnTo>
                  <a:lnTo>
                    <a:pt x="6" y="108"/>
                  </a:lnTo>
                  <a:lnTo>
                    <a:pt x="5" y="110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5" y="105"/>
                  </a:lnTo>
                  <a:lnTo>
                    <a:pt x="7" y="96"/>
                  </a:lnTo>
                  <a:lnTo>
                    <a:pt x="9" y="86"/>
                  </a:lnTo>
                  <a:lnTo>
                    <a:pt x="11" y="76"/>
                  </a:lnTo>
                  <a:lnTo>
                    <a:pt x="13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0" y="77"/>
                  </a:lnTo>
                  <a:lnTo>
                    <a:pt x="5" y="51"/>
                  </a:lnTo>
                  <a:lnTo>
                    <a:pt x="6" y="2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213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5" name="Freeform 1418"/>
            <p:cNvSpPr>
              <a:spLocks/>
            </p:cNvSpPr>
            <p:nvPr/>
          </p:nvSpPr>
          <p:spPr bwMode="auto">
            <a:xfrm>
              <a:off x="-3635375" y="1619250"/>
              <a:ext cx="1201738" cy="447675"/>
            </a:xfrm>
            <a:custGeom>
              <a:avLst/>
              <a:gdLst>
                <a:gd name="T0" fmla="*/ 615 w 757"/>
                <a:gd name="T1" fmla="*/ 15 h 282"/>
                <a:gd name="T2" fmla="*/ 619 w 757"/>
                <a:gd name="T3" fmla="*/ 74 h 282"/>
                <a:gd name="T4" fmla="*/ 622 w 757"/>
                <a:gd name="T5" fmla="*/ 132 h 282"/>
                <a:gd name="T6" fmla="*/ 630 w 757"/>
                <a:gd name="T7" fmla="*/ 143 h 282"/>
                <a:gd name="T8" fmla="*/ 667 w 757"/>
                <a:gd name="T9" fmla="*/ 136 h 282"/>
                <a:gd name="T10" fmla="*/ 704 w 757"/>
                <a:gd name="T11" fmla="*/ 136 h 282"/>
                <a:gd name="T12" fmla="*/ 718 w 757"/>
                <a:gd name="T13" fmla="*/ 156 h 282"/>
                <a:gd name="T14" fmla="*/ 714 w 757"/>
                <a:gd name="T15" fmla="*/ 166 h 282"/>
                <a:gd name="T16" fmla="*/ 715 w 757"/>
                <a:gd name="T17" fmla="*/ 172 h 282"/>
                <a:gd name="T18" fmla="*/ 723 w 757"/>
                <a:gd name="T19" fmla="*/ 190 h 282"/>
                <a:gd name="T20" fmla="*/ 739 w 757"/>
                <a:gd name="T21" fmla="*/ 192 h 282"/>
                <a:gd name="T22" fmla="*/ 746 w 757"/>
                <a:gd name="T23" fmla="*/ 192 h 282"/>
                <a:gd name="T24" fmla="*/ 754 w 757"/>
                <a:gd name="T25" fmla="*/ 168 h 282"/>
                <a:gd name="T26" fmla="*/ 757 w 757"/>
                <a:gd name="T27" fmla="*/ 204 h 282"/>
                <a:gd name="T28" fmla="*/ 750 w 757"/>
                <a:gd name="T29" fmla="*/ 205 h 282"/>
                <a:gd name="T30" fmla="*/ 735 w 757"/>
                <a:gd name="T31" fmla="*/ 208 h 282"/>
                <a:gd name="T32" fmla="*/ 689 w 757"/>
                <a:gd name="T33" fmla="*/ 215 h 282"/>
                <a:gd name="T34" fmla="*/ 644 w 757"/>
                <a:gd name="T35" fmla="*/ 215 h 282"/>
                <a:gd name="T36" fmla="*/ 618 w 757"/>
                <a:gd name="T37" fmla="*/ 216 h 282"/>
                <a:gd name="T38" fmla="*/ 646 w 757"/>
                <a:gd name="T39" fmla="*/ 211 h 282"/>
                <a:gd name="T40" fmla="*/ 694 w 757"/>
                <a:gd name="T41" fmla="*/ 201 h 282"/>
                <a:gd name="T42" fmla="*/ 712 w 757"/>
                <a:gd name="T43" fmla="*/ 192 h 282"/>
                <a:gd name="T44" fmla="*/ 715 w 757"/>
                <a:gd name="T45" fmla="*/ 182 h 282"/>
                <a:gd name="T46" fmla="*/ 706 w 757"/>
                <a:gd name="T47" fmla="*/ 175 h 282"/>
                <a:gd name="T48" fmla="*/ 668 w 757"/>
                <a:gd name="T49" fmla="*/ 181 h 282"/>
                <a:gd name="T50" fmla="*/ 641 w 757"/>
                <a:gd name="T51" fmla="*/ 186 h 282"/>
                <a:gd name="T52" fmla="*/ 658 w 757"/>
                <a:gd name="T53" fmla="*/ 179 h 282"/>
                <a:gd name="T54" fmla="*/ 694 w 757"/>
                <a:gd name="T55" fmla="*/ 168 h 282"/>
                <a:gd name="T56" fmla="*/ 706 w 757"/>
                <a:gd name="T57" fmla="*/ 160 h 282"/>
                <a:gd name="T58" fmla="*/ 708 w 757"/>
                <a:gd name="T59" fmla="*/ 152 h 282"/>
                <a:gd name="T60" fmla="*/ 703 w 757"/>
                <a:gd name="T61" fmla="*/ 146 h 282"/>
                <a:gd name="T62" fmla="*/ 671 w 757"/>
                <a:gd name="T63" fmla="*/ 147 h 282"/>
                <a:gd name="T64" fmla="*/ 617 w 757"/>
                <a:gd name="T65" fmla="*/ 159 h 282"/>
                <a:gd name="T66" fmla="*/ 576 w 757"/>
                <a:gd name="T67" fmla="*/ 179 h 282"/>
                <a:gd name="T68" fmla="*/ 546 w 757"/>
                <a:gd name="T69" fmla="*/ 208 h 282"/>
                <a:gd name="T70" fmla="*/ 432 w 757"/>
                <a:gd name="T71" fmla="*/ 277 h 282"/>
                <a:gd name="T72" fmla="*/ 300 w 757"/>
                <a:gd name="T73" fmla="*/ 261 h 282"/>
                <a:gd name="T74" fmla="*/ 184 w 757"/>
                <a:gd name="T75" fmla="*/ 251 h 282"/>
                <a:gd name="T76" fmla="*/ 156 w 757"/>
                <a:gd name="T77" fmla="*/ 232 h 282"/>
                <a:gd name="T78" fmla="*/ 128 w 757"/>
                <a:gd name="T79" fmla="*/ 225 h 282"/>
                <a:gd name="T80" fmla="*/ 56 w 757"/>
                <a:gd name="T81" fmla="*/ 224 h 282"/>
                <a:gd name="T82" fmla="*/ 6 w 757"/>
                <a:gd name="T83" fmla="*/ 224 h 282"/>
                <a:gd name="T84" fmla="*/ 195 w 757"/>
                <a:gd name="T85" fmla="*/ 11 h 282"/>
                <a:gd name="T86" fmla="*/ 192 w 757"/>
                <a:gd name="T87" fmla="*/ 46 h 282"/>
                <a:gd name="T88" fmla="*/ 188 w 757"/>
                <a:gd name="T89" fmla="*/ 122 h 282"/>
                <a:gd name="T90" fmla="*/ 184 w 757"/>
                <a:gd name="T91" fmla="*/ 199 h 282"/>
                <a:gd name="T92" fmla="*/ 186 w 757"/>
                <a:gd name="T93" fmla="*/ 234 h 282"/>
                <a:gd name="T94" fmla="*/ 222 w 757"/>
                <a:gd name="T95" fmla="*/ 241 h 282"/>
                <a:gd name="T96" fmla="*/ 300 w 757"/>
                <a:gd name="T97" fmla="*/ 251 h 282"/>
                <a:gd name="T98" fmla="*/ 390 w 757"/>
                <a:gd name="T99" fmla="*/ 260 h 282"/>
                <a:gd name="T100" fmla="*/ 456 w 757"/>
                <a:gd name="T101" fmla="*/ 268 h 282"/>
                <a:gd name="T102" fmla="*/ 474 w 757"/>
                <a:gd name="T103" fmla="*/ 268 h 282"/>
                <a:gd name="T104" fmla="*/ 500 w 757"/>
                <a:gd name="T105" fmla="*/ 243 h 282"/>
                <a:gd name="T106" fmla="*/ 536 w 757"/>
                <a:gd name="T107" fmla="*/ 208 h 282"/>
                <a:gd name="T108" fmla="*/ 562 w 757"/>
                <a:gd name="T109" fmla="*/ 182 h 282"/>
                <a:gd name="T110" fmla="*/ 590 w 757"/>
                <a:gd name="T111" fmla="*/ 160 h 282"/>
                <a:gd name="T112" fmla="*/ 615 w 757"/>
                <a:gd name="T113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7" h="282">
                  <a:moveTo>
                    <a:pt x="615" y="0"/>
                  </a:moveTo>
                  <a:lnTo>
                    <a:pt x="615" y="4"/>
                  </a:lnTo>
                  <a:lnTo>
                    <a:pt x="615" y="15"/>
                  </a:lnTo>
                  <a:lnTo>
                    <a:pt x="617" y="32"/>
                  </a:lnTo>
                  <a:lnTo>
                    <a:pt x="618" y="52"/>
                  </a:lnTo>
                  <a:lnTo>
                    <a:pt x="619" y="74"/>
                  </a:lnTo>
                  <a:lnTo>
                    <a:pt x="619" y="96"/>
                  </a:lnTo>
                  <a:lnTo>
                    <a:pt x="621" y="115"/>
                  </a:lnTo>
                  <a:lnTo>
                    <a:pt x="622" y="132"/>
                  </a:lnTo>
                  <a:lnTo>
                    <a:pt x="623" y="142"/>
                  </a:lnTo>
                  <a:lnTo>
                    <a:pt x="624" y="146"/>
                  </a:lnTo>
                  <a:lnTo>
                    <a:pt x="630" y="143"/>
                  </a:lnTo>
                  <a:lnTo>
                    <a:pt x="638" y="141"/>
                  </a:lnTo>
                  <a:lnTo>
                    <a:pt x="653" y="138"/>
                  </a:lnTo>
                  <a:lnTo>
                    <a:pt x="667" y="136"/>
                  </a:lnTo>
                  <a:lnTo>
                    <a:pt x="682" y="133"/>
                  </a:lnTo>
                  <a:lnTo>
                    <a:pt x="695" y="134"/>
                  </a:lnTo>
                  <a:lnTo>
                    <a:pt x="704" y="136"/>
                  </a:lnTo>
                  <a:lnTo>
                    <a:pt x="713" y="143"/>
                  </a:lnTo>
                  <a:lnTo>
                    <a:pt x="718" y="150"/>
                  </a:lnTo>
                  <a:lnTo>
                    <a:pt x="718" y="156"/>
                  </a:lnTo>
                  <a:lnTo>
                    <a:pt x="717" y="161"/>
                  </a:lnTo>
                  <a:lnTo>
                    <a:pt x="715" y="164"/>
                  </a:lnTo>
                  <a:lnTo>
                    <a:pt x="714" y="166"/>
                  </a:lnTo>
                  <a:lnTo>
                    <a:pt x="714" y="168"/>
                  </a:lnTo>
                  <a:lnTo>
                    <a:pt x="714" y="169"/>
                  </a:lnTo>
                  <a:lnTo>
                    <a:pt x="715" y="172"/>
                  </a:lnTo>
                  <a:lnTo>
                    <a:pt x="717" y="177"/>
                  </a:lnTo>
                  <a:lnTo>
                    <a:pt x="719" y="184"/>
                  </a:lnTo>
                  <a:lnTo>
                    <a:pt x="723" y="190"/>
                  </a:lnTo>
                  <a:lnTo>
                    <a:pt x="728" y="192"/>
                  </a:lnTo>
                  <a:lnTo>
                    <a:pt x="733" y="192"/>
                  </a:lnTo>
                  <a:lnTo>
                    <a:pt x="739" y="192"/>
                  </a:lnTo>
                  <a:lnTo>
                    <a:pt x="742" y="192"/>
                  </a:lnTo>
                  <a:lnTo>
                    <a:pt x="745" y="192"/>
                  </a:lnTo>
                  <a:lnTo>
                    <a:pt x="746" y="192"/>
                  </a:lnTo>
                  <a:lnTo>
                    <a:pt x="749" y="116"/>
                  </a:lnTo>
                  <a:lnTo>
                    <a:pt x="751" y="143"/>
                  </a:lnTo>
                  <a:lnTo>
                    <a:pt x="754" y="168"/>
                  </a:lnTo>
                  <a:lnTo>
                    <a:pt x="755" y="187"/>
                  </a:lnTo>
                  <a:lnTo>
                    <a:pt x="757" y="199"/>
                  </a:lnTo>
                  <a:lnTo>
                    <a:pt x="757" y="204"/>
                  </a:lnTo>
                  <a:lnTo>
                    <a:pt x="755" y="204"/>
                  </a:lnTo>
                  <a:lnTo>
                    <a:pt x="754" y="204"/>
                  </a:lnTo>
                  <a:lnTo>
                    <a:pt x="750" y="205"/>
                  </a:lnTo>
                  <a:lnTo>
                    <a:pt x="746" y="205"/>
                  </a:lnTo>
                  <a:lnTo>
                    <a:pt x="742" y="206"/>
                  </a:lnTo>
                  <a:lnTo>
                    <a:pt x="735" y="208"/>
                  </a:lnTo>
                  <a:lnTo>
                    <a:pt x="722" y="210"/>
                  </a:lnTo>
                  <a:lnTo>
                    <a:pt x="706" y="213"/>
                  </a:lnTo>
                  <a:lnTo>
                    <a:pt x="689" y="215"/>
                  </a:lnTo>
                  <a:lnTo>
                    <a:pt x="674" y="215"/>
                  </a:lnTo>
                  <a:lnTo>
                    <a:pt x="659" y="215"/>
                  </a:lnTo>
                  <a:lnTo>
                    <a:pt x="644" y="215"/>
                  </a:lnTo>
                  <a:lnTo>
                    <a:pt x="631" y="215"/>
                  </a:lnTo>
                  <a:lnTo>
                    <a:pt x="622" y="216"/>
                  </a:lnTo>
                  <a:lnTo>
                    <a:pt x="618" y="216"/>
                  </a:lnTo>
                  <a:lnTo>
                    <a:pt x="622" y="215"/>
                  </a:lnTo>
                  <a:lnTo>
                    <a:pt x="632" y="214"/>
                  </a:lnTo>
                  <a:lnTo>
                    <a:pt x="646" y="211"/>
                  </a:lnTo>
                  <a:lnTo>
                    <a:pt x="662" y="208"/>
                  </a:lnTo>
                  <a:lnTo>
                    <a:pt x="678" y="204"/>
                  </a:lnTo>
                  <a:lnTo>
                    <a:pt x="694" y="201"/>
                  </a:lnTo>
                  <a:lnTo>
                    <a:pt x="704" y="199"/>
                  </a:lnTo>
                  <a:lnTo>
                    <a:pt x="709" y="196"/>
                  </a:lnTo>
                  <a:lnTo>
                    <a:pt x="712" y="192"/>
                  </a:lnTo>
                  <a:lnTo>
                    <a:pt x="714" y="190"/>
                  </a:lnTo>
                  <a:lnTo>
                    <a:pt x="715" y="186"/>
                  </a:lnTo>
                  <a:lnTo>
                    <a:pt x="715" y="182"/>
                  </a:lnTo>
                  <a:lnTo>
                    <a:pt x="714" y="179"/>
                  </a:lnTo>
                  <a:lnTo>
                    <a:pt x="712" y="177"/>
                  </a:lnTo>
                  <a:lnTo>
                    <a:pt x="706" y="175"/>
                  </a:lnTo>
                  <a:lnTo>
                    <a:pt x="696" y="177"/>
                  </a:lnTo>
                  <a:lnTo>
                    <a:pt x="682" y="178"/>
                  </a:lnTo>
                  <a:lnTo>
                    <a:pt x="668" y="181"/>
                  </a:lnTo>
                  <a:lnTo>
                    <a:pt x="655" y="183"/>
                  </a:lnTo>
                  <a:lnTo>
                    <a:pt x="645" y="186"/>
                  </a:lnTo>
                  <a:lnTo>
                    <a:pt x="641" y="186"/>
                  </a:lnTo>
                  <a:lnTo>
                    <a:pt x="642" y="186"/>
                  </a:lnTo>
                  <a:lnTo>
                    <a:pt x="649" y="183"/>
                  </a:lnTo>
                  <a:lnTo>
                    <a:pt x="658" y="179"/>
                  </a:lnTo>
                  <a:lnTo>
                    <a:pt x="671" y="177"/>
                  </a:lnTo>
                  <a:lnTo>
                    <a:pt x="682" y="172"/>
                  </a:lnTo>
                  <a:lnTo>
                    <a:pt x="694" y="168"/>
                  </a:lnTo>
                  <a:lnTo>
                    <a:pt x="701" y="165"/>
                  </a:lnTo>
                  <a:lnTo>
                    <a:pt x="705" y="163"/>
                  </a:lnTo>
                  <a:lnTo>
                    <a:pt x="706" y="160"/>
                  </a:lnTo>
                  <a:lnTo>
                    <a:pt x="708" y="157"/>
                  </a:lnTo>
                  <a:lnTo>
                    <a:pt x="709" y="155"/>
                  </a:lnTo>
                  <a:lnTo>
                    <a:pt x="708" y="152"/>
                  </a:lnTo>
                  <a:lnTo>
                    <a:pt x="708" y="150"/>
                  </a:lnTo>
                  <a:lnTo>
                    <a:pt x="705" y="147"/>
                  </a:lnTo>
                  <a:lnTo>
                    <a:pt x="703" y="146"/>
                  </a:lnTo>
                  <a:lnTo>
                    <a:pt x="699" y="145"/>
                  </a:lnTo>
                  <a:lnTo>
                    <a:pt x="686" y="146"/>
                  </a:lnTo>
                  <a:lnTo>
                    <a:pt x="671" y="147"/>
                  </a:lnTo>
                  <a:lnTo>
                    <a:pt x="651" y="151"/>
                  </a:lnTo>
                  <a:lnTo>
                    <a:pt x="633" y="155"/>
                  </a:lnTo>
                  <a:lnTo>
                    <a:pt x="617" y="159"/>
                  </a:lnTo>
                  <a:lnTo>
                    <a:pt x="605" y="163"/>
                  </a:lnTo>
                  <a:lnTo>
                    <a:pt x="591" y="169"/>
                  </a:lnTo>
                  <a:lnTo>
                    <a:pt x="576" y="179"/>
                  </a:lnTo>
                  <a:lnTo>
                    <a:pt x="563" y="190"/>
                  </a:lnTo>
                  <a:lnTo>
                    <a:pt x="553" y="200"/>
                  </a:lnTo>
                  <a:lnTo>
                    <a:pt x="546" y="208"/>
                  </a:lnTo>
                  <a:lnTo>
                    <a:pt x="478" y="282"/>
                  </a:lnTo>
                  <a:lnTo>
                    <a:pt x="473" y="281"/>
                  </a:lnTo>
                  <a:lnTo>
                    <a:pt x="432" y="277"/>
                  </a:lnTo>
                  <a:lnTo>
                    <a:pt x="388" y="272"/>
                  </a:lnTo>
                  <a:lnTo>
                    <a:pt x="343" y="267"/>
                  </a:lnTo>
                  <a:lnTo>
                    <a:pt x="300" y="261"/>
                  </a:lnTo>
                  <a:lnTo>
                    <a:pt x="257" y="258"/>
                  </a:lnTo>
                  <a:lnTo>
                    <a:pt x="218" y="254"/>
                  </a:lnTo>
                  <a:lnTo>
                    <a:pt x="184" y="251"/>
                  </a:lnTo>
                  <a:lnTo>
                    <a:pt x="156" y="250"/>
                  </a:lnTo>
                  <a:lnTo>
                    <a:pt x="156" y="240"/>
                  </a:lnTo>
                  <a:lnTo>
                    <a:pt x="156" y="232"/>
                  </a:lnTo>
                  <a:lnTo>
                    <a:pt x="156" y="229"/>
                  </a:lnTo>
                  <a:lnTo>
                    <a:pt x="146" y="227"/>
                  </a:lnTo>
                  <a:lnTo>
                    <a:pt x="128" y="225"/>
                  </a:lnTo>
                  <a:lnTo>
                    <a:pt x="105" y="224"/>
                  </a:lnTo>
                  <a:lnTo>
                    <a:pt x="80" y="224"/>
                  </a:lnTo>
                  <a:lnTo>
                    <a:pt x="56" y="224"/>
                  </a:lnTo>
                  <a:lnTo>
                    <a:pt x="33" y="224"/>
                  </a:lnTo>
                  <a:lnTo>
                    <a:pt x="18" y="224"/>
                  </a:lnTo>
                  <a:lnTo>
                    <a:pt x="6" y="224"/>
                  </a:lnTo>
                  <a:lnTo>
                    <a:pt x="0" y="224"/>
                  </a:lnTo>
                  <a:lnTo>
                    <a:pt x="147" y="210"/>
                  </a:lnTo>
                  <a:lnTo>
                    <a:pt x="195" y="11"/>
                  </a:lnTo>
                  <a:lnTo>
                    <a:pt x="195" y="15"/>
                  </a:lnTo>
                  <a:lnTo>
                    <a:pt x="193" y="27"/>
                  </a:lnTo>
                  <a:lnTo>
                    <a:pt x="192" y="46"/>
                  </a:lnTo>
                  <a:lnTo>
                    <a:pt x="191" y="68"/>
                  </a:lnTo>
                  <a:lnTo>
                    <a:pt x="189" y="93"/>
                  </a:lnTo>
                  <a:lnTo>
                    <a:pt x="188" y="122"/>
                  </a:lnTo>
                  <a:lnTo>
                    <a:pt x="186" y="148"/>
                  </a:lnTo>
                  <a:lnTo>
                    <a:pt x="184" y="175"/>
                  </a:lnTo>
                  <a:lnTo>
                    <a:pt x="184" y="199"/>
                  </a:lnTo>
                  <a:lnTo>
                    <a:pt x="184" y="216"/>
                  </a:lnTo>
                  <a:lnTo>
                    <a:pt x="184" y="229"/>
                  </a:lnTo>
                  <a:lnTo>
                    <a:pt x="186" y="234"/>
                  </a:lnTo>
                  <a:lnTo>
                    <a:pt x="191" y="236"/>
                  </a:lnTo>
                  <a:lnTo>
                    <a:pt x="202" y="238"/>
                  </a:lnTo>
                  <a:lnTo>
                    <a:pt x="222" y="241"/>
                  </a:lnTo>
                  <a:lnTo>
                    <a:pt x="245" y="243"/>
                  </a:lnTo>
                  <a:lnTo>
                    <a:pt x="272" y="247"/>
                  </a:lnTo>
                  <a:lnTo>
                    <a:pt x="300" y="251"/>
                  </a:lnTo>
                  <a:lnTo>
                    <a:pt x="331" y="254"/>
                  </a:lnTo>
                  <a:lnTo>
                    <a:pt x="360" y="258"/>
                  </a:lnTo>
                  <a:lnTo>
                    <a:pt x="390" y="260"/>
                  </a:lnTo>
                  <a:lnTo>
                    <a:pt x="415" y="264"/>
                  </a:lnTo>
                  <a:lnTo>
                    <a:pt x="438" y="267"/>
                  </a:lnTo>
                  <a:lnTo>
                    <a:pt x="456" y="268"/>
                  </a:lnTo>
                  <a:lnTo>
                    <a:pt x="468" y="269"/>
                  </a:lnTo>
                  <a:lnTo>
                    <a:pt x="472" y="269"/>
                  </a:lnTo>
                  <a:lnTo>
                    <a:pt x="474" y="268"/>
                  </a:lnTo>
                  <a:lnTo>
                    <a:pt x="479" y="261"/>
                  </a:lnTo>
                  <a:lnTo>
                    <a:pt x="488" y="254"/>
                  </a:lnTo>
                  <a:lnTo>
                    <a:pt x="500" y="243"/>
                  </a:lnTo>
                  <a:lnTo>
                    <a:pt x="511" y="232"/>
                  </a:lnTo>
                  <a:lnTo>
                    <a:pt x="524" y="219"/>
                  </a:lnTo>
                  <a:lnTo>
                    <a:pt x="536" y="208"/>
                  </a:lnTo>
                  <a:lnTo>
                    <a:pt x="547" y="197"/>
                  </a:lnTo>
                  <a:lnTo>
                    <a:pt x="556" y="188"/>
                  </a:lnTo>
                  <a:lnTo>
                    <a:pt x="562" y="182"/>
                  </a:lnTo>
                  <a:lnTo>
                    <a:pt x="570" y="174"/>
                  </a:lnTo>
                  <a:lnTo>
                    <a:pt x="581" y="166"/>
                  </a:lnTo>
                  <a:lnTo>
                    <a:pt x="590" y="160"/>
                  </a:lnTo>
                  <a:lnTo>
                    <a:pt x="596" y="155"/>
                  </a:lnTo>
                  <a:lnTo>
                    <a:pt x="599" y="154"/>
                  </a:lnTo>
                  <a:lnTo>
                    <a:pt x="615" y="0"/>
                  </a:lnTo>
                  <a:close/>
                </a:path>
              </a:pathLst>
            </a:custGeom>
            <a:solidFill>
              <a:srgbClr val="00001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6" name="Freeform 1419"/>
            <p:cNvSpPr>
              <a:spLocks/>
            </p:cNvSpPr>
            <p:nvPr/>
          </p:nvSpPr>
          <p:spPr bwMode="auto">
            <a:xfrm>
              <a:off x="-2611438" y="1852612"/>
              <a:ext cx="100013" cy="58738"/>
            </a:xfrm>
            <a:custGeom>
              <a:avLst/>
              <a:gdLst>
                <a:gd name="T0" fmla="*/ 60 w 63"/>
                <a:gd name="T1" fmla="*/ 0 h 37"/>
                <a:gd name="T2" fmla="*/ 63 w 63"/>
                <a:gd name="T3" fmla="*/ 3 h 37"/>
                <a:gd name="T4" fmla="*/ 63 w 63"/>
                <a:gd name="T5" fmla="*/ 7 h 37"/>
                <a:gd name="T6" fmla="*/ 63 w 63"/>
                <a:gd name="T7" fmla="*/ 9 h 37"/>
                <a:gd name="T8" fmla="*/ 63 w 63"/>
                <a:gd name="T9" fmla="*/ 13 h 37"/>
                <a:gd name="T10" fmla="*/ 60 w 63"/>
                <a:gd name="T11" fmla="*/ 16 h 37"/>
                <a:gd name="T12" fmla="*/ 56 w 63"/>
                <a:gd name="T13" fmla="*/ 18 h 37"/>
                <a:gd name="T14" fmla="*/ 46 w 63"/>
                <a:gd name="T15" fmla="*/ 22 h 37"/>
                <a:gd name="T16" fmla="*/ 35 w 63"/>
                <a:gd name="T17" fmla="*/ 26 h 37"/>
                <a:gd name="T18" fmla="*/ 22 w 63"/>
                <a:gd name="T19" fmla="*/ 30 h 37"/>
                <a:gd name="T20" fmla="*/ 9 w 63"/>
                <a:gd name="T21" fmla="*/ 34 h 37"/>
                <a:gd name="T22" fmla="*/ 0 w 63"/>
                <a:gd name="T23" fmla="*/ 37 h 37"/>
                <a:gd name="T24" fmla="*/ 10 w 63"/>
                <a:gd name="T25" fmla="*/ 32 h 37"/>
                <a:gd name="T26" fmla="*/ 24 w 63"/>
                <a:gd name="T27" fmla="*/ 27 h 37"/>
                <a:gd name="T28" fmla="*/ 38 w 63"/>
                <a:gd name="T29" fmla="*/ 21 h 37"/>
                <a:gd name="T30" fmla="*/ 50 w 63"/>
                <a:gd name="T31" fmla="*/ 14 h 37"/>
                <a:gd name="T32" fmla="*/ 56 w 63"/>
                <a:gd name="T33" fmla="*/ 9 h 37"/>
                <a:gd name="T34" fmla="*/ 59 w 63"/>
                <a:gd name="T35" fmla="*/ 4 h 37"/>
                <a:gd name="T36" fmla="*/ 60 w 63"/>
                <a:gd name="T3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37">
                  <a:moveTo>
                    <a:pt x="60" y="0"/>
                  </a:moveTo>
                  <a:lnTo>
                    <a:pt x="63" y="3"/>
                  </a:lnTo>
                  <a:lnTo>
                    <a:pt x="63" y="7"/>
                  </a:lnTo>
                  <a:lnTo>
                    <a:pt x="63" y="9"/>
                  </a:lnTo>
                  <a:lnTo>
                    <a:pt x="63" y="13"/>
                  </a:lnTo>
                  <a:lnTo>
                    <a:pt x="60" y="16"/>
                  </a:lnTo>
                  <a:lnTo>
                    <a:pt x="56" y="18"/>
                  </a:lnTo>
                  <a:lnTo>
                    <a:pt x="46" y="22"/>
                  </a:lnTo>
                  <a:lnTo>
                    <a:pt x="35" y="26"/>
                  </a:lnTo>
                  <a:lnTo>
                    <a:pt x="22" y="30"/>
                  </a:lnTo>
                  <a:lnTo>
                    <a:pt x="9" y="34"/>
                  </a:lnTo>
                  <a:lnTo>
                    <a:pt x="0" y="37"/>
                  </a:lnTo>
                  <a:lnTo>
                    <a:pt x="10" y="32"/>
                  </a:lnTo>
                  <a:lnTo>
                    <a:pt x="24" y="27"/>
                  </a:lnTo>
                  <a:lnTo>
                    <a:pt x="38" y="21"/>
                  </a:lnTo>
                  <a:lnTo>
                    <a:pt x="50" y="14"/>
                  </a:lnTo>
                  <a:lnTo>
                    <a:pt x="56" y="9"/>
                  </a:lnTo>
                  <a:lnTo>
                    <a:pt x="59" y="4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7" name="Freeform 1420"/>
            <p:cNvSpPr>
              <a:spLocks/>
            </p:cNvSpPr>
            <p:nvPr/>
          </p:nvSpPr>
          <p:spPr bwMode="auto">
            <a:xfrm>
              <a:off x="-2654300" y="1901825"/>
              <a:ext cx="153988" cy="60325"/>
            </a:xfrm>
            <a:custGeom>
              <a:avLst/>
              <a:gdLst>
                <a:gd name="T0" fmla="*/ 96 w 97"/>
                <a:gd name="T1" fmla="*/ 0 h 38"/>
                <a:gd name="T2" fmla="*/ 97 w 97"/>
                <a:gd name="T3" fmla="*/ 3 h 38"/>
                <a:gd name="T4" fmla="*/ 97 w 97"/>
                <a:gd name="T5" fmla="*/ 6 h 38"/>
                <a:gd name="T6" fmla="*/ 96 w 97"/>
                <a:gd name="T7" fmla="*/ 10 h 38"/>
                <a:gd name="T8" fmla="*/ 94 w 97"/>
                <a:gd name="T9" fmla="*/ 14 h 38"/>
                <a:gd name="T10" fmla="*/ 91 w 97"/>
                <a:gd name="T11" fmla="*/ 18 h 38"/>
                <a:gd name="T12" fmla="*/ 86 w 97"/>
                <a:gd name="T13" fmla="*/ 21 h 38"/>
                <a:gd name="T14" fmla="*/ 76 w 97"/>
                <a:gd name="T15" fmla="*/ 23 h 38"/>
                <a:gd name="T16" fmla="*/ 60 w 97"/>
                <a:gd name="T17" fmla="*/ 26 h 38"/>
                <a:gd name="T18" fmla="*/ 44 w 97"/>
                <a:gd name="T19" fmla="*/ 30 h 38"/>
                <a:gd name="T20" fmla="*/ 28 w 97"/>
                <a:gd name="T21" fmla="*/ 33 h 38"/>
                <a:gd name="T22" fmla="*/ 14 w 97"/>
                <a:gd name="T23" fmla="*/ 36 h 38"/>
                <a:gd name="T24" fmla="*/ 4 w 97"/>
                <a:gd name="T25" fmla="*/ 37 h 38"/>
                <a:gd name="T26" fmla="*/ 0 w 97"/>
                <a:gd name="T27" fmla="*/ 38 h 38"/>
                <a:gd name="T28" fmla="*/ 4 w 97"/>
                <a:gd name="T29" fmla="*/ 37 h 38"/>
                <a:gd name="T30" fmla="*/ 12 w 97"/>
                <a:gd name="T31" fmla="*/ 36 h 38"/>
                <a:gd name="T32" fmla="*/ 23 w 97"/>
                <a:gd name="T33" fmla="*/ 32 h 38"/>
                <a:gd name="T34" fmla="*/ 37 w 97"/>
                <a:gd name="T35" fmla="*/ 30 h 38"/>
                <a:gd name="T36" fmla="*/ 51 w 97"/>
                <a:gd name="T37" fmla="*/ 26 h 38"/>
                <a:gd name="T38" fmla="*/ 64 w 97"/>
                <a:gd name="T39" fmla="*/ 22 h 38"/>
                <a:gd name="T40" fmla="*/ 74 w 97"/>
                <a:gd name="T41" fmla="*/ 18 h 38"/>
                <a:gd name="T42" fmla="*/ 82 w 97"/>
                <a:gd name="T43" fmla="*/ 15 h 38"/>
                <a:gd name="T44" fmla="*/ 86 w 97"/>
                <a:gd name="T45" fmla="*/ 13 h 38"/>
                <a:gd name="T46" fmla="*/ 90 w 97"/>
                <a:gd name="T47" fmla="*/ 9 h 38"/>
                <a:gd name="T48" fmla="*/ 92 w 97"/>
                <a:gd name="T49" fmla="*/ 6 h 38"/>
                <a:gd name="T50" fmla="*/ 95 w 97"/>
                <a:gd name="T51" fmla="*/ 3 h 38"/>
                <a:gd name="T52" fmla="*/ 95 w 97"/>
                <a:gd name="T53" fmla="*/ 0 h 38"/>
                <a:gd name="T54" fmla="*/ 96 w 97"/>
                <a:gd name="T5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7" h="38">
                  <a:moveTo>
                    <a:pt x="96" y="0"/>
                  </a:moveTo>
                  <a:lnTo>
                    <a:pt x="97" y="3"/>
                  </a:lnTo>
                  <a:lnTo>
                    <a:pt x="97" y="6"/>
                  </a:lnTo>
                  <a:lnTo>
                    <a:pt x="96" y="10"/>
                  </a:lnTo>
                  <a:lnTo>
                    <a:pt x="94" y="14"/>
                  </a:lnTo>
                  <a:lnTo>
                    <a:pt x="91" y="18"/>
                  </a:lnTo>
                  <a:lnTo>
                    <a:pt x="86" y="21"/>
                  </a:lnTo>
                  <a:lnTo>
                    <a:pt x="76" y="23"/>
                  </a:lnTo>
                  <a:lnTo>
                    <a:pt x="60" y="26"/>
                  </a:lnTo>
                  <a:lnTo>
                    <a:pt x="44" y="30"/>
                  </a:lnTo>
                  <a:lnTo>
                    <a:pt x="28" y="33"/>
                  </a:lnTo>
                  <a:lnTo>
                    <a:pt x="14" y="36"/>
                  </a:lnTo>
                  <a:lnTo>
                    <a:pt x="4" y="37"/>
                  </a:lnTo>
                  <a:lnTo>
                    <a:pt x="0" y="38"/>
                  </a:lnTo>
                  <a:lnTo>
                    <a:pt x="4" y="37"/>
                  </a:lnTo>
                  <a:lnTo>
                    <a:pt x="12" y="36"/>
                  </a:lnTo>
                  <a:lnTo>
                    <a:pt x="23" y="32"/>
                  </a:lnTo>
                  <a:lnTo>
                    <a:pt x="37" y="30"/>
                  </a:lnTo>
                  <a:lnTo>
                    <a:pt x="51" y="26"/>
                  </a:lnTo>
                  <a:lnTo>
                    <a:pt x="64" y="22"/>
                  </a:lnTo>
                  <a:lnTo>
                    <a:pt x="74" y="18"/>
                  </a:lnTo>
                  <a:lnTo>
                    <a:pt x="82" y="15"/>
                  </a:lnTo>
                  <a:lnTo>
                    <a:pt x="86" y="13"/>
                  </a:lnTo>
                  <a:lnTo>
                    <a:pt x="90" y="9"/>
                  </a:lnTo>
                  <a:lnTo>
                    <a:pt x="92" y="6"/>
                  </a:lnTo>
                  <a:lnTo>
                    <a:pt x="95" y="3"/>
                  </a:lnTo>
                  <a:lnTo>
                    <a:pt x="95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8" name="Freeform 1421"/>
            <p:cNvSpPr>
              <a:spLocks/>
            </p:cNvSpPr>
            <p:nvPr/>
          </p:nvSpPr>
          <p:spPr bwMode="auto">
            <a:xfrm>
              <a:off x="-2682875" y="1965325"/>
              <a:ext cx="174625" cy="44450"/>
            </a:xfrm>
            <a:custGeom>
              <a:avLst/>
              <a:gdLst>
                <a:gd name="T0" fmla="*/ 110 w 110"/>
                <a:gd name="T1" fmla="*/ 0 h 28"/>
                <a:gd name="T2" fmla="*/ 110 w 110"/>
                <a:gd name="T3" fmla="*/ 2 h 28"/>
                <a:gd name="T4" fmla="*/ 110 w 110"/>
                <a:gd name="T5" fmla="*/ 6 h 28"/>
                <a:gd name="T6" fmla="*/ 109 w 110"/>
                <a:gd name="T7" fmla="*/ 10 h 28"/>
                <a:gd name="T8" fmla="*/ 106 w 110"/>
                <a:gd name="T9" fmla="*/ 14 h 28"/>
                <a:gd name="T10" fmla="*/ 104 w 110"/>
                <a:gd name="T11" fmla="*/ 16 h 28"/>
                <a:gd name="T12" fmla="*/ 101 w 110"/>
                <a:gd name="T13" fmla="*/ 18 h 28"/>
                <a:gd name="T14" fmla="*/ 98 w 110"/>
                <a:gd name="T15" fmla="*/ 19 h 28"/>
                <a:gd name="T16" fmla="*/ 94 w 110"/>
                <a:gd name="T17" fmla="*/ 20 h 28"/>
                <a:gd name="T18" fmla="*/ 90 w 110"/>
                <a:gd name="T19" fmla="*/ 20 h 28"/>
                <a:gd name="T20" fmla="*/ 89 w 110"/>
                <a:gd name="T21" fmla="*/ 20 h 28"/>
                <a:gd name="T22" fmla="*/ 81 w 110"/>
                <a:gd name="T23" fmla="*/ 20 h 28"/>
                <a:gd name="T24" fmla="*/ 67 w 110"/>
                <a:gd name="T25" fmla="*/ 22 h 28"/>
                <a:gd name="T26" fmla="*/ 50 w 110"/>
                <a:gd name="T27" fmla="*/ 23 h 28"/>
                <a:gd name="T28" fmla="*/ 32 w 110"/>
                <a:gd name="T29" fmla="*/ 24 h 28"/>
                <a:gd name="T30" fmla="*/ 15 w 110"/>
                <a:gd name="T31" fmla="*/ 25 h 28"/>
                <a:gd name="T32" fmla="*/ 9 w 110"/>
                <a:gd name="T33" fmla="*/ 27 h 28"/>
                <a:gd name="T34" fmla="*/ 4 w 110"/>
                <a:gd name="T35" fmla="*/ 27 h 28"/>
                <a:gd name="T36" fmla="*/ 0 w 110"/>
                <a:gd name="T37" fmla="*/ 28 h 28"/>
                <a:gd name="T38" fmla="*/ 3 w 110"/>
                <a:gd name="T39" fmla="*/ 27 h 28"/>
                <a:gd name="T40" fmla="*/ 5 w 110"/>
                <a:gd name="T41" fmla="*/ 27 h 28"/>
                <a:gd name="T42" fmla="*/ 9 w 110"/>
                <a:gd name="T43" fmla="*/ 27 h 28"/>
                <a:gd name="T44" fmla="*/ 15 w 110"/>
                <a:gd name="T45" fmla="*/ 25 h 28"/>
                <a:gd name="T46" fmla="*/ 32 w 110"/>
                <a:gd name="T47" fmla="*/ 23 h 28"/>
                <a:gd name="T48" fmla="*/ 53 w 110"/>
                <a:gd name="T49" fmla="*/ 20 h 28"/>
                <a:gd name="T50" fmla="*/ 71 w 110"/>
                <a:gd name="T51" fmla="*/ 18 h 28"/>
                <a:gd name="T52" fmla="*/ 86 w 110"/>
                <a:gd name="T53" fmla="*/ 15 h 28"/>
                <a:gd name="T54" fmla="*/ 89 w 110"/>
                <a:gd name="T55" fmla="*/ 14 h 28"/>
                <a:gd name="T56" fmla="*/ 90 w 110"/>
                <a:gd name="T57" fmla="*/ 13 h 28"/>
                <a:gd name="T58" fmla="*/ 91 w 110"/>
                <a:gd name="T59" fmla="*/ 11 h 28"/>
                <a:gd name="T60" fmla="*/ 91 w 110"/>
                <a:gd name="T61" fmla="*/ 11 h 28"/>
                <a:gd name="T62" fmla="*/ 99 w 110"/>
                <a:gd name="T63" fmla="*/ 9 h 28"/>
                <a:gd name="T64" fmla="*/ 103 w 110"/>
                <a:gd name="T65" fmla="*/ 6 h 28"/>
                <a:gd name="T66" fmla="*/ 106 w 110"/>
                <a:gd name="T67" fmla="*/ 5 h 28"/>
                <a:gd name="T68" fmla="*/ 108 w 110"/>
                <a:gd name="T69" fmla="*/ 2 h 28"/>
                <a:gd name="T70" fmla="*/ 109 w 110"/>
                <a:gd name="T71" fmla="*/ 1 h 28"/>
                <a:gd name="T72" fmla="*/ 109 w 110"/>
                <a:gd name="T73" fmla="*/ 1 h 28"/>
                <a:gd name="T74" fmla="*/ 110 w 110"/>
                <a:gd name="T7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28">
                  <a:moveTo>
                    <a:pt x="110" y="0"/>
                  </a:moveTo>
                  <a:lnTo>
                    <a:pt x="110" y="2"/>
                  </a:lnTo>
                  <a:lnTo>
                    <a:pt x="110" y="6"/>
                  </a:lnTo>
                  <a:lnTo>
                    <a:pt x="109" y="10"/>
                  </a:lnTo>
                  <a:lnTo>
                    <a:pt x="106" y="14"/>
                  </a:lnTo>
                  <a:lnTo>
                    <a:pt x="104" y="16"/>
                  </a:lnTo>
                  <a:lnTo>
                    <a:pt x="101" y="18"/>
                  </a:lnTo>
                  <a:lnTo>
                    <a:pt x="98" y="19"/>
                  </a:lnTo>
                  <a:lnTo>
                    <a:pt x="94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1" y="20"/>
                  </a:lnTo>
                  <a:lnTo>
                    <a:pt x="67" y="22"/>
                  </a:lnTo>
                  <a:lnTo>
                    <a:pt x="50" y="23"/>
                  </a:lnTo>
                  <a:lnTo>
                    <a:pt x="32" y="24"/>
                  </a:lnTo>
                  <a:lnTo>
                    <a:pt x="15" y="25"/>
                  </a:lnTo>
                  <a:lnTo>
                    <a:pt x="9" y="27"/>
                  </a:lnTo>
                  <a:lnTo>
                    <a:pt x="4" y="27"/>
                  </a:lnTo>
                  <a:lnTo>
                    <a:pt x="0" y="28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15" y="25"/>
                  </a:lnTo>
                  <a:lnTo>
                    <a:pt x="32" y="23"/>
                  </a:lnTo>
                  <a:lnTo>
                    <a:pt x="53" y="20"/>
                  </a:lnTo>
                  <a:lnTo>
                    <a:pt x="71" y="18"/>
                  </a:lnTo>
                  <a:lnTo>
                    <a:pt x="86" y="15"/>
                  </a:lnTo>
                  <a:lnTo>
                    <a:pt x="89" y="14"/>
                  </a:lnTo>
                  <a:lnTo>
                    <a:pt x="90" y="13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9" y="9"/>
                  </a:lnTo>
                  <a:lnTo>
                    <a:pt x="103" y="6"/>
                  </a:lnTo>
                  <a:lnTo>
                    <a:pt x="106" y="5"/>
                  </a:lnTo>
                  <a:lnTo>
                    <a:pt x="108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9" name="Freeform 1422"/>
            <p:cNvSpPr>
              <a:spLocks/>
            </p:cNvSpPr>
            <p:nvPr/>
          </p:nvSpPr>
          <p:spPr bwMode="auto">
            <a:xfrm>
              <a:off x="-2771775" y="2033587"/>
              <a:ext cx="220663" cy="42863"/>
            </a:xfrm>
            <a:custGeom>
              <a:avLst/>
              <a:gdLst>
                <a:gd name="T0" fmla="*/ 139 w 139"/>
                <a:gd name="T1" fmla="*/ 0 h 27"/>
                <a:gd name="T2" fmla="*/ 137 w 139"/>
                <a:gd name="T3" fmla="*/ 4 h 27"/>
                <a:gd name="T4" fmla="*/ 133 w 139"/>
                <a:gd name="T5" fmla="*/ 7 h 27"/>
                <a:gd name="T6" fmla="*/ 128 w 139"/>
                <a:gd name="T7" fmla="*/ 8 h 27"/>
                <a:gd name="T8" fmla="*/ 121 w 139"/>
                <a:gd name="T9" fmla="*/ 9 h 27"/>
                <a:gd name="T10" fmla="*/ 116 w 139"/>
                <a:gd name="T11" fmla="*/ 9 h 27"/>
                <a:gd name="T12" fmla="*/ 105 w 139"/>
                <a:gd name="T13" fmla="*/ 8 h 27"/>
                <a:gd name="T14" fmla="*/ 91 w 139"/>
                <a:gd name="T15" fmla="*/ 8 h 27"/>
                <a:gd name="T16" fmla="*/ 78 w 139"/>
                <a:gd name="T17" fmla="*/ 9 h 27"/>
                <a:gd name="T18" fmla="*/ 68 w 139"/>
                <a:gd name="T19" fmla="*/ 11 h 27"/>
                <a:gd name="T20" fmla="*/ 64 w 139"/>
                <a:gd name="T21" fmla="*/ 11 h 27"/>
                <a:gd name="T22" fmla="*/ 61 w 139"/>
                <a:gd name="T23" fmla="*/ 12 h 27"/>
                <a:gd name="T24" fmla="*/ 60 w 139"/>
                <a:gd name="T25" fmla="*/ 12 h 27"/>
                <a:gd name="T26" fmla="*/ 60 w 139"/>
                <a:gd name="T27" fmla="*/ 12 h 27"/>
                <a:gd name="T28" fmla="*/ 59 w 139"/>
                <a:gd name="T29" fmla="*/ 13 h 27"/>
                <a:gd name="T30" fmla="*/ 57 w 139"/>
                <a:gd name="T31" fmla="*/ 15 h 27"/>
                <a:gd name="T32" fmla="*/ 55 w 139"/>
                <a:gd name="T33" fmla="*/ 16 h 27"/>
                <a:gd name="T34" fmla="*/ 51 w 139"/>
                <a:gd name="T35" fmla="*/ 18 h 27"/>
                <a:gd name="T36" fmla="*/ 48 w 139"/>
                <a:gd name="T37" fmla="*/ 21 h 27"/>
                <a:gd name="T38" fmla="*/ 44 w 139"/>
                <a:gd name="T39" fmla="*/ 23 h 27"/>
                <a:gd name="T40" fmla="*/ 42 w 139"/>
                <a:gd name="T41" fmla="*/ 25 h 27"/>
                <a:gd name="T42" fmla="*/ 39 w 139"/>
                <a:gd name="T43" fmla="*/ 26 h 27"/>
                <a:gd name="T44" fmla="*/ 37 w 139"/>
                <a:gd name="T45" fmla="*/ 27 h 27"/>
                <a:gd name="T46" fmla="*/ 37 w 139"/>
                <a:gd name="T47" fmla="*/ 27 h 27"/>
                <a:gd name="T48" fmla="*/ 35 w 139"/>
                <a:gd name="T49" fmla="*/ 27 h 27"/>
                <a:gd name="T50" fmla="*/ 30 w 139"/>
                <a:gd name="T51" fmla="*/ 27 h 27"/>
                <a:gd name="T52" fmla="*/ 21 w 139"/>
                <a:gd name="T53" fmla="*/ 27 h 27"/>
                <a:gd name="T54" fmla="*/ 7 w 139"/>
                <a:gd name="T55" fmla="*/ 27 h 27"/>
                <a:gd name="T56" fmla="*/ 0 w 139"/>
                <a:gd name="T57" fmla="*/ 27 h 27"/>
                <a:gd name="T58" fmla="*/ 2 w 139"/>
                <a:gd name="T59" fmla="*/ 26 h 27"/>
                <a:gd name="T60" fmla="*/ 14 w 139"/>
                <a:gd name="T61" fmla="*/ 22 h 27"/>
                <a:gd name="T62" fmla="*/ 25 w 139"/>
                <a:gd name="T63" fmla="*/ 17 h 27"/>
                <a:gd name="T64" fmla="*/ 35 w 139"/>
                <a:gd name="T65" fmla="*/ 13 h 27"/>
                <a:gd name="T66" fmla="*/ 42 w 139"/>
                <a:gd name="T67" fmla="*/ 9 h 27"/>
                <a:gd name="T68" fmla="*/ 46 w 139"/>
                <a:gd name="T69" fmla="*/ 8 h 27"/>
                <a:gd name="T70" fmla="*/ 47 w 139"/>
                <a:gd name="T71" fmla="*/ 7 h 27"/>
                <a:gd name="T72" fmla="*/ 50 w 139"/>
                <a:gd name="T73" fmla="*/ 7 h 27"/>
                <a:gd name="T74" fmla="*/ 53 w 139"/>
                <a:gd name="T75" fmla="*/ 7 h 27"/>
                <a:gd name="T76" fmla="*/ 60 w 139"/>
                <a:gd name="T77" fmla="*/ 6 h 27"/>
                <a:gd name="T78" fmla="*/ 68 w 139"/>
                <a:gd name="T79" fmla="*/ 6 h 27"/>
                <a:gd name="T80" fmla="*/ 86 w 139"/>
                <a:gd name="T81" fmla="*/ 4 h 27"/>
                <a:gd name="T82" fmla="*/ 103 w 139"/>
                <a:gd name="T83" fmla="*/ 4 h 27"/>
                <a:gd name="T84" fmla="*/ 119 w 139"/>
                <a:gd name="T85" fmla="*/ 4 h 27"/>
                <a:gd name="T86" fmla="*/ 128 w 139"/>
                <a:gd name="T87" fmla="*/ 3 h 27"/>
                <a:gd name="T88" fmla="*/ 134 w 139"/>
                <a:gd name="T89" fmla="*/ 2 h 27"/>
                <a:gd name="T90" fmla="*/ 139 w 139"/>
                <a:gd name="T9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9" h="27">
                  <a:moveTo>
                    <a:pt x="139" y="0"/>
                  </a:moveTo>
                  <a:lnTo>
                    <a:pt x="137" y="4"/>
                  </a:lnTo>
                  <a:lnTo>
                    <a:pt x="133" y="7"/>
                  </a:lnTo>
                  <a:lnTo>
                    <a:pt x="128" y="8"/>
                  </a:lnTo>
                  <a:lnTo>
                    <a:pt x="121" y="9"/>
                  </a:lnTo>
                  <a:lnTo>
                    <a:pt x="116" y="9"/>
                  </a:lnTo>
                  <a:lnTo>
                    <a:pt x="105" y="8"/>
                  </a:lnTo>
                  <a:lnTo>
                    <a:pt x="91" y="8"/>
                  </a:lnTo>
                  <a:lnTo>
                    <a:pt x="78" y="9"/>
                  </a:lnTo>
                  <a:lnTo>
                    <a:pt x="68" y="11"/>
                  </a:lnTo>
                  <a:lnTo>
                    <a:pt x="64" y="11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9" y="13"/>
                  </a:lnTo>
                  <a:lnTo>
                    <a:pt x="57" y="15"/>
                  </a:lnTo>
                  <a:lnTo>
                    <a:pt x="55" y="16"/>
                  </a:lnTo>
                  <a:lnTo>
                    <a:pt x="51" y="18"/>
                  </a:lnTo>
                  <a:lnTo>
                    <a:pt x="48" y="21"/>
                  </a:lnTo>
                  <a:lnTo>
                    <a:pt x="44" y="23"/>
                  </a:lnTo>
                  <a:lnTo>
                    <a:pt x="42" y="25"/>
                  </a:lnTo>
                  <a:lnTo>
                    <a:pt x="39" y="26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0" y="27"/>
                  </a:lnTo>
                  <a:lnTo>
                    <a:pt x="21" y="27"/>
                  </a:lnTo>
                  <a:lnTo>
                    <a:pt x="7" y="27"/>
                  </a:lnTo>
                  <a:lnTo>
                    <a:pt x="0" y="27"/>
                  </a:lnTo>
                  <a:lnTo>
                    <a:pt x="2" y="26"/>
                  </a:lnTo>
                  <a:lnTo>
                    <a:pt x="14" y="22"/>
                  </a:lnTo>
                  <a:lnTo>
                    <a:pt x="25" y="17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6" y="8"/>
                  </a:lnTo>
                  <a:lnTo>
                    <a:pt x="47" y="7"/>
                  </a:lnTo>
                  <a:lnTo>
                    <a:pt x="50" y="7"/>
                  </a:lnTo>
                  <a:lnTo>
                    <a:pt x="53" y="7"/>
                  </a:lnTo>
                  <a:lnTo>
                    <a:pt x="60" y="6"/>
                  </a:lnTo>
                  <a:lnTo>
                    <a:pt x="68" y="6"/>
                  </a:lnTo>
                  <a:lnTo>
                    <a:pt x="86" y="4"/>
                  </a:lnTo>
                  <a:lnTo>
                    <a:pt x="103" y="4"/>
                  </a:lnTo>
                  <a:lnTo>
                    <a:pt x="119" y="4"/>
                  </a:lnTo>
                  <a:lnTo>
                    <a:pt x="128" y="3"/>
                  </a:lnTo>
                  <a:lnTo>
                    <a:pt x="134" y="2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3BE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0" name="Freeform 1423"/>
            <p:cNvSpPr>
              <a:spLocks/>
            </p:cNvSpPr>
            <p:nvPr/>
          </p:nvSpPr>
          <p:spPr bwMode="auto">
            <a:xfrm>
              <a:off x="-3381375" y="2076450"/>
              <a:ext cx="920750" cy="236538"/>
            </a:xfrm>
            <a:custGeom>
              <a:avLst/>
              <a:gdLst>
                <a:gd name="T0" fmla="*/ 580 w 580"/>
                <a:gd name="T1" fmla="*/ 0 h 149"/>
                <a:gd name="T2" fmla="*/ 577 w 580"/>
                <a:gd name="T3" fmla="*/ 25 h 149"/>
                <a:gd name="T4" fmla="*/ 575 w 580"/>
                <a:gd name="T5" fmla="*/ 48 h 149"/>
                <a:gd name="T6" fmla="*/ 572 w 580"/>
                <a:gd name="T7" fmla="*/ 70 h 149"/>
                <a:gd name="T8" fmla="*/ 567 w 580"/>
                <a:gd name="T9" fmla="*/ 91 h 149"/>
                <a:gd name="T10" fmla="*/ 561 w 580"/>
                <a:gd name="T11" fmla="*/ 109 h 149"/>
                <a:gd name="T12" fmla="*/ 552 w 580"/>
                <a:gd name="T13" fmla="*/ 126 h 149"/>
                <a:gd name="T14" fmla="*/ 541 w 580"/>
                <a:gd name="T15" fmla="*/ 138 h 149"/>
                <a:gd name="T16" fmla="*/ 529 w 580"/>
                <a:gd name="T17" fmla="*/ 147 h 149"/>
                <a:gd name="T18" fmla="*/ 513 w 580"/>
                <a:gd name="T19" fmla="*/ 149 h 149"/>
                <a:gd name="T20" fmla="*/ 505 w 580"/>
                <a:gd name="T21" fmla="*/ 148 h 149"/>
                <a:gd name="T22" fmla="*/ 493 w 580"/>
                <a:gd name="T23" fmla="*/ 147 h 149"/>
                <a:gd name="T24" fmla="*/ 476 w 580"/>
                <a:gd name="T25" fmla="*/ 144 h 149"/>
                <a:gd name="T26" fmla="*/ 455 w 580"/>
                <a:gd name="T27" fmla="*/ 140 h 149"/>
                <a:gd name="T28" fmla="*/ 431 w 580"/>
                <a:gd name="T29" fmla="*/ 135 h 149"/>
                <a:gd name="T30" fmla="*/ 396 w 580"/>
                <a:gd name="T31" fmla="*/ 129 h 149"/>
                <a:gd name="T32" fmla="*/ 358 w 580"/>
                <a:gd name="T33" fmla="*/ 121 h 149"/>
                <a:gd name="T34" fmla="*/ 318 w 580"/>
                <a:gd name="T35" fmla="*/ 112 h 149"/>
                <a:gd name="T36" fmla="*/ 276 w 580"/>
                <a:gd name="T37" fmla="*/ 103 h 149"/>
                <a:gd name="T38" fmla="*/ 239 w 580"/>
                <a:gd name="T39" fmla="*/ 94 h 149"/>
                <a:gd name="T40" fmla="*/ 204 w 580"/>
                <a:gd name="T41" fmla="*/ 86 h 149"/>
                <a:gd name="T42" fmla="*/ 169 w 580"/>
                <a:gd name="T43" fmla="*/ 79 h 149"/>
                <a:gd name="T44" fmla="*/ 140 w 580"/>
                <a:gd name="T45" fmla="*/ 71 h 149"/>
                <a:gd name="T46" fmla="*/ 113 w 580"/>
                <a:gd name="T47" fmla="*/ 63 h 149"/>
                <a:gd name="T48" fmla="*/ 91 w 580"/>
                <a:gd name="T49" fmla="*/ 58 h 149"/>
                <a:gd name="T50" fmla="*/ 76 w 580"/>
                <a:gd name="T51" fmla="*/ 53 h 149"/>
                <a:gd name="T52" fmla="*/ 51 w 580"/>
                <a:gd name="T53" fmla="*/ 43 h 149"/>
                <a:gd name="T54" fmla="*/ 33 w 580"/>
                <a:gd name="T55" fmla="*/ 35 h 149"/>
                <a:gd name="T56" fmla="*/ 19 w 580"/>
                <a:gd name="T57" fmla="*/ 27 h 149"/>
                <a:gd name="T58" fmla="*/ 10 w 580"/>
                <a:gd name="T59" fmla="*/ 22 h 149"/>
                <a:gd name="T60" fmla="*/ 5 w 580"/>
                <a:gd name="T61" fmla="*/ 18 h 149"/>
                <a:gd name="T62" fmla="*/ 2 w 580"/>
                <a:gd name="T63" fmla="*/ 16 h 149"/>
                <a:gd name="T64" fmla="*/ 1 w 580"/>
                <a:gd name="T65" fmla="*/ 14 h 149"/>
                <a:gd name="T66" fmla="*/ 0 w 580"/>
                <a:gd name="T67" fmla="*/ 13 h 149"/>
                <a:gd name="T68" fmla="*/ 14 w 580"/>
                <a:gd name="T69" fmla="*/ 17 h 149"/>
                <a:gd name="T70" fmla="*/ 31 w 580"/>
                <a:gd name="T71" fmla="*/ 21 h 149"/>
                <a:gd name="T72" fmla="*/ 63 w 580"/>
                <a:gd name="T73" fmla="*/ 29 h 149"/>
                <a:gd name="T74" fmla="*/ 100 w 580"/>
                <a:gd name="T75" fmla="*/ 36 h 149"/>
                <a:gd name="T76" fmla="*/ 141 w 580"/>
                <a:gd name="T77" fmla="*/ 47 h 149"/>
                <a:gd name="T78" fmla="*/ 183 w 580"/>
                <a:gd name="T79" fmla="*/ 57 h 149"/>
                <a:gd name="T80" fmla="*/ 226 w 580"/>
                <a:gd name="T81" fmla="*/ 67 h 149"/>
                <a:gd name="T82" fmla="*/ 268 w 580"/>
                <a:gd name="T83" fmla="*/ 76 h 149"/>
                <a:gd name="T84" fmla="*/ 307 w 580"/>
                <a:gd name="T85" fmla="*/ 86 h 149"/>
                <a:gd name="T86" fmla="*/ 341 w 580"/>
                <a:gd name="T87" fmla="*/ 94 h 149"/>
                <a:gd name="T88" fmla="*/ 369 w 580"/>
                <a:gd name="T89" fmla="*/ 100 h 149"/>
                <a:gd name="T90" fmla="*/ 394 w 580"/>
                <a:gd name="T91" fmla="*/ 106 h 149"/>
                <a:gd name="T92" fmla="*/ 410 w 580"/>
                <a:gd name="T93" fmla="*/ 109 h 149"/>
                <a:gd name="T94" fmla="*/ 434 w 580"/>
                <a:gd name="T95" fmla="*/ 115 h 149"/>
                <a:gd name="T96" fmla="*/ 462 w 580"/>
                <a:gd name="T97" fmla="*/ 120 h 149"/>
                <a:gd name="T98" fmla="*/ 485 w 580"/>
                <a:gd name="T99" fmla="*/ 124 h 149"/>
                <a:gd name="T100" fmla="*/ 503 w 580"/>
                <a:gd name="T101" fmla="*/ 124 h 149"/>
                <a:gd name="T102" fmla="*/ 518 w 580"/>
                <a:gd name="T103" fmla="*/ 121 h 149"/>
                <a:gd name="T104" fmla="*/ 531 w 580"/>
                <a:gd name="T105" fmla="*/ 113 h 149"/>
                <a:gd name="T106" fmla="*/ 538 w 580"/>
                <a:gd name="T107" fmla="*/ 106 h 149"/>
                <a:gd name="T108" fmla="*/ 544 w 580"/>
                <a:gd name="T109" fmla="*/ 91 h 149"/>
                <a:gd name="T110" fmla="*/ 553 w 580"/>
                <a:gd name="T111" fmla="*/ 72 h 149"/>
                <a:gd name="T112" fmla="*/ 562 w 580"/>
                <a:gd name="T113" fmla="*/ 50 h 149"/>
                <a:gd name="T114" fmla="*/ 571 w 580"/>
                <a:gd name="T115" fmla="*/ 26 h 149"/>
                <a:gd name="T116" fmla="*/ 580 w 580"/>
                <a:gd name="T117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0" h="149">
                  <a:moveTo>
                    <a:pt x="580" y="0"/>
                  </a:moveTo>
                  <a:lnTo>
                    <a:pt x="577" y="25"/>
                  </a:lnTo>
                  <a:lnTo>
                    <a:pt x="575" y="48"/>
                  </a:lnTo>
                  <a:lnTo>
                    <a:pt x="572" y="70"/>
                  </a:lnTo>
                  <a:lnTo>
                    <a:pt x="567" y="91"/>
                  </a:lnTo>
                  <a:lnTo>
                    <a:pt x="561" y="109"/>
                  </a:lnTo>
                  <a:lnTo>
                    <a:pt x="552" y="126"/>
                  </a:lnTo>
                  <a:lnTo>
                    <a:pt x="541" y="138"/>
                  </a:lnTo>
                  <a:lnTo>
                    <a:pt x="529" y="147"/>
                  </a:lnTo>
                  <a:lnTo>
                    <a:pt x="513" y="149"/>
                  </a:lnTo>
                  <a:lnTo>
                    <a:pt x="505" y="148"/>
                  </a:lnTo>
                  <a:lnTo>
                    <a:pt x="493" y="147"/>
                  </a:lnTo>
                  <a:lnTo>
                    <a:pt x="476" y="144"/>
                  </a:lnTo>
                  <a:lnTo>
                    <a:pt x="455" y="140"/>
                  </a:lnTo>
                  <a:lnTo>
                    <a:pt x="431" y="135"/>
                  </a:lnTo>
                  <a:lnTo>
                    <a:pt x="396" y="129"/>
                  </a:lnTo>
                  <a:lnTo>
                    <a:pt x="358" y="121"/>
                  </a:lnTo>
                  <a:lnTo>
                    <a:pt x="318" y="112"/>
                  </a:lnTo>
                  <a:lnTo>
                    <a:pt x="276" y="103"/>
                  </a:lnTo>
                  <a:lnTo>
                    <a:pt x="239" y="94"/>
                  </a:lnTo>
                  <a:lnTo>
                    <a:pt x="204" y="86"/>
                  </a:lnTo>
                  <a:lnTo>
                    <a:pt x="169" y="79"/>
                  </a:lnTo>
                  <a:lnTo>
                    <a:pt x="140" y="71"/>
                  </a:lnTo>
                  <a:lnTo>
                    <a:pt x="113" y="63"/>
                  </a:lnTo>
                  <a:lnTo>
                    <a:pt x="91" y="58"/>
                  </a:lnTo>
                  <a:lnTo>
                    <a:pt x="76" y="53"/>
                  </a:lnTo>
                  <a:lnTo>
                    <a:pt x="51" y="43"/>
                  </a:lnTo>
                  <a:lnTo>
                    <a:pt x="33" y="35"/>
                  </a:lnTo>
                  <a:lnTo>
                    <a:pt x="19" y="27"/>
                  </a:lnTo>
                  <a:lnTo>
                    <a:pt x="10" y="22"/>
                  </a:lnTo>
                  <a:lnTo>
                    <a:pt x="5" y="18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3"/>
                  </a:lnTo>
                  <a:lnTo>
                    <a:pt x="14" y="17"/>
                  </a:lnTo>
                  <a:lnTo>
                    <a:pt x="31" y="21"/>
                  </a:lnTo>
                  <a:lnTo>
                    <a:pt x="63" y="29"/>
                  </a:lnTo>
                  <a:lnTo>
                    <a:pt x="100" y="36"/>
                  </a:lnTo>
                  <a:lnTo>
                    <a:pt x="141" y="47"/>
                  </a:lnTo>
                  <a:lnTo>
                    <a:pt x="183" y="57"/>
                  </a:lnTo>
                  <a:lnTo>
                    <a:pt x="226" y="67"/>
                  </a:lnTo>
                  <a:lnTo>
                    <a:pt x="268" y="76"/>
                  </a:lnTo>
                  <a:lnTo>
                    <a:pt x="307" y="86"/>
                  </a:lnTo>
                  <a:lnTo>
                    <a:pt x="341" y="94"/>
                  </a:lnTo>
                  <a:lnTo>
                    <a:pt x="369" y="100"/>
                  </a:lnTo>
                  <a:lnTo>
                    <a:pt x="394" y="106"/>
                  </a:lnTo>
                  <a:lnTo>
                    <a:pt x="410" y="109"/>
                  </a:lnTo>
                  <a:lnTo>
                    <a:pt x="434" y="115"/>
                  </a:lnTo>
                  <a:lnTo>
                    <a:pt x="462" y="120"/>
                  </a:lnTo>
                  <a:lnTo>
                    <a:pt x="485" y="124"/>
                  </a:lnTo>
                  <a:lnTo>
                    <a:pt x="503" y="124"/>
                  </a:lnTo>
                  <a:lnTo>
                    <a:pt x="518" y="121"/>
                  </a:lnTo>
                  <a:lnTo>
                    <a:pt x="531" y="113"/>
                  </a:lnTo>
                  <a:lnTo>
                    <a:pt x="538" y="106"/>
                  </a:lnTo>
                  <a:lnTo>
                    <a:pt x="544" y="91"/>
                  </a:lnTo>
                  <a:lnTo>
                    <a:pt x="553" y="72"/>
                  </a:lnTo>
                  <a:lnTo>
                    <a:pt x="562" y="50"/>
                  </a:lnTo>
                  <a:lnTo>
                    <a:pt x="571" y="26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1" name="Freeform 1424"/>
            <p:cNvSpPr>
              <a:spLocks/>
            </p:cNvSpPr>
            <p:nvPr/>
          </p:nvSpPr>
          <p:spPr bwMode="auto">
            <a:xfrm>
              <a:off x="-3633788" y="1974850"/>
              <a:ext cx="690563" cy="350838"/>
            </a:xfrm>
            <a:custGeom>
              <a:avLst/>
              <a:gdLst>
                <a:gd name="T0" fmla="*/ 23 w 435"/>
                <a:gd name="T1" fmla="*/ 0 h 221"/>
                <a:gd name="T2" fmla="*/ 22 w 435"/>
                <a:gd name="T3" fmla="*/ 30 h 221"/>
                <a:gd name="T4" fmla="*/ 22 w 435"/>
                <a:gd name="T5" fmla="*/ 62 h 221"/>
                <a:gd name="T6" fmla="*/ 23 w 435"/>
                <a:gd name="T7" fmla="*/ 93 h 221"/>
                <a:gd name="T8" fmla="*/ 25 w 435"/>
                <a:gd name="T9" fmla="*/ 120 h 221"/>
                <a:gd name="T10" fmla="*/ 31 w 435"/>
                <a:gd name="T11" fmla="*/ 144 h 221"/>
                <a:gd name="T12" fmla="*/ 38 w 435"/>
                <a:gd name="T13" fmla="*/ 166 h 221"/>
                <a:gd name="T14" fmla="*/ 46 w 435"/>
                <a:gd name="T15" fmla="*/ 182 h 221"/>
                <a:gd name="T16" fmla="*/ 56 w 435"/>
                <a:gd name="T17" fmla="*/ 194 h 221"/>
                <a:gd name="T18" fmla="*/ 67 w 435"/>
                <a:gd name="T19" fmla="*/ 199 h 221"/>
                <a:gd name="T20" fmla="*/ 73 w 435"/>
                <a:gd name="T21" fmla="*/ 199 h 221"/>
                <a:gd name="T22" fmla="*/ 85 w 435"/>
                <a:gd name="T23" fmla="*/ 199 h 221"/>
                <a:gd name="T24" fmla="*/ 101 w 435"/>
                <a:gd name="T25" fmla="*/ 196 h 221"/>
                <a:gd name="T26" fmla="*/ 122 w 435"/>
                <a:gd name="T27" fmla="*/ 195 h 221"/>
                <a:gd name="T28" fmla="*/ 158 w 435"/>
                <a:gd name="T29" fmla="*/ 190 h 221"/>
                <a:gd name="T30" fmla="*/ 199 w 435"/>
                <a:gd name="T31" fmla="*/ 185 h 221"/>
                <a:gd name="T32" fmla="*/ 244 w 435"/>
                <a:gd name="T33" fmla="*/ 180 h 221"/>
                <a:gd name="T34" fmla="*/ 289 w 435"/>
                <a:gd name="T35" fmla="*/ 175 h 221"/>
                <a:gd name="T36" fmla="*/ 331 w 435"/>
                <a:gd name="T37" fmla="*/ 168 h 221"/>
                <a:gd name="T38" fmla="*/ 369 w 435"/>
                <a:gd name="T39" fmla="*/ 163 h 221"/>
                <a:gd name="T40" fmla="*/ 403 w 435"/>
                <a:gd name="T41" fmla="*/ 159 h 221"/>
                <a:gd name="T42" fmla="*/ 435 w 435"/>
                <a:gd name="T43" fmla="*/ 167 h 221"/>
                <a:gd name="T44" fmla="*/ 414 w 435"/>
                <a:gd name="T45" fmla="*/ 173 h 221"/>
                <a:gd name="T46" fmla="*/ 386 w 435"/>
                <a:gd name="T47" fmla="*/ 180 h 221"/>
                <a:gd name="T48" fmla="*/ 351 w 435"/>
                <a:gd name="T49" fmla="*/ 186 h 221"/>
                <a:gd name="T50" fmla="*/ 313 w 435"/>
                <a:gd name="T51" fmla="*/ 191 h 221"/>
                <a:gd name="T52" fmla="*/ 273 w 435"/>
                <a:gd name="T53" fmla="*/ 198 h 221"/>
                <a:gd name="T54" fmla="*/ 231 w 435"/>
                <a:gd name="T55" fmla="*/ 203 h 221"/>
                <a:gd name="T56" fmla="*/ 191 w 435"/>
                <a:gd name="T57" fmla="*/ 208 h 221"/>
                <a:gd name="T58" fmla="*/ 153 w 435"/>
                <a:gd name="T59" fmla="*/ 213 h 221"/>
                <a:gd name="T60" fmla="*/ 119 w 435"/>
                <a:gd name="T61" fmla="*/ 217 h 221"/>
                <a:gd name="T62" fmla="*/ 93 w 435"/>
                <a:gd name="T63" fmla="*/ 220 h 221"/>
                <a:gd name="T64" fmla="*/ 74 w 435"/>
                <a:gd name="T65" fmla="*/ 221 h 221"/>
                <a:gd name="T66" fmla="*/ 63 w 435"/>
                <a:gd name="T67" fmla="*/ 221 h 221"/>
                <a:gd name="T68" fmla="*/ 46 w 435"/>
                <a:gd name="T69" fmla="*/ 218 h 221"/>
                <a:gd name="T70" fmla="*/ 33 w 435"/>
                <a:gd name="T71" fmla="*/ 211 h 221"/>
                <a:gd name="T72" fmla="*/ 22 w 435"/>
                <a:gd name="T73" fmla="*/ 198 h 221"/>
                <a:gd name="T74" fmla="*/ 14 w 435"/>
                <a:gd name="T75" fmla="*/ 181 h 221"/>
                <a:gd name="T76" fmla="*/ 8 w 435"/>
                <a:gd name="T77" fmla="*/ 163 h 221"/>
                <a:gd name="T78" fmla="*/ 4 w 435"/>
                <a:gd name="T79" fmla="*/ 141 h 221"/>
                <a:gd name="T80" fmla="*/ 1 w 435"/>
                <a:gd name="T81" fmla="*/ 120 h 221"/>
                <a:gd name="T82" fmla="*/ 0 w 435"/>
                <a:gd name="T83" fmla="*/ 96 h 221"/>
                <a:gd name="T84" fmla="*/ 0 w 435"/>
                <a:gd name="T85" fmla="*/ 73 h 221"/>
                <a:gd name="T86" fmla="*/ 1 w 435"/>
                <a:gd name="T87" fmla="*/ 52 h 221"/>
                <a:gd name="T88" fmla="*/ 1 w 435"/>
                <a:gd name="T89" fmla="*/ 32 h 221"/>
                <a:gd name="T90" fmla="*/ 2 w 435"/>
                <a:gd name="T91" fmla="*/ 14 h 221"/>
                <a:gd name="T92" fmla="*/ 4 w 435"/>
                <a:gd name="T93" fmla="*/ 0 h 221"/>
                <a:gd name="T94" fmla="*/ 23 w 435"/>
                <a:gd name="T9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5" h="221">
                  <a:moveTo>
                    <a:pt x="23" y="0"/>
                  </a:moveTo>
                  <a:lnTo>
                    <a:pt x="22" y="30"/>
                  </a:lnTo>
                  <a:lnTo>
                    <a:pt x="22" y="62"/>
                  </a:lnTo>
                  <a:lnTo>
                    <a:pt x="23" y="93"/>
                  </a:lnTo>
                  <a:lnTo>
                    <a:pt x="25" y="120"/>
                  </a:lnTo>
                  <a:lnTo>
                    <a:pt x="31" y="144"/>
                  </a:lnTo>
                  <a:lnTo>
                    <a:pt x="38" y="166"/>
                  </a:lnTo>
                  <a:lnTo>
                    <a:pt x="46" y="182"/>
                  </a:lnTo>
                  <a:lnTo>
                    <a:pt x="56" y="194"/>
                  </a:lnTo>
                  <a:lnTo>
                    <a:pt x="67" y="199"/>
                  </a:lnTo>
                  <a:lnTo>
                    <a:pt x="73" y="199"/>
                  </a:lnTo>
                  <a:lnTo>
                    <a:pt x="85" y="199"/>
                  </a:lnTo>
                  <a:lnTo>
                    <a:pt x="101" y="196"/>
                  </a:lnTo>
                  <a:lnTo>
                    <a:pt x="122" y="195"/>
                  </a:lnTo>
                  <a:lnTo>
                    <a:pt x="158" y="190"/>
                  </a:lnTo>
                  <a:lnTo>
                    <a:pt x="199" y="185"/>
                  </a:lnTo>
                  <a:lnTo>
                    <a:pt x="244" y="180"/>
                  </a:lnTo>
                  <a:lnTo>
                    <a:pt x="289" y="175"/>
                  </a:lnTo>
                  <a:lnTo>
                    <a:pt x="331" y="168"/>
                  </a:lnTo>
                  <a:lnTo>
                    <a:pt x="369" y="163"/>
                  </a:lnTo>
                  <a:lnTo>
                    <a:pt x="403" y="159"/>
                  </a:lnTo>
                  <a:lnTo>
                    <a:pt x="435" y="167"/>
                  </a:lnTo>
                  <a:lnTo>
                    <a:pt x="414" y="173"/>
                  </a:lnTo>
                  <a:lnTo>
                    <a:pt x="386" y="180"/>
                  </a:lnTo>
                  <a:lnTo>
                    <a:pt x="351" y="186"/>
                  </a:lnTo>
                  <a:lnTo>
                    <a:pt x="313" y="191"/>
                  </a:lnTo>
                  <a:lnTo>
                    <a:pt x="273" y="198"/>
                  </a:lnTo>
                  <a:lnTo>
                    <a:pt x="231" y="203"/>
                  </a:lnTo>
                  <a:lnTo>
                    <a:pt x="191" y="208"/>
                  </a:lnTo>
                  <a:lnTo>
                    <a:pt x="153" y="213"/>
                  </a:lnTo>
                  <a:lnTo>
                    <a:pt x="119" y="217"/>
                  </a:lnTo>
                  <a:lnTo>
                    <a:pt x="93" y="220"/>
                  </a:lnTo>
                  <a:lnTo>
                    <a:pt x="74" y="221"/>
                  </a:lnTo>
                  <a:lnTo>
                    <a:pt x="63" y="221"/>
                  </a:lnTo>
                  <a:lnTo>
                    <a:pt x="46" y="218"/>
                  </a:lnTo>
                  <a:lnTo>
                    <a:pt x="33" y="211"/>
                  </a:lnTo>
                  <a:lnTo>
                    <a:pt x="22" y="198"/>
                  </a:lnTo>
                  <a:lnTo>
                    <a:pt x="14" y="181"/>
                  </a:lnTo>
                  <a:lnTo>
                    <a:pt x="8" y="163"/>
                  </a:lnTo>
                  <a:lnTo>
                    <a:pt x="4" y="141"/>
                  </a:lnTo>
                  <a:lnTo>
                    <a:pt x="1" y="120"/>
                  </a:lnTo>
                  <a:lnTo>
                    <a:pt x="0" y="96"/>
                  </a:lnTo>
                  <a:lnTo>
                    <a:pt x="0" y="73"/>
                  </a:lnTo>
                  <a:lnTo>
                    <a:pt x="1" y="52"/>
                  </a:lnTo>
                  <a:lnTo>
                    <a:pt x="1" y="32"/>
                  </a:lnTo>
                  <a:lnTo>
                    <a:pt x="2" y="14"/>
                  </a:lnTo>
                  <a:lnTo>
                    <a:pt x="4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9C1C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2" name="Freeform 1425"/>
            <p:cNvSpPr>
              <a:spLocks/>
            </p:cNvSpPr>
            <p:nvPr/>
          </p:nvSpPr>
          <p:spPr bwMode="auto">
            <a:xfrm>
              <a:off x="-2554288" y="1846262"/>
              <a:ext cx="44450" cy="36513"/>
            </a:xfrm>
            <a:custGeom>
              <a:avLst/>
              <a:gdLst>
                <a:gd name="T0" fmla="*/ 23 w 28"/>
                <a:gd name="T1" fmla="*/ 0 h 23"/>
                <a:gd name="T2" fmla="*/ 24 w 28"/>
                <a:gd name="T3" fmla="*/ 0 h 23"/>
                <a:gd name="T4" fmla="*/ 25 w 28"/>
                <a:gd name="T5" fmla="*/ 3 h 23"/>
                <a:gd name="T6" fmla="*/ 27 w 28"/>
                <a:gd name="T7" fmla="*/ 5 h 23"/>
                <a:gd name="T8" fmla="*/ 28 w 28"/>
                <a:gd name="T9" fmla="*/ 8 h 23"/>
                <a:gd name="T10" fmla="*/ 28 w 28"/>
                <a:gd name="T11" fmla="*/ 12 h 23"/>
                <a:gd name="T12" fmla="*/ 28 w 28"/>
                <a:gd name="T13" fmla="*/ 14 h 23"/>
                <a:gd name="T14" fmla="*/ 27 w 28"/>
                <a:gd name="T15" fmla="*/ 16 h 23"/>
                <a:gd name="T16" fmla="*/ 22 w 28"/>
                <a:gd name="T17" fmla="*/ 17 h 23"/>
                <a:gd name="T18" fmla="*/ 15 w 28"/>
                <a:gd name="T19" fmla="*/ 20 h 23"/>
                <a:gd name="T20" fmla="*/ 9 w 28"/>
                <a:gd name="T21" fmla="*/ 22 h 23"/>
                <a:gd name="T22" fmla="*/ 5 w 28"/>
                <a:gd name="T23" fmla="*/ 23 h 23"/>
                <a:gd name="T24" fmla="*/ 0 w 28"/>
                <a:gd name="T25" fmla="*/ 4 h 23"/>
                <a:gd name="T26" fmla="*/ 11 w 28"/>
                <a:gd name="T27" fmla="*/ 2 h 23"/>
                <a:gd name="T28" fmla="*/ 23 w 28"/>
                <a:gd name="T2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3">
                  <a:moveTo>
                    <a:pt x="23" y="0"/>
                  </a:moveTo>
                  <a:lnTo>
                    <a:pt x="24" y="0"/>
                  </a:lnTo>
                  <a:lnTo>
                    <a:pt x="25" y="3"/>
                  </a:lnTo>
                  <a:lnTo>
                    <a:pt x="27" y="5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7" y="16"/>
                  </a:lnTo>
                  <a:lnTo>
                    <a:pt x="22" y="17"/>
                  </a:lnTo>
                  <a:lnTo>
                    <a:pt x="15" y="20"/>
                  </a:lnTo>
                  <a:lnTo>
                    <a:pt x="9" y="22"/>
                  </a:lnTo>
                  <a:lnTo>
                    <a:pt x="5" y="23"/>
                  </a:lnTo>
                  <a:lnTo>
                    <a:pt x="0" y="4"/>
                  </a:lnTo>
                  <a:lnTo>
                    <a:pt x="11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3" name="Freeform 1426"/>
            <p:cNvSpPr>
              <a:spLocks/>
            </p:cNvSpPr>
            <p:nvPr/>
          </p:nvSpPr>
          <p:spPr bwMode="auto">
            <a:xfrm>
              <a:off x="-2540000" y="1895475"/>
              <a:ext cx="39688" cy="33338"/>
            </a:xfrm>
            <a:custGeom>
              <a:avLst/>
              <a:gdLst>
                <a:gd name="T0" fmla="*/ 20 w 25"/>
                <a:gd name="T1" fmla="*/ 0 h 21"/>
                <a:gd name="T2" fmla="*/ 22 w 25"/>
                <a:gd name="T3" fmla="*/ 1 h 21"/>
                <a:gd name="T4" fmla="*/ 23 w 25"/>
                <a:gd name="T5" fmla="*/ 3 h 21"/>
                <a:gd name="T6" fmla="*/ 24 w 25"/>
                <a:gd name="T7" fmla="*/ 5 h 21"/>
                <a:gd name="T8" fmla="*/ 25 w 25"/>
                <a:gd name="T9" fmla="*/ 8 h 21"/>
                <a:gd name="T10" fmla="*/ 25 w 25"/>
                <a:gd name="T11" fmla="*/ 10 h 21"/>
                <a:gd name="T12" fmla="*/ 24 w 25"/>
                <a:gd name="T13" fmla="*/ 13 h 21"/>
                <a:gd name="T14" fmla="*/ 24 w 25"/>
                <a:gd name="T15" fmla="*/ 14 h 21"/>
                <a:gd name="T16" fmla="*/ 22 w 25"/>
                <a:gd name="T17" fmla="*/ 16 h 21"/>
                <a:gd name="T18" fmla="*/ 19 w 25"/>
                <a:gd name="T19" fmla="*/ 16 h 21"/>
                <a:gd name="T20" fmla="*/ 16 w 25"/>
                <a:gd name="T21" fmla="*/ 17 h 21"/>
                <a:gd name="T22" fmla="*/ 13 w 25"/>
                <a:gd name="T23" fmla="*/ 18 h 21"/>
                <a:gd name="T24" fmla="*/ 10 w 25"/>
                <a:gd name="T25" fmla="*/ 19 h 21"/>
                <a:gd name="T26" fmla="*/ 8 w 25"/>
                <a:gd name="T27" fmla="*/ 21 h 21"/>
                <a:gd name="T28" fmla="*/ 5 w 25"/>
                <a:gd name="T29" fmla="*/ 21 h 21"/>
                <a:gd name="T30" fmla="*/ 5 w 25"/>
                <a:gd name="T31" fmla="*/ 21 h 21"/>
                <a:gd name="T32" fmla="*/ 0 w 25"/>
                <a:gd name="T33" fmla="*/ 4 h 21"/>
                <a:gd name="T34" fmla="*/ 5 w 25"/>
                <a:gd name="T35" fmla="*/ 3 h 21"/>
                <a:gd name="T36" fmla="*/ 9 w 25"/>
                <a:gd name="T37" fmla="*/ 1 h 21"/>
                <a:gd name="T38" fmla="*/ 14 w 25"/>
                <a:gd name="T39" fmla="*/ 0 h 21"/>
                <a:gd name="T40" fmla="*/ 20 w 25"/>
                <a:gd name="T4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21">
                  <a:moveTo>
                    <a:pt x="20" y="0"/>
                  </a:moveTo>
                  <a:lnTo>
                    <a:pt x="22" y="1"/>
                  </a:lnTo>
                  <a:lnTo>
                    <a:pt x="23" y="3"/>
                  </a:lnTo>
                  <a:lnTo>
                    <a:pt x="24" y="5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19" y="16"/>
                  </a:lnTo>
                  <a:lnTo>
                    <a:pt x="16" y="17"/>
                  </a:lnTo>
                  <a:lnTo>
                    <a:pt x="13" y="18"/>
                  </a:lnTo>
                  <a:lnTo>
                    <a:pt x="10" y="19"/>
                  </a:lnTo>
                  <a:lnTo>
                    <a:pt x="8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0" y="4"/>
                  </a:lnTo>
                  <a:lnTo>
                    <a:pt x="5" y="3"/>
                  </a:lnTo>
                  <a:lnTo>
                    <a:pt x="9" y="1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4" name="Freeform 1427"/>
            <p:cNvSpPr>
              <a:spLocks/>
            </p:cNvSpPr>
            <p:nvPr/>
          </p:nvSpPr>
          <p:spPr bwMode="auto">
            <a:xfrm>
              <a:off x="-2546350" y="1962150"/>
              <a:ext cx="34925" cy="26988"/>
            </a:xfrm>
            <a:custGeom>
              <a:avLst/>
              <a:gdLst>
                <a:gd name="T0" fmla="*/ 0 w 22"/>
                <a:gd name="T1" fmla="*/ 0 h 17"/>
                <a:gd name="T2" fmla="*/ 5 w 22"/>
                <a:gd name="T3" fmla="*/ 0 h 17"/>
                <a:gd name="T4" fmla="*/ 9 w 22"/>
                <a:gd name="T5" fmla="*/ 0 h 17"/>
                <a:gd name="T6" fmla="*/ 14 w 22"/>
                <a:gd name="T7" fmla="*/ 0 h 17"/>
                <a:gd name="T8" fmla="*/ 19 w 22"/>
                <a:gd name="T9" fmla="*/ 2 h 17"/>
                <a:gd name="T10" fmla="*/ 20 w 22"/>
                <a:gd name="T11" fmla="*/ 3 h 17"/>
                <a:gd name="T12" fmla="*/ 22 w 22"/>
                <a:gd name="T13" fmla="*/ 4 h 17"/>
                <a:gd name="T14" fmla="*/ 22 w 22"/>
                <a:gd name="T15" fmla="*/ 7 h 17"/>
                <a:gd name="T16" fmla="*/ 22 w 22"/>
                <a:gd name="T17" fmla="*/ 9 h 17"/>
                <a:gd name="T18" fmla="*/ 22 w 22"/>
                <a:gd name="T19" fmla="*/ 12 h 17"/>
                <a:gd name="T20" fmla="*/ 20 w 22"/>
                <a:gd name="T21" fmla="*/ 15 h 17"/>
                <a:gd name="T22" fmla="*/ 19 w 22"/>
                <a:gd name="T23" fmla="*/ 15 h 17"/>
                <a:gd name="T24" fmla="*/ 18 w 22"/>
                <a:gd name="T25" fmla="*/ 16 h 17"/>
                <a:gd name="T26" fmla="*/ 14 w 22"/>
                <a:gd name="T27" fmla="*/ 16 h 17"/>
                <a:gd name="T28" fmla="*/ 10 w 22"/>
                <a:gd name="T29" fmla="*/ 16 h 17"/>
                <a:gd name="T30" fmla="*/ 8 w 22"/>
                <a:gd name="T31" fmla="*/ 16 h 17"/>
                <a:gd name="T32" fmla="*/ 4 w 22"/>
                <a:gd name="T33" fmla="*/ 16 h 17"/>
                <a:gd name="T34" fmla="*/ 1 w 22"/>
                <a:gd name="T35" fmla="*/ 16 h 17"/>
                <a:gd name="T36" fmla="*/ 0 w 22"/>
                <a:gd name="T37" fmla="*/ 17 h 17"/>
                <a:gd name="T38" fmla="*/ 0 w 22"/>
                <a:gd name="T3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" h="17">
                  <a:moveTo>
                    <a:pt x="0" y="0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0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4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1" y="16"/>
                  </a:ln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5" name="Freeform 1428"/>
            <p:cNvSpPr>
              <a:spLocks/>
            </p:cNvSpPr>
            <p:nvPr/>
          </p:nvSpPr>
          <p:spPr bwMode="auto">
            <a:xfrm>
              <a:off x="-2576513" y="2016125"/>
              <a:ext cx="28575" cy="22225"/>
            </a:xfrm>
            <a:custGeom>
              <a:avLst/>
              <a:gdLst>
                <a:gd name="T0" fmla="*/ 0 w 18"/>
                <a:gd name="T1" fmla="*/ 0 h 14"/>
                <a:gd name="T2" fmla="*/ 4 w 18"/>
                <a:gd name="T3" fmla="*/ 0 h 14"/>
                <a:gd name="T4" fmla="*/ 7 w 18"/>
                <a:gd name="T5" fmla="*/ 0 h 14"/>
                <a:gd name="T6" fmla="*/ 11 w 18"/>
                <a:gd name="T7" fmla="*/ 0 h 14"/>
                <a:gd name="T8" fmla="*/ 15 w 18"/>
                <a:gd name="T9" fmla="*/ 1 h 14"/>
                <a:gd name="T10" fmla="*/ 16 w 18"/>
                <a:gd name="T11" fmla="*/ 2 h 14"/>
                <a:gd name="T12" fmla="*/ 18 w 18"/>
                <a:gd name="T13" fmla="*/ 4 h 14"/>
                <a:gd name="T14" fmla="*/ 18 w 18"/>
                <a:gd name="T15" fmla="*/ 6 h 14"/>
                <a:gd name="T16" fmla="*/ 16 w 18"/>
                <a:gd name="T17" fmla="*/ 9 h 14"/>
                <a:gd name="T18" fmla="*/ 16 w 18"/>
                <a:gd name="T19" fmla="*/ 11 h 14"/>
                <a:gd name="T20" fmla="*/ 15 w 18"/>
                <a:gd name="T21" fmla="*/ 13 h 14"/>
                <a:gd name="T22" fmla="*/ 14 w 18"/>
                <a:gd name="T23" fmla="*/ 13 h 14"/>
                <a:gd name="T24" fmla="*/ 10 w 18"/>
                <a:gd name="T25" fmla="*/ 13 h 14"/>
                <a:gd name="T26" fmla="*/ 6 w 18"/>
                <a:gd name="T27" fmla="*/ 13 h 14"/>
                <a:gd name="T28" fmla="*/ 4 w 18"/>
                <a:gd name="T29" fmla="*/ 14 h 14"/>
                <a:gd name="T30" fmla="*/ 1 w 18"/>
                <a:gd name="T31" fmla="*/ 14 h 14"/>
                <a:gd name="T32" fmla="*/ 0 w 18"/>
                <a:gd name="T33" fmla="*/ 14 h 14"/>
                <a:gd name="T34" fmla="*/ 0 w 18"/>
                <a:gd name="T3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0" y="0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1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6" y="13"/>
                  </a:lnTo>
                  <a:lnTo>
                    <a:pt x="4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6" name="Freeform 1429"/>
            <p:cNvSpPr>
              <a:spLocks/>
            </p:cNvSpPr>
            <p:nvPr/>
          </p:nvSpPr>
          <p:spPr bwMode="auto">
            <a:xfrm>
              <a:off x="-3789363" y="5105400"/>
              <a:ext cx="600075" cy="77788"/>
            </a:xfrm>
            <a:custGeom>
              <a:avLst/>
              <a:gdLst>
                <a:gd name="T0" fmla="*/ 35 w 378"/>
                <a:gd name="T1" fmla="*/ 0 h 49"/>
                <a:gd name="T2" fmla="*/ 43 w 378"/>
                <a:gd name="T3" fmla="*/ 4 h 49"/>
                <a:gd name="T4" fmla="*/ 59 w 378"/>
                <a:gd name="T5" fmla="*/ 9 h 49"/>
                <a:gd name="T6" fmla="*/ 81 w 378"/>
                <a:gd name="T7" fmla="*/ 13 h 49"/>
                <a:gd name="T8" fmla="*/ 109 w 378"/>
                <a:gd name="T9" fmla="*/ 16 h 49"/>
                <a:gd name="T10" fmla="*/ 145 w 378"/>
                <a:gd name="T11" fmla="*/ 18 h 49"/>
                <a:gd name="T12" fmla="*/ 188 w 378"/>
                <a:gd name="T13" fmla="*/ 19 h 49"/>
                <a:gd name="T14" fmla="*/ 236 w 378"/>
                <a:gd name="T15" fmla="*/ 21 h 49"/>
                <a:gd name="T16" fmla="*/ 271 w 378"/>
                <a:gd name="T17" fmla="*/ 21 h 49"/>
                <a:gd name="T18" fmla="*/ 301 w 378"/>
                <a:gd name="T19" fmla="*/ 18 h 49"/>
                <a:gd name="T20" fmla="*/ 326 w 378"/>
                <a:gd name="T21" fmla="*/ 16 h 49"/>
                <a:gd name="T22" fmla="*/ 347 w 378"/>
                <a:gd name="T23" fmla="*/ 12 h 49"/>
                <a:gd name="T24" fmla="*/ 363 w 378"/>
                <a:gd name="T25" fmla="*/ 8 h 49"/>
                <a:gd name="T26" fmla="*/ 376 w 378"/>
                <a:gd name="T27" fmla="*/ 4 h 49"/>
                <a:gd name="T28" fmla="*/ 378 w 378"/>
                <a:gd name="T29" fmla="*/ 13 h 49"/>
                <a:gd name="T30" fmla="*/ 378 w 378"/>
                <a:gd name="T31" fmla="*/ 22 h 49"/>
                <a:gd name="T32" fmla="*/ 378 w 378"/>
                <a:gd name="T33" fmla="*/ 25 h 49"/>
                <a:gd name="T34" fmla="*/ 378 w 378"/>
                <a:gd name="T35" fmla="*/ 27 h 49"/>
                <a:gd name="T36" fmla="*/ 378 w 378"/>
                <a:gd name="T37" fmla="*/ 30 h 49"/>
                <a:gd name="T38" fmla="*/ 378 w 378"/>
                <a:gd name="T39" fmla="*/ 34 h 49"/>
                <a:gd name="T40" fmla="*/ 378 w 378"/>
                <a:gd name="T41" fmla="*/ 36 h 49"/>
                <a:gd name="T42" fmla="*/ 376 w 378"/>
                <a:gd name="T43" fmla="*/ 37 h 49"/>
                <a:gd name="T44" fmla="*/ 376 w 378"/>
                <a:gd name="T45" fmla="*/ 40 h 49"/>
                <a:gd name="T46" fmla="*/ 375 w 378"/>
                <a:gd name="T47" fmla="*/ 40 h 49"/>
                <a:gd name="T48" fmla="*/ 372 w 378"/>
                <a:gd name="T49" fmla="*/ 41 h 49"/>
                <a:gd name="T50" fmla="*/ 370 w 378"/>
                <a:gd name="T51" fmla="*/ 43 h 49"/>
                <a:gd name="T52" fmla="*/ 365 w 378"/>
                <a:gd name="T53" fmla="*/ 44 h 49"/>
                <a:gd name="T54" fmla="*/ 358 w 378"/>
                <a:gd name="T55" fmla="*/ 45 h 49"/>
                <a:gd name="T56" fmla="*/ 349 w 378"/>
                <a:gd name="T57" fmla="*/ 46 h 49"/>
                <a:gd name="T58" fmla="*/ 334 w 378"/>
                <a:gd name="T59" fmla="*/ 46 h 49"/>
                <a:gd name="T60" fmla="*/ 311 w 378"/>
                <a:gd name="T61" fmla="*/ 48 h 49"/>
                <a:gd name="T62" fmla="*/ 283 w 378"/>
                <a:gd name="T63" fmla="*/ 48 h 49"/>
                <a:gd name="T64" fmla="*/ 252 w 378"/>
                <a:gd name="T65" fmla="*/ 49 h 49"/>
                <a:gd name="T66" fmla="*/ 217 w 378"/>
                <a:gd name="T67" fmla="*/ 49 h 49"/>
                <a:gd name="T68" fmla="*/ 183 w 378"/>
                <a:gd name="T69" fmla="*/ 49 h 49"/>
                <a:gd name="T70" fmla="*/ 147 w 378"/>
                <a:gd name="T71" fmla="*/ 49 h 49"/>
                <a:gd name="T72" fmla="*/ 113 w 378"/>
                <a:gd name="T73" fmla="*/ 49 h 49"/>
                <a:gd name="T74" fmla="*/ 82 w 378"/>
                <a:gd name="T75" fmla="*/ 48 h 49"/>
                <a:gd name="T76" fmla="*/ 55 w 378"/>
                <a:gd name="T77" fmla="*/ 48 h 49"/>
                <a:gd name="T78" fmla="*/ 34 w 378"/>
                <a:gd name="T79" fmla="*/ 48 h 49"/>
                <a:gd name="T80" fmla="*/ 18 w 378"/>
                <a:gd name="T81" fmla="*/ 46 h 49"/>
                <a:gd name="T82" fmla="*/ 12 w 378"/>
                <a:gd name="T83" fmla="*/ 45 h 49"/>
                <a:gd name="T84" fmla="*/ 4 w 378"/>
                <a:gd name="T85" fmla="*/ 41 h 49"/>
                <a:gd name="T86" fmla="*/ 2 w 378"/>
                <a:gd name="T87" fmla="*/ 36 h 49"/>
                <a:gd name="T88" fmla="*/ 0 w 378"/>
                <a:gd name="T89" fmla="*/ 30 h 49"/>
                <a:gd name="T90" fmla="*/ 2 w 378"/>
                <a:gd name="T91" fmla="*/ 23 h 49"/>
                <a:gd name="T92" fmla="*/ 4 w 378"/>
                <a:gd name="T93" fmla="*/ 18 h 49"/>
                <a:gd name="T94" fmla="*/ 11 w 378"/>
                <a:gd name="T95" fmla="*/ 13 h 49"/>
                <a:gd name="T96" fmla="*/ 21 w 378"/>
                <a:gd name="T97" fmla="*/ 7 h 49"/>
                <a:gd name="T98" fmla="*/ 35 w 378"/>
                <a:gd name="T9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8" h="49">
                  <a:moveTo>
                    <a:pt x="35" y="0"/>
                  </a:moveTo>
                  <a:lnTo>
                    <a:pt x="43" y="4"/>
                  </a:lnTo>
                  <a:lnTo>
                    <a:pt x="59" y="9"/>
                  </a:lnTo>
                  <a:lnTo>
                    <a:pt x="81" y="13"/>
                  </a:lnTo>
                  <a:lnTo>
                    <a:pt x="109" y="16"/>
                  </a:lnTo>
                  <a:lnTo>
                    <a:pt x="145" y="18"/>
                  </a:lnTo>
                  <a:lnTo>
                    <a:pt x="188" y="19"/>
                  </a:lnTo>
                  <a:lnTo>
                    <a:pt x="236" y="21"/>
                  </a:lnTo>
                  <a:lnTo>
                    <a:pt x="271" y="21"/>
                  </a:lnTo>
                  <a:lnTo>
                    <a:pt x="301" y="18"/>
                  </a:lnTo>
                  <a:lnTo>
                    <a:pt x="326" y="16"/>
                  </a:lnTo>
                  <a:lnTo>
                    <a:pt x="347" y="12"/>
                  </a:lnTo>
                  <a:lnTo>
                    <a:pt x="363" y="8"/>
                  </a:lnTo>
                  <a:lnTo>
                    <a:pt x="376" y="4"/>
                  </a:lnTo>
                  <a:lnTo>
                    <a:pt x="378" y="13"/>
                  </a:lnTo>
                  <a:lnTo>
                    <a:pt x="378" y="22"/>
                  </a:lnTo>
                  <a:lnTo>
                    <a:pt x="378" y="25"/>
                  </a:lnTo>
                  <a:lnTo>
                    <a:pt x="378" y="27"/>
                  </a:lnTo>
                  <a:lnTo>
                    <a:pt x="378" y="30"/>
                  </a:lnTo>
                  <a:lnTo>
                    <a:pt x="378" y="34"/>
                  </a:lnTo>
                  <a:lnTo>
                    <a:pt x="378" y="36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5" y="40"/>
                  </a:lnTo>
                  <a:lnTo>
                    <a:pt x="372" y="41"/>
                  </a:lnTo>
                  <a:lnTo>
                    <a:pt x="370" y="43"/>
                  </a:lnTo>
                  <a:lnTo>
                    <a:pt x="365" y="44"/>
                  </a:lnTo>
                  <a:lnTo>
                    <a:pt x="358" y="45"/>
                  </a:lnTo>
                  <a:lnTo>
                    <a:pt x="349" y="46"/>
                  </a:lnTo>
                  <a:lnTo>
                    <a:pt x="334" y="46"/>
                  </a:lnTo>
                  <a:lnTo>
                    <a:pt x="311" y="48"/>
                  </a:lnTo>
                  <a:lnTo>
                    <a:pt x="283" y="48"/>
                  </a:lnTo>
                  <a:lnTo>
                    <a:pt x="252" y="49"/>
                  </a:lnTo>
                  <a:lnTo>
                    <a:pt x="217" y="49"/>
                  </a:lnTo>
                  <a:lnTo>
                    <a:pt x="183" y="49"/>
                  </a:lnTo>
                  <a:lnTo>
                    <a:pt x="147" y="49"/>
                  </a:lnTo>
                  <a:lnTo>
                    <a:pt x="113" y="49"/>
                  </a:lnTo>
                  <a:lnTo>
                    <a:pt x="82" y="48"/>
                  </a:lnTo>
                  <a:lnTo>
                    <a:pt x="55" y="48"/>
                  </a:lnTo>
                  <a:lnTo>
                    <a:pt x="34" y="48"/>
                  </a:lnTo>
                  <a:lnTo>
                    <a:pt x="18" y="46"/>
                  </a:lnTo>
                  <a:lnTo>
                    <a:pt x="12" y="45"/>
                  </a:lnTo>
                  <a:lnTo>
                    <a:pt x="4" y="41"/>
                  </a:lnTo>
                  <a:lnTo>
                    <a:pt x="2" y="36"/>
                  </a:lnTo>
                  <a:lnTo>
                    <a:pt x="0" y="30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11" y="13"/>
                  </a:lnTo>
                  <a:lnTo>
                    <a:pt x="21" y="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7" name="Freeform 1430"/>
            <p:cNvSpPr>
              <a:spLocks/>
            </p:cNvSpPr>
            <p:nvPr/>
          </p:nvSpPr>
          <p:spPr bwMode="auto">
            <a:xfrm>
              <a:off x="-2949575" y="5116513"/>
              <a:ext cx="412750" cy="85725"/>
            </a:xfrm>
            <a:custGeom>
              <a:avLst/>
              <a:gdLst>
                <a:gd name="T0" fmla="*/ 122 w 260"/>
                <a:gd name="T1" fmla="*/ 0 h 54"/>
                <a:gd name="T2" fmla="*/ 156 w 260"/>
                <a:gd name="T3" fmla="*/ 1 h 54"/>
                <a:gd name="T4" fmla="*/ 173 w 260"/>
                <a:gd name="T5" fmla="*/ 2 h 54"/>
                <a:gd name="T6" fmla="*/ 186 w 260"/>
                <a:gd name="T7" fmla="*/ 5 h 54"/>
                <a:gd name="T8" fmla="*/ 198 w 260"/>
                <a:gd name="T9" fmla="*/ 7 h 54"/>
                <a:gd name="T10" fmla="*/ 209 w 260"/>
                <a:gd name="T11" fmla="*/ 11 h 54"/>
                <a:gd name="T12" fmla="*/ 226 w 260"/>
                <a:gd name="T13" fmla="*/ 16 h 54"/>
                <a:gd name="T14" fmla="*/ 244 w 260"/>
                <a:gd name="T15" fmla="*/ 21 h 54"/>
                <a:gd name="T16" fmla="*/ 259 w 260"/>
                <a:gd name="T17" fmla="*/ 21 h 54"/>
                <a:gd name="T18" fmla="*/ 260 w 260"/>
                <a:gd name="T19" fmla="*/ 28 h 54"/>
                <a:gd name="T20" fmla="*/ 260 w 260"/>
                <a:gd name="T21" fmla="*/ 34 h 54"/>
                <a:gd name="T22" fmla="*/ 260 w 260"/>
                <a:gd name="T23" fmla="*/ 41 h 54"/>
                <a:gd name="T24" fmla="*/ 257 w 260"/>
                <a:gd name="T25" fmla="*/ 46 h 54"/>
                <a:gd name="T26" fmla="*/ 250 w 260"/>
                <a:gd name="T27" fmla="*/ 50 h 54"/>
                <a:gd name="T28" fmla="*/ 242 w 260"/>
                <a:gd name="T29" fmla="*/ 51 h 54"/>
                <a:gd name="T30" fmla="*/ 227 w 260"/>
                <a:gd name="T31" fmla="*/ 52 h 54"/>
                <a:gd name="T32" fmla="*/ 205 w 260"/>
                <a:gd name="T33" fmla="*/ 52 h 54"/>
                <a:gd name="T34" fmla="*/ 181 w 260"/>
                <a:gd name="T35" fmla="*/ 54 h 54"/>
                <a:gd name="T36" fmla="*/ 153 w 260"/>
                <a:gd name="T37" fmla="*/ 54 h 54"/>
                <a:gd name="T38" fmla="*/ 123 w 260"/>
                <a:gd name="T39" fmla="*/ 54 h 54"/>
                <a:gd name="T40" fmla="*/ 94 w 260"/>
                <a:gd name="T41" fmla="*/ 54 h 54"/>
                <a:gd name="T42" fmla="*/ 68 w 260"/>
                <a:gd name="T43" fmla="*/ 54 h 54"/>
                <a:gd name="T44" fmla="*/ 45 w 260"/>
                <a:gd name="T45" fmla="*/ 54 h 54"/>
                <a:gd name="T46" fmla="*/ 28 w 260"/>
                <a:gd name="T47" fmla="*/ 52 h 54"/>
                <a:gd name="T48" fmla="*/ 19 w 260"/>
                <a:gd name="T49" fmla="*/ 52 h 54"/>
                <a:gd name="T50" fmla="*/ 13 w 260"/>
                <a:gd name="T51" fmla="*/ 50 h 54"/>
                <a:gd name="T52" fmla="*/ 8 w 260"/>
                <a:gd name="T53" fmla="*/ 48 h 54"/>
                <a:gd name="T54" fmla="*/ 5 w 260"/>
                <a:gd name="T55" fmla="*/ 46 h 54"/>
                <a:gd name="T56" fmla="*/ 2 w 260"/>
                <a:gd name="T57" fmla="*/ 43 h 54"/>
                <a:gd name="T58" fmla="*/ 1 w 260"/>
                <a:gd name="T59" fmla="*/ 41 h 54"/>
                <a:gd name="T60" fmla="*/ 0 w 260"/>
                <a:gd name="T61" fmla="*/ 38 h 54"/>
                <a:gd name="T62" fmla="*/ 0 w 260"/>
                <a:gd name="T63" fmla="*/ 36 h 54"/>
                <a:gd name="T64" fmla="*/ 0 w 260"/>
                <a:gd name="T65" fmla="*/ 34 h 54"/>
                <a:gd name="T66" fmla="*/ 0 w 260"/>
                <a:gd name="T67" fmla="*/ 28 h 54"/>
                <a:gd name="T68" fmla="*/ 0 w 260"/>
                <a:gd name="T69" fmla="*/ 19 h 54"/>
                <a:gd name="T70" fmla="*/ 1 w 260"/>
                <a:gd name="T71" fmla="*/ 11 h 54"/>
                <a:gd name="T72" fmla="*/ 11 w 260"/>
                <a:gd name="T73" fmla="*/ 12 h 54"/>
                <a:gd name="T74" fmla="*/ 23 w 260"/>
                <a:gd name="T75" fmla="*/ 12 h 54"/>
                <a:gd name="T76" fmla="*/ 37 w 260"/>
                <a:gd name="T77" fmla="*/ 12 h 54"/>
                <a:gd name="T78" fmla="*/ 55 w 260"/>
                <a:gd name="T79" fmla="*/ 10 h 54"/>
                <a:gd name="T80" fmla="*/ 90 w 260"/>
                <a:gd name="T81" fmla="*/ 3 h 54"/>
                <a:gd name="T82" fmla="*/ 122 w 260"/>
                <a:gd name="T8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0" h="54">
                  <a:moveTo>
                    <a:pt x="122" y="0"/>
                  </a:moveTo>
                  <a:lnTo>
                    <a:pt x="156" y="1"/>
                  </a:lnTo>
                  <a:lnTo>
                    <a:pt x="173" y="2"/>
                  </a:lnTo>
                  <a:lnTo>
                    <a:pt x="186" y="5"/>
                  </a:lnTo>
                  <a:lnTo>
                    <a:pt x="198" y="7"/>
                  </a:lnTo>
                  <a:lnTo>
                    <a:pt x="209" y="11"/>
                  </a:lnTo>
                  <a:lnTo>
                    <a:pt x="226" y="16"/>
                  </a:lnTo>
                  <a:lnTo>
                    <a:pt x="244" y="21"/>
                  </a:lnTo>
                  <a:lnTo>
                    <a:pt x="259" y="21"/>
                  </a:lnTo>
                  <a:lnTo>
                    <a:pt x="260" y="28"/>
                  </a:lnTo>
                  <a:lnTo>
                    <a:pt x="260" y="34"/>
                  </a:lnTo>
                  <a:lnTo>
                    <a:pt x="260" y="41"/>
                  </a:lnTo>
                  <a:lnTo>
                    <a:pt x="257" y="46"/>
                  </a:lnTo>
                  <a:lnTo>
                    <a:pt x="250" y="50"/>
                  </a:lnTo>
                  <a:lnTo>
                    <a:pt x="242" y="51"/>
                  </a:lnTo>
                  <a:lnTo>
                    <a:pt x="227" y="52"/>
                  </a:lnTo>
                  <a:lnTo>
                    <a:pt x="205" y="52"/>
                  </a:lnTo>
                  <a:lnTo>
                    <a:pt x="181" y="54"/>
                  </a:lnTo>
                  <a:lnTo>
                    <a:pt x="153" y="54"/>
                  </a:lnTo>
                  <a:lnTo>
                    <a:pt x="123" y="54"/>
                  </a:lnTo>
                  <a:lnTo>
                    <a:pt x="94" y="54"/>
                  </a:lnTo>
                  <a:lnTo>
                    <a:pt x="68" y="54"/>
                  </a:lnTo>
                  <a:lnTo>
                    <a:pt x="45" y="54"/>
                  </a:lnTo>
                  <a:lnTo>
                    <a:pt x="28" y="52"/>
                  </a:lnTo>
                  <a:lnTo>
                    <a:pt x="19" y="52"/>
                  </a:lnTo>
                  <a:lnTo>
                    <a:pt x="13" y="50"/>
                  </a:lnTo>
                  <a:lnTo>
                    <a:pt x="8" y="48"/>
                  </a:lnTo>
                  <a:lnTo>
                    <a:pt x="5" y="46"/>
                  </a:lnTo>
                  <a:lnTo>
                    <a:pt x="2" y="43"/>
                  </a:lnTo>
                  <a:lnTo>
                    <a:pt x="1" y="41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19"/>
                  </a:lnTo>
                  <a:lnTo>
                    <a:pt x="1" y="11"/>
                  </a:lnTo>
                  <a:lnTo>
                    <a:pt x="11" y="12"/>
                  </a:lnTo>
                  <a:lnTo>
                    <a:pt x="23" y="12"/>
                  </a:lnTo>
                  <a:lnTo>
                    <a:pt x="37" y="12"/>
                  </a:lnTo>
                  <a:lnTo>
                    <a:pt x="55" y="10"/>
                  </a:lnTo>
                  <a:lnTo>
                    <a:pt x="90" y="3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F8DDD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8" name="Freeform 1431"/>
            <p:cNvSpPr>
              <a:spLocks/>
            </p:cNvSpPr>
            <p:nvPr/>
          </p:nvSpPr>
          <p:spPr bwMode="auto">
            <a:xfrm>
              <a:off x="-2992438" y="3005138"/>
              <a:ext cx="325438" cy="895350"/>
            </a:xfrm>
            <a:custGeom>
              <a:avLst/>
              <a:gdLst>
                <a:gd name="T0" fmla="*/ 133 w 205"/>
                <a:gd name="T1" fmla="*/ 0 h 564"/>
                <a:gd name="T2" fmla="*/ 145 w 205"/>
                <a:gd name="T3" fmla="*/ 2 h 564"/>
                <a:gd name="T4" fmla="*/ 153 w 205"/>
                <a:gd name="T5" fmla="*/ 8 h 564"/>
                <a:gd name="T6" fmla="*/ 158 w 205"/>
                <a:gd name="T7" fmla="*/ 18 h 564"/>
                <a:gd name="T8" fmla="*/ 162 w 205"/>
                <a:gd name="T9" fmla="*/ 36 h 564"/>
                <a:gd name="T10" fmla="*/ 165 w 205"/>
                <a:gd name="T11" fmla="*/ 62 h 564"/>
                <a:gd name="T12" fmla="*/ 169 w 205"/>
                <a:gd name="T13" fmla="*/ 91 h 564"/>
                <a:gd name="T14" fmla="*/ 174 w 205"/>
                <a:gd name="T15" fmla="*/ 126 h 564"/>
                <a:gd name="T16" fmla="*/ 178 w 205"/>
                <a:gd name="T17" fmla="*/ 165 h 564"/>
                <a:gd name="T18" fmla="*/ 182 w 205"/>
                <a:gd name="T19" fmla="*/ 204 h 564"/>
                <a:gd name="T20" fmla="*/ 186 w 205"/>
                <a:gd name="T21" fmla="*/ 245 h 564"/>
                <a:gd name="T22" fmla="*/ 189 w 205"/>
                <a:gd name="T23" fmla="*/ 287 h 564"/>
                <a:gd name="T24" fmla="*/ 192 w 205"/>
                <a:gd name="T25" fmla="*/ 325 h 564"/>
                <a:gd name="T26" fmla="*/ 195 w 205"/>
                <a:gd name="T27" fmla="*/ 362 h 564"/>
                <a:gd name="T28" fmla="*/ 198 w 205"/>
                <a:gd name="T29" fmla="*/ 396 h 564"/>
                <a:gd name="T30" fmla="*/ 200 w 205"/>
                <a:gd name="T31" fmla="*/ 425 h 564"/>
                <a:gd name="T32" fmla="*/ 201 w 205"/>
                <a:gd name="T33" fmla="*/ 448 h 564"/>
                <a:gd name="T34" fmla="*/ 203 w 205"/>
                <a:gd name="T35" fmla="*/ 464 h 564"/>
                <a:gd name="T36" fmla="*/ 204 w 205"/>
                <a:gd name="T37" fmla="*/ 471 h 564"/>
                <a:gd name="T38" fmla="*/ 205 w 205"/>
                <a:gd name="T39" fmla="*/ 480 h 564"/>
                <a:gd name="T40" fmla="*/ 205 w 205"/>
                <a:gd name="T41" fmla="*/ 492 h 564"/>
                <a:gd name="T42" fmla="*/ 205 w 205"/>
                <a:gd name="T43" fmla="*/ 505 h 564"/>
                <a:gd name="T44" fmla="*/ 201 w 205"/>
                <a:gd name="T45" fmla="*/ 519 h 564"/>
                <a:gd name="T46" fmla="*/ 196 w 205"/>
                <a:gd name="T47" fmla="*/ 533 h 564"/>
                <a:gd name="T48" fmla="*/ 189 w 205"/>
                <a:gd name="T49" fmla="*/ 544 h 564"/>
                <a:gd name="T50" fmla="*/ 177 w 205"/>
                <a:gd name="T51" fmla="*/ 555 h 564"/>
                <a:gd name="T52" fmla="*/ 162 w 205"/>
                <a:gd name="T53" fmla="*/ 561 h 564"/>
                <a:gd name="T54" fmla="*/ 141 w 205"/>
                <a:gd name="T55" fmla="*/ 564 h 564"/>
                <a:gd name="T56" fmla="*/ 122 w 205"/>
                <a:gd name="T57" fmla="*/ 559 h 564"/>
                <a:gd name="T58" fmla="*/ 104 w 205"/>
                <a:gd name="T59" fmla="*/ 547 h 564"/>
                <a:gd name="T60" fmla="*/ 89 w 205"/>
                <a:gd name="T61" fmla="*/ 529 h 564"/>
                <a:gd name="T62" fmla="*/ 74 w 205"/>
                <a:gd name="T63" fmla="*/ 506 h 564"/>
                <a:gd name="T64" fmla="*/ 64 w 205"/>
                <a:gd name="T65" fmla="*/ 478 h 564"/>
                <a:gd name="T66" fmla="*/ 58 w 205"/>
                <a:gd name="T67" fmla="*/ 446 h 564"/>
                <a:gd name="T68" fmla="*/ 54 w 205"/>
                <a:gd name="T69" fmla="*/ 425 h 564"/>
                <a:gd name="T70" fmla="*/ 50 w 205"/>
                <a:gd name="T71" fmla="*/ 398 h 564"/>
                <a:gd name="T72" fmla="*/ 46 w 205"/>
                <a:gd name="T73" fmla="*/ 369 h 564"/>
                <a:gd name="T74" fmla="*/ 41 w 205"/>
                <a:gd name="T75" fmla="*/ 334 h 564"/>
                <a:gd name="T76" fmla="*/ 37 w 205"/>
                <a:gd name="T77" fmla="*/ 298 h 564"/>
                <a:gd name="T78" fmla="*/ 32 w 205"/>
                <a:gd name="T79" fmla="*/ 261 h 564"/>
                <a:gd name="T80" fmla="*/ 27 w 205"/>
                <a:gd name="T81" fmla="*/ 224 h 564"/>
                <a:gd name="T82" fmla="*/ 22 w 205"/>
                <a:gd name="T83" fmla="*/ 188 h 564"/>
                <a:gd name="T84" fmla="*/ 17 w 205"/>
                <a:gd name="T85" fmla="*/ 153 h 564"/>
                <a:gd name="T86" fmla="*/ 12 w 205"/>
                <a:gd name="T87" fmla="*/ 121 h 564"/>
                <a:gd name="T88" fmla="*/ 8 w 205"/>
                <a:gd name="T89" fmla="*/ 93 h 564"/>
                <a:gd name="T90" fmla="*/ 5 w 205"/>
                <a:gd name="T91" fmla="*/ 71 h 564"/>
                <a:gd name="T92" fmla="*/ 1 w 205"/>
                <a:gd name="T93" fmla="*/ 54 h 564"/>
                <a:gd name="T94" fmla="*/ 0 w 205"/>
                <a:gd name="T95" fmla="*/ 45 h 564"/>
                <a:gd name="T96" fmla="*/ 3 w 205"/>
                <a:gd name="T97" fmla="*/ 44 h 564"/>
                <a:gd name="T98" fmla="*/ 10 w 205"/>
                <a:gd name="T99" fmla="*/ 40 h 564"/>
                <a:gd name="T100" fmla="*/ 21 w 205"/>
                <a:gd name="T101" fmla="*/ 35 h 564"/>
                <a:gd name="T102" fmla="*/ 35 w 205"/>
                <a:gd name="T103" fmla="*/ 29 h 564"/>
                <a:gd name="T104" fmla="*/ 51 w 205"/>
                <a:gd name="T105" fmla="*/ 21 h 564"/>
                <a:gd name="T106" fmla="*/ 68 w 205"/>
                <a:gd name="T107" fmla="*/ 15 h 564"/>
                <a:gd name="T108" fmla="*/ 86 w 205"/>
                <a:gd name="T109" fmla="*/ 8 h 564"/>
                <a:gd name="T110" fmla="*/ 104 w 205"/>
                <a:gd name="T111" fmla="*/ 3 h 564"/>
                <a:gd name="T112" fmla="*/ 119 w 205"/>
                <a:gd name="T113" fmla="*/ 0 h 564"/>
                <a:gd name="T114" fmla="*/ 133 w 205"/>
                <a:gd name="T115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5" h="564">
                  <a:moveTo>
                    <a:pt x="133" y="0"/>
                  </a:moveTo>
                  <a:lnTo>
                    <a:pt x="145" y="2"/>
                  </a:lnTo>
                  <a:lnTo>
                    <a:pt x="153" y="8"/>
                  </a:lnTo>
                  <a:lnTo>
                    <a:pt x="158" y="18"/>
                  </a:lnTo>
                  <a:lnTo>
                    <a:pt x="162" y="36"/>
                  </a:lnTo>
                  <a:lnTo>
                    <a:pt x="165" y="62"/>
                  </a:lnTo>
                  <a:lnTo>
                    <a:pt x="169" y="91"/>
                  </a:lnTo>
                  <a:lnTo>
                    <a:pt x="174" y="126"/>
                  </a:lnTo>
                  <a:lnTo>
                    <a:pt x="178" y="165"/>
                  </a:lnTo>
                  <a:lnTo>
                    <a:pt x="182" y="204"/>
                  </a:lnTo>
                  <a:lnTo>
                    <a:pt x="186" y="245"/>
                  </a:lnTo>
                  <a:lnTo>
                    <a:pt x="189" y="287"/>
                  </a:lnTo>
                  <a:lnTo>
                    <a:pt x="192" y="325"/>
                  </a:lnTo>
                  <a:lnTo>
                    <a:pt x="195" y="362"/>
                  </a:lnTo>
                  <a:lnTo>
                    <a:pt x="198" y="396"/>
                  </a:lnTo>
                  <a:lnTo>
                    <a:pt x="200" y="425"/>
                  </a:lnTo>
                  <a:lnTo>
                    <a:pt x="201" y="448"/>
                  </a:lnTo>
                  <a:lnTo>
                    <a:pt x="203" y="464"/>
                  </a:lnTo>
                  <a:lnTo>
                    <a:pt x="204" y="471"/>
                  </a:lnTo>
                  <a:lnTo>
                    <a:pt x="205" y="480"/>
                  </a:lnTo>
                  <a:lnTo>
                    <a:pt x="205" y="492"/>
                  </a:lnTo>
                  <a:lnTo>
                    <a:pt x="205" y="505"/>
                  </a:lnTo>
                  <a:lnTo>
                    <a:pt x="201" y="519"/>
                  </a:lnTo>
                  <a:lnTo>
                    <a:pt x="196" y="533"/>
                  </a:lnTo>
                  <a:lnTo>
                    <a:pt x="189" y="544"/>
                  </a:lnTo>
                  <a:lnTo>
                    <a:pt x="177" y="555"/>
                  </a:lnTo>
                  <a:lnTo>
                    <a:pt x="162" y="561"/>
                  </a:lnTo>
                  <a:lnTo>
                    <a:pt x="141" y="564"/>
                  </a:lnTo>
                  <a:lnTo>
                    <a:pt x="122" y="559"/>
                  </a:lnTo>
                  <a:lnTo>
                    <a:pt x="104" y="547"/>
                  </a:lnTo>
                  <a:lnTo>
                    <a:pt x="89" y="529"/>
                  </a:lnTo>
                  <a:lnTo>
                    <a:pt x="74" y="506"/>
                  </a:lnTo>
                  <a:lnTo>
                    <a:pt x="64" y="478"/>
                  </a:lnTo>
                  <a:lnTo>
                    <a:pt x="58" y="446"/>
                  </a:lnTo>
                  <a:lnTo>
                    <a:pt x="54" y="425"/>
                  </a:lnTo>
                  <a:lnTo>
                    <a:pt x="50" y="398"/>
                  </a:lnTo>
                  <a:lnTo>
                    <a:pt x="46" y="369"/>
                  </a:lnTo>
                  <a:lnTo>
                    <a:pt x="41" y="334"/>
                  </a:lnTo>
                  <a:lnTo>
                    <a:pt x="37" y="298"/>
                  </a:lnTo>
                  <a:lnTo>
                    <a:pt x="32" y="261"/>
                  </a:lnTo>
                  <a:lnTo>
                    <a:pt x="27" y="224"/>
                  </a:lnTo>
                  <a:lnTo>
                    <a:pt x="22" y="188"/>
                  </a:lnTo>
                  <a:lnTo>
                    <a:pt x="17" y="153"/>
                  </a:lnTo>
                  <a:lnTo>
                    <a:pt x="12" y="121"/>
                  </a:lnTo>
                  <a:lnTo>
                    <a:pt x="8" y="93"/>
                  </a:lnTo>
                  <a:lnTo>
                    <a:pt x="5" y="71"/>
                  </a:lnTo>
                  <a:lnTo>
                    <a:pt x="1" y="54"/>
                  </a:lnTo>
                  <a:lnTo>
                    <a:pt x="0" y="45"/>
                  </a:lnTo>
                  <a:lnTo>
                    <a:pt x="3" y="44"/>
                  </a:lnTo>
                  <a:lnTo>
                    <a:pt x="10" y="40"/>
                  </a:lnTo>
                  <a:lnTo>
                    <a:pt x="21" y="35"/>
                  </a:lnTo>
                  <a:lnTo>
                    <a:pt x="35" y="29"/>
                  </a:lnTo>
                  <a:lnTo>
                    <a:pt x="51" y="21"/>
                  </a:lnTo>
                  <a:lnTo>
                    <a:pt x="68" y="15"/>
                  </a:lnTo>
                  <a:lnTo>
                    <a:pt x="86" y="8"/>
                  </a:lnTo>
                  <a:lnTo>
                    <a:pt x="104" y="3"/>
                  </a:lnTo>
                  <a:lnTo>
                    <a:pt x="119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9" name="Freeform 1432"/>
            <p:cNvSpPr>
              <a:spLocks/>
            </p:cNvSpPr>
            <p:nvPr/>
          </p:nvSpPr>
          <p:spPr bwMode="auto">
            <a:xfrm>
              <a:off x="-3502025" y="3041650"/>
              <a:ext cx="263525" cy="793750"/>
            </a:xfrm>
            <a:custGeom>
              <a:avLst/>
              <a:gdLst>
                <a:gd name="T0" fmla="*/ 72 w 166"/>
                <a:gd name="T1" fmla="*/ 0 h 500"/>
                <a:gd name="T2" fmla="*/ 90 w 166"/>
                <a:gd name="T3" fmla="*/ 3 h 500"/>
                <a:gd name="T4" fmla="*/ 109 w 166"/>
                <a:gd name="T5" fmla="*/ 7 h 500"/>
                <a:gd name="T6" fmla="*/ 126 w 166"/>
                <a:gd name="T7" fmla="*/ 12 h 500"/>
                <a:gd name="T8" fmla="*/ 143 w 166"/>
                <a:gd name="T9" fmla="*/ 17 h 500"/>
                <a:gd name="T10" fmla="*/ 154 w 166"/>
                <a:gd name="T11" fmla="*/ 21 h 500"/>
                <a:gd name="T12" fmla="*/ 163 w 166"/>
                <a:gd name="T13" fmla="*/ 25 h 500"/>
                <a:gd name="T14" fmla="*/ 166 w 166"/>
                <a:gd name="T15" fmla="*/ 26 h 500"/>
                <a:gd name="T16" fmla="*/ 166 w 166"/>
                <a:gd name="T17" fmla="*/ 34 h 500"/>
                <a:gd name="T18" fmla="*/ 164 w 166"/>
                <a:gd name="T19" fmla="*/ 49 h 500"/>
                <a:gd name="T20" fmla="*/ 162 w 166"/>
                <a:gd name="T21" fmla="*/ 72 h 500"/>
                <a:gd name="T22" fmla="*/ 159 w 166"/>
                <a:gd name="T23" fmla="*/ 102 h 500"/>
                <a:gd name="T24" fmla="*/ 157 w 166"/>
                <a:gd name="T25" fmla="*/ 135 h 500"/>
                <a:gd name="T26" fmla="*/ 153 w 166"/>
                <a:gd name="T27" fmla="*/ 171 h 500"/>
                <a:gd name="T28" fmla="*/ 149 w 166"/>
                <a:gd name="T29" fmla="*/ 210 h 500"/>
                <a:gd name="T30" fmla="*/ 145 w 166"/>
                <a:gd name="T31" fmla="*/ 249 h 500"/>
                <a:gd name="T32" fmla="*/ 140 w 166"/>
                <a:gd name="T33" fmla="*/ 289 h 500"/>
                <a:gd name="T34" fmla="*/ 135 w 166"/>
                <a:gd name="T35" fmla="*/ 328 h 500"/>
                <a:gd name="T36" fmla="*/ 131 w 166"/>
                <a:gd name="T37" fmla="*/ 362 h 500"/>
                <a:gd name="T38" fmla="*/ 126 w 166"/>
                <a:gd name="T39" fmla="*/ 393 h 500"/>
                <a:gd name="T40" fmla="*/ 121 w 166"/>
                <a:gd name="T41" fmla="*/ 419 h 500"/>
                <a:gd name="T42" fmla="*/ 114 w 166"/>
                <a:gd name="T43" fmla="*/ 438 h 500"/>
                <a:gd name="T44" fmla="*/ 104 w 166"/>
                <a:gd name="T45" fmla="*/ 460 h 500"/>
                <a:gd name="T46" fmla="*/ 91 w 166"/>
                <a:gd name="T47" fmla="*/ 476 h 500"/>
                <a:gd name="T48" fmla="*/ 75 w 166"/>
                <a:gd name="T49" fmla="*/ 489 h 500"/>
                <a:gd name="T50" fmla="*/ 58 w 166"/>
                <a:gd name="T51" fmla="*/ 496 h 500"/>
                <a:gd name="T52" fmla="*/ 41 w 166"/>
                <a:gd name="T53" fmla="*/ 500 h 500"/>
                <a:gd name="T54" fmla="*/ 26 w 166"/>
                <a:gd name="T55" fmla="*/ 500 h 500"/>
                <a:gd name="T56" fmla="*/ 13 w 166"/>
                <a:gd name="T57" fmla="*/ 496 h 500"/>
                <a:gd name="T58" fmla="*/ 4 w 166"/>
                <a:gd name="T59" fmla="*/ 489 h 500"/>
                <a:gd name="T60" fmla="*/ 0 w 166"/>
                <a:gd name="T61" fmla="*/ 479 h 500"/>
                <a:gd name="T62" fmla="*/ 0 w 166"/>
                <a:gd name="T63" fmla="*/ 468 h 500"/>
                <a:gd name="T64" fmla="*/ 0 w 166"/>
                <a:gd name="T65" fmla="*/ 448 h 500"/>
                <a:gd name="T66" fmla="*/ 0 w 166"/>
                <a:gd name="T67" fmla="*/ 423 h 500"/>
                <a:gd name="T68" fmla="*/ 0 w 166"/>
                <a:gd name="T69" fmla="*/ 389 h 500"/>
                <a:gd name="T70" fmla="*/ 2 w 166"/>
                <a:gd name="T71" fmla="*/ 353 h 500"/>
                <a:gd name="T72" fmla="*/ 2 w 166"/>
                <a:gd name="T73" fmla="*/ 312 h 500"/>
                <a:gd name="T74" fmla="*/ 3 w 166"/>
                <a:gd name="T75" fmla="*/ 270 h 500"/>
                <a:gd name="T76" fmla="*/ 5 w 166"/>
                <a:gd name="T77" fmla="*/ 228 h 500"/>
                <a:gd name="T78" fmla="*/ 7 w 166"/>
                <a:gd name="T79" fmla="*/ 185 h 500"/>
                <a:gd name="T80" fmla="*/ 9 w 166"/>
                <a:gd name="T81" fmla="*/ 145 h 500"/>
                <a:gd name="T82" fmla="*/ 13 w 166"/>
                <a:gd name="T83" fmla="*/ 107 h 500"/>
                <a:gd name="T84" fmla="*/ 16 w 166"/>
                <a:gd name="T85" fmla="*/ 75 h 500"/>
                <a:gd name="T86" fmla="*/ 21 w 166"/>
                <a:gd name="T87" fmla="*/ 48 h 500"/>
                <a:gd name="T88" fmla="*/ 25 w 166"/>
                <a:gd name="T89" fmla="*/ 27 h 500"/>
                <a:gd name="T90" fmla="*/ 30 w 166"/>
                <a:gd name="T91" fmla="*/ 15 h 500"/>
                <a:gd name="T92" fmla="*/ 41 w 166"/>
                <a:gd name="T93" fmla="*/ 6 h 500"/>
                <a:gd name="T94" fmla="*/ 55 w 166"/>
                <a:gd name="T95" fmla="*/ 2 h 500"/>
                <a:gd name="T96" fmla="*/ 72 w 166"/>
                <a:gd name="T9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6" h="500">
                  <a:moveTo>
                    <a:pt x="72" y="0"/>
                  </a:moveTo>
                  <a:lnTo>
                    <a:pt x="90" y="3"/>
                  </a:lnTo>
                  <a:lnTo>
                    <a:pt x="109" y="7"/>
                  </a:lnTo>
                  <a:lnTo>
                    <a:pt x="126" y="12"/>
                  </a:lnTo>
                  <a:lnTo>
                    <a:pt x="143" y="17"/>
                  </a:lnTo>
                  <a:lnTo>
                    <a:pt x="154" y="21"/>
                  </a:lnTo>
                  <a:lnTo>
                    <a:pt x="163" y="25"/>
                  </a:lnTo>
                  <a:lnTo>
                    <a:pt x="166" y="26"/>
                  </a:lnTo>
                  <a:lnTo>
                    <a:pt x="166" y="34"/>
                  </a:lnTo>
                  <a:lnTo>
                    <a:pt x="164" y="49"/>
                  </a:lnTo>
                  <a:lnTo>
                    <a:pt x="162" y="72"/>
                  </a:lnTo>
                  <a:lnTo>
                    <a:pt x="159" y="102"/>
                  </a:lnTo>
                  <a:lnTo>
                    <a:pt x="157" y="135"/>
                  </a:lnTo>
                  <a:lnTo>
                    <a:pt x="153" y="171"/>
                  </a:lnTo>
                  <a:lnTo>
                    <a:pt x="149" y="210"/>
                  </a:lnTo>
                  <a:lnTo>
                    <a:pt x="145" y="249"/>
                  </a:lnTo>
                  <a:lnTo>
                    <a:pt x="140" y="289"/>
                  </a:lnTo>
                  <a:lnTo>
                    <a:pt x="135" y="328"/>
                  </a:lnTo>
                  <a:lnTo>
                    <a:pt x="131" y="362"/>
                  </a:lnTo>
                  <a:lnTo>
                    <a:pt x="126" y="393"/>
                  </a:lnTo>
                  <a:lnTo>
                    <a:pt x="121" y="419"/>
                  </a:lnTo>
                  <a:lnTo>
                    <a:pt x="114" y="438"/>
                  </a:lnTo>
                  <a:lnTo>
                    <a:pt x="104" y="460"/>
                  </a:lnTo>
                  <a:lnTo>
                    <a:pt x="91" y="476"/>
                  </a:lnTo>
                  <a:lnTo>
                    <a:pt x="75" y="489"/>
                  </a:lnTo>
                  <a:lnTo>
                    <a:pt x="58" y="496"/>
                  </a:lnTo>
                  <a:lnTo>
                    <a:pt x="41" y="500"/>
                  </a:lnTo>
                  <a:lnTo>
                    <a:pt x="26" y="500"/>
                  </a:lnTo>
                  <a:lnTo>
                    <a:pt x="13" y="496"/>
                  </a:lnTo>
                  <a:lnTo>
                    <a:pt x="4" y="489"/>
                  </a:lnTo>
                  <a:lnTo>
                    <a:pt x="0" y="479"/>
                  </a:lnTo>
                  <a:lnTo>
                    <a:pt x="0" y="468"/>
                  </a:lnTo>
                  <a:lnTo>
                    <a:pt x="0" y="448"/>
                  </a:lnTo>
                  <a:lnTo>
                    <a:pt x="0" y="423"/>
                  </a:lnTo>
                  <a:lnTo>
                    <a:pt x="0" y="389"/>
                  </a:lnTo>
                  <a:lnTo>
                    <a:pt x="2" y="353"/>
                  </a:lnTo>
                  <a:lnTo>
                    <a:pt x="2" y="312"/>
                  </a:lnTo>
                  <a:lnTo>
                    <a:pt x="3" y="270"/>
                  </a:lnTo>
                  <a:lnTo>
                    <a:pt x="5" y="228"/>
                  </a:lnTo>
                  <a:lnTo>
                    <a:pt x="7" y="185"/>
                  </a:lnTo>
                  <a:lnTo>
                    <a:pt x="9" y="145"/>
                  </a:lnTo>
                  <a:lnTo>
                    <a:pt x="13" y="107"/>
                  </a:lnTo>
                  <a:lnTo>
                    <a:pt x="16" y="75"/>
                  </a:lnTo>
                  <a:lnTo>
                    <a:pt x="21" y="48"/>
                  </a:lnTo>
                  <a:lnTo>
                    <a:pt x="25" y="27"/>
                  </a:lnTo>
                  <a:lnTo>
                    <a:pt x="30" y="15"/>
                  </a:lnTo>
                  <a:lnTo>
                    <a:pt x="41" y="6"/>
                  </a:lnTo>
                  <a:lnTo>
                    <a:pt x="55" y="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0" name="Freeform 1433"/>
            <p:cNvSpPr>
              <a:spLocks/>
            </p:cNvSpPr>
            <p:nvPr/>
          </p:nvSpPr>
          <p:spPr bwMode="auto">
            <a:xfrm>
              <a:off x="-3495675" y="3095625"/>
              <a:ext cx="944563" cy="2000250"/>
            </a:xfrm>
            <a:custGeom>
              <a:avLst/>
              <a:gdLst>
                <a:gd name="T0" fmla="*/ 267 w 595"/>
                <a:gd name="T1" fmla="*/ 4 h 1260"/>
                <a:gd name="T2" fmla="*/ 304 w 595"/>
                <a:gd name="T3" fmla="*/ 56 h 1260"/>
                <a:gd name="T4" fmla="*/ 330 w 595"/>
                <a:gd name="T5" fmla="*/ 155 h 1260"/>
                <a:gd name="T6" fmla="*/ 362 w 595"/>
                <a:gd name="T7" fmla="*/ 305 h 1260"/>
                <a:gd name="T8" fmla="*/ 381 w 595"/>
                <a:gd name="T9" fmla="*/ 422 h 1260"/>
                <a:gd name="T10" fmla="*/ 412 w 595"/>
                <a:gd name="T11" fmla="*/ 531 h 1260"/>
                <a:gd name="T12" fmla="*/ 416 w 595"/>
                <a:gd name="T13" fmla="*/ 698 h 1260"/>
                <a:gd name="T14" fmla="*/ 416 w 595"/>
                <a:gd name="T15" fmla="*/ 884 h 1260"/>
                <a:gd name="T16" fmla="*/ 413 w 595"/>
                <a:gd name="T17" fmla="*/ 1030 h 1260"/>
                <a:gd name="T18" fmla="*/ 417 w 595"/>
                <a:gd name="T19" fmla="*/ 1089 h 1260"/>
                <a:gd name="T20" fmla="*/ 444 w 595"/>
                <a:gd name="T21" fmla="*/ 1116 h 1260"/>
                <a:gd name="T22" fmla="*/ 425 w 595"/>
                <a:gd name="T23" fmla="*/ 1156 h 1260"/>
                <a:gd name="T24" fmla="*/ 414 w 595"/>
                <a:gd name="T25" fmla="*/ 1179 h 1260"/>
                <a:gd name="T26" fmla="*/ 458 w 595"/>
                <a:gd name="T27" fmla="*/ 1174 h 1260"/>
                <a:gd name="T28" fmla="*/ 558 w 595"/>
                <a:gd name="T29" fmla="*/ 1182 h 1260"/>
                <a:gd name="T30" fmla="*/ 593 w 595"/>
                <a:gd name="T31" fmla="*/ 1216 h 1260"/>
                <a:gd name="T32" fmla="*/ 584 w 595"/>
                <a:gd name="T33" fmla="*/ 1247 h 1260"/>
                <a:gd name="T34" fmla="*/ 517 w 595"/>
                <a:gd name="T35" fmla="*/ 1205 h 1260"/>
                <a:gd name="T36" fmla="*/ 417 w 595"/>
                <a:gd name="T37" fmla="*/ 1205 h 1260"/>
                <a:gd name="T38" fmla="*/ 359 w 595"/>
                <a:gd name="T39" fmla="*/ 1233 h 1260"/>
                <a:gd name="T40" fmla="*/ 362 w 595"/>
                <a:gd name="T41" fmla="*/ 1217 h 1260"/>
                <a:gd name="T42" fmla="*/ 364 w 595"/>
                <a:gd name="T43" fmla="*/ 1205 h 1260"/>
                <a:gd name="T44" fmla="*/ 381 w 595"/>
                <a:gd name="T45" fmla="*/ 1153 h 1260"/>
                <a:gd name="T46" fmla="*/ 388 w 595"/>
                <a:gd name="T47" fmla="*/ 1116 h 1260"/>
                <a:gd name="T48" fmla="*/ 370 w 595"/>
                <a:gd name="T49" fmla="*/ 912 h 1260"/>
                <a:gd name="T50" fmla="*/ 371 w 595"/>
                <a:gd name="T51" fmla="*/ 640 h 1260"/>
                <a:gd name="T52" fmla="*/ 350 w 595"/>
                <a:gd name="T53" fmla="*/ 455 h 1260"/>
                <a:gd name="T54" fmla="*/ 326 w 595"/>
                <a:gd name="T55" fmla="*/ 328 h 1260"/>
                <a:gd name="T56" fmla="*/ 294 w 595"/>
                <a:gd name="T57" fmla="*/ 177 h 1260"/>
                <a:gd name="T58" fmla="*/ 266 w 595"/>
                <a:gd name="T59" fmla="*/ 59 h 1260"/>
                <a:gd name="T60" fmla="*/ 248 w 595"/>
                <a:gd name="T61" fmla="*/ 23 h 1260"/>
                <a:gd name="T62" fmla="*/ 232 w 595"/>
                <a:gd name="T63" fmla="*/ 49 h 1260"/>
                <a:gd name="T64" fmla="*/ 219 w 595"/>
                <a:gd name="T65" fmla="*/ 137 h 1260"/>
                <a:gd name="T66" fmla="*/ 205 w 595"/>
                <a:gd name="T67" fmla="*/ 255 h 1260"/>
                <a:gd name="T68" fmla="*/ 198 w 595"/>
                <a:gd name="T69" fmla="*/ 324 h 1260"/>
                <a:gd name="T70" fmla="*/ 186 w 595"/>
                <a:gd name="T71" fmla="*/ 387 h 1260"/>
                <a:gd name="T72" fmla="*/ 173 w 595"/>
                <a:gd name="T73" fmla="*/ 458 h 1260"/>
                <a:gd name="T74" fmla="*/ 182 w 595"/>
                <a:gd name="T75" fmla="*/ 552 h 1260"/>
                <a:gd name="T76" fmla="*/ 191 w 595"/>
                <a:gd name="T77" fmla="*/ 644 h 1260"/>
                <a:gd name="T78" fmla="*/ 196 w 595"/>
                <a:gd name="T79" fmla="*/ 782 h 1260"/>
                <a:gd name="T80" fmla="*/ 202 w 595"/>
                <a:gd name="T81" fmla="*/ 962 h 1260"/>
                <a:gd name="T82" fmla="*/ 205 w 595"/>
                <a:gd name="T83" fmla="*/ 1121 h 1260"/>
                <a:gd name="T84" fmla="*/ 207 w 595"/>
                <a:gd name="T85" fmla="*/ 1197 h 1260"/>
                <a:gd name="T86" fmla="*/ 202 w 595"/>
                <a:gd name="T87" fmla="*/ 1260 h 1260"/>
                <a:gd name="T88" fmla="*/ 81 w 595"/>
                <a:gd name="T89" fmla="*/ 1221 h 1260"/>
                <a:gd name="T90" fmla="*/ 0 w 595"/>
                <a:gd name="T91" fmla="*/ 1184 h 1260"/>
                <a:gd name="T92" fmla="*/ 14 w 595"/>
                <a:gd name="T93" fmla="*/ 1187 h 1260"/>
                <a:gd name="T94" fmla="*/ 110 w 595"/>
                <a:gd name="T95" fmla="*/ 1202 h 1260"/>
                <a:gd name="T96" fmla="*/ 175 w 595"/>
                <a:gd name="T97" fmla="*/ 1207 h 1260"/>
                <a:gd name="T98" fmla="*/ 193 w 595"/>
                <a:gd name="T99" fmla="*/ 1173 h 1260"/>
                <a:gd name="T100" fmla="*/ 177 w 595"/>
                <a:gd name="T101" fmla="*/ 1092 h 1260"/>
                <a:gd name="T102" fmla="*/ 166 w 595"/>
                <a:gd name="T103" fmla="*/ 988 h 1260"/>
                <a:gd name="T104" fmla="*/ 157 w 595"/>
                <a:gd name="T105" fmla="*/ 812 h 1260"/>
                <a:gd name="T106" fmla="*/ 150 w 595"/>
                <a:gd name="T107" fmla="*/ 623 h 1260"/>
                <a:gd name="T108" fmla="*/ 145 w 595"/>
                <a:gd name="T109" fmla="*/ 496 h 1260"/>
                <a:gd name="T110" fmla="*/ 150 w 595"/>
                <a:gd name="T111" fmla="*/ 430 h 1260"/>
                <a:gd name="T112" fmla="*/ 168 w 595"/>
                <a:gd name="T113" fmla="*/ 298 h 1260"/>
                <a:gd name="T114" fmla="*/ 191 w 595"/>
                <a:gd name="T115" fmla="*/ 147 h 1260"/>
                <a:gd name="T116" fmla="*/ 209 w 595"/>
                <a:gd name="T117" fmla="*/ 40 h 1260"/>
                <a:gd name="T118" fmla="*/ 230 w 595"/>
                <a:gd name="T119" fmla="*/ 6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5" h="1260">
                  <a:moveTo>
                    <a:pt x="252" y="0"/>
                  </a:moveTo>
                  <a:lnTo>
                    <a:pt x="259" y="1"/>
                  </a:lnTo>
                  <a:lnTo>
                    <a:pt x="261" y="1"/>
                  </a:lnTo>
                  <a:lnTo>
                    <a:pt x="267" y="4"/>
                  </a:lnTo>
                  <a:lnTo>
                    <a:pt x="275" y="9"/>
                  </a:lnTo>
                  <a:lnTo>
                    <a:pt x="284" y="19"/>
                  </a:lnTo>
                  <a:lnTo>
                    <a:pt x="294" y="34"/>
                  </a:lnTo>
                  <a:lnTo>
                    <a:pt x="304" y="56"/>
                  </a:lnTo>
                  <a:lnTo>
                    <a:pt x="309" y="72"/>
                  </a:lnTo>
                  <a:lnTo>
                    <a:pt x="316" y="95"/>
                  </a:lnTo>
                  <a:lnTo>
                    <a:pt x="322" y="123"/>
                  </a:lnTo>
                  <a:lnTo>
                    <a:pt x="330" y="155"/>
                  </a:lnTo>
                  <a:lnTo>
                    <a:pt x="338" y="191"/>
                  </a:lnTo>
                  <a:lnTo>
                    <a:pt x="345" y="230"/>
                  </a:lnTo>
                  <a:lnTo>
                    <a:pt x="354" y="268"/>
                  </a:lnTo>
                  <a:lnTo>
                    <a:pt x="362" y="305"/>
                  </a:lnTo>
                  <a:lnTo>
                    <a:pt x="367" y="339"/>
                  </a:lnTo>
                  <a:lnTo>
                    <a:pt x="371" y="366"/>
                  </a:lnTo>
                  <a:lnTo>
                    <a:pt x="375" y="389"/>
                  </a:lnTo>
                  <a:lnTo>
                    <a:pt x="381" y="422"/>
                  </a:lnTo>
                  <a:lnTo>
                    <a:pt x="393" y="450"/>
                  </a:lnTo>
                  <a:lnTo>
                    <a:pt x="407" y="473"/>
                  </a:lnTo>
                  <a:lnTo>
                    <a:pt x="409" y="499"/>
                  </a:lnTo>
                  <a:lnTo>
                    <a:pt x="412" y="531"/>
                  </a:lnTo>
                  <a:lnTo>
                    <a:pt x="413" y="568"/>
                  </a:lnTo>
                  <a:lnTo>
                    <a:pt x="414" y="608"/>
                  </a:lnTo>
                  <a:lnTo>
                    <a:pt x="416" y="652"/>
                  </a:lnTo>
                  <a:lnTo>
                    <a:pt x="416" y="698"/>
                  </a:lnTo>
                  <a:lnTo>
                    <a:pt x="416" y="745"/>
                  </a:lnTo>
                  <a:lnTo>
                    <a:pt x="416" y="793"/>
                  </a:lnTo>
                  <a:lnTo>
                    <a:pt x="416" y="839"/>
                  </a:lnTo>
                  <a:lnTo>
                    <a:pt x="416" y="884"/>
                  </a:lnTo>
                  <a:lnTo>
                    <a:pt x="414" y="926"/>
                  </a:lnTo>
                  <a:lnTo>
                    <a:pt x="414" y="966"/>
                  </a:lnTo>
                  <a:lnTo>
                    <a:pt x="414" y="1001"/>
                  </a:lnTo>
                  <a:lnTo>
                    <a:pt x="413" y="1030"/>
                  </a:lnTo>
                  <a:lnTo>
                    <a:pt x="413" y="1053"/>
                  </a:lnTo>
                  <a:lnTo>
                    <a:pt x="413" y="1069"/>
                  </a:lnTo>
                  <a:lnTo>
                    <a:pt x="413" y="1076"/>
                  </a:lnTo>
                  <a:lnTo>
                    <a:pt x="417" y="1089"/>
                  </a:lnTo>
                  <a:lnTo>
                    <a:pt x="422" y="1099"/>
                  </a:lnTo>
                  <a:lnTo>
                    <a:pt x="431" y="1106"/>
                  </a:lnTo>
                  <a:lnTo>
                    <a:pt x="440" y="1111"/>
                  </a:lnTo>
                  <a:lnTo>
                    <a:pt x="444" y="1116"/>
                  </a:lnTo>
                  <a:lnTo>
                    <a:pt x="444" y="1123"/>
                  </a:lnTo>
                  <a:lnTo>
                    <a:pt x="439" y="1133"/>
                  </a:lnTo>
                  <a:lnTo>
                    <a:pt x="432" y="1144"/>
                  </a:lnTo>
                  <a:lnTo>
                    <a:pt x="425" y="1156"/>
                  </a:lnTo>
                  <a:lnTo>
                    <a:pt x="416" y="1167"/>
                  </a:lnTo>
                  <a:lnTo>
                    <a:pt x="411" y="1174"/>
                  </a:lnTo>
                  <a:lnTo>
                    <a:pt x="411" y="1178"/>
                  </a:lnTo>
                  <a:lnTo>
                    <a:pt x="414" y="1179"/>
                  </a:lnTo>
                  <a:lnTo>
                    <a:pt x="421" y="1179"/>
                  </a:lnTo>
                  <a:lnTo>
                    <a:pt x="431" y="1178"/>
                  </a:lnTo>
                  <a:lnTo>
                    <a:pt x="443" y="1175"/>
                  </a:lnTo>
                  <a:lnTo>
                    <a:pt x="458" y="1174"/>
                  </a:lnTo>
                  <a:lnTo>
                    <a:pt x="475" y="1173"/>
                  </a:lnTo>
                  <a:lnTo>
                    <a:pt x="503" y="1173"/>
                  </a:lnTo>
                  <a:lnTo>
                    <a:pt x="533" y="1175"/>
                  </a:lnTo>
                  <a:lnTo>
                    <a:pt x="558" y="1182"/>
                  </a:lnTo>
                  <a:lnTo>
                    <a:pt x="580" y="1188"/>
                  </a:lnTo>
                  <a:lnTo>
                    <a:pt x="594" y="1196"/>
                  </a:lnTo>
                  <a:lnTo>
                    <a:pt x="595" y="1205"/>
                  </a:lnTo>
                  <a:lnTo>
                    <a:pt x="593" y="1216"/>
                  </a:lnTo>
                  <a:lnTo>
                    <a:pt x="590" y="1228"/>
                  </a:lnTo>
                  <a:lnTo>
                    <a:pt x="588" y="1238"/>
                  </a:lnTo>
                  <a:lnTo>
                    <a:pt x="585" y="1247"/>
                  </a:lnTo>
                  <a:lnTo>
                    <a:pt x="584" y="1247"/>
                  </a:lnTo>
                  <a:lnTo>
                    <a:pt x="580" y="1247"/>
                  </a:lnTo>
                  <a:lnTo>
                    <a:pt x="562" y="1229"/>
                  </a:lnTo>
                  <a:lnTo>
                    <a:pt x="542" y="1215"/>
                  </a:lnTo>
                  <a:lnTo>
                    <a:pt x="517" y="1205"/>
                  </a:lnTo>
                  <a:lnTo>
                    <a:pt x="493" y="1199"/>
                  </a:lnTo>
                  <a:lnTo>
                    <a:pt x="467" y="1198"/>
                  </a:lnTo>
                  <a:lnTo>
                    <a:pt x="441" y="1199"/>
                  </a:lnTo>
                  <a:lnTo>
                    <a:pt x="417" y="1205"/>
                  </a:lnTo>
                  <a:lnTo>
                    <a:pt x="395" y="1212"/>
                  </a:lnTo>
                  <a:lnTo>
                    <a:pt x="376" y="1224"/>
                  </a:lnTo>
                  <a:lnTo>
                    <a:pt x="361" y="1238"/>
                  </a:lnTo>
                  <a:lnTo>
                    <a:pt x="359" y="1233"/>
                  </a:lnTo>
                  <a:lnTo>
                    <a:pt x="359" y="1229"/>
                  </a:lnTo>
                  <a:lnTo>
                    <a:pt x="361" y="1223"/>
                  </a:lnTo>
                  <a:lnTo>
                    <a:pt x="361" y="1220"/>
                  </a:lnTo>
                  <a:lnTo>
                    <a:pt x="362" y="1217"/>
                  </a:lnTo>
                  <a:lnTo>
                    <a:pt x="363" y="1215"/>
                  </a:lnTo>
                  <a:lnTo>
                    <a:pt x="364" y="1212"/>
                  </a:lnTo>
                  <a:lnTo>
                    <a:pt x="364" y="1210"/>
                  </a:lnTo>
                  <a:lnTo>
                    <a:pt x="364" y="1205"/>
                  </a:lnTo>
                  <a:lnTo>
                    <a:pt x="364" y="1196"/>
                  </a:lnTo>
                  <a:lnTo>
                    <a:pt x="368" y="1183"/>
                  </a:lnTo>
                  <a:lnTo>
                    <a:pt x="375" y="1169"/>
                  </a:lnTo>
                  <a:lnTo>
                    <a:pt x="381" y="1153"/>
                  </a:lnTo>
                  <a:lnTo>
                    <a:pt x="385" y="1142"/>
                  </a:lnTo>
                  <a:lnTo>
                    <a:pt x="388" y="1133"/>
                  </a:lnTo>
                  <a:lnTo>
                    <a:pt x="389" y="1125"/>
                  </a:lnTo>
                  <a:lnTo>
                    <a:pt x="388" y="1116"/>
                  </a:lnTo>
                  <a:lnTo>
                    <a:pt x="385" y="1103"/>
                  </a:lnTo>
                  <a:lnTo>
                    <a:pt x="376" y="1039"/>
                  </a:lnTo>
                  <a:lnTo>
                    <a:pt x="371" y="976"/>
                  </a:lnTo>
                  <a:lnTo>
                    <a:pt x="370" y="912"/>
                  </a:lnTo>
                  <a:lnTo>
                    <a:pt x="370" y="847"/>
                  </a:lnTo>
                  <a:lnTo>
                    <a:pt x="371" y="779"/>
                  </a:lnTo>
                  <a:lnTo>
                    <a:pt x="372" y="711"/>
                  </a:lnTo>
                  <a:lnTo>
                    <a:pt x="371" y="640"/>
                  </a:lnTo>
                  <a:lnTo>
                    <a:pt x="367" y="567"/>
                  </a:lnTo>
                  <a:lnTo>
                    <a:pt x="357" y="491"/>
                  </a:lnTo>
                  <a:lnTo>
                    <a:pt x="354" y="476"/>
                  </a:lnTo>
                  <a:lnTo>
                    <a:pt x="350" y="455"/>
                  </a:lnTo>
                  <a:lnTo>
                    <a:pt x="345" y="428"/>
                  </a:lnTo>
                  <a:lnTo>
                    <a:pt x="340" y="399"/>
                  </a:lnTo>
                  <a:lnTo>
                    <a:pt x="332" y="364"/>
                  </a:lnTo>
                  <a:lnTo>
                    <a:pt x="326" y="328"/>
                  </a:lnTo>
                  <a:lnTo>
                    <a:pt x="318" y="291"/>
                  </a:lnTo>
                  <a:lnTo>
                    <a:pt x="309" y="253"/>
                  </a:lnTo>
                  <a:lnTo>
                    <a:pt x="302" y="214"/>
                  </a:lnTo>
                  <a:lnTo>
                    <a:pt x="294" y="177"/>
                  </a:lnTo>
                  <a:lnTo>
                    <a:pt x="285" y="142"/>
                  </a:lnTo>
                  <a:lnTo>
                    <a:pt x="278" y="110"/>
                  </a:lnTo>
                  <a:lnTo>
                    <a:pt x="271" y="82"/>
                  </a:lnTo>
                  <a:lnTo>
                    <a:pt x="266" y="59"/>
                  </a:lnTo>
                  <a:lnTo>
                    <a:pt x="261" y="40"/>
                  </a:lnTo>
                  <a:lnTo>
                    <a:pt x="257" y="28"/>
                  </a:lnTo>
                  <a:lnTo>
                    <a:pt x="254" y="24"/>
                  </a:lnTo>
                  <a:lnTo>
                    <a:pt x="248" y="23"/>
                  </a:lnTo>
                  <a:lnTo>
                    <a:pt x="243" y="24"/>
                  </a:lnTo>
                  <a:lnTo>
                    <a:pt x="237" y="29"/>
                  </a:lnTo>
                  <a:lnTo>
                    <a:pt x="234" y="40"/>
                  </a:lnTo>
                  <a:lnTo>
                    <a:pt x="232" y="49"/>
                  </a:lnTo>
                  <a:lnTo>
                    <a:pt x="230" y="63"/>
                  </a:lnTo>
                  <a:lnTo>
                    <a:pt x="227" y="83"/>
                  </a:lnTo>
                  <a:lnTo>
                    <a:pt x="223" y="109"/>
                  </a:lnTo>
                  <a:lnTo>
                    <a:pt x="219" y="137"/>
                  </a:lnTo>
                  <a:lnTo>
                    <a:pt x="216" y="167"/>
                  </a:lnTo>
                  <a:lnTo>
                    <a:pt x="212" y="197"/>
                  </a:lnTo>
                  <a:lnTo>
                    <a:pt x="209" y="228"/>
                  </a:lnTo>
                  <a:lnTo>
                    <a:pt x="205" y="255"/>
                  </a:lnTo>
                  <a:lnTo>
                    <a:pt x="203" y="281"/>
                  </a:lnTo>
                  <a:lnTo>
                    <a:pt x="200" y="301"/>
                  </a:lnTo>
                  <a:lnTo>
                    <a:pt x="198" y="317"/>
                  </a:lnTo>
                  <a:lnTo>
                    <a:pt x="198" y="324"/>
                  </a:lnTo>
                  <a:lnTo>
                    <a:pt x="196" y="333"/>
                  </a:lnTo>
                  <a:lnTo>
                    <a:pt x="194" y="349"/>
                  </a:lnTo>
                  <a:lnTo>
                    <a:pt x="190" y="367"/>
                  </a:lnTo>
                  <a:lnTo>
                    <a:pt x="186" y="387"/>
                  </a:lnTo>
                  <a:lnTo>
                    <a:pt x="181" y="409"/>
                  </a:lnTo>
                  <a:lnTo>
                    <a:pt x="178" y="428"/>
                  </a:lnTo>
                  <a:lnTo>
                    <a:pt x="175" y="445"/>
                  </a:lnTo>
                  <a:lnTo>
                    <a:pt x="173" y="458"/>
                  </a:lnTo>
                  <a:lnTo>
                    <a:pt x="175" y="475"/>
                  </a:lnTo>
                  <a:lnTo>
                    <a:pt x="176" y="498"/>
                  </a:lnTo>
                  <a:lnTo>
                    <a:pt x="178" y="523"/>
                  </a:lnTo>
                  <a:lnTo>
                    <a:pt x="182" y="552"/>
                  </a:lnTo>
                  <a:lnTo>
                    <a:pt x="186" y="581"/>
                  </a:lnTo>
                  <a:lnTo>
                    <a:pt x="190" y="611"/>
                  </a:lnTo>
                  <a:lnTo>
                    <a:pt x="191" y="623"/>
                  </a:lnTo>
                  <a:lnTo>
                    <a:pt x="191" y="644"/>
                  </a:lnTo>
                  <a:lnTo>
                    <a:pt x="193" y="671"/>
                  </a:lnTo>
                  <a:lnTo>
                    <a:pt x="194" y="704"/>
                  </a:lnTo>
                  <a:lnTo>
                    <a:pt x="195" y="741"/>
                  </a:lnTo>
                  <a:lnTo>
                    <a:pt x="196" y="782"/>
                  </a:lnTo>
                  <a:lnTo>
                    <a:pt x="198" y="825"/>
                  </a:lnTo>
                  <a:lnTo>
                    <a:pt x="199" y="871"/>
                  </a:lnTo>
                  <a:lnTo>
                    <a:pt x="200" y="916"/>
                  </a:lnTo>
                  <a:lnTo>
                    <a:pt x="202" y="962"/>
                  </a:lnTo>
                  <a:lnTo>
                    <a:pt x="203" y="1006"/>
                  </a:lnTo>
                  <a:lnTo>
                    <a:pt x="204" y="1048"/>
                  </a:lnTo>
                  <a:lnTo>
                    <a:pt x="205" y="1087"/>
                  </a:lnTo>
                  <a:lnTo>
                    <a:pt x="205" y="1121"/>
                  </a:lnTo>
                  <a:lnTo>
                    <a:pt x="207" y="1151"/>
                  </a:lnTo>
                  <a:lnTo>
                    <a:pt x="207" y="1174"/>
                  </a:lnTo>
                  <a:lnTo>
                    <a:pt x="207" y="1189"/>
                  </a:lnTo>
                  <a:lnTo>
                    <a:pt x="207" y="1197"/>
                  </a:lnTo>
                  <a:lnTo>
                    <a:pt x="207" y="1210"/>
                  </a:lnTo>
                  <a:lnTo>
                    <a:pt x="205" y="1225"/>
                  </a:lnTo>
                  <a:lnTo>
                    <a:pt x="204" y="1243"/>
                  </a:lnTo>
                  <a:lnTo>
                    <a:pt x="202" y="1260"/>
                  </a:lnTo>
                  <a:lnTo>
                    <a:pt x="190" y="1257"/>
                  </a:lnTo>
                  <a:lnTo>
                    <a:pt x="155" y="1248"/>
                  </a:lnTo>
                  <a:lnTo>
                    <a:pt x="119" y="1237"/>
                  </a:lnTo>
                  <a:lnTo>
                    <a:pt x="81" y="1221"/>
                  </a:lnTo>
                  <a:lnTo>
                    <a:pt x="45" y="1206"/>
                  </a:lnTo>
                  <a:lnTo>
                    <a:pt x="10" y="1189"/>
                  </a:lnTo>
                  <a:lnTo>
                    <a:pt x="0" y="1184"/>
                  </a:lnTo>
                  <a:lnTo>
                    <a:pt x="0" y="1184"/>
                  </a:lnTo>
                  <a:lnTo>
                    <a:pt x="3" y="1184"/>
                  </a:lnTo>
                  <a:lnTo>
                    <a:pt x="5" y="1184"/>
                  </a:lnTo>
                  <a:lnTo>
                    <a:pt x="9" y="1185"/>
                  </a:lnTo>
                  <a:lnTo>
                    <a:pt x="14" y="1187"/>
                  </a:lnTo>
                  <a:lnTo>
                    <a:pt x="33" y="1189"/>
                  </a:lnTo>
                  <a:lnTo>
                    <a:pt x="57" y="1193"/>
                  </a:lnTo>
                  <a:lnTo>
                    <a:pt x="83" y="1198"/>
                  </a:lnTo>
                  <a:lnTo>
                    <a:pt x="110" y="1202"/>
                  </a:lnTo>
                  <a:lnTo>
                    <a:pt x="130" y="1205"/>
                  </a:lnTo>
                  <a:lnTo>
                    <a:pt x="149" y="1206"/>
                  </a:lnTo>
                  <a:lnTo>
                    <a:pt x="163" y="1207"/>
                  </a:lnTo>
                  <a:lnTo>
                    <a:pt x="175" y="1207"/>
                  </a:lnTo>
                  <a:lnTo>
                    <a:pt x="184" y="1203"/>
                  </a:lnTo>
                  <a:lnTo>
                    <a:pt x="190" y="1197"/>
                  </a:lnTo>
                  <a:lnTo>
                    <a:pt x="193" y="1187"/>
                  </a:lnTo>
                  <a:lnTo>
                    <a:pt x="193" y="1173"/>
                  </a:lnTo>
                  <a:lnTo>
                    <a:pt x="191" y="1156"/>
                  </a:lnTo>
                  <a:lnTo>
                    <a:pt x="187" y="1137"/>
                  </a:lnTo>
                  <a:lnTo>
                    <a:pt x="182" y="1116"/>
                  </a:lnTo>
                  <a:lnTo>
                    <a:pt x="177" y="1092"/>
                  </a:lnTo>
                  <a:lnTo>
                    <a:pt x="173" y="1067"/>
                  </a:lnTo>
                  <a:lnTo>
                    <a:pt x="171" y="1048"/>
                  </a:lnTo>
                  <a:lnTo>
                    <a:pt x="168" y="1021"/>
                  </a:lnTo>
                  <a:lnTo>
                    <a:pt x="166" y="988"/>
                  </a:lnTo>
                  <a:lnTo>
                    <a:pt x="163" y="949"/>
                  </a:lnTo>
                  <a:lnTo>
                    <a:pt x="160" y="906"/>
                  </a:lnTo>
                  <a:lnTo>
                    <a:pt x="158" y="859"/>
                  </a:lnTo>
                  <a:lnTo>
                    <a:pt x="157" y="812"/>
                  </a:lnTo>
                  <a:lnTo>
                    <a:pt x="154" y="763"/>
                  </a:lnTo>
                  <a:lnTo>
                    <a:pt x="153" y="714"/>
                  </a:lnTo>
                  <a:lnTo>
                    <a:pt x="151" y="667"/>
                  </a:lnTo>
                  <a:lnTo>
                    <a:pt x="150" y="623"/>
                  </a:lnTo>
                  <a:lnTo>
                    <a:pt x="149" y="582"/>
                  </a:lnTo>
                  <a:lnTo>
                    <a:pt x="148" y="548"/>
                  </a:lnTo>
                  <a:lnTo>
                    <a:pt x="146" y="518"/>
                  </a:lnTo>
                  <a:lnTo>
                    <a:pt x="145" y="496"/>
                  </a:lnTo>
                  <a:lnTo>
                    <a:pt x="145" y="484"/>
                  </a:lnTo>
                  <a:lnTo>
                    <a:pt x="145" y="472"/>
                  </a:lnTo>
                  <a:lnTo>
                    <a:pt x="148" y="454"/>
                  </a:lnTo>
                  <a:lnTo>
                    <a:pt x="150" y="430"/>
                  </a:lnTo>
                  <a:lnTo>
                    <a:pt x="153" y="401"/>
                  </a:lnTo>
                  <a:lnTo>
                    <a:pt x="158" y="369"/>
                  </a:lnTo>
                  <a:lnTo>
                    <a:pt x="162" y="335"/>
                  </a:lnTo>
                  <a:lnTo>
                    <a:pt x="168" y="298"/>
                  </a:lnTo>
                  <a:lnTo>
                    <a:pt x="173" y="259"/>
                  </a:lnTo>
                  <a:lnTo>
                    <a:pt x="180" y="221"/>
                  </a:lnTo>
                  <a:lnTo>
                    <a:pt x="185" y="183"/>
                  </a:lnTo>
                  <a:lnTo>
                    <a:pt x="191" y="147"/>
                  </a:lnTo>
                  <a:lnTo>
                    <a:pt x="196" y="114"/>
                  </a:lnTo>
                  <a:lnTo>
                    <a:pt x="202" y="85"/>
                  </a:lnTo>
                  <a:lnTo>
                    <a:pt x="205" y="59"/>
                  </a:lnTo>
                  <a:lnTo>
                    <a:pt x="209" y="40"/>
                  </a:lnTo>
                  <a:lnTo>
                    <a:pt x="212" y="26"/>
                  </a:lnTo>
                  <a:lnTo>
                    <a:pt x="214" y="19"/>
                  </a:lnTo>
                  <a:lnTo>
                    <a:pt x="221" y="11"/>
                  </a:lnTo>
                  <a:lnTo>
                    <a:pt x="230" y="6"/>
                  </a:lnTo>
                  <a:lnTo>
                    <a:pt x="241" y="1"/>
                  </a:lnTo>
                  <a:lnTo>
                    <a:pt x="2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04" name="Group 1703"/>
          <p:cNvGrpSpPr/>
          <p:nvPr/>
        </p:nvGrpSpPr>
        <p:grpSpPr>
          <a:xfrm>
            <a:off x="6714408" y="2529148"/>
            <a:ext cx="156185" cy="422546"/>
            <a:chOff x="203200" y="1336675"/>
            <a:chExt cx="409575" cy="1108075"/>
          </a:xfrm>
        </p:grpSpPr>
        <p:sp>
          <p:nvSpPr>
            <p:cNvPr id="1705" name="Freeform 904"/>
            <p:cNvSpPr>
              <a:spLocks/>
            </p:cNvSpPr>
            <p:nvPr/>
          </p:nvSpPr>
          <p:spPr bwMode="auto">
            <a:xfrm>
              <a:off x="280988" y="1860550"/>
              <a:ext cx="195262" cy="547688"/>
            </a:xfrm>
            <a:custGeom>
              <a:avLst/>
              <a:gdLst>
                <a:gd name="T0" fmla="*/ 123 w 123"/>
                <a:gd name="T1" fmla="*/ 0 h 345"/>
                <a:gd name="T2" fmla="*/ 118 w 123"/>
                <a:gd name="T3" fmla="*/ 54 h 345"/>
                <a:gd name="T4" fmla="*/ 114 w 123"/>
                <a:gd name="T5" fmla="*/ 98 h 345"/>
                <a:gd name="T6" fmla="*/ 112 w 123"/>
                <a:gd name="T7" fmla="*/ 136 h 345"/>
                <a:gd name="T8" fmla="*/ 109 w 123"/>
                <a:gd name="T9" fmla="*/ 166 h 345"/>
                <a:gd name="T10" fmla="*/ 109 w 123"/>
                <a:gd name="T11" fmla="*/ 189 h 345"/>
                <a:gd name="T12" fmla="*/ 107 w 123"/>
                <a:gd name="T13" fmla="*/ 210 h 345"/>
                <a:gd name="T14" fmla="*/ 107 w 123"/>
                <a:gd name="T15" fmla="*/ 228 h 345"/>
                <a:gd name="T16" fmla="*/ 105 w 123"/>
                <a:gd name="T17" fmla="*/ 246 h 345"/>
                <a:gd name="T18" fmla="*/ 105 w 123"/>
                <a:gd name="T19" fmla="*/ 264 h 345"/>
                <a:gd name="T20" fmla="*/ 104 w 123"/>
                <a:gd name="T21" fmla="*/ 286 h 345"/>
                <a:gd name="T22" fmla="*/ 102 w 123"/>
                <a:gd name="T23" fmla="*/ 310 h 345"/>
                <a:gd name="T24" fmla="*/ 100 w 123"/>
                <a:gd name="T25" fmla="*/ 340 h 345"/>
                <a:gd name="T26" fmla="*/ 90 w 123"/>
                <a:gd name="T27" fmla="*/ 345 h 345"/>
                <a:gd name="T28" fmla="*/ 81 w 123"/>
                <a:gd name="T29" fmla="*/ 345 h 345"/>
                <a:gd name="T30" fmla="*/ 72 w 123"/>
                <a:gd name="T31" fmla="*/ 340 h 345"/>
                <a:gd name="T32" fmla="*/ 69 w 123"/>
                <a:gd name="T33" fmla="*/ 294 h 345"/>
                <a:gd name="T34" fmla="*/ 67 w 123"/>
                <a:gd name="T35" fmla="*/ 258 h 345"/>
                <a:gd name="T36" fmla="*/ 66 w 123"/>
                <a:gd name="T37" fmla="*/ 226 h 345"/>
                <a:gd name="T38" fmla="*/ 64 w 123"/>
                <a:gd name="T39" fmla="*/ 202 h 345"/>
                <a:gd name="T40" fmla="*/ 63 w 123"/>
                <a:gd name="T41" fmla="*/ 179 h 345"/>
                <a:gd name="T42" fmla="*/ 61 w 123"/>
                <a:gd name="T43" fmla="*/ 157 h 345"/>
                <a:gd name="T44" fmla="*/ 61 w 123"/>
                <a:gd name="T45" fmla="*/ 136 h 345"/>
                <a:gd name="T46" fmla="*/ 58 w 123"/>
                <a:gd name="T47" fmla="*/ 113 h 345"/>
                <a:gd name="T48" fmla="*/ 56 w 123"/>
                <a:gd name="T49" fmla="*/ 85 h 345"/>
                <a:gd name="T50" fmla="*/ 56 w 123"/>
                <a:gd name="T51" fmla="*/ 90 h 345"/>
                <a:gd name="T52" fmla="*/ 54 w 123"/>
                <a:gd name="T53" fmla="*/ 105 h 345"/>
                <a:gd name="T54" fmla="*/ 53 w 123"/>
                <a:gd name="T55" fmla="*/ 126 h 345"/>
                <a:gd name="T56" fmla="*/ 49 w 123"/>
                <a:gd name="T57" fmla="*/ 151 h 345"/>
                <a:gd name="T58" fmla="*/ 48 w 123"/>
                <a:gd name="T59" fmla="*/ 177 h 345"/>
                <a:gd name="T60" fmla="*/ 44 w 123"/>
                <a:gd name="T61" fmla="*/ 202 h 345"/>
                <a:gd name="T62" fmla="*/ 43 w 123"/>
                <a:gd name="T63" fmla="*/ 223 h 345"/>
                <a:gd name="T64" fmla="*/ 41 w 123"/>
                <a:gd name="T65" fmla="*/ 243 h 345"/>
                <a:gd name="T66" fmla="*/ 39 w 123"/>
                <a:gd name="T67" fmla="*/ 264 h 345"/>
                <a:gd name="T68" fmla="*/ 36 w 123"/>
                <a:gd name="T69" fmla="*/ 286 h 345"/>
                <a:gd name="T70" fmla="*/ 35 w 123"/>
                <a:gd name="T71" fmla="*/ 307 h 345"/>
                <a:gd name="T72" fmla="*/ 35 w 123"/>
                <a:gd name="T73" fmla="*/ 323 h 345"/>
                <a:gd name="T74" fmla="*/ 33 w 123"/>
                <a:gd name="T75" fmla="*/ 335 h 345"/>
                <a:gd name="T76" fmla="*/ 33 w 123"/>
                <a:gd name="T77" fmla="*/ 340 h 345"/>
                <a:gd name="T78" fmla="*/ 21 w 123"/>
                <a:gd name="T79" fmla="*/ 345 h 345"/>
                <a:gd name="T80" fmla="*/ 10 w 123"/>
                <a:gd name="T81" fmla="*/ 345 h 345"/>
                <a:gd name="T82" fmla="*/ 2 w 123"/>
                <a:gd name="T83" fmla="*/ 340 h 345"/>
                <a:gd name="T84" fmla="*/ 0 w 123"/>
                <a:gd name="T85" fmla="*/ 294 h 345"/>
                <a:gd name="T86" fmla="*/ 0 w 123"/>
                <a:gd name="T87" fmla="*/ 256 h 345"/>
                <a:gd name="T88" fmla="*/ 0 w 123"/>
                <a:gd name="T89" fmla="*/ 226 h 345"/>
                <a:gd name="T90" fmla="*/ 0 w 123"/>
                <a:gd name="T91" fmla="*/ 203 h 345"/>
                <a:gd name="T92" fmla="*/ 2 w 123"/>
                <a:gd name="T93" fmla="*/ 184 h 345"/>
                <a:gd name="T94" fmla="*/ 2 w 123"/>
                <a:gd name="T95" fmla="*/ 169 h 345"/>
                <a:gd name="T96" fmla="*/ 2 w 123"/>
                <a:gd name="T97" fmla="*/ 154 h 345"/>
                <a:gd name="T98" fmla="*/ 2 w 123"/>
                <a:gd name="T99" fmla="*/ 138 h 345"/>
                <a:gd name="T100" fmla="*/ 2 w 123"/>
                <a:gd name="T101" fmla="*/ 121 h 345"/>
                <a:gd name="T102" fmla="*/ 2 w 123"/>
                <a:gd name="T103" fmla="*/ 100 h 345"/>
                <a:gd name="T104" fmla="*/ 2 w 123"/>
                <a:gd name="T105" fmla="*/ 74 h 345"/>
                <a:gd name="T106" fmla="*/ 8 w 123"/>
                <a:gd name="T107" fmla="*/ 67 h 345"/>
                <a:gd name="T108" fmla="*/ 16 w 123"/>
                <a:gd name="T109" fmla="*/ 62 h 345"/>
                <a:gd name="T110" fmla="*/ 23 w 123"/>
                <a:gd name="T111" fmla="*/ 59 h 345"/>
                <a:gd name="T112" fmla="*/ 33 w 123"/>
                <a:gd name="T113" fmla="*/ 57 h 345"/>
                <a:gd name="T114" fmla="*/ 44 w 123"/>
                <a:gd name="T115" fmla="*/ 52 h 345"/>
                <a:gd name="T116" fmla="*/ 58 w 123"/>
                <a:gd name="T117" fmla="*/ 46 h 345"/>
                <a:gd name="T118" fmla="*/ 76 w 123"/>
                <a:gd name="T119" fmla="*/ 36 h 345"/>
                <a:gd name="T120" fmla="*/ 97 w 123"/>
                <a:gd name="T121" fmla="*/ 21 h 345"/>
                <a:gd name="T122" fmla="*/ 123 w 123"/>
                <a:gd name="T1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" h="345">
                  <a:moveTo>
                    <a:pt x="123" y="0"/>
                  </a:moveTo>
                  <a:lnTo>
                    <a:pt x="118" y="54"/>
                  </a:lnTo>
                  <a:lnTo>
                    <a:pt x="114" y="98"/>
                  </a:lnTo>
                  <a:lnTo>
                    <a:pt x="112" y="136"/>
                  </a:lnTo>
                  <a:lnTo>
                    <a:pt x="109" y="166"/>
                  </a:lnTo>
                  <a:lnTo>
                    <a:pt x="109" y="189"/>
                  </a:lnTo>
                  <a:lnTo>
                    <a:pt x="107" y="210"/>
                  </a:lnTo>
                  <a:lnTo>
                    <a:pt x="107" y="228"/>
                  </a:lnTo>
                  <a:lnTo>
                    <a:pt x="105" y="246"/>
                  </a:lnTo>
                  <a:lnTo>
                    <a:pt x="105" y="264"/>
                  </a:lnTo>
                  <a:lnTo>
                    <a:pt x="104" y="286"/>
                  </a:lnTo>
                  <a:lnTo>
                    <a:pt x="102" y="310"/>
                  </a:lnTo>
                  <a:lnTo>
                    <a:pt x="100" y="340"/>
                  </a:lnTo>
                  <a:lnTo>
                    <a:pt x="90" y="345"/>
                  </a:lnTo>
                  <a:lnTo>
                    <a:pt x="81" y="345"/>
                  </a:lnTo>
                  <a:lnTo>
                    <a:pt x="72" y="340"/>
                  </a:lnTo>
                  <a:lnTo>
                    <a:pt x="69" y="294"/>
                  </a:lnTo>
                  <a:lnTo>
                    <a:pt x="67" y="258"/>
                  </a:lnTo>
                  <a:lnTo>
                    <a:pt x="66" y="226"/>
                  </a:lnTo>
                  <a:lnTo>
                    <a:pt x="64" y="202"/>
                  </a:lnTo>
                  <a:lnTo>
                    <a:pt x="63" y="179"/>
                  </a:lnTo>
                  <a:lnTo>
                    <a:pt x="61" y="157"/>
                  </a:lnTo>
                  <a:lnTo>
                    <a:pt x="61" y="136"/>
                  </a:lnTo>
                  <a:lnTo>
                    <a:pt x="58" y="113"/>
                  </a:lnTo>
                  <a:lnTo>
                    <a:pt x="56" y="85"/>
                  </a:lnTo>
                  <a:lnTo>
                    <a:pt x="56" y="90"/>
                  </a:lnTo>
                  <a:lnTo>
                    <a:pt x="54" y="105"/>
                  </a:lnTo>
                  <a:lnTo>
                    <a:pt x="53" y="126"/>
                  </a:lnTo>
                  <a:lnTo>
                    <a:pt x="49" y="151"/>
                  </a:lnTo>
                  <a:lnTo>
                    <a:pt x="48" y="177"/>
                  </a:lnTo>
                  <a:lnTo>
                    <a:pt x="44" y="202"/>
                  </a:lnTo>
                  <a:lnTo>
                    <a:pt x="43" y="223"/>
                  </a:lnTo>
                  <a:lnTo>
                    <a:pt x="41" y="243"/>
                  </a:lnTo>
                  <a:lnTo>
                    <a:pt x="39" y="264"/>
                  </a:lnTo>
                  <a:lnTo>
                    <a:pt x="36" y="286"/>
                  </a:lnTo>
                  <a:lnTo>
                    <a:pt x="35" y="307"/>
                  </a:lnTo>
                  <a:lnTo>
                    <a:pt x="35" y="323"/>
                  </a:lnTo>
                  <a:lnTo>
                    <a:pt x="33" y="335"/>
                  </a:lnTo>
                  <a:lnTo>
                    <a:pt x="33" y="340"/>
                  </a:lnTo>
                  <a:lnTo>
                    <a:pt x="21" y="345"/>
                  </a:lnTo>
                  <a:lnTo>
                    <a:pt x="10" y="345"/>
                  </a:lnTo>
                  <a:lnTo>
                    <a:pt x="2" y="340"/>
                  </a:lnTo>
                  <a:lnTo>
                    <a:pt x="0" y="294"/>
                  </a:lnTo>
                  <a:lnTo>
                    <a:pt x="0" y="256"/>
                  </a:lnTo>
                  <a:lnTo>
                    <a:pt x="0" y="226"/>
                  </a:lnTo>
                  <a:lnTo>
                    <a:pt x="0" y="203"/>
                  </a:lnTo>
                  <a:lnTo>
                    <a:pt x="2" y="184"/>
                  </a:lnTo>
                  <a:lnTo>
                    <a:pt x="2" y="169"/>
                  </a:lnTo>
                  <a:lnTo>
                    <a:pt x="2" y="154"/>
                  </a:lnTo>
                  <a:lnTo>
                    <a:pt x="2" y="138"/>
                  </a:lnTo>
                  <a:lnTo>
                    <a:pt x="2" y="121"/>
                  </a:lnTo>
                  <a:lnTo>
                    <a:pt x="2" y="100"/>
                  </a:lnTo>
                  <a:lnTo>
                    <a:pt x="2" y="74"/>
                  </a:lnTo>
                  <a:lnTo>
                    <a:pt x="8" y="67"/>
                  </a:lnTo>
                  <a:lnTo>
                    <a:pt x="16" y="62"/>
                  </a:lnTo>
                  <a:lnTo>
                    <a:pt x="23" y="59"/>
                  </a:lnTo>
                  <a:lnTo>
                    <a:pt x="33" y="57"/>
                  </a:lnTo>
                  <a:lnTo>
                    <a:pt x="44" y="52"/>
                  </a:lnTo>
                  <a:lnTo>
                    <a:pt x="58" y="46"/>
                  </a:lnTo>
                  <a:lnTo>
                    <a:pt x="76" y="36"/>
                  </a:lnTo>
                  <a:lnTo>
                    <a:pt x="97" y="21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6" name="Freeform 905"/>
            <p:cNvSpPr>
              <a:spLocks/>
            </p:cNvSpPr>
            <p:nvPr/>
          </p:nvSpPr>
          <p:spPr bwMode="auto">
            <a:xfrm>
              <a:off x="219075" y="2400300"/>
              <a:ext cx="114300" cy="44450"/>
            </a:xfrm>
            <a:custGeom>
              <a:avLst/>
              <a:gdLst>
                <a:gd name="T0" fmla="*/ 41 w 72"/>
                <a:gd name="T1" fmla="*/ 0 h 28"/>
                <a:gd name="T2" fmla="*/ 51 w 72"/>
                <a:gd name="T3" fmla="*/ 1 h 28"/>
                <a:gd name="T4" fmla="*/ 60 w 72"/>
                <a:gd name="T5" fmla="*/ 1 h 28"/>
                <a:gd name="T6" fmla="*/ 72 w 72"/>
                <a:gd name="T7" fmla="*/ 0 h 28"/>
                <a:gd name="T8" fmla="*/ 72 w 72"/>
                <a:gd name="T9" fmla="*/ 8 h 28"/>
                <a:gd name="T10" fmla="*/ 72 w 72"/>
                <a:gd name="T11" fmla="*/ 13 h 28"/>
                <a:gd name="T12" fmla="*/ 72 w 72"/>
                <a:gd name="T13" fmla="*/ 18 h 28"/>
                <a:gd name="T14" fmla="*/ 70 w 72"/>
                <a:gd name="T15" fmla="*/ 23 h 28"/>
                <a:gd name="T16" fmla="*/ 67 w 72"/>
                <a:gd name="T17" fmla="*/ 28 h 28"/>
                <a:gd name="T18" fmla="*/ 0 w 72"/>
                <a:gd name="T19" fmla="*/ 28 h 28"/>
                <a:gd name="T20" fmla="*/ 0 w 72"/>
                <a:gd name="T21" fmla="*/ 15 h 28"/>
                <a:gd name="T22" fmla="*/ 4 w 72"/>
                <a:gd name="T23" fmla="*/ 6 h 28"/>
                <a:gd name="T24" fmla="*/ 14 w 72"/>
                <a:gd name="T25" fmla="*/ 3 h 28"/>
                <a:gd name="T26" fmla="*/ 26 w 72"/>
                <a:gd name="T27" fmla="*/ 0 h 28"/>
                <a:gd name="T28" fmla="*/ 41 w 72"/>
                <a:gd name="T2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" h="28">
                  <a:moveTo>
                    <a:pt x="41" y="0"/>
                  </a:moveTo>
                  <a:lnTo>
                    <a:pt x="51" y="1"/>
                  </a:lnTo>
                  <a:lnTo>
                    <a:pt x="60" y="1"/>
                  </a:lnTo>
                  <a:lnTo>
                    <a:pt x="72" y="0"/>
                  </a:lnTo>
                  <a:lnTo>
                    <a:pt x="72" y="8"/>
                  </a:lnTo>
                  <a:lnTo>
                    <a:pt x="72" y="13"/>
                  </a:lnTo>
                  <a:lnTo>
                    <a:pt x="72" y="18"/>
                  </a:lnTo>
                  <a:lnTo>
                    <a:pt x="70" y="23"/>
                  </a:lnTo>
                  <a:lnTo>
                    <a:pt x="67" y="28"/>
                  </a:lnTo>
                  <a:lnTo>
                    <a:pt x="0" y="28"/>
                  </a:lnTo>
                  <a:lnTo>
                    <a:pt x="0" y="15"/>
                  </a:lnTo>
                  <a:lnTo>
                    <a:pt x="4" y="6"/>
                  </a:lnTo>
                  <a:lnTo>
                    <a:pt x="14" y="3"/>
                  </a:lnTo>
                  <a:lnTo>
                    <a:pt x="26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7" name="Freeform 906"/>
            <p:cNvSpPr>
              <a:spLocks/>
            </p:cNvSpPr>
            <p:nvPr/>
          </p:nvSpPr>
          <p:spPr bwMode="auto">
            <a:xfrm>
              <a:off x="325438" y="2400300"/>
              <a:ext cx="114300" cy="44450"/>
            </a:xfrm>
            <a:custGeom>
              <a:avLst/>
              <a:gdLst>
                <a:gd name="T0" fmla="*/ 72 w 72"/>
                <a:gd name="T1" fmla="*/ 0 h 28"/>
                <a:gd name="T2" fmla="*/ 72 w 72"/>
                <a:gd name="T3" fmla="*/ 28 h 28"/>
                <a:gd name="T4" fmla="*/ 0 w 72"/>
                <a:gd name="T5" fmla="*/ 28 h 28"/>
                <a:gd name="T6" fmla="*/ 0 w 72"/>
                <a:gd name="T7" fmla="*/ 15 h 28"/>
                <a:gd name="T8" fmla="*/ 5 w 72"/>
                <a:gd name="T9" fmla="*/ 8 h 28"/>
                <a:gd name="T10" fmla="*/ 13 w 72"/>
                <a:gd name="T11" fmla="*/ 3 h 28"/>
                <a:gd name="T12" fmla="*/ 26 w 72"/>
                <a:gd name="T13" fmla="*/ 1 h 28"/>
                <a:gd name="T14" fmla="*/ 44 w 72"/>
                <a:gd name="T15" fmla="*/ 0 h 28"/>
                <a:gd name="T16" fmla="*/ 59 w 72"/>
                <a:gd name="T17" fmla="*/ 1 h 28"/>
                <a:gd name="T18" fmla="*/ 72 w 72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8">
                  <a:moveTo>
                    <a:pt x="72" y="0"/>
                  </a:moveTo>
                  <a:lnTo>
                    <a:pt x="72" y="28"/>
                  </a:lnTo>
                  <a:lnTo>
                    <a:pt x="0" y="28"/>
                  </a:lnTo>
                  <a:lnTo>
                    <a:pt x="0" y="15"/>
                  </a:lnTo>
                  <a:lnTo>
                    <a:pt x="5" y="8"/>
                  </a:lnTo>
                  <a:lnTo>
                    <a:pt x="13" y="3"/>
                  </a:lnTo>
                  <a:lnTo>
                    <a:pt x="26" y="1"/>
                  </a:lnTo>
                  <a:lnTo>
                    <a:pt x="44" y="0"/>
                  </a:lnTo>
                  <a:lnTo>
                    <a:pt x="59" y="1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8" name="Freeform 907"/>
            <p:cNvSpPr>
              <a:spLocks/>
            </p:cNvSpPr>
            <p:nvPr/>
          </p:nvSpPr>
          <p:spPr bwMode="auto">
            <a:xfrm>
              <a:off x="207963" y="1958975"/>
              <a:ext cx="53975" cy="71438"/>
            </a:xfrm>
            <a:custGeom>
              <a:avLst/>
              <a:gdLst>
                <a:gd name="T0" fmla="*/ 30 w 34"/>
                <a:gd name="T1" fmla="*/ 0 h 45"/>
                <a:gd name="T2" fmla="*/ 30 w 34"/>
                <a:gd name="T3" fmla="*/ 5 h 45"/>
                <a:gd name="T4" fmla="*/ 28 w 34"/>
                <a:gd name="T5" fmla="*/ 10 h 45"/>
                <a:gd name="T6" fmla="*/ 28 w 34"/>
                <a:gd name="T7" fmla="*/ 13 h 45"/>
                <a:gd name="T8" fmla="*/ 31 w 34"/>
                <a:gd name="T9" fmla="*/ 18 h 45"/>
                <a:gd name="T10" fmla="*/ 33 w 34"/>
                <a:gd name="T11" fmla="*/ 23 h 45"/>
                <a:gd name="T12" fmla="*/ 34 w 34"/>
                <a:gd name="T13" fmla="*/ 30 h 45"/>
                <a:gd name="T14" fmla="*/ 34 w 34"/>
                <a:gd name="T15" fmla="*/ 35 h 45"/>
                <a:gd name="T16" fmla="*/ 33 w 34"/>
                <a:gd name="T17" fmla="*/ 40 h 45"/>
                <a:gd name="T18" fmla="*/ 31 w 34"/>
                <a:gd name="T19" fmla="*/ 41 h 45"/>
                <a:gd name="T20" fmla="*/ 28 w 34"/>
                <a:gd name="T21" fmla="*/ 43 h 45"/>
                <a:gd name="T22" fmla="*/ 25 w 34"/>
                <a:gd name="T23" fmla="*/ 43 h 45"/>
                <a:gd name="T24" fmla="*/ 20 w 34"/>
                <a:gd name="T25" fmla="*/ 45 h 45"/>
                <a:gd name="T26" fmla="*/ 16 w 34"/>
                <a:gd name="T27" fmla="*/ 45 h 45"/>
                <a:gd name="T28" fmla="*/ 15 w 34"/>
                <a:gd name="T29" fmla="*/ 45 h 45"/>
                <a:gd name="T30" fmla="*/ 13 w 34"/>
                <a:gd name="T31" fmla="*/ 45 h 45"/>
                <a:gd name="T32" fmla="*/ 11 w 34"/>
                <a:gd name="T33" fmla="*/ 43 h 45"/>
                <a:gd name="T34" fmla="*/ 10 w 34"/>
                <a:gd name="T35" fmla="*/ 43 h 45"/>
                <a:gd name="T36" fmla="*/ 7 w 34"/>
                <a:gd name="T37" fmla="*/ 40 h 45"/>
                <a:gd name="T38" fmla="*/ 3 w 34"/>
                <a:gd name="T39" fmla="*/ 35 h 45"/>
                <a:gd name="T40" fmla="*/ 2 w 34"/>
                <a:gd name="T41" fmla="*/ 31 h 45"/>
                <a:gd name="T42" fmla="*/ 0 w 34"/>
                <a:gd name="T43" fmla="*/ 28 h 45"/>
                <a:gd name="T44" fmla="*/ 2 w 34"/>
                <a:gd name="T45" fmla="*/ 23 h 45"/>
                <a:gd name="T46" fmla="*/ 3 w 34"/>
                <a:gd name="T47" fmla="*/ 20 h 45"/>
                <a:gd name="T48" fmla="*/ 5 w 34"/>
                <a:gd name="T49" fmla="*/ 15 h 45"/>
                <a:gd name="T50" fmla="*/ 7 w 34"/>
                <a:gd name="T51" fmla="*/ 12 h 45"/>
                <a:gd name="T52" fmla="*/ 8 w 34"/>
                <a:gd name="T53" fmla="*/ 10 h 45"/>
                <a:gd name="T54" fmla="*/ 8 w 34"/>
                <a:gd name="T55" fmla="*/ 7 h 45"/>
                <a:gd name="T56" fmla="*/ 8 w 34"/>
                <a:gd name="T57" fmla="*/ 5 h 45"/>
                <a:gd name="T58" fmla="*/ 8 w 34"/>
                <a:gd name="T59" fmla="*/ 2 h 45"/>
                <a:gd name="T60" fmla="*/ 7 w 34"/>
                <a:gd name="T61" fmla="*/ 0 h 45"/>
                <a:gd name="T62" fmla="*/ 7 w 34"/>
                <a:gd name="T63" fmla="*/ 0 h 45"/>
                <a:gd name="T64" fmla="*/ 30 w 34"/>
                <a:gd name="T6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" h="45">
                  <a:moveTo>
                    <a:pt x="30" y="0"/>
                  </a:moveTo>
                  <a:lnTo>
                    <a:pt x="30" y="5"/>
                  </a:lnTo>
                  <a:lnTo>
                    <a:pt x="28" y="10"/>
                  </a:lnTo>
                  <a:lnTo>
                    <a:pt x="28" y="13"/>
                  </a:lnTo>
                  <a:lnTo>
                    <a:pt x="31" y="18"/>
                  </a:lnTo>
                  <a:lnTo>
                    <a:pt x="33" y="23"/>
                  </a:lnTo>
                  <a:lnTo>
                    <a:pt x="34" y="30"/>
                  </a:lnTo>
                  <a:lnTo>
                    <a:pt x="34" y="35"/>
                  </a:lnTo>
                  <a:lnTo>
                    <a:pt x="33" y="40"/>
                  </a:lnTo>
                  <a:lnTo>
                    <a:pt x="31" y="41"/>
                  </a:lnTo>
                  <a:lnTo>
                    <a:pt x="28" y="43"/>
                  </a:lnTo>
                  <a:lnTo>
                    <a:pt x="25" y="43"/>
                  </a:lnTo>
                  <a:lnTo>
                    <a:pt x="20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3" y="45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7" y="40"/>
                  </a:lnTo>
                  <a:lnTo>
                    <a:pt x="3" y="35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3"/>
                  </a:lnTo>
                  <a:lnTo>
                    <a:pt x="3" y="20"/>
                  </a:lnTo>
                  <a:lnTo>
                    <a:pt x="5" y="15"/>
                  </a:lnTo>
                  <a:lnTo>
                    <a:pt x="7" y="12"/>
                  </a:lnTo>
                  <a:lnTo>
                    <a:pt x="8" y="10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9" name="Freeform 908"/>
            <p:cNvSpPr>
              <a:spLocks/>
            </p:cNvSpPr>
            <p:nvPr/>
          </p:nvSpPr>
          <p:spPr bwMode="auto">
            <a:xfrm>
              <a:off x="203200" y="1597025"/>
              <a:ext cx="69850" cy="377825"/>
            </a:xfrm>
            <a:custGeom>
              <a:avLst/>
              <a:gdLst>
                <a:gd name="T0" fmla="*/ 31 w 44"/>
                <a:gd name="T1" fmla="*/ 0 h 238"/>
                <a:gd name="T2" fmla="*/ 41 w 44"/>
                <a:gd name="T3" fmla="*/ 61 h 238"/>
                <a:gd name="T4" fmla="*/ 44 w 44"/>
                <a:gd name="T5" fmla="*/ 123 h 238"/>
                <a:gd name="T6" fmla="*/ 42 w 44"/>
                <a:gd name="T7" fmla="*/ 186 h 238"/>
                <a:gd name="T8" fmla="*/ 42 w 44"/>
                <a:gd name="T9" fmla="*/ 236 h 238"/>
                <a:gd name="T10" fmla="*/ 26 w 44"/>
                <a:gd name="T11" fmla="*/ 238 h 238"/>
                <a:gd name="T12" fmla="*/ 13 w 44"/>
                <a:gd name="T13" fmla="*/ 238 h 238"/>
                <a:gd name="T14" fmla="*/ 0 w 44"/>
                <a:gd name="T15" fmla="*/ 235 h 238"/>
                <a:gd name="T16" fmla="*/ 1 w 44"/>
                <a:gd name="T17" fmla="*/ 194 h 238"/>
                <a:gd name="T18" fmla="*/ 3 w 44"/>
                <a:gd name="T19" fmla="*/ 154 h 238"/>
                <a:gd name="T20" fmla="*/ 5 w 44"/>
                <a:gd name="T21" fmla="*/ 117 h 238"/>
                <a:gd name="T22" fmla="*/ 8 w 44"/>
                <a:gd name="T23" fmla="*/ 82 h 238"/>
                <a:gd name="T24" fmla="*/ 11 w 44"/>
                <a:gd name="T25" fmla="*/ 52 h 238"/>
                <a:gd name="T26" fmla="*/ 16 w 44"/>
                <a:gd name="T27" fmla="*/ 28 h 238"/>
                <a:gd name="T28" fmla="*/ 23 w 44"/>
                <a:gd name="T29" fmla="*/ 10 h 238"/>
                <a:gd name="T30" fmla="*/ 31 w 44"/>
                <a:gd name="T3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238">
                  <a:moveTo>
                    <a:pt x="31" y="0"/>
                  </a:moveTo>
                  <a:lnTo>
                    <a:pt x="41" y="61"/>
                  </a:lnTo>
                  <a:lnTo>
                    <a:pt x="44" y="123"/>
                  </a:lnTo>
                  <a:lnTo>
                    <a:pt x="42" y="186"/>
                  </a:lnTo>
                  <a:lnTo>
                    <a:pt x="42" y="236"/>
                  </a:lnTo>
                  <a:lnTo>
                    <a:pt x="26" y="238"/>
                  </a:lnTo>
                  <a:lnTo>
                    <a:pt x="13" y="238"/>
                  </a:lnTo>
                  <a:lnTo>
                    <a:pt x="0" y="235"/>
                  </a:lnTo>
                  <a:lnTo>
                    <a:pt x="1" y="194"/>
                  </a:lnTo>
                  <a:lnTo>
                    <a:pt x="3" y="154"/>
                  </a:lnTo>
                  <a:lnTo>
                    <a:pt x="5" y="117"/>
                  </a:lnTo>
                  <a:lnTo>
                    <a:pt x="8" y="82"/>
                  </a:lnTo>
                  <a:lnTo>
                    <a:pt x="11" y="52"/>
                  </a:lnTo>
                  <a:lnTo>
                    <a:pt x="16" y="28"/>
                  </a:lnTo>
                  <a:lnTo>
                    <a:pt x="23" y="1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0" name="Freeform 909"/>
            <p:cNvSpPr>
              <a:spLocks/>
            </p:cNvSpPr>
            <p:nvPr/>
          </p:nvSpPr>
          <p:spPr bwMode="auto">
            <a:xfrm>
              <a:off x="252413" y="1581150"/>
              <a:ext cx="242887" cy="396875"/>
            </a:xfrm>
            <a:custGeom>
              <a:avLst/>
              <a:gdLst>
                <a:gd name="T0" fmla="*/ 143 w 153"/>
                <a:gd name="T1" fmla="*/ 0 h 250"/>
                <a:gd name="T2" fmla="*/ 153 w 153"/>
                <a:gd name="T3" fmla="*/ 3 h 250"/>
                <a:gd name="T4" fmla="*/ 145 w 153"/>
                <a:gd name="T5" fmla="*/ 20 h 250"/>
                <a:gd name="T6" fmla="*/ 140 w 153"/>
                <a:gd name="T7" fmla="*/ 35 h 250"/>
                <a:gd name="T8" fmla="*/ 138 w 153"/>
                <a:gd name="T9" fmla="*/ 53 h 250"/>
                <a:gd name="T10" fmla="*/ 143 w 153"/>
                <a:gd name="T11" fmla="*/ 72 h 250"/>
                <a:gd name="T12" fmla="*/ 140 w 153"/>
                <a:gd name="T13" fmla="*/ 97 h 250"/>
                <a:gd name="T14" fmla="*/ 140 w 153"/>
                <a:gd name="T15" fmla="*/ 122 h 250"/>
                <a:gd name="T16" fmla="*/ 140 w 153"/>
                <a:gd name="T17" fmla="*/ 146 h 250"/>
                <a:gd name="T18" fmla="*/ 141 w 153"/>
                <a:gd name="T19" fmla="*/ 176 h 250"/>
                <a:gd name="T20" fmla="*/ 125 w 153"/>
                <a:gd name="T21" fmla="*/ 192 h 250"/>
                <a:gd name="T22" fmla="*/ 107 w 153"/>
                <a:gd name="T23" fmla="*/ 210 h 250"/>
                <a:gd name="T24" fmla="*/ 85 w 153"/>
                <a:gd name="T25" fmla="*/ 225 h 250"/>
                <a:gd name="T26" fmla="*/ 62 w 153"/>
                <a:gd name="T27" fmla="*/ 238 h 250"/>
                <a:gd name="T28" fmla="*/ 41 w 153"/>
                <a:gd name="T29" fmla="*/ 246 h 250"/>
                <a:gd name="T30" fmla="*/ 20 w 153"/>
                <a:gd name="T31" fmla="*/ 250 h 250"/>
                <a:gd name="T32" fmla="*/ 18 w 153"/>
                <a:gd name="T33" fmla="*/ 225 h 250"/>
                <a:gd name="T34" fmla="*/ 16 w 153"/>
                <a:gd name="T35" fmla="*/ 207 h 250"/>
                <a:gd name="T36" fmla="*/ 16 w 153"/>
                <a:gd name="T37" fmla="*/ 192 h 250"/>
                <a:gd name="T38" fmla="*/ 15 w 153"/>
                <a:gd name="T39" fmla="*/ 179 h 250"/>
                <a:gd name="T40" fmla="*/ 15 w 153"/>
                <a:gd name="T41" fmla="*/ 164 h 250"/>
                <a:gd name="T42" fmla="*/ 13 w 153"/>
                <a:gd name="T43" fmla="*/ 145 h 250"/>
                <a:gd name="T44" fmla="*/ 11 w 153"/>
                <a:gd name="T45" fmla="*/ 122 h 250"/>
                <a:gd name="T46" fmla="*/ 8 w 153"/>
                <a:gd name="T47" fmla="*/ 94 h 250"/>
                <a:gd name="T48" fmla="*/ 5 w 153"/>
                <a:gd name="T49" fmla="*/ 61 h 250"/>
                <a:gd name="T50" fmla="*/ 2 w 153"/>
                <a:gd name="T51" fmla="*/ 31 h 250"/>
                <a:gd name="T52" fmla="*/ 0 w 153"/>
                <a:gd name="T53" fmla="*/ 10 h 250"/>
                <a:gd name="T54" fmla="*/ 16 w 153"/>
                <a:gd name="T55" fmla="*/ 3 h 250"/>
                <a:gd name="T56" fmla="*/ 31 w 153"/>
                <a:gd name="T57" fmla="*/ 15 h 250"/>
                <a:gd name="T58" fmla="*/ 43 w 153"/>
                <a:gd name="T59" fmla="*/ 28 h 250"/>
                <a:gd name="T60" fmla="*/ 54 w 153"/>
                <a:gd name="T61" fmla="*/ 43 h 250"/>
                <a:gd name="T62" fmla="*/ 66 w 153"/>
                <a:gd name="T63" fmla="*/ 58 h 250"/>
                <a:gd name="T64" fmla="*/ 90 w 153"/>
                <a:gd name="T65" fmla="*/ 38 h 250"/>
                <a:gd name="T66" fmla="*/ 115 w 153"/>
                <a:gd name="T67" fmla="*/ 18 h 250"/>
                <a:gd name="T68" fmla="*/ 143 w 153"/>
                <a:gd name="T6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" h="250">
                  <a:moveTo>
                    <a:pt x="143" y="0"/>
                  </a:moveTo>
                  <a:lnTo>
                    <a:pt x="153" y="3"/>
                  </a:lnTo>
                  <a:lnTo>
                    <a:pt x="145" y="20"/>
                  </a:lnTo>
                  <a:lnTo>
                    <a:pt x="140" y="35"/>
                  </a:lnTo>
                  <a:lnTo>
                    <a:pt x="138" y="53"/>
                  </a:lnTo>
                  <a:lnTo>
                    <a:pt x="143" y="72"/>
                  </a:lnTo>
                  <a:lnTo>
                    <a:pt x="140" y="97"/>
                  </a:lnTo>
                  <a:lnTo>
                    <a:pt x="140" y="122"/>
                  </a:lnTo>
                  <a:lnTo>
                    <a:pt x="140" y="146"/>
                  </a:lnTo>
                  <a:lnTo>
                    <a:pt x="141" y="176"/>
                  </a:lnTo>
                  <a:lnTo>
                    <a:pt x="125" y="192"/>
                  </a:lnTo>
                  <a:lnTo>
                    <a:pt x="107" y="210"/>
                  </a:lnTo>
                  <a:lnTo>
                    <a:pt x="85" y="225"/>
                  </a:lnTo>
                  <a:lnTo>
                    <a:pt x="62" y="238"/>
                  </a:lnTo>
                  <a:lnTo>
                    <a:pt x="41" y="246"/>
                  </a:lnTo>
                  <a:lnTo>
                    <a:pt x="20" y="250"/>
                  </a:lnTo>
                  <a:lnTo>
                    <a:pt x="18" y="225"/>
                  </a:lnTo>
                  <a:lnTo>
                    <a:pt x="16" y="207"/>
                  </a:lnTo>
                  <a:lnTo>
                    <a:pt x="16" y="192"/>
                  </a:lnTo>
                  <a:lnTo>
                    <a:pt x="15" y="179"/>
                  </a:lnTo>
                  <a:lnTo>
                    <a:pt x="15" y="164"/>
                  </a:lnTo>
                  <a:lnTo>
                    <a:pt x="13" y="145"/>
                  </a:lnTo>
                  <a:lnTo>
                    <a:pt x="11" y="122"/>
                  </a:lnTo>
                  <a:lnTo>
                    <a:pt x="8" y="94"/>
                  </a:lnTo>
                  <a:lnTo>
                    <a:pt x="5" y="61"/>
                  </a:lnTo>
                  <a:lnTo>
                    <a:pt x="2" y="31"/>
                  </a:lnTo>
                  <a:lnTo>
                    <a:pt x="0" y="10"/>
                  </a:lnTo>
                  <a:lnTo>
                    <a:pt x="16" y="3"/>
                  </a:lnTo>
                  <a:lnTo>
                    <a:pt x="31" y="15"/>
                  </a:lnTo>
                  <a:lnTo>
                    <a:pt x="43" y="28"/>
                  </a:lnTo>
                  <a:lnTo>
                    <a:pt x="54" y="43"/>
                  </a:lnTo>
                  <a:lnTo>
                    <a:pt x="66" y="58"/>
                  </a:lnTo>
                  <a:lnTo>
                    <a:pt x="90" y="38"/>
                  </a:lnTo>
                  <a:lnTo>
                    <a:pt x="115" y="18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FDD71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1" name="Freeform 910"/>
            <p:cNvSpPr>
              <a:spLocks/>
            </p:cNvSpPr>
            <p:nvPr/>
          </p:nvSpPr>
          <p:spPr bwMode="auto">
            <a:xfrm>
              <a:off x="357188" y="1557338"/>
              <a:ext cx="122237" cy="115888"/>
            </a:xfrm>
            <a:custGeom>
              <a:avLst/>
              <a:gdLst>
                <a:gd name="T0" fmla="*/ 54 w 77"/>
                <a:gd name="T1" fmla="*/ 0 h 73"/>
                <a:gd name="T2" fmla="*/ 66 w 77"/>
                <a:gd name="T3" fmla="*/ 2 h 73"/>
                <a:gd name="T4" fmla="*/ 74 w 77"/>
                <a:gd name="T5" fmla="*/ 7 h 73"/>
                <a:gd name="T6" fmla="*/ 77 w 77"/>
                <a:gd name="T7" fmla="*/ 15 h 73"/>
                <a:gd name="T8" fmla="*/ 67 w 77"/>
                <a:gd name="T9" fmla="*/ 30 h 73"/>
                <a:gd name="T10" fmla="*/ 52 w 77"/>
                <a:gd name="T11" fmla="*/ 45 h 73"/>
                <a:gd name="T12" fmla="*/ 34 w 77"/>
                <a:gd name="T13" fmla="*/ 58 h 73"/>
                <a:gd name="T14" fmla="*/ 16 w 77"/>
                <a:gd name="T15" fmla="*/ 68 h 73"/>
                <a:gd name="T16" fmla="*/ 0 w 77"/>
                <a:gd name="T17" fmla="*/ 73 h 73"/>
                <a:gd name="T18" fmla="*/ 15 w 77"/>
                <a:gd name="T19" fmla="*/ 54 h 73"/>
                <a:gd name="T20" fmla="*/ 24 w 77"/>
                <a:gd name="T21" fmla="*/ 40 h 73"/>
                <a:gd name="T22" fmla="*/ 31 w 77"/>
                <a:gd name="T23" fmla="*/ 27 h 73"/>
                <a:gd name="T24" fmla="*/ 38 w 77"/>
                <a:gd name="T25" fmla="*/ 15 h 73"/>
                <a:gd name="T26" fmla="*/ 42 w 77"/>
                <a:gd name="T27" fmla="*/ 4 h 73"/>
                <a:gd name="T28" fmla="*/ 54 w 77"/>
                <a:gd name="T2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73">
                  <a:moveTo>
                    <a:pt x="54" y="0"/>
                  </a:moveTo>
                  <a:lnTo>
                    <a:pt x="66" y="2"/>
                  </a:lnTo>
                  <a:lnTo>
                    <a:pt x="74" y="7"/>
                  </a:lnTo>
                  <a:lnTo>
                    <a:pt x="77" y="15"/>
                  </a:lnTo>
                  <a:lnTo>
                    <a:pt x="67" y="30"/>
                  </a:lnTo>
                  <a:lnTo>
                    <a:pt x="52" y="45"/>
                  </a:lnTo>
                  <a:lnTo>
                    <a:pt x="34" y="58"/>
                  </a:lnTo>
                  <a:lnTo>
                    <a:pt x="16" y="68"/>
                  </a:lnTo>
                  <a:lnTo>
                    <a:pt x="0" y="73"/>
                  </a:lnTo>
                  <a:lnTo>
                    <a:pt x="15" y="54"/>
                  </a:lnTo>
                  <a:lnTo>
                    <a:pt x="24" y="40"/>
                  </a:lnTo>
                  <a:lnTo>
                    <a:pt x="31" y="27"/>
                  </a:lnTo>
                  <a:lnTo>
                    <a:pt x="38" y="15"/>
                  </a:lnTo>
                  <a:lnTo>
                    <a:pt x="42" y="4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2" name="Freeform 911"/>
            <p:cNvSpPr>
              <a:spLocks/>
            </p:cNvSpPr>
            <p:nvPr/>
          </p:nvSpPr>
          <p:spPr bwMode="auto">
            <a:xfrm>
              <a:off x="277813" y="1552575"/>
              <a:ext cx="79375" cy="120650"/>
            </a:xfrm>
            <a:custGeom>
              <a:avLst/>
              <a:gdLst>
                <a:gd name="T0" fmla="*/ 18 w 50"/>
                <a:gd name="T1" fmla="*/ 0 h 76"/>
                <a:gd name="T2" fmla="*/ 30 w 50"/>
                <a:gd name="T3" fmla="*/ 2 h 76"/>
                <a:gd name="T4" fmla="*/ 41 w 50"/>
                <a:gd name="T5" fmla="*/ 10 h 76"/>
                <a:gd name="T6" fmla="*/ 40 w 50"/>
                <a:gd name="T7" fmla="*/ 26 h 76"/>
                <a:gd name="T8" fmla="*/ 41 w 50"/>
                <a:gd name="T9" fmla="*/ 41 h 76"/>
                <a:gd name="T10" fmla="*/ 45 w 50"/>
                <a:gd name="T11" fmla="*/ 56 h 76"/>
                <a:gd name="T12" fmla="*/ 50 w 50"/>
                <a:gd name="T13" fmla="*/ 76 h 76"/>
                <a:gd name="T14" fmla="*/ 30 w 50"/>
                <a:gd name="T15" fmla="*/ 62 h 76"/>
                <a:gd name="T16" fmla="*/ 14 w 50"/>
                <a:gd name="T17" fmla="*/ 43 h 76"/>
                <a:gd name="T18" fmla="*/ 0 w 50"/>
                <a:gd name="T19" fmla="*/ 21 h 76"/>
                <a:gd name="T20" fmla="*/ 0 w 50"/>
                <a:gd name="T21" fmla="*/ 12 h 76"/>
                <a:gd name="T22" fmla="*/ 9 w 50"/>
                <a:gd name="T23" fmla="*/ 3 h 76"/>
                <a:gd name="T24" fmla="*/ 18 w 50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18" y="0"/>
                  </a:moveTo>
                  <a:lnTo>
                    <a:pt x="30" y="2"/>
                  </a:lnTo>
                  <a:lnTo>
                    <a:pt x="41" y="10"/>
                  </a:lnTo>
                  <a:lnTo>
                    <a:pt x="40" y="26"/>
                  </a:lnTo>
                  <a:lnTo>
                    <a:pt x="41" y="41"/>
                  </a:lnTo>
                  <a:lnTo>
                    <a:pt x="45" y="56"/>
                  </a:lnTo>
                  <a:lnTo>
                    <a:pt x="50" y="76"/>
                  </a:lnTo>
                  <a:lnTo>
                    <a:pt x="30" y="62"/>
                  </a:lnTo>
                  <a:lnTo>
                    <a:pt x="14" y="43"/>
                  </a:lnTo>
                  <a:lnTo>
                    <a:pt x="0" y="21"/>
                  </a:lnTo>
                  <a:lnTo>
                    <a:pt x="0" y="12"/>
                  </a:lnTo>
                  <a:lnTo>
                    <a:pt x="9" y="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3" name="Freeform 912"/>
            <p:cNvSpPr>
              <a:spLocks/>
            </p:cNvSpPr>
            <p:nvPr/>
          </p:nvSpPr>
          <p:spPr bwMode="auto">
            <a:xfrm>
              <a:off x="439738" y="1585913"/>
              <a:ext cx="173037" cy="339725"/>
            </a:xfrm>
            <a:custGeom>
              <a:avLst/>
              <a:gdLst>
                <a:gd name="T0" fmla="*/ 35 w 109"/>
                <a:gd name="T1" fmla="*/ 0 h 214"/>
                <a:gd name="T2" fmla="*/ 43 w 109"/>
                <a:gd name="T3" fmla="*/ 4 h 214"/>
                <a:gd name="T4" fmla="*/ 53 w 109"/>
                <a:gd name="T5" fmla="*/ 15 h 214"/>
                <a:gd name="T6" fmla="*/ 63 w 109"/>
                <a:gd name="T7" fmla="*/ 30 h 214"/>
                <a:gd name="T8" fmla="*/ 74 w 109"/>
                <a:gd name="T9" fmla="*/ 48 h 214"/>
                <a:gd name="T10" fmla="*/ 84 w 109"/>
                <a:gd name="T11" fmla="*/ 66 h 214"/>
                <a:gd name="T12" fmla="*/ 94 w 109"/>
                <a:gd name="T13" fmla="*/ 84 h 214"/>
                <a:gd name="T14" fmla="*/ 101 w 109"/>
                <a:gd name="T15" fmla="*/ 97 h 214"/>
                <a:gd name="T16" fmla="*/ 107 w 109"/>
                <a:gd name="T17" fmla="*/ 109 h 214"/>
                <a:gd name="T18" fmla="*/ 109 w 109"/>
                <a:gd name="T19" fmla="*/ 117 h 214"/>
                <a:gd name="T20" fmla="*/ 109 w 109"/>
                <a:gd name="T21" fmla="*/ 125 h 214"/>
                <a:gd name="T22" fmla="*/ 106 w 109"/>
                <a:gd name="T23" fmla="*/ 133 h 214"/>
                <a:gd name="T24" fmla="*/ 99 w 109"/>
                <a:gd name="T25" fmla="*/ 143 h 214"/>
                <a:gd name="T26" fmla="*/ 89 w 109"/>
                <a:gd name="T27" fmla="*/ 155 h 214"/>
                <a:gd name="T28" fmla="*/ 74 w 109"/>
                <a:gd name="T29" fmla="*/ 170 h 214"/>
                <a:gd name="T30" fmla="*/ 56 w 109"/>
                <a:gd name="T31" fmla="*/ 189 h 214"/>
                <a:gd name="T32" fmla="*/ 33 w 109"/>
                <a:gd name="T33" fmla="*/ 214 h 214"/>
                <a:gd name="T34" fmla="*/ 28 w 109"/>
                <a:gd name="T35" fmla="*/ 209 h 214"/>
                <a:gd name="T36" fmla="*/ 23 w 109"/>
                <a:gd name="T37" fmla="*/ 206 h 214"/>
                <a:gd name="T38" fmla="*/ 20 w 109"/>
                <a:gd name="T39" fmla="*/ 204 h 214"/>
                <a:gd name="T40" fmla="*/ 17 w 109"/>
                <a:gd name="T41" fmla="*/ 204 h 214"/>
                <a:gd name="T42" fmla="*/ 14 w 109"/>
                <a:gd name="T43" fmla="*/ 202 h 214"/>
                <a:gd name="T44" fmla="*/ 12 w 109"/>
                <a:gd name="T45" fmla="*/ 202 h 214"/>
                <a:gd name="T46" fmla="*/ 9 w 109"/>
                <a:gd name="T47" fmla="*/ 199 h 214"/>
                <a:gd name="T48" fmla="*/ 7 w 109"/>
                <a:gd name="T49" fmla="*/ 194 h 214"/>
                <a:gd name="T50" fmla="*/ 4 w 109"/>
                <a:gd name="T51" fmla="*/ 189 h 214"/>
                <a:gd name="T52" fmla="*/ 0 w 109"/>
                <a:gd name="T53" fmla="*/ 186 h 214"/>
                <a:gd name="T54" fmla="*/ 22 w 109"/>
                <a:gd name="T55" fmla="*/ 166 h 214"/>
                <a:gd name="T56" fmla="*/ 37 w 109"/>
                <a:gd name="T57" fmla="*/ 151 h 214"/>
                <a:gd name="T58" fmla="*/ 48 w 109"/>
                <a:gd name="T59" fmla="*/ 140 h 214"/>
                <a:gd name="T60" fmla="*/ 56 w 109"/>
                <a:gd name="T61" fmla="*/ 133 h 214"/>
                <a:gd name="T62" fmla="*/ 60 w 109"/>
                <a:gd name="T63" fmla="*/ 127 h 214"/>
                <a:gd name="T64" fmla="*/ 61 w 109"/>
                <a:gd name="T65" fmla="*/ 122 h 214"/>
                <a:gd name="T66" fmla="*/ 60 w 109"/>
                <a:gd name="T67" fmla="*/ 119 h 214"/>
                <a:gd name="T68" fmla="*/ 56 w 109"/>
                <a:gd name="T69" fmla="*/ 114 h 214"/>
                <a:gd name="T70" fmla="*/ 51 w 109"/>
                <a:gd name="T71" fmla="*/ 107 h 214"/>
                <a:gd name="T72" fmla="*/ 45 w 109"/>
                <a:gd name="T73" fmla="*/ 97 h 214"/>
                <a:gd name="T74" fmla="*/ 37 w 109"/>
                <a:gd name="T75" fmla="*/ 87 h 214"/>
                <a:gd name="T76" fmla="*/ 30 w 109"/>
                <a:gd name="T77" fmla="*/ 78 h 214"/>
                <a:gd name="T78" fmla="*/ 27 w 109"/>
                <a:gd name="T79" fmla="*/ 71 h 214"/>
                <a:gd name="T80" fmla="*/ 25 w 109"/>
                <a:gd name="T81" fmla="*/ 69 h 214"/>
                <a:gd name="T82" fmla="*/ 17 w 109"/>
                <a:gd name="T83" fmla="*/ 55 h 214"/>
                <a:gd name="T84" fmla="*/ 17 w 109"/>
                <a:gd name="T85" fmla="*/ 40 h 214"/>
                <a:gd name="T86" fmla="*/ 20 w 109"/>
                <a:gd name="T87" fmla="*/ 25 h 214"/>
                <a:gd name="T88" fmla="*/ 27 w 109"/>
                <a:gd name="T89" fmla="*/ 10 h 214"/>
                <a:gd name="T90" fmla="*/ 35 w 109"/>
                <a:gd name="T9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9" h="214">
                  <a:moveTo>
                    <a:pt x="35" y="0"/>
                  </a:moveTo>
                  <a:lnTo>
                    <a:pt x="43" y="4"/>
                  </a:lnTo>
                  <a:lnTo>
                    <a:pt x="53" y="15"/>
                  </a:lnTo>
                  <a:lnTo>
                    <a:pt x="63" y="30"/>
                  </a:lnTo>
                  <a:lnTo>
                    <a:pt x="74" y="48"/>
                  </a:lnTo>
                  <a:lnTo>
                    <a:pt x="84" y="66"/>
                  </a:lnTo>
                  <a:lnTo>
                    <a:pt x="94" y="84"/>
                  </a:lnTo>
                  <a:lnTo>
                    <a:pt x="101" y="97"/>
                  </a:lnTo>
                  <a:lnTo>
                    <a:pt x="107" y="109"/>
                  </a:lnTo>
                  <a:lnTo>
                    <a:pt x="109" y="117"/>
                  </a:lnTo>
                  <a:lnTo>
                    <a:pt x="109" y="125"/>
                  </a:lnTo>
                  <a:lnTo>
                    <a:pt x="106" y="133"/>
                  </a:lnTo>
                  <a:lnTo>
                    <a:pt x="99" y="143"/>
                  </a:lnTo>
                  <a:lnTo>
                    <a:pt x="89" y="155"/>
                  </a:lnTo>
                  <a:lnTo>
                    <a:pt x="74" y="170"/>
                  </a:lnTo>
                  <a:lnTo>
                    <a:pt x="56" y="189"/>
                  </a:lnTo>
                  <a:lnTo>
                    <a:pt x="33" y="214"/>
                  </a:lnTo>
                  <a:lnTo>
                    <a:pt x="28" y="209"/>
                  </a:lnTo>
                  <a:lnTo>
                    <a:pt x="23" y="206"/>
                  </a:lnTo>
                  <a:lnTo>
                    <a:pt x="20" y="204"/>
                  </a:lnTo>
                  <a:lnTo>
                    <a:pt x="17" y="204"/>
                  </a:lnTo>
                  <a:lnTo>
                    <a:pt x="14" y="202"/>
                  </a:lnTo>
                  <a:lnTo>
                    <a:pt x="12" y="202"/>
                  </a:lnTo>
                  <a:lnTo>
                    <a:pt x="9" y="199"/>
                  </a:lnTo>
                  <a:lnTo>
                    <a:pt x="7" y="194"/>
                  </a:lnTo>
                  <a:lnTo>
                    <a:pt x="4" y="189"/>
                  </a:lnTo>
                  <a:lnTo>
                    <a:pt x="0" y="186"/>
                  </a:lnTo>
                  <a:lnTo>
                    <a:pt x="22" y="166"/>
                  </a:lnTo>
                  <a:lnTo>
                    <a:pt x="37" y="151"/>
                  </a:lnTo>
                  <a:lnTo>
                    <a:pt x="48" y="140"/>
                  </a:lnTo>
                  <a:lnTo>
                    <a:pt x="56" y="133"/>
                  </a:lnTo>
                  <a:lnTo>
                    <a:pt x="60" y="127"/>
                  </a:lnTo>
                  <a:lnTo>
                    <a:pt x="61" y="122"/>
                  </a:lnTo>
                  <a:lnTo>
                    <a:pt x="60" y="119"/>
                  </a:lnTo>
                  <a:lnTo>
                    <a:pt x="56" y="114"/>
                  </a:lnTo>
                  <a:lnTo>
                    <a:pt x="51" y="107"/>
                  </a:lnTo>
                  <a:lnTo>
                    <a:pt x="45" y="97"/>
                  </a:lnTo>
                  <a:lnTo>
                    <a:pt x="37" y="87"/>
                  </a:lnTo>
                  <a:lnTo>
                    <a:pt x="30" y="78"/>
                  </a:lnTo>
                  <a:lnTo>
                    <a:pt x="27" y="71"/>
                  </a:lnTo>
                  <a:lnTo>
                    <a:pt x="25" y="69"/>
                  </a:lnTo>
                  <a:lnTo>
                    <a:pt x="17" y="55"/>
                  </a:lnTo>
                  <a:lnTo>
                    <a:pt x="17" y="40"/>
                  </a:lnTo>
                  <a:lnTo>
                    <a:pt x="20" y="25"/>
                  </a:lnTo>
                  <a:lnTo>
                    <a:pt x="27" y="1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A50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4" name="Freeform 913"/>
            <p:cNvSpPr>
              <a:spLocks/>
            </p:cNvSpPr>
            <p:nvPr/>
          </p:nvSpPr>
          <p:spPr bwMode="auto">
            <a:xfrm>
              <a:off x="406400" y="1881188"/>
              <a:ext cx="68262" cy="65088"/>
            </a:xfrm>
            <a:custGeom>
              <a:avLst/>
              <a:gdLst>
                <a:gd name="T0" fmla="*/ 23 w 43"/>
                <a:gd name="T1" fmla="*/ 0 h 41"/>
                <a:gd name="T2" fmla="*/ 43 w 43"/>
                <a:gd name="T3" fmla="*/ 18 h 41"/>
                <a:gd name="T4" fmla="*/ 39 w 43"/>
                <a:gd name="T5" fmla="*/ 23 h 41"/>
                <a:gd name="T6" fmla="*/ 33 w 43"/>
                <a:gd name="T7" fmla="*/ 38 h 41"/>
                <a:gd name="T8" fmla="*/ 28 w 43"/>
                <a:gd name="T9" fmla="*/ 36 h 41"/>
                <a:gd name="T10" fmla="*/ 23 w 43"/>
                <a:gd name="T11" fmla="*/ 34 h 41"/>
                <a:gd name="T12" fmla="*/ 18 w 43"/>
                <a:gd name="T13" fmla="*/ 31 h 41"/>
                <a:gd name="T14" fmla="*/ 15 w 43"/>
                <a:gd name="T15" fmla="*/ 30 h 41"/>
                <a:gd name="T16" fmla="*/ 13 w 43"/>
                <a:gd name="T17" fmla="*/ 28 h 41"/>
                <a:gd name="T18" fmla="*/ 11 w 43"/>
                <a:gd name="T19" fmla="*/ 26 h 41"/>
                <a:gd name="T20" fmla="*/ 11 w 43"/>
                <a:gd name="T21" fmla="*/ 28 h 41"/>
                <a:gd name="T22" fmla="*/ 10 w 43"/>
                <a:gd name="T23" fmla="*/ 30 h 41"/>
                <a:gd name="T24" fmla="*/ 8 w 43"/>
                <a:gd name="T25" fmla="*/ 33 h 41"/>
                <a:gd name="T26" fmla="*/ 7 w 43"/>
                <a:gd name="T27" fmla="*/ 36 h 41"/>
                <a:gd name="T28" fmla="*/ 5 w 43"/>
                <a:gd name="T29" fmla="*/ 39 h 41"/>
                <a:gd name="T30" fmla="*/ 2 w 43"/>
                <a:gd name="T31" fmla="*/ 41 h 41"/>
                <a:gd name="T32" fmla="*/ 0 w 43"/>
                <a:gd name="T33" fmla="*/ 39 h 41"/>
                <a:gd name="T34" fmla="*/ 0 w 43"/>
                <a:gd name="T35" fmla="*/ 36 h 41"/>
                <a:gd name="T36" fmla="*/ 2 w 43"/>
                <a:gd name="T37" fmla="*/ 28 h 41"/>
                <a:gd name="T38" fmla="*/ 5 w 43"/>
                <a:gd name="T39" fmla="*/ 18 h 41"/>
                <a:gd name="T40" fmla="*/ 10 w 43"/>
                <a:gd name="T41" fmla="*/ 8 h 41"/>
                <a:gd name="T42" fmla="*/ 16 w 43"/>
                <a:gd name="T43" fmla="*/ 3 h 41"/>
                <a:gd name="T44" fmla="*/ 23 w 43"/>
                <a:gd name="T4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41">
                  <a:moveTo>
                    <a:pt x="23" y="0"/>
                  </a:moveTo>
                  <a:lnTo>
                    <a:pt x="43" y="18"/>
                  </a:lnTo>
                  <a:lnTo>
                    <a:pt x="39" y="23"/>
                  </a:lnTo>
                  <a:lnTo>
                    <a:pt x="33" y="38"/>
                  </a:lnTo>
                  <a:lnTo>
                    <a:pt x="28" y="36"/>
                  </a:lnTo>
                  <a:lnTo>
                    <a:pt x="23" y="34"/>
                  </a:lnTo>
                  <a:lnTo>
                    <a:pt x="18" y="31"/>
                  </a:lnTo>
                  <a:lnTo>
                    <a:pt x="15" y="30"/>
                  </a:lnTo>
                  <a:lnTo>
                    <a:pt x="13" y="28"/>
                  </a:lnTo>
                  <a:lnTo>
                    <a:pt x="11" y="26"/>
                  </a:lnTo>
                  <a:lnTo>
                    <a:pt x="11" y="28"/>
                  </a:lnTo>
                  <a:lnTo>
                    <a:pt x="10" y="30"/>
                  </a:lnTo>
                  <a:lnTo>
                    <a:pt x="8" y="33"/>
                  </a:lnTo>
                  <a:lnTo>
                    <a:pt x="7" y="36"/>
                  </a:lnTo>
                  <a:lnTo>
                    <a:pt x="5" y="39"/>
                  </a:lnTo>
                  <a:lnTo>
                    <a:pt x="2" y="41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2" y="28"/>
                  </a:lnTo>
                  <a:lnTo>
                    <a:pt x="5" y="18"/>
                  </a:lnTo>
                  <a:lnTo>
                    <a:pt x="10" y="8"/>
                  </a:lnTo>
                  <a:lnTo>
                    <a:pt x="16" y="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5" name="Freeform 914"/>
            <p:cNvSpPr>
              <a:spLocks/>
            </p:cNvSpPr>
            <p:nvPr/>
          </p:nvSpPr>
          <p:spPr bwMode="auto">
            <a:xfrm>
              <a:off x="301625" y="1385888"/>
              <a:ext cx="153987" cy="185738"/>
            </a:xfrm>
            <a:custGeom>
              <a:avLst/>
              <a:gdLst>
                <a:gd name="T0" fmla="*/ 10 w 97"/>
                <a:gd name="T1" fmla="*/ 0 h 117"/>
                <a:gd name="T2" fmla="*/ 89 w 97"/>
                <a:gd name="T3" fmla="*/ 3 h 117"/>
                <a:gd name="T4" fmla="*/ 91 w 97"/>
                <a:gd name="T5" fmla="*/ 6 h 117"/>
                <a:gd name="T6" fmla="*/ 92 w 97"/>
                <a:gd name="T7" fmla="*/ 10 h 117"/>
                <a:gd name="T8" fmla="*/ 94 w 97"/>
                <a:gd name="T9" fmla="*/ 15 h 117"/>
                <a:gd name="T10" fmla="*/ 96 w 97"/>
                <a:gd name="T11" fmla="*/ 20 h 117"/>
                <a:gd name="T12" fmla="*/ 96 w 97"/>
                <a:gd name="T13" fmla="*/ 25 h 117"/>
                <a:gd name="T14" fmla="*/ 97 w 97"/>
                <a:gd name="T15" fmla="*/ 28 h 117"/>
                <a:gd name="T16" fmla="*/ 97 w 97"/>
                <a:gd name="T17" fmla="*/ 31 h 117"/>
                <a:gd name="T18" fmla="*/ 94 w 97"/>
                <a:gd name="T19" fmla="*/ 34 h 117"/>
                <a:gd name="T20" fmla="*/ 92 w 97"/>
                <a:gd name="T21" fmla="*/ 38 h 117"/>
                <a:gd name="T22" fmla="*/ 92 w 97"/>
                <a:gd name="T23" fmla="*/ 41 h 117"/>
                <a:gd name="T24" fmla="*/ 94 w 97"/>
                <a:gd name="T25" fmla="*/ 48 h 117"/>
                <a:gd name="T26" fmla="*/ 94 w 97"/>
                <a:gd name="T27" fmla="*/ 51 h 117"/>
                <a:gd name="T28" fmla="*/ 94 w 97"/>
                <a:gd name="T29" fmla="*/ 56 h 117"/>
                <a:gd name="T30" fmla="*/ 94 w 97"/>
                <a:gd name="T31" fmla="*/ 64 h 117"/>
                <a:gd name="T32" fmla="*/ 94 w 97"/>
                <a:gd name="T33" fmla="*/ 72 h 117"/>
                <a:gd name="T34" fmla="*/ 94 w 97"/>
                <a:gd name="T35" fmla="*/ 77 h 117"/>
                <a:gd name="T36" fmla="*/ 94 w 97"/>
                <a:gd name="T37" fmla="*/ 87 h 117"/>
                <a:gd name="T38" fmla="*/ 89 w 97"/>
                <a:gd name="T39" fmla="*/ 94 h 117"/>
                <a:gd name="T40" fmla="*/ 82 w 97"/>
                <a:gd name="T41" fmla="*/ 100 h 117"/>
                <a:gd name="T42" fmla="*/ 71 w 97"/>
                <a:gd name="T43" fmla="*/ 110 h 117"/>
                <a:gd name="T44" fmla="*/ 59 w 97"/>
                <a:gd name="T45" fmla="*/ 117 h 117"/>
                <a:gd name="T46" fmla="*/ 48 w 97"/>
                <a:gd name="T47" fmla="*/ 115 h 117"/>
                <a:gd name="T48" fmla="*/ 36 w 97"/>
                <a:gd name="T49" fmla="*/ 112 h 117"/>
                <a:gd name="T50" fmla="*/ 26 w 97"/>
                <a:gd name="T51" fmla="*/ 103 h 117"/>
                <a:gd name="T52" fmla="*/ 15 w 97"/>
                <a:gd name="T53" fmla="*/ 97 h 117"/>
                <a:gd name="T54" fmla="*/ 10 w 97"/>
                <a:gd name="T55" fmla="*/ 90 h 117"/>
                <a:gd name="T56" fmla="*/ 7 w 97"/>
                <a:gd name="T57" fmla="*/ 79 h 117"/>
                <a:gd name="T58" fmla="*/ 7 w 97"/>
                <a:gd name="T59" fmla="*/ 64 h 117"/>
                <a:gd name="T60" fmla="*/ 7 w 97"/>
                <a:gd name="T61" fmla="*/ 48 h 117"/>
                <a:gd name="T62" fmla="*/ 7 w 97"/>
                <a:gd name="T63" fmla="*/ 41 h 117"/>
                <a:gd name="T64" fmla="*/ 5 w 97"/>
                <a:gd name="T65" fmla="*/ 38 h 117"/>
                <a:gd name="T66" fmla="*/ 3 w 97"/>
                <a:gd name="T67" fmla="*/ 34 h 117"/>
                <a:gd name="T68" fmla="*/ 2 w 97"/>
                <a:gd name="T69" fmla="*/ 31 h 117"/>
                <a:gd name="T70" fmla="*/ 0 w 97"/>
                <a:gd name="T71" fmla="*/ 29 h 117"/>
                <a:gd name="T72" fmla="*/ 0 w 97"/>
                <a:gd name="T73" fmla="*/ 28 h 117"/>
                <a:gd name="T74" fmla="*/ 2 w 97"/>
                <a:gd name="T75" fmla="*/ 20 h 117"/>
                <a:gd name="T76" fmla="*/ 5 w 97"/>
                <a:gd name="T77" fmla="*/ 11 h 117"/>
                <a:gd name="T78" fmla="*/ 8 w 97"/>
                <a:gd name="T79" fmla="*/ 3 h 117"/>
                <a:gd name="T80" fmla="*/ 10 w 97"/>
                <a:gd name="T8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" h="117">
                  <a:moveTo>
                    <a:pt x="10" y="0"/>
                  </a:moveTo>
                  <a:lnTo>
                    <a:pt x="89" y="3"/>
                  </a:lnTo>
                  <a:lnTo>
                    <a:pt x="91" y="6"/>
                  </a:lnTo>
                  <a:lnTo>
                    <a:pt x="92" y="10"/>
                  </a:lnTo>
                  <a:lnTo>
                    <a:pt x="94" y="15"/>
                  </a:lnTo>
                  <a:lnTo>
                    <a:pt x="96" y="20"/>
                  </a:lnTo>
                  <a:lnTo>
                    <a:pt x="96" y="25"/>
                  </a:lnTo>
                  <a:lnTo>
                    <a:pt x="97" y="28"/>
                  </a:lnTo>
                  <a:lnTo>
                    <a:pt x="97" y="31"/>
                  </a:lnTo>
                  <a:lnTo>
                    <a:pt x="94" y="34"/>
                  </a:lnTo>
                  <a:lnTo>
                    <a:pt x="92" y="38"/>
                  </a:lnTo>
                  <a:lnTo>
                    <a:pt x="92" y="41"/>
                  </a:lnTo>
                  <a:lnTo>
                    <a:pt x="94" y="48"/>
                  </a:lnTo>
                  <a:lnTo>
                    <a:pt x="94" y="51"/>
                  </a:lnTo>
                  <a:lnTo>
                    <a:pt x="94" y="56"/>
                  </a:lnTo>
                  <a:lnTo>
                    <a:pt x="94" y="64"/>
                  </a:lnTo>
                  <a:lnTo>
                    <a:pt x="94" y="72"/>
                  </a:lnTo>
                  <a:lnTo>
                    <a:pt x="94" y="77"/>
                  </a:lnTo>
                  <a:lnTo>
                    <a:pt x="94" y="87"/>
                  </a:lnTo>
                  <a:lnTo>
                    <a:pt x="89" y="94"/>
                  </a:lnTo>
                  <a:lnTo>
                    <a:pt x="82" y="100"/>
                  </a:lnTo>
                  <a:lnTo>
                    <a:pt x="71" y="110"/>
                  </a:lnTo>
                  <a:lnTo>
                    <a:pt x="59" y="117"/>
                  </a:lnTo>
                  <a:lnTo>
                    <a:pt x="48" y="115"/>
                  </a:lnTo>
                  <a:lnTo>
                    <a:pt x="36" y="112"/>
                  </a:lnTo>
                  <a:lnTo>
                    <a:pt x="26" y="103"/>
                  </a:lnTo>
                  <a:lnTo>
                    <a:pt x="15" y="97"/>
                  </a:lnTo>
                  <a:lnTo>
                    <a:pt x="10" y="90"/>
                  </a:lnTo>
                  <a:lnTo>
                    <a:pt x="7" y="79"/>
                  </a:lnTo>
                  <a:lnTo>
                    <a:pt x="7" y="64"/>
                  </a:lnTo>
                  <a:lnTo>
                    <a:pt x="7" y="48"/>
                  </a:lnTo>
                  <a:lnTo>
                    <a:pt x="7" y="41"/>
                  </a:lnTo>
                  <a:lnTo>
                    <a:pt x="5" y="38"/>
                  </a:lnTo>
                  <a:lnTo>
                    <a:pt x="3" y="34"/>
                  </a:lnTo>
                  <a:lnTo>
                    <a:pt x="2" y="31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5" y="11"/>
                  </a:lnTo>
                  <a:lnTo>
                    <a:pt x="8" y="3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CCA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6" name="Freeform 915"/>
            <p:cNvSpPr>
              <a:spLocks/>
            </p:cNvSpPr>
            <p:nvPr/>
          </p:nvSpPr>
          <p:spPr bwMode="auto">
            <a:xfrm>
              <a:off x="292100" y="1336675"/>
              <a:ext cx="171450" cy="125413"/>
            </a:xfrm>
            <a:custGeom>
              <a:avLst/>
              <a:gdLst>
                <a:gd name="T0" fmla="*/ 108 w 108"/>
                <a:gd name="T1" fmla="*/ 0 h 79"/>
                <a:gd name="T2" fmla="*/ 108 w 108"/>
                <a:gd name="T3" fmla="*/ 6 h 79"/>
                <a:gd name="T4" fmla="*/ 108 w 108"/>
                <a:gd name="T5" fmla="*/ 14 h 79"/>
                <a:gd name="T6" fmla="*/ 103 w 108"/>
                <a:gd name="T7" fmla="*/ 23 h 79"/>
                <a:gd name="T8" fmla="*/ 107 w 108"/>
                <a:gd name="T9" fmla="*/ 36 h 79"/>
                <a:gd name="T10" fmla="*/ 105 w 108"/>
                <a:gd name="T11" fmla="*/ 62 h 79"/>
                <a:gd name="T12" fmla="*/ 98 w 108"/>
                <a:gd name="T13" fmla="*/ 67 h 79"/>
                <a:gd name="T14" fmla="*/ 97 w 108"/>
                <a:gd name="T15" fmla="*/ 46 h 79"/>
                <a:gd name="T16" fmla="*/ 87 w 108"/>
                <a:gd name="T17" fmla="*/ 37 h 79"/>
                <a:gd name="T18" fmla="*/ 77 w 108"/>
                <a:gd name="T19" fmla="*/ 36 h 79"/>
                <a:gd name="T20" fmla="*/ 64 w 108"/>
                <a:gd name="T21" fmla="*/ 37 h 79"/>
                <a:gd name="T22" fmla="*/ 56 w 108"/>
                <a:gd name="T23" fmla="*/ 37 h 79"/>
                <a:gd name="T24" fmla="*/ 57 w 108"/>
                <a:gd name="T25" fmla="*/ 39 h 79"/>
                <a:gd name="T26" fmla="*/ 74 w 108"/>
                <a:gd name="T27" fmla="*/ 46 h 79"/>
                <a:gd name="T28" fmla="*/ 85 w 108"/>
                <a:gd name="T29" fmla="*/ 49 h 79"/>
                <a:gd name="T30" fmla="*/ 67 w 108"/>
                <a:gd name="T31" fmla="*/ 51 h 79"/>
                <a:gd name="T32" fmla="*/ 34 w 108"/>
                <a:gd name="T33" fmla="*/ 39 h 79"/>
                <a:gd name="T34" fmla="*/ 32 w 108"/>
                <a:gd name="T35" fmla="*/ 39 h 79"/>
                <a:gd name="T36" fmla="*/ 29 w 108"/>
                <a:gd name="T37" fmla="*/ 37 h 79"/>
                <a:gd name="T38" fmla="*/ 23 w 108"/>
                <a:gd name="T39" fmla="*/ 37 h 79"/>
                <a:gd name="T40" fmla="*/ 18 w 108"/>
                <a:gd name="T41" fmla="*/ 41 h 79"/>
                <a:gd name="T42" fmla="*/ 16 w 108"/>
                <a:gd name="T43" fmla="*/ 51 h 79"/>
                <a:gd name="T44" fmla="*/ 13 w 108"/>
                <a:gd name="T45" fmla="*/ 75 h 79"/>
                <a:gd name="T46" fmla="*/ 11 w 108"/>
                <a:gd name="T47" fmla="*/ 77 h 79"/>
                <a:gd name="T48" fmla="*/ 1 w 108"/>
                <a:gd name="T49" fmla="*/ 59 h 79"/>
                <a:gd name="T50" fmla="*/ 3 w 108"/>
                <a:gd name="T51" fmla="*/ 31 h 79"/>
                <a:gd name="T52" fmla="*/ 3 w 108"/>
                <a:gd name="T53" fmla="*/ 29 h 79"/>
                <a:gd name="T54" fmla="*/ 6 w 108"/>
                <a:gd name="T55" fmla="*/ 26 h 79"/>
                <a:gd name="T56" fmla="*/ 13 w 108"/>
                <a:gd name="T57" fmla="*/ 23 h 79"/>
                <a:gd name="T58" fmla="*/ 21 w 108"/>
                <a:gd name="T59" fmla="*/ 23 h 79"/>
                <a:gd name="T60" fmla="*/ 21 w 108"/>
                <a:gd name="T61" fmla="*/ 21 h 79"/>
                <a:gd name="T62" fmla="*/ 19 w 108"/>
                <a:gd name="T63" fmla="*/ 16 h 79"/>
                <a:gd name="T64" fmla="*/ 21 w 108"/>
                <a:gd name="T65" fmla="*/ 11 h 79"/>
                <a:gd name="T66" fmla="*/ 26 w 108"/>
                <a:gd name="T67" fmla="*/ 6 h 79"/>
                <a:gd name="T68" fmla="*/ 34 w 108"/>
                <a:gd name="T69" fmla="*/ 3 h 79"/>
                <a:gd name="T70" fmla="*/ 69 w 108"/>
                <a:gd name="T71" fmla="*/ 8 h 79"/>
                <a:gd name="T72" fmla="*/ 98 w 108"/>
                <a:gd name="T73" fmla="*/ 8 h 79"/>
                <a:gd name="T74" fmla="*/ 100 w 108"/>
                <a:gd name="T75" fmla="*/ 6 h 79"/>
                <a:gd name="T76" fmla="*/ 107 w 108"/>
                <a:gd name="T77" fmla="*/ 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79">
                  <a:moveTo>
                    <a:pt x="107" y="0"/>
                  </a:moveTo>
                  <a:lnTo>
                    <a:pt x="108" y="0"/>
                  </a:lnTo>
                  <a:lnTo>
                    <a:pt x="108" y="3"/>
                  </a:lnTo>
                  <a:lnTo>
                    <a:pt x="108" y="6"/>
                  </a:lnTo>
                  <a:lnTo>
                    <a:pt x="108" y="10"/>
                  </a:lnTo>
                  <a:lnTo>
                    <a:pt x="108" y="14"/>
                  </a:lnTo>
                  <a:lnTo>
                    <a:pt x="107" y="19"/>
                  </a:lnTo>
                  <a:lnTo>
                    <a:pt x="103" y="23"/>
                  </a:lnTo>
                  <a:lnTo>
                    <a:pt x="105" y="26"/>
                  </a:lnTo>
                  <a:lnTo>
                    <a:pt x="107" y="36"/>
                  </a:lnTo>
                  <a:lnTo>
                    <a:pt x="107" y="49"/>
                  </a:lnTo>
                  <a:lnTo>
                    <a:pt x="105" y="62"/>
                  </a:lnTo>
                  <a:lnTo>
                    <a:pt x="98" y="72"/>
                  </a:lnTo>
                  <a:lnTo>
                    <a:pt x="98" y="67"/>
                  </a:lnTo>
                  <a:lnTo>
                    <a:pt x="98" y="57"/>
                  </a:lnTo>
                  <a:lnTo>
                    <a:pt x="97" y="46"/>
                  </a:lnTo>
                  <a:lnTo>
                    <a:pt x="92" y="39"/>
                  </a:lnTo>
                  <a:lnTo>
                    <a:pt x="87" y="37"/>
                  </a:lnTo>
                  <a:lnTo>
                    <a:pt x="82" y="36"/>
                  </a:lnTo>
                  <a:lnTo>
                    <a:pt x="77" y="36"/>
                  </a:lnTo>
                  <a:lnTo>
                    <a:pt x="70" y="36"/>
                  </a:lnTo>
                  <a:lnTo>
                    <a:pt x="64" y="37"/>
                  </a:lnTo>
                  <a:lnTo>
                    <a:pt x="59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7" y="39"/>
                  </a:lnTo>
                  <a:lnTo>
                    <a:pt x="64" y="42"/>
                  </a:lnTo>
                  <a:lnTo>
                    <a:pt x="74" y="46"/>
                  </a:lnTo>
                  <a:lnTo>
                    <a:pt x="87" y="47"/>
                  </a:lnTo>
                  <a:lnTo>
                    <a:pt x="85" y="49"/>
                  </a:lnTo>
                  <a:lnTo>
                    <a:pt x="79" y="51"/>
                  </a:lnTo>
                  <a:lnTo>
                    <a:pt x="67" y="51"/>
                  </a:lnTo>
                  <a:lnTo>
                    <a:pt x="52" y="4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2" y="39"/>
                  </a:lnTo>
                  <a:lnTo>
                    <a:pt x="31" y="37"/>
                  </a:lnTo>
                  <a:lnTo>
                    <a:pt x="29" y="37"/>
                  </a:lnTo>
                  <a:lnTo>
                    <a:pt x="26" y="37"/>
                  </a:lnTo>
                  <a:lnTo>
                    <a:pt x="23" y="37"/>
                  </a:lnTo>
                  <a:lnTo>
                    <a:pt x="21" y="39"/>
                  </a:lnTo>
                  <a:lnTo>
                    <a:pt x="18" y="41"/>
                  </a:lnTo>
                  <a:lnTo>
                    <a:pt x="16" y="44"/>
                  </a:lnTo>
                  <a:lnTo>
                    <a:pt x="16" y="51"/>
                  </a:lnTo>
                  <a:lnTo>
                    <a:pt x="14" y="67"/>
                  </a:lnTo>
                  <a:lnTo>
                    <a:pt x="13" y="75"/>
                  </a:lnTo>
                  <a:lnTo>
                    <a:pt x="13" y="79"/>
                  </a:lnTo>
                  <a:lnTo>
                    <a:pt x="11" y="77"/>
                  </a:lnTo>
                  <a:lnTo>
                    <a:pt x="6" y="69"/>
                  </a:lnTo>
                  <a:lnTo>
                    <a:pt x="1" y="59"/>
                  </a:lnTo>
                  <a:lnTo>
                    <a:pt x="0" y="46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5" y="28"/>
                  </a:lnTo>
                  <a:lnTo>
                    <a:pt x="6" y="26"/>
                  </a:lnTo>
                  <a:lnTo>
                    <a:pt x="9" y="23"/>
                  </a:lnTo>
                  <a:lnTo>
                    <a:pt x="13" y="23"/>
                  </a:lnTo>
                  <a:lnTo>
                    <a:pt x="16" y="21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21" y="11"/>
                  </a:lnTo>
                  <a:lnTo>
                    <a:pt x="23" y="8"/>
                  </a:lnTo>
                  <a:lnTo>
                    <a:pt x="26" y="6"/>
                  </a:lnTo>
                  <a:lnTo>
                    <a:pt x="29" y="5"/>
                  </a:lnTo>
                  <a:lnTo>
                    <a:pt x="34" y="3"/>
                  </a:lnTo>
                  <a:lnTo>
                    <a:pt x="52" y="5"/>
                  </a:lnTo>
                  <a:lnTo>
                    <a:pt x="69" y="8"/>
                  </a:lnTo>
                  <a:lnTo>
                    <a:pt x="85" y="10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100" y="6"/>
                  </a:lnTo>
                  <a:lnTo>
                    <a:pt x="103" y="5"/>
                  </a:lnTo>
                  <a:lnTo>
                    <a:pt x="107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7" name="Freeform 916"/>
            <p:cNvSpPr>
              <a:spLocks/>
            </p:cNvSpPr>
            <p:nvPr/>
          </p:nvSpPr>
          <p:spPr bwMode="auto">
            <a:xfrm>
              <a:off x="342900" y="1492250"/>
              <a:ext cx="80962" cy="26988"/>
            </a:xfrm>
            <a:custGeom>
              <a:avLst/>
              <a:gdLst>
                <a:gd name="T0" fmla="*/ 20 w 51"/>
                <a:gd name="T1" fmla="*/ 0 h 17"/>
                <a:gd name="T2" fmla="*/ 24 w 51"/>
                <a:gd name="T3" fmla="*/ 0 h 17"/>
                <a:gd name="T4" fmla="*/ 25 w 51"/>
                <a:gd name="T5" fmla="*/ 2 h 17"/>
                <a:gd name="T6" fmla="*/ 25 w 51"/>
                <a:gd name="T7" fmla="*/ 2 h 17"/>
                <a:gd name="T8" fmla="*/ 27 w 51"/>
                <a:gd name="T9" fmla="*/ 2 h 17"/>
                <a:gd name="T10" fmla="*/ 28 w 51"/>
                <a:gd name="T11" fmla="*/ 0 h 17"/>
                <a:gd name="T12" fmla="*/ 30 w 51"/>
                <a:gd name="T13" fmla="*/ 0 h 17"/>
                <a:gd name="T14" fmla="*/ 33 w 51"/>
                <a:gd name="T15" fmla="*/ 0 h 17"/>
                <a:gd name="T16" fmla="*/ 37 w 51"/>
                <a:gd name="T17" fmla="*/ 2 h 17"/>
                <a:gd name="T18" fmla="*/ 42 w 51"/>
                <a:gd name="T19" fmla="*/ 5 h 17"/>
                <a:gd name="T20" fmla="*/ 45 w 51"/>
                <a:gd name="T21" fmla="*/ 7 h 17"/>
                <a:gd name="T22" fmla="*/ 47 w 51"/>
                <a:gd name="T23" fmla="*/ 7 h 17"/>
                <a:gd name="T24" fmla="*/ 48 w 51"/>
                <a:gd name="T25" fmla="*/ 7 h 17"/>
                <a:gd name="T26" fmla="*/ 51 w 51"/>
                <a:gd name="T27" fmla="*/ 5 h 17"/>
                <a:gd name="T28" fmla="*/ 51 w 51"/>
                <a:gd name="T29" fmla="*/ 7 h 17"/>
                <a:gd name="T30" fmla="*/ 50 w 51"/>
                <a:gd name="T31" fmla="*/ 8 h 17"/>
                <a:gd name="T32" fmla="*/ 50 w 51"/>
                <a:gd name="T33" fmla="*/ 10 h 17"/>
                <a:gd name="T34" fmla="*/ 48 w 51"/>
                <a:gd name="T35" fmla="*/ 13 h 17"/>
                <a:gd name="T36" fmla="*/ 45 w 51"/>
                <a:gd name="T37" fmla="*/ 15 h 17"/>
                <a:gd name="T38" fmla="*/ 42 w 51"/>
                <a:gd name="T39" fmla="*/ 17 h 17"/>
                <a:gd name="T40" fmla="*/ 37 w 51"/>
                <a:gd name="T41" fmla="*/ 17 h 17"/>
                <a:gd name="T42" fmla="*/ 32 w 51"/>
                <a:gd name="T43" fmla="*/ 17 h 17"/>
                <a:gd name="T44" fmla="*/ 30 w 51"/>
                <a:gd name="T45" fmla="*/ 15 h 17"/>
                <a:gd name="T46" fmla="*/ 27 w 51"/>
                <a:gd name="T47" fmla="*/ 13 h 17"/>
                <a:gd name="T48" fmla="*/ 25 w 51"/>
                <a:gd name="T49" fmla="*/ 10 h 17"/>
                <a:gd name="T50" fmla="*/ 24 w 51"/>
                <a:gd name="T51" fmla="*/ 13 h 17"/>
                <a:gd name="T52" fmla="*/ 22 w 51"/>
                <a:gd name="T53" fmla="*/ 15 h 17"/>
                <a:gd name="T54" fmla="*/ 19 w 51"/>
                <a:gd name="T55" fmla="*/ 17 h 17"/>
                <a:gd name="T56" fmla="*/ 15 w 51"/>
                <a:gd name="T57" fmla="*/ 17 h 17"/>
                <a:gd name="T58" fmla="*/ 10 w 51"/>
                <a:gd name="T59" fmla="*/ 17 h 17"/>
                <a:gd name="T60" fmla="*/ 5 w 51"/>
                <a:gd name="T61" fmla="*/ 15 h 17"/>
                <a:gd name="T62" fmla="*/ 4 w 51"/>
                <a:gd name="T63" fmla="*/ 13 h 17"/>
                <a:gd name="T64" fmla="*/ 2 w 51"/>
                <a:gd name="T65" fmla="*/ 10 h 17"/>
                <a:gd name="T66" fmla="*/ 0 w 51"/>
                <a:gd name="T67" fmla="*/ 8 h 17"/>
                <a:gd name="T68" fmla="*/ 0 w 51"/>
                <a:gd name="T69" fmla="*/ 7 h 17"/>
                <a:gd name="T70" fmla="*/ 0 w 51"/>
                <a:gd name="T71" fmla="*/ 5 h 17"/>
                <a:gd name="T72" fmla="*/ 2 w 51"/>
                <a:gd name="T73" fmla="*/ 7 h 17"/>
                <a:gd name="T74" fmla="*/ 4 w 51"/>
                <a:gd name="T75" fmla="*/ 7 h 17"/>
                <a:gd name="T76" fmla="*/ 7 w 51"/>
                <a:gd name="T77" fmla="*/ 7 h 17"/>
                <a:gd name="T78" fmla="*/ 9 w 51"/>
                <a:gd name="T79" fmla="*/ 5 h 17"/>
                <a:gd name="T80" fmla="*/ 14 w 51"/>
                <a:gd name="T81" fmla="*/ 2 h 17"/>
                <a:gd name="T82" fmla="*/ 17 w 51"/>
                <a:gd name="T83" fmla="*/ 0 h 17"/>
                <a:gd name="T84" fmla="*/ 20 w 51"/>
                <a:gd name="T8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1" h="17">
                  <a:moveTo>
                    <a:pt x="20" y="0"/>
                  </a:moveTo>
                  <a:lnTo>
                    <a:pt x="24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7" y="2"/>
                  </a:lnTo>
                  <a:lnTo>
                    <a:pt x="42" y="5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51" y="5"/>
                  </a:lnTo>
                  <a:lnTo>
                    <a:pt x="51" y="7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48" y="13"/>
                  </a:lnTo>
                  <a:lnTo>
                    <a:pt x="45" y="15"/>
                  </a:lnTo>
                  <a:lnTo>
                    <a:pt x="42" y="17"/>
                  </a:lnTo>
                  <a:lnTo>
                    <a:pt x="37" y="17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27" y="13"/>
                  </a:lnTo>
                  <a:lnTo>
                    <a:pt x="25" y="10"/>
                  </a:lnTo>
                  <a:lnTo>
                    <a:pt x="24" y="13"/>
                  </a:lnTo>
                  <a:lnTo>
                    <a:pt x="22" y="15"/>
                  </a:lnTo>
                  <a:lnTo>
                    <a:pt x="19" y="17"/>
                  </a:lnTo>
                  <a:lnTo>
                    <a:pt x="15" y="17"/>
                  </a:lnTo>
                  <a:lnTo>
                    <a:pt x="10" y="17"/>
                  </a:lnTo>
                  <a:lnTo>
                    <a:pt x="5" y="15"/>
                  </a:lnTo>
                  <a:lnTo>
                    <a:pt x="4" y="13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9" y="5"/>
                  </a:lnTo>
                  <a:lnTo>
                    <a:pt x="14" y="2"/>
                  </a:lnTo>
                  <a:lnTo>
                    <a:pt x="17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68" name="Freeform 1767"/>
          <p:cNvSpPr/>
          <p:nvPr/>
        </p:nvSpPr>
        <p:spPr>
          <a:xfrm flipH="1">
            <a:off x="3645075" y="3815837"/>
            <a:ext cx="689130" cy="1749325"/>
          </a:xfrm>
          <a:custGeom>
            <a:avLst/>
            <a:gdLst>
              <a:gd name="connsiteX0" fmla="*/ 0 w 1879600"/>
              <a:gd name="connsiteY0" fmla="*/ 0 h 1825756"/>
              <a:gd name="connsiteX1" fmla="*/ 1073150 w 1879600"/>
              <a:gd name="connsiteY1" fmla="*/ 1676400 h 1825756"/>
              <a:gd name="connsiteX2" fmla="*/ 1879600 w 1879600"/>
              <a:gd name="connsiteY2" fmla="*/ 1638300 h 1825756"/>
              <a:gd name="connsiteX0" fmla="*/ 0 w 1879600"/>
              <a:gd name="connsiteY0" fmla="*/ 0 h 1686862"/>
              <a:gd name="connsiteX1" fmla="*/ 568868 w 1879600"/>
              <a:gd name="connsiteY1" fmla="*/ 1276350 h 1686862"/>
              <a:gd name="connsiteX2" fmla="*/ 1879600 w 1879600"/>
              <a:gd name="connsiteY2" fmla="*/ 1638300 h 1686862"/>
              <a:gd name="connsiteX0" fmla="*/ 0 w 1530482"/>
              <a:gd name="connsiteY0" fmla="*/ 0 h 1782811"/>
              <a:gd name="connsiteX1" fmla="*/ 568868 w 1530482"/>
              <a:gd name="connsiteY1" fmla="*/ 1276350 h 1782811"/>
              <a:gd name="connsiteX2" fmla="*/ 1530482 w 1530482"/>
              <a:gd name="connsiteY2" fmla="*/ 1743075 h 1782811"/>
              <a:gd name="connsiteX0" fmla="*/ 0 w 1530482"/>
              <a:gd name="connsiteY0" fmla="*/ 0 h 1743075"/>
              <a:gd name="connsiteX1" fmla="*/ 568868 w 1530482"/>
              <a:gd name="connsiteY1" fmla="*/ 1276350 h 1743075"/>
              <a:gd name="connsiteX2" fmla="*/ 1530482 w 1530482"/>
              <a:gd name="connsiteY2" fmla="*/ 1743075 h 1743075"/>
              <a:gd name="connsiteX0" fmla="*/ 0 w 1375318"/>
              <a:gd name="connsiteY0" fmla="*/ 0 h 1714500"/>
              <a:gd name="connsiteX1" fmla="*/ 568868 w 1375318"/>
              <a:gd name="connsiteY1" fmla="*/ 1276350 h 1714500"/>
              <a:gd name="connsiteX2" fmla="*/ 1375318 w 1375318"/>
              <a:gd name="connsiteY2" fmla="*/ 1714500 h 1714500"/>
              <a:gd name="connsiteX0" fmla="*/ 0 w 1375318"/>
              <a:gd name="connsiteY0" fmla="*/ 0 h 1714500"/>
              <a:gd name="connsiteX1" fmla="*/ 568868 w 1375318"/>
              <a:gd name="connsiteY1" fmla="*/ 1276350 h 1714500"/>
              <a:gd name="connsiteX2" fmla="*/ 1375318 w 1375318"/>
              <a:gd name="connsiteY2" fmla="*/ 171450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75318" h="1714500">
                <a:moveTo>
                  <a:pt x="0" y="0"/>
                </a:moveTo>
                <a:cubicBezTo>
                  <a:pt x="379941" y="701675"/>
                  <a:pt x="339648" y="990600"/>
                  <a:pt x="568868" y="1276350"/>
                </a:cubicBezTo>
                <a:cubicBezTo>
                  <a:pt x="798088" y="1562100"/>
                  <a:pt x="818399" y="1603375"/>
                  <a:pt x="1375318" y="171450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69" name="Freeform 1768"/>
          <p:cNvSpPr/>
          <p:nvPr/>
        </p:nvSpPr>
        <p:spPr>
          <a:xfrm flipH="1">
            <a:off x="3645900" y="3925981"/>
            <a:ext cx="741349" cy="1493405"/>
          </a:xfrm>
          <a:custGeom>
            <a:avLst/>
            <a:gdLst>
              <a:gd name="connsiteX0" fmla="*/ 0 w 1282700"/>
              <a:gd name="connsiteY0" fmla="*/ 0 h 1149350"/>
              <a:gd name="connsiteX1" fmla="*/ 400050 w 1282700"/>
              <a:gd name="connsiteY1" fmla="*/ 819150 h 1149350"/>
              <a:gd name="connsiteX2" fmla="*/ 1282700 w 1282700"/>
              <a:gd name="connsiteY2" fmla="*/ 1149350 h 1149350"/>
              <a:gd name="connsiteX0" fmla="*/ 0 w 1399073"/>
              <a:gd name="connsiteY0" fmla="*/ 0 h 1463675"/>
              <a:gd name="connsiteX1" fmla="*/ 400050 w 1399073"/>
              <a:gd name="connsiteY1" fmla="*/ 819150 h 1463675"/>
              <a:gd name="connsiteX2" fmla="*/ 1399073 w 1399073"/>
              <a:gd name="connsiteY2" fmla="*/ 1463675 h 1463675"/>
              <a:gd name="connsiteX0" fmla="*/ 0 w 1399073"/>
              <a:gd name="connsiteY0" fmla="*/ 0 h 1463675"/>
              <a:gd name="connsiteX1" fmla="*/ 167304 w 1399073"/>
              <a:gd name="connsiteY1" fmla="*/ 885825 h 1463675"/>
              <a:gd name="connsiteX2" fmla="*/ 1399073 w 1399073"/>
              <a:gd name="connsiteY2" fmla="*/ 1463675 h 1463675"/>
              <a:gd name="connsiteX0" fmla="*/ 7827 w 1406900"/>
              <a:gd name="connsiteY0" fmla="*/ 0 h 1463675"/>
              <a:gd name="connsiteX1" fmla="*/ 175131 w 1406900"/>
              <a:gd name="connsiteY1" fmla="*/ 885825 h 1463675"/>
              <a:gd name="connsiteX2" fmla="*/ 1406900 w 1406900"/>
              <a:gd name="connsiteY2" fmla="*/ 1463675 h 1463675"/>
              <a:gd name="connsiteX0" fmla="*/ 80463 w 1479536"/>
              <a:gd name="connsiteY0" fmla="*/ 0 h 1463675"/>
              <a:gd name="connsiteX1" fmla="*/ 247767 w 1479536"/>
              <a:gd name="connsiteY1" fmla="*/ 885825 h 1463675"/>
              <a:gd name="connsiteX2" fmla="*/ 1479536 w 1479536"/>
              <a:gd name="connsiteY2" fmla="*/ 1463675 h 146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9536" h="1463675">
                <a:moveTo>
                  <a:pt x="80463" y="0"/>
                </a:moveTo>
                <a:cubicBezTo>
                  <a:pt x="-20358" y="342371"/>
                  <a:pt x="-82390" y="670454"/>
                  <a:pt x="247767" y="885825"/>
                </a:cubicBezTo>
                <a:cubicBezTo>
                  <a:pt x="577924" y="1101196"/>
                  <a:pt x="1145102" y="1394354"/>
                  <a:pt x="1479536" y="1463675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70" name="Freeform 1769"/>
          <p:cNvSpPr/>
          <p:nvPr/>
        </p:nvSpPr>
        <p:spPr>
          <a:xfrm flipH="1">
            <a:off x="3191943" y="3809359"/>
            <a:ext cx="1113626" cy="306263"/>
          </a:xfrm>
          <a:custGeom>
            <a:avLst/>
            <a:gdLst>
              <a:gd name="connsiteX0" fmla="*/ 0 w 2222500"/>
              <a:gd name="connsiteY0" fmla="*/ 0 h 300166"/>
              <a:gd name="connsiteX1" fmla="*/ 177800 w 2222500"/>
              <a:gd name="connsiteY1" fmla="*/ 190500 h 300166"/>
              <a:gd name="connsiteX2" fmla="*/ 882650 w 2222500"/>
              <a:gd name="connsiteY2" fmla="*/ 298450 h 300166"/>
              <a:gd name="connsiteX3" fmla="*/ 1727200 w 2222500"/>
              <a:gd name="connsiteY3" fmla="*/ 107950 h 300166"/>
              <a:gd name="connsiteX4" fmla="*/ 2222500 w 2222500"/>
              <a:gd name="connsiteY4" fmla="*/ 196850 h 300166"/>
              <a:gd name="connsiteX0" fmla="*/ 0 w 2222500"/>
              <a:gd name="connsiteY0" fmla="*/ 0 h 300166"/>
              <a:gd name="connsiteX1" fmla="*/ 177800 w 2222500"/>
              <a:gd name="connsiteY1" fmla="*/ 190500 h 300166"/>
              <a:gd name="connsiteX2" fmla="*/ 882650 w 2222500"/>
              <a:gd name="connsiteY2" fmla="*/ 298450 h 300166"/>
              <a:gd name="connsiteX3" fmla="*/ 1727200 w 2222500"/>
              <a:gd name="connsiteY3" fmla="*/ 107950 h 300166"/>
              <a:gd name="connsiteX4" fmla="*/ 2222500 w 2222500"/>
              <a:gd name="connsiteY4" fmla="*/ 196850 h 30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22500" h="300166">
                <a:moveTo>
                  <a:pt x="0" y="0"/>
                </a:moveTo>
                <a:cubicBezTo>
                  <a:pt x="15346" y="70379"/>
                  <a:pt x="30692" y="140758"/>
                  <a:pt x="177800" y="190500"/>
                </a:cubicBezTo>
                <a:cubicBezTo>
                  <a:pt x="324908" y="240242"/>
                  <a:pt x="624417" y="312208"/>
                  <a:pt x="882650" y="298450"/>
                </a:cubicBezTo>
                <a:cubicBezTo>
                  <a:pt x="1140883" y="284692"/>
                  <a:pt x="1503892" y="124883"/>
                  <a:pt x="1727200" y="107950"/>
                </a:cubicBezTo>
                <a:cubicBezTo>
                  <a:pt x="1950508" y="91017"/>
                  <a:pt x="2086504" y="143933"/>
                  <a:pt x="2222500" y="19685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71" name="Freeform 1770"/>
          <p:cNvSpPr/>
          <p:nvPr/>
        </p:nvSpPr>
        <p:spPr>
          <a:xfrm flipH="1" flipV="1">
            <a:off x="3602805" y="3931618"/>
            <a:ext cx="719365" cy="402173"/>
          </a:xfrm>
          <a:custGeom>
            <a:avLst/>
            <a:gdLst>
              <a:gd name="connsiteX0" fmla="*/ 0 w 1047750"/>
              <a:gd name="connsiteY0" fmla="*/ 108774 h 159574"/>
              <a:gd name="connsiteX1" fmla="*/ 609600 w 1047750"/>
              <a:gd name="connsiteY1" fmla="*/ 824 h 159574"/>
              <a:gd name="connsiteX2" fmla="*/ 1047750 w 1047750"/>
              <a:gd name="connsiteY2" fmla="*/ 159574 h 159574"/>
              <a:gd name="connsiteX0" fmla="*/ 0 w 1125332"/>
              <a:gd name="connsiteY0" fmla="*/ 401224 h 401224"/>
              <a:gd name="connsiteX1" fmla="*/ 687182 w 1125332"/>
              <a:gd name="connsiteY1" fmla="*/ 7524 h 401224"/>
              <a:gd name="connsiteX2" fmla="*/ 1125332 w 1125332"/>
              <a:gd name="connsiteY2" fmla="*/ 166274 h 401224"/>
              <a:gd name="connsiteX0" fmla="*/ 0 w 1125332"/>
              <a:gd name="connsiteY0" fmla="*/ 401224 h 401224"/>
              <a:gd name="connsiteX1" fmla="*/ 687182 w 1125332"/>
              <a:gd name="connsiteY1" fmla="*/ 7524 h 401224"/>
              <a:gd name="connsiteX2" fmla="*/ 1125332 w 1125332"/>
              <a:gd name="connsiteY2" fmla="*/ 166274 h 401224"/>
              <a:gd name="connsiteX0" fmla="*/ 0 w 1435659"/>
              <a:gd name="connsiteY0" fmla="*/ 397124 h 397124"/>
              <a:gd name="connsiteX1" fmla="*/ 687182 w 1435659"/>
              <a:gd name="connsiteY1" fmla="*/ 3424 h 397124"/>
              <a:gd name="connsiteX2" fmla="*/ 1435659 w 1435659"/>
              <a:gd name="connsiteY2" fmla="*/ 219324 h 397124"/>
              <a:gd name="connsiteX0" fmla="*/ 0 w 1435659"/>
              <a:gd name="connsiteY0" fmla="*/ 394167 h 394167"/>
              <a:gd name="connsiteX1" fmla="*/ 687182 w 1435659"/>
              <a:gd name="connsiteY1" fmla="*/ 467 h 394167"/>
              <a:gd name="connsiteX2" fmla="*/ 1435659 w 1435659"/>
              <a:gd name="connsiteY2" fmla="*/ 216367 h 394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35659" h="394167">
                <a:moveTo>
                  <a:pt x="0" y="394167"/>
                </a:moveTo>
                <a:cubicBezTo>
                  <a:pt x="42929" y="97833"/>
                  <a:pt x="389719" y="-8000"/>
                  <a:pt x="687182" y="467"/>
                </a:cubicBezTo>
                <a:cubicBezTo>
                  <a:pt x="984645" y="8934"/>
                  <a:pt x="1303896" y="141225"/>
                  <a:pt x="1435659" y="216367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72" name="Freeform 1771"/>
          <p:cNvSpPr/>
          <p:nvPr/>
        </p:nvSpPr>
        <p:spPr>
          <a:xfrm flipH="1">
            <a:off x="3428541" y="3383016"/>
            <a:ext cx="896118" cy="387468"/>
          </a:xfrm>
          <a:custGeom>
            <a:avLst/>
            <a:gdLst>
              <a:gd name="connsiteX0" fmla="*/ 0 w 2273300"/>
              <a:gd name="connsiteY0" fmla="*/ 365106 h 365106"/>
              <a:gd name="connsiteX1" fmla="*/ 946150 w 2273300"/>
              <a:gd name="connsiteY1" fmla="*/ 60306 h 365106"/>
              <a:gd name="connsiteX2" fmla="*/ 1524000 w 2273300"/>
              <a:gd name="connsiteY2" fmla="*/ 3156 h 365106"/>
              <a:gd name="connsiteX3" fmla="*/ 2273300 w 2273300"/>
              <a:gd name="connsiteY3" fmla="*/ 111106 h 365106"/>
              <a:gd name="connsiteX0" fmla="*/ 0 w 2273300"/>
              <a:gd name="connsiteY0" fmla="*/ 326113 h 326113"/>
              <a:gd name="connsiteX1" fmla="*/ 946150 w 2273300"/>
              <a:gd name="connsiteY1" fmla="*/ 21313 h 326113"/>
              <a:gd name="connsiteX2" fmla="*/ 1194276 w 2273300"/>
              <a:gd name="connsiteY2" fmla="*/ 30838 h 326113"/>
              <a:gd name="connsiteX3" fmla="*/ 2273300 w 2273300"/>
              <a:gd name="connsiteY3" fmla="*/ 72113 h 326113"/>
              <a:gd name="connsiteX0" fmla="*/ 0 w 1788413"/>
              <a:gd name="connsiteY0" fmla="*/ 363452 h 363452"/>
              <a:gd name="connsiteX1" fmla="*/ 946150 w 1788413"/>
              <a:gd name="connsiteY1" fmla="*/ 58652 h 363452"/>
              <a:gd name="connsiteX2" fmla="*/ 1194276 w 1788413"/>
              <a:gd name="connsiteY2" fmla="*/ 68177 h 363452"/>
              <a:gd name="connsiteX3" fmla="*/ 1788413 w 1788413"/>
              <a:gd name="connsiteY3" fmla="*/ 14202 h 363452"/>
              <a:gd name="connsiteX0" fmla="*/ 0 w 1788413"/>
              <a:gd name="connsiteY0" fmla="*/ 365584 h 365584"/>
              <a:gd name="connsiteX1" fmla="*/ 616428 w 1788413"/>
              <a:gd name="connsiteY1" fmla="*/ 175084 h 365584"/>
              <a:gd name="connsiteX2" fmla="*/ 1194276 w 1788413"/>
              <a:gd name="connsiteY2" fmla="*/ 70309 h 365584"/>
              <a:gd name="connsiteX3" fmla="*/ 1788413 w 1788413"/>
              <a:gd name="connsiteY3" fmla="*/ 16334 h 365584"/>
              <a:gd name="connsiteX0" fmla="*/ 0 w 1788413"/>
              <a:gd name="connsiteY0" fmla="*/ 379755 h 379755"/>
              <a:gd name="connsiteX1" fmla="*/ 616428 w 1788413"/>
              <a:gd name="connsiteY1" fmla="*/ 189255 h 379755"/>
              <a:gd name="connsiteX2" fmla="*/ 1194276 w 1788413"/>
              <a:gd name="connsiteY2" fmla="*/ 27330 h 379755"/>
              <a:gd name="connsiteX3" fmla="*/ 1788413 w 1788413"/>
              <a:gd name="connsiteY3" fmla="*/ 30505 h 379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8413" h="379755">
                <a:moveTo>
                  <a:pt x="0" y="379755"/>
                </a:moveTo>
                <a:cubicBezTo>
                  <a:pt x="346075" y="257517"/>
                  <a:pt x="417382" y="247993"/>
                  <a:pt x="616428" y="189255"/>
                </a:cubicBezTo>
                <a:cubicBezTo>
                  <a:pt x="815474" y="130518"/>
                  <a:pt x="998945" y="53788"/>
                  <a:pt x="1194276" y="27330"/>
                </a:cubicBezTo>
                <a:cubicBezTo>
                  <a:pt x="1389607" y="872"/>
                  <a:pt x="1524359" y="-19237"/>
                  <a:pt x="1788413" y="30505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73" name="Freeform 1772"/>
          <p:cNvSpPr/>
          <p:nvPr/>
        </p:nvSpPr>
        <p:spPr>
          <a:xfrm flipH="1">
            <a:off x="3634944" y="3213294"/>
            <a:ext cx="683351" cy="524797"/>
          </a:xfrm>
          <a:custGeom>
            <a:avLst/>
            <a:gdLst>
              <a:gd name="connsiteX0" fmla="*/ 0 w 2159000"/>
              <a:gd name="connsiteY0" fmla="*/ 952500 h 952500"/>
              <a:gd name="connsiteX1" fmla="*/ 774700 w 2159000"/>
              <a:gd name="connsiteY1" fmla="*/ 495300 h 952500"/>
              <a:gd name="connsiteX2" fmla="*/ 1581150 w 2159000"/>
              <a:gd name="connsiteY2" fmla="*/ 406400 h 952500"/>
              <a:gd name="connsiteX3" fmla="*/ 2159000 w 2159000"/>
              <a:gd name="connsiteY3" fmla="*/ 0 h 952500"/>
              <a:gd name="connsiteX0" fmla="*/ 0 w 2062023"/>
              <a:gd name="connsiteY0" fmla="*/ 548057 h 548057"/>
              <a:gd name="connsiteX1" fmla="*/ 774700 w 2062023"/>
              <a:gd name="connsiteY1" fmla="*/ 90857 h 548057"/>
              <a:gd name="connsiteX2" fmla="*/ 1581150 w 2062023"/>
              <a:gd name="connsiteY2" fmla="*/ 1957 h 548057"/>
              <a:gd name="connsiteX3" fmla="*/ 2062023 w 2062023"/>
              <a:gd name="connsiteY3" fmla="*/ 128957 h 548057"/>
              <a:gd name="connsiteX0" fmla="*/ 0 w 2062023"/>
              <a:gd name="connsiteY0" fmla="*/ 484755 h 484755"/>
              <a:gd name="connsiteX1" fmla="*/ 774700 w 2062023"/>
              <a:gd name="connsiteY1" fmla="*/ 27555 h 484755"/>
              <a:gd name="connsiteX2" fmla="*/ 1096263 w 2062023"/>
              <a:gd name="connsiteY2" fmla="*/ 52955 h 484755"/>
              <a:gd name="connsiteX3" fmla="*/ 2062023 w 2062023"/>
              <a:gd name="connsiteY3" fmla="*/ 65655 h 484755"/>
              <a:gd name="connsiteX0" fmla="*/ 0 w 2062023"/>
              <a:gd name="connsiteY0" fmla="*/ 433576 h 433576"/>
              <a:gd name="connsiteX1" fmla="*/ 503162 w 2062023"/>
              <a:gd name="connsiteY1" fmla="*/ 147826 h 433576"/>
              <a:gd name="connsiteX2" fmla="*/ 1096263 w 2062023"/>
              <a:gd name="connsiteY2" fmla="*/ 1776 h 433576"/>
              <a:gd name="connsiteX3" fmla="*/ 2062023 w 2062023"/>
              <a:gd name="connsiteY3" fmla="*/ 14476 h 433576"/>
              <a:gd name="connsiteX0" fmla="*/ 0 w 1363786"/>
              <a:gd name="connsiteY0" fmla="*/ 514350 h 514350"/>
              <a:gd name="connsiteX1" fmla="*/ 503162 w 1363786"/>
              <a:gd name="connsiteY1" fmla="*/ 228600 h 514350"/>
              <a:gd name="connsiteX2" fmla="*/ 1096263 w 1363786"/>
              <a:gd name="connsiteY2" fmla="*/ 82550 h 514350"/>
              <a:gd name="connsiteX3" fmla="*/ 1363786 w 1363786"/>
              <a:gd name="connsiteY3" fmla="*/ 0 h 514350"/>
              <a:gd name="connsiteX0" fmla="*/ 0 w 1363786"/>
              <a:gd name="connsiteY0" fmla="*/ 514350 h 514350"/>
              <a:gd name="connsiteX1" fmla="*/ 503162 w 1363786"/>
              <a:gd name="connsiteY1" fmla="*/ 228600 h 514350"/>
              <a:gd name="connsiteX2" fmla="*/ 902308 w 1363786"/>
              <a:gd name="connsiteY2" fmla="*/ 120650 h 514350"/>
              <a:gd name="connsiteX3" fmla="*/ 1363786 w 1363786"/>
              <a:gd name="connsiteY3" fmla="*/ 0 h 514350"/>
              <a:gd name="connsiteX0" fmla="*/ 0 w 1363786"/>
              <a:gd name="connsiteY0" fmla="*/ 514350 h 514350"/>
              <a:gd name="connsiteX1" fmla="*/ 503162 w 1363786"/>
              <a:gd name="connsiteY1" fmla="*/ 228600 h 514350"/>
              <a:gd name="connsiteX2" fmla="*/ 902308 w 1363786"/>
              <a:gd name="connsiteY2" fmla="*/ 120650 h 514350"/>
              <a:gd name="connsiteX3" fmla="*/ 1363786 w 1363786"/>
              <a:gd name="connsiteY3" fmla="*/ 0 h 514350"/>
              <a:gd name="connsiteX0" fmla="*/ 0 w 1363786"/>
              <a:gd name="connsiteY0" fmla="*/ 514350 h 514350"/>
              <a:gd name="connsiteX1" fmla="*/ 503162 w 1363786"/>
              <a:gd name="connsiteY1" fmla="*/ 228600 h 514350"/>
              <a:gd name="connsiteX2" fmla="*/ 902308 w 1363786"/>
              <a:gd name="connsiteY2" fmla="*/ 120650 h 514350"/>
              <a:gd name="connsiteX3" fmla="*/ 1363786 w 1363786"/>
              <a:gd name="connsiteY3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3786" h="514350">
                <a:moveTo>
                  <a:pt x="0" y="514350"/>
                </a:moveTo>
                <a:cubicBezTo>
                  <a:pt x="255587" y="331258"/>
                  <a:pt x="352777" y="294217"/>
                  <a:pt x="503162" y="228600"/>
                </a:cubicBezTo>
                <a:cubicBezTo>
                  <a:pt x="653547" y="162983"/>
                  <a:pt x="797662" y="187325"/>
                  <a:pt x="902308" y="120650"/>
                </a:cubicBezTo>
                <a:cubicBezTo>
                  <a:pt x="1006954" y="53975"/>
                  <a:pt x="1015659" y="104775"/>
                  <a:pt x="1363786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74" name="Freeform 1773"/>
          <p:cNvSpPr/>
          <p:nvPr/>
        </p:nvSpPr>
        <p:spPr>
          <a:xfrm flipH="1">
            <a:off x="3326031" y="3478931"/>
            <a:ext cx="989083" cy="397901"/>
          </a:xfrm>
          <a:custGeom>
            <a:avLst/>
            <a:gdLst>
              <a:gd name="connsiteX0" fmla="*/ 0 w 2381250"/>
              <a:gd name="connsiteY0" fmla="*/ 508000 h 654147"/>
              <a:gd name="connsiteX1" fmla="*/ 641350 w 2381250"/>
              <a:gd name="connsiteY1" fmla="*/ 654050 h 654147"/>
              <a:gd name="connsiteX2" fmla="*/ 1720850 w 2381250"/>
              <a:gd name="connsiteY2" fmla="*/ 488950 h 654147"/>
              <a:gd name="connsiteX3" fmla="*/ 2381250 w 2381250"/>
              <a:gd name="connsiteY3" fmla="*/ 0 h 654147"/>
              <a:gd name="connsiteX0" fmla="*/ 0 w 1973945"/>
              <a:gd name="connsiteY0" fmla="*/ 317500 h 463647"/>
              <a:gd name="connsiteX1" fmla="*/ 641350 w 1973945"/>
              <a:gd name="connsiteY1" fmla="*/ 463550 h 463647"/>
              <a:gd name="connsiteX2" fmla="*/ 1720850 w 1973945"/>
              <a:gd name="connsiteY2" fmla="*/ 298450 h 463647"/>
              <a:gd name="connsiteX3" fmla="*/ 1973945 w 1973945"/>
              <a:gd name="connsiteY3" fmla="*/ 0 h 463647"/>
              <a:gd name="connsiteX0" fmla="*/ 0 w 1973945"/>
              <a:gd name="connsiteY0" fmla="*/ 317500 h 463685"/>
              <a:gd name="connsiteX1" fmla="*/ 641350 w 1973945"/>
              <a:gd name="connsiteY1" fmla="*/ 463550 h 463685"/>
              <a:gd name="connsiteX2" fmla="*/ 1371733 w 1973945"/>
              <a:gd name="connsiteY2" fmla="*/ 336550 h 463685"/>
              <a:gd name="connsiteX3" fmla="*/ 1973945 w 1973945"/>
              <a:gd name="connsiteY3" fmla="*/ 0 h 463685"/>
              <a:gd name="connsiteX0" fmla="*/ 0 w 1973945"/>
              <a:gd name="connsiteY0" fmla="*/ 317500 h 389980"/>
              <a:gd name="connsiteX1" fmla="*/ 621954 w 1973945"/>
              <a:gd name="connsiteY1" fmla="*/ 387350 h 389980"/>
              <a:gd name="connsiteX2" fmla="*/ 1371733 w 1973945"/>
              <a:gd name="connsiteY2" fmla="*/ 336550 h 389980"/>
              <a:gd name="connsiteX3" fmla="*/ 1973945 w 1973945"/>
              <a:gd name="connsiteY3" fmla="*/ 0 h 389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73945" h="389980">
                <a:moveTo>
                  <a:pt x="0" y="317500"/>
                </a:moveTo>
                <a:cubicBezTo>
                  <a:pt x="177271" y="392112"/>
                  <a:pt x="393332" y="384175"/>
                  <a:pt x="621954" y="387350"/>
                </a:cubicBezTo>
                <a:cubicBezTo>
                  <a:pt x="850576" y="390525"/>
                  <a:pt x="1146401" y="401108"/>
                  <a:pt x="1371733" y="336550"/>
                </a:cubicBezTo>
                <a:cubicBezTo>
                  <a:pt x="1597065" y="271992"/>
                  <a:pt x="1788736" y="189971"/>
                  <a:pt x="1973945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75" name="Freeform 1774"/>
          <p:cNvSpPr/>
          <p:nvPr/>
        </p:nvSpPr>
        <p:spPr>
          <a:xfrm flipH="1">
            <a:off x="3363001" y="3796401"/>
            <a:ext cx="977568" cy="1564674"/>
          </a:xfrm>
          <a:custGeom>
            <a:avLst/>
            <a:gdLst>
              <a:gd name="connsiteX0" fmla="*/ 0 w 2222500"/>
              <a:gd name="connsiteY0" fmla="*/ 0 h 1085850"/>
              <a:gd name="connsiteX1" fmla="*/ 1054100 w 2222500"/>
              <a:gd name="connsiteY1" fmla="*/ 787400 h 1085850"/>
              <a:gd name="connsiteX2" fmla="*/ 1797050 w 2222500"/>
              <a:gd name="connsiteY2" fmla="*/ 908050 h 1085850"/>
              <a:gd name="connsiteX3" fmla="*/ 2222500 w 2222500"/>
              <a:gd name="connsiteY3" fmla="*/ 1085850 h 1085850"/>
              <a:gd name="connsiteX0" fmla="*/ 0 w 2474641"/>
              <a:gd name="connsiteY0" fmla="*/ 0 h 1495425"/>
              <a:gd name="connsiteX1" fmla="*/ 1054100 w 2474641"/>
              <a:gd name="connsiteY1" fmla="*/ 787400 h 1495425"/>
              <a:gd name="connsiteX2" fmla="*/ 1797050 w 2474641"/>
              <a:gd name="connsiteY2" fmla="*/ 908050 h 1495425"/>
              <a:gd name="connsiteX3" fmla="*/ 2474641 w 2474641"/>
              <a:gd name="connsiteY3" fmla="*/ 1495425 h 1495425"/>
              <a:gd name="connsiteX0" fmla="*/ 0 w 2474641"/>
              <a:gd name="connsiteY0" fmla="*/ 0 h 1495425"/>
              <a:gd name="connsiteX1" fmla="*/ 1054100 w 2474641"/>
              <a:gd name="connsiteY1" fmla="*/ 787400 h 1495425"/>
              <a:gd name="connsiteX2" fmla="*/ 2223750 w 2474641"/>
              <a:gd name="connsiteY2" fmla="*/ 1098550 h 1495425"/>
              <a:gd name="connsiteX3" fmla="*/ 2474641 w 2474641"/>
              <a:gd name="connsiteY3" fmla="*/ 1495425 h 1495425"/>
              <a:gd name="connsiteX0" fmla="*/ 0 w 2474641"/>
              <a:gd name="connsiteY0" fmla="*/ 0 h 1495425"/>
              <a:gd name="connsiteX1" fmla="*/ 821354 w 2474641"/>
              <a:gd name="connsiteY1" fmla="*/ 939800 h 1495425"/>
              <a:gd name="connsiteX2" fmla="*/ 2223750 w 2474641"/>
              <a:gd name="connsiteY2" fmla="*/ 1098550 h 1495425"/>
              <a:gd name="connsiteX3" fmla="*/ 2474641 w 2474641"/>
              <a:gd name="connsiteY3" fmla="*/ 1495425 h 1495425"/>
              <a:gd name="connsiteX0" fmla="*/ 0 w 2474641"/>
              <a:gd name="connsiteY0" fmla="*/ 0 h 1495425"/>
              <a:gd name="connsiteX1" fmla="*/ 821354 w 2474641"/>
              <a:gd name="connsiteY1" fmla="*/ 939800 h 1495425"/>
              <a:gd name="connsiteX2" fmla="*/ 1544909 w 2474641"/>
              <a:gd name="connsiteY2" fmla="*/ 1422400 h 1495425"/>
              <a:gd name="connsiteX3" fmla="*/ 2474641 w 2474641"/>
              <a:gd name="connsiteY3" fmla="*/ 1495425 h 1495425"/>
              <a:gd name="connsiteX0" fmla="*/ 0 w 2474641"/>
              <a:gd name="connsiteY0" fmla="*/ 0 h 1495425"/>
              <a:gd name="connsiteX1" fmla="*/ 821354 w 2474641"/>
              <a:gd name="connsiteY1" fmla="*/ 939800 h 1495425"/>
              <a:gd name="connsiteX2" fmla="*/ 1544909 w 2474641"/>
              <a:gd name="connsiteY2" fmla="*/ 1422400 h 1495425"/>
              <a:gd name="connsiteX3" fmla="*/ 2474641 w 2474641"/>
              <a:gd name="connsiteY3" fmla="*/ 1495425 h 1495425"/>
              <a:gd name="connsiteX0" fmla="*/ 0 w 1950964"/>
              <a:gd name="connsiteY0" fmla="*/ 0 h 1533525"/>
              <a:gd name="connsiteX1" fmla="*/ 821354 w 1950964"/>
              <a:gd name="connsiteY1" fmla="*/ 939800 h 1533525"/>
              <a:gd name="connsiteX2" fmla="*/ 1544909 w 1950964"/>
              <a:gd name="connsiteY2" fmla="*/ 1422400 h 1533525"/>
              <a:gd name="connsiteX3" fmla="*/ 1950964 w 1950964"/>
              <a:gd name="connsiteY3" fmla="*/ 1533525 h 1533525"/>
              <a:gd name="connsiteX0" fmla="*/ 0 w 1950964"/>
              <a:gd name="connsiteY0" fmla="*/ 0 h 1533525"/>
              <a:gd name="connsiteX1" fmla="*/ 821354 w 1950964"/>
              <a:gd name="connsiteY1" fmla="*/ 939800 h 1533525"/>
              <a:gd name="connsiteX2" fmla="*/ 1215187 w 1950964"/>
              <a:gd name="connsiteY2" fmla="*/ 1374775 h 1533525"/>
              <a:gd name="connsiteX3" fmla="*/ 1950964 w 1950964"/>
              <a:gd name="connsiteY3" fmla="*/ 1533525 h 1533525"/>
              <a:gd name="connsiteX0" fmla="*/ 0 w 1950964"/>
              <a:gd name="connsiteY0" fmla="*/ 0 h 1533525"/>
              <a:gd name="connsiteX1" fmla="*/ 685585 w 1950964"/>
              <a:gd name="connsiteY1" fmla="*/ 911225 h 1533525"/>
              <a:gd name="connsiteX2" fmla="*/ 1215187 w 1950964"/>
              <a:gd name="connsiteY2" fmla="*/ 1374775 h 1533525"/>
              <a:gd name="connsiteX3" fmla="*/ 1950964 w 1950964"/>
              <a:gd name="connsiteY3" fmla="*/ 1533525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0964" h="1533525">
                <a:moveTo>
                  <a:pt x="0" y="0"/>
                </a:moveTo>
                <a:cubicBezTo>
                  <a:pt x="377296" y="318029"/>
                  <a:pt x="483054" y="682096"/>
                  <a:pt x="685585" y="911225"/>
                </a:cubicBezTo>
                <a:cubicBezTo>
                  <a:pt x="888116" y="1140354"/>
                  <a:pt x="1004291" y="1271058"/>
                  <a:pt x="1215187" y="1374775"/>
                </a:cubicBezTo>
                <a:cubicBezTo>
                  <a:pt x="1426084" y="1478492"/>
                  <a:pt x="1796814" y="1526646"/>
                  <a:pt x="1950964" y="1533525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76" name="Freeform 1775"/>
          <p:cNvSpPr/>
          <p:nvPr/>
        </p:nvSpPr>
        <p:spPr>
          <a:xfrm flipH="1">
            <a:off x="3328758" y="2176656"/>
            <a:ext cx="995900" cy="1483686"/>
          </a:xfrm>
          <a:custGeom>
            <a:avLst/>
            <a:gdLst>
              <a:gd name="connsiteX0" fmla="*/ 0 w 1987550"/>
              <a:gd name="connsiteY0" fmla="*/ 1454150 h 1454150"/>
              <a:gd name="connsiteX1" fmla="*/ 381000 w 1987550"/>
              <a:gd name="connsiteY1" fmla="*/ 660400 h 1454150"/>
              <a:gd name="connsiteX2" fmla="*/ 1987550 w 1987550"/>
              <a:gd name="connsiteY2" fmla="*/ 0 h 145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7550" h="1454150">
                <a:moveTo>
                  <a:pt x="0" y="1454150"/>
                </a:moveTo>
                <a:cubicBezTo>
                  <a:pt x="24871" y="1178454"/>
                  <a:pt x="49742" y="902758"/>
                  <a:pt x="381000" y="660400"/>
                </a:cubicBezTo>
                <a:cubicBezTo>
                  <a:pt x="712258" y="418042"/>
                  <a:pt x="1349904" y="209021"/>
                  <a:pt x="1987550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77" name="Freeform 1776"/>
          <p:cNvSpPr/>
          <p:nvPr/>
        </p:nvSpPr>
        <p:spPr>
          <a:xfrm flipH="1">
            <a:off x="3557848" y="2678777"/>
            <a:ext cx="814538" cy="884381"/>
          </a:xfrm>
          <a:custGeom>
            <a:avLst/>
            <a:gdLst>
              <a:gd name="connsiteX0" fmla="*/ 0 w 1625600"/>
              <a:gd name="connsiteY0" fmla="*/ 1123950 h 1123950"/>
              <a:gd name="connsiteX1" fmla="*/ 819150 w 1625600"/>
              <a:gd name="connsiteY1" fmla="*/ 673100 h 1123950"/>
              <a:gd name="connsiteX2" fmla="*/ 1625600 w 1625600"/>
              <a:gd name="connsiteY2" fmla="*/ 0 h 1123950"/>
              <a:gd name="connsiteX0" fmla="*/ 0 w 1625600"/>
              <a:gd name="connsiteY0" fmla="*/ 866775 h 866775"/>
              <a:gd name="connsiteX1" fmla="*/ 819150 w 1625600"/>
              <a:gd name="connsiteY1" fmla="*/ 415925 h 866775"/>
              <a:gd name="connsiteX2" fmla="*/ 1625600 w 1625600"/>
              <a:gd name="connsiteY2" fmla="*/ 0 h 866775"/>
              <a:gd name="connsiteX0" fmla="*/ 0 w 1625600"/>
              <a:gd name="connsiteY0" fmla="*/ 866775 h 866775"/>
              <a:gd name="connsiteX1" fmla="*/ 625196 w 1625600"/>
              <a:gd name="connsiteY1" fmla="*/ 387350 h 866775"/>
              <a:gd name="connsiteX2" fmla="*/ 1625600 w 1625600"/>
              <a:gd name="connsiteY2" fmla="*/ 0 h 86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5600" h="866775">
                <a:moveTo>
                  <a:pt x="0" y="866775"/>
                </a:moveTo>
                <a:cubicBezTo>
                  <a:pt x="274108" y="735012"/>
                  <a:pt x="354263" y="531813"/>
                  <a:pt x="625196" y="387350"/>
                </a:cubicBezTo>
                <a:cubicBezTo>
                  <a:pt x="896129" y="242887"/>
                  <a:pt x="1357841" y="242887"/>
                  <a:pt x="1625600" y="0"/>
                </a:cubicBezTo>
              </a:path>
            </a:pathLst>
          </a:custGeom>
          <a:ln w="9525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Plus 7"/>
          <p:cNvSpPr/>
          <p:nvPr/>
        </p:nvSpPr>
        <p:spPr>
          <a:xfrm>
            <a:off x="664354" y="6532449"/>
            <a:ext cx="362785" cy="363071"/>
          </a:xfrm>
          <a:prstGeom prst="mathPlus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519" name="Group 1518"/>
          <p:cNvGrpSpPr/>
          <p:nvPr/>
        </p:nvGrpSpPr>
        <p:grpSpPr>
          <a:xfrm>
            <a:off x="644134" y="5202190"/>
            <a:ext cx="324802" cy="247395"/>
            <a:chOff x="3484922" y="5526553"/>
            <a:chExt cx="323262" cy="246222"/>
          </a:xfrm>
          <a:solidFill>
            <a:schemeClr val="bg1"/>
          </a:solidFill>
        </p:grpSpPr>
        <p:sp>
          <p:nvSpPr>
            <p:cNvPr id="1559" name="Freeform 607"/>
            <p:cNvSpPr>
              <a:spLocks noEditPoints="1"/>
            </p:cNvSpPr>
            <p:nvPr/>
          </p:nvSpPr>
          <p:spPr bwMode="auto">
            <a:xfrm>
              <a:off x="3705286" y="5670660"/>
              <a:ext cx="102898" cy="102115"/>
            </a:xfrm>
            <a:custGeom>
              <a:avLst/>
              <a:gdLst>
                <a:gd name="T0" fmla="*/ 158 w 158"/>
                <a:gd name="T1" fmla="*/ 49 h 150"/>
                <a:gd name="T2" fmla="*/ 111 w 158"/>
                <a:gd name="T3" fmla="*/ 3 h 150"/>
                <a:gd name="T4" fmla="*/ 66 w 158"/>
                <a:gd name="T5" fmla="*/ 17 h 150"/>
                <a:gd name="T6" fmla="*/ 54 w 158"/>
                <a:gd name="T7" fmla="*/ 8 h 150"/>
                <a:gd name="T8" fmla="*/ 8 w 158"/>
                <a:gd name="T9" fmla="*/ 26 h 150"/>
                <a:gd name="T10" fmla="*/ 26 w 158"/>
                <a:gd name="T11" fmla="*/ 72 h 150"/>
                <a:gd name="T12" fmla="*/ 27 w 158"/>
                <a:gd name="T13" fmla="*/ 73 h 150"/>
                <a:gd name="T14" fmla="*/ 32 w 158"/>
                <a:gd name="T15" fmla="*/ 125 h 150"/>
                <a:gd name="T16" fmla="*/ 92 w 158"/>
                <a:gd name="T17" fmla="*/ 150 h 150"/>
                <a:gd name="T18" fmla="*/ 103 w 158"/>
                <a:gd name="T19" fmla="*/ 122 h 150"/>
                <a:gd name="T20" fmla="*/ 60 w 158"/>
                <a:gd name="T21" fmla="*/ 104 h 150"/>
                <a:gd name="T22" fmla="*/ 57 w 158"/>
                <a:gd name="T23" fmla="*/ 70 h 150"/>
                <a:gd name="T24" fmla="*/ 72 w 158"/>
                <a:gd name="T25" fmla="*/ 54 h 150"/>
                <a:gd name="T26" fmla="*/ 74 w 158"/>
                <a:gd name="T27" fmla="*/ 46 h 150"/>
                <a:gd name="T28" fmla="*/ 103 w 158"/>
                <a:gd name="T29" fmla="*/ 37 h 150"/>
                <a:gd name="T30" fmla="*/ 137 w 158"/>
                <a:gd name="T31" fmla="*/ 71 h 150"/>
                <a:gd name="T32" fmla="*/ 158 w 158"/>
                <a:gd name="T33" fmla="*/ 49 h 150"/>
                <a:gd name="T34" fmla="*/ 32 w 158"/>
                <a:gd name="T35" fmla="*/ 58 h 150"/>
                <a:gd name="T36" fmla="*/ 21 w 158"/>
                <a:gd name="T37" fmla="*/ 32 h 150"/>
                <a:gd name="T38" fmla="*/ 48 w 158"/>
                <a:gd name="T39" fmla="*/ 22 h 150"/>
                <a:gd name="T40" fmla="*/ 58 w 158"/>
                <a:gd name="T41" fmla="*/ 48 h 150"/>
                <a:gd name="T42" fmla="*/ 32 w 158"/>
                <a:gd name="T43" fmla="*/ 5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8" h="150">
                  <a:moveTo>
                    <a:pt x="158" y="49"/>
                  </a:moveTo>
                  <a:cubicBezTo>
                    <a:pt x="111" y="3"/>
                    <a:pt x="111" y="3"/>
                    <a:pt x="111" y="3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3" y="13"/>
                    <a:pt x="59" y="10"/>
                    <a:pt x="54" y="8"/>
                  </a:cubicBezTo>
                  <a:cubicBezTo>
                    <a:pt x="36" y="0"/>
                    <a:pt x="15" y="8"/>
                    <a:pt x="8" y="26"/>
                  </a:cubicBezTo>
                  <a:cubicBezTo>
                    <a:pt x="0" y="44"/>
                    <a:pt x="8" y="65"/>
                    <a:pt x="26" y="72"/>
                  </a:cubicBezTo>
                  <a:cubicBezTo>
                    <a:pt x="26" y="72"/>
                    <a:pt x="27" y="72"/>
                    <a:pt x="27" y="73"/>
                  </a:cubicBezTo>
                  <a:cubicBezTo>
                    <a:pt x="32" y="125"/>
                    <a:pt x="32" y="125"/>
                    <a:pt x="32" y="125"/>
                  </a:cubicBezTo>
                  <a:cubicBezTo>
                    <a:pt x="92" y="150"/>
                    <a:pt x="92" y="150"/>
                    <a:pt x="92" y="150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63" y="67"/>
                    <a:pt x="69" y="61"/>
                    <a:pt x="72" y="54"/>
                  </a:cubicBezTo>
                  <a:cubicBezTo>
                    <a:pt x="73" y="51"/>
                    <a:pt x="74" y="49"/>
                    <a:pt x="74" y="46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37" y="71"/>
                    <a:pt x="137" y="71"/>
                    <a:pt x="137" y="71"/>
                  </a:cubicBezTo>
                  <a:lnTo>
                    <a:pt x="158" y="49"/>
                  </a:lnTo>
                  <a:close/>
                  <a:moveTo>
                    <a:pt x="32" y="58"/>
                  </a:moveTo>
                  <a:cubicBezTo>
                    <a:pt x="22" y="54"/>
                    <a:pt x="17" y="42"/>
                    <a:pt x="21" y="32"/>
                  </a:cubicBezTo>
                  <a:cubicBezTo>
                    <a:pt x="26" y="22"/>
                    <a:pt x="37" y="17"/>
                    <a:pt x="48" y="22"/>
                  </a:cubicBezTo>
                  <a:cubicBezTo>
                    <a:pt x="58" y="26"/>
                    <a:pt x="63" y="38"/>
                    <a:pt x="58" y="48"/>
                  </a:cubicBezTo>
                  <a:cubicBezTo>
                    <a:pt x="54" y="58"/>
                    <a:pt x="42" y="63"/>
                    <a:pt x="32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0" name="Freeform 608"/>
            <p:cNvSpPr>
              <a:spLocks noEditPoints="1"/>
            </p:cNvSpPr>
            <p:nvPr/>
          </p:nvSpPr>
          <p:spPr bwMode="auto">
            <a:xfrm>
              <a:off x="3493117" y="5622942"/>
              <a:ext cx="108361" cy="106888"/>
            </a:xfrm>
            <a:custGeom>
              <a:avLst/>
              <a:gdLst>
                <a:gd name="T0" fmla="*/ 54 w 166"/>
                <a:gd name="T1" fmla="*/ 141 h 157"/>
                <a:gd name="T2" fmla="*/ 150 w 166"/>
                <a:gd name="T3" fmla="*/ 102 h 157"/>
                <a:gd name="T4" fmla="*/ 112 w 166"/>
                <a:gd name="T5" fmla="*/ 7 h 157"/>
                <a:gd name="T6" fmla="*/ 75 w 166"/>
                <a:gd name="T7" fmla="*/ 1 h 157"/>
                <a:gd name="T8" fmla="*/ 75 w 166"/>
                <a:gd name="T9" fmla="*/ 1 h 157"/>
                <a:gd name="T10" fmla="*/ 71 w 166"/>
                <a:gd name="T11" fmla="*/ 2 h 157"/>
                <a:gd name="T12" fmla="*/ 70 w 166"/>
                <a:gd name="T13" fmla="*/ 2 h 157"/>
                <a:gd name="T14" fmla="*/ 68 w 166"/>
                <a:gd name="T15" fmla="*/ 2 h 157"/>
                <a:gd name="T16" fmla="*/ 68 w 166"/>
                <a:gd name="T17" fmla="*/ 2 h 157"/>
                <a:gd name="T18" fmla="*/ 64 w 166"/>
                <a:gd name="T19" fmla="*/ 3 h 157"/>
                <a:gd name="T20" fmla="*/ 63 w 166"/>
                <a:gd name="T21" fmla="*/ 3 h 157"/>
                <a:gd name="T22" fmla="*/ 61 w 166"/>
                <a:gd name="T23" fmla="*/ 4 h 157"/>
                <a:gd name="T24" fmla="*/ 61 w 166"/>
                <a:gd name="T25" fmla="*/ 4 h 157"/>
                <a:gd name="T26" fmla="*/ 57 w 166"/>
                <a:gd name="T27" fmla="*/ 5 h 157"/>
                <a:gd name="T28" fmla="*/ 57 w 166"/>
                <a:gd name="T29" fmla="*/ 6 h 157"/>
                <a:gd name="T30" fmla="*/ 55 w 166"/>
                <a:gd name="T31" fmla="*/ 6 h 157"/>
                <a:gd name="T32" fmla="*/ 54 w 166"/>
                <a:gd name="T33" fmla="*/ 7 h 157"/>
                <a:gd name="T34" fmla="*/ 51 w 166"/>
                <a:gd name="T35" fmla="*/ 8 h 157"/>
                <a:gd name="T36" fmla="*/ 50 w 166"/>
                <a:gd name="T37" fmla="*/ 9 h 157"/>
                <a:gd name="T38" fmla="*/ 49 w 166"/>
                <a:gd name="T39" fmla="*/ 9 h 157"/>
                <a:gd name="T40" fmla="*/ 47 w 166"/>
                <a:gd name="T41" fmla="*/ 10 h 157"/>
                <a:gd name="T42" fmla="*/ 45 w 166"/>
                <a:gd name="T43" fmla="*/ 11 h 157"/>
                <a:gd name="T44" fmla="*/ 44 w 166"/>
                <a:gd name="T45" fmla="*/ 12 h 157"/>
                <a:gd name="T46" fmla="*/ 43 w 166"/>
                <a:gd name="T47" fmla="*/ 13 h 157"/>
                <a:gd name="T48" fmla="*/ 41 w 166"/>
                <a:gd name="T49" fmla="*/ 14 h 157"/>
                <a:gd name="T50" fmla="*/ 40 w 166"/>
                <a:gd name="T51" fmla="*/ 15 h 157"/>
                <a:gd name="T52" fmla="*/ 38 w 166"/>
                <a:gd name="T53" fmla="*/ 16 h 157"/>
                <a:gd name="T54" fmla="*/ 37 w 166"/>
                <a:gd name="T55" fmla="*/ 17 h 157"/>
                <a:gd name="T56" fmla="*/ 35 w 166"/>
                <a:gd name="T57" fmla="*/ 18 h 157"/>
                <a:gd name="T58" fmla="*/ 35 w 166"/>
                <a:gd name="T59" fmla="*/ 19 h 157"/>
                <a:gd name="T60" fmla="*/ 32 w 166"/>
                <a:gd name="T61" fmla="*/ 21 h 157"/>
                <a:gd name="T62" fmla="*/ 32 w 166"/>
                <a:gd name="T63" fmla="*/ 22 h 157"/>
                <a:gd name="T64" fmla="*/ 30 w 166"/>
                <a:gd name="T65" fmla="*/ 23 h 157"/>
                <a:gd name="T66" fmla="*/ 30 w 166"/>
                <a:gd name="T67" fmla="*/ 24 h 157"/>
                <a:gd name="T68" fmla="*/ 28 w 166"/>
                <a:gd name="T69" fmla="*/ 26 h 157"/>
                <a:gd name="T70" fmla="*/ 27 w 166"/>
                <a:gd name="T71" fmla="*/ 27 h 157"/>
                <a:gd name="T72" fmla="*/ 25 w 166"/>
                <a:gd name="T73" fmla="*/ 29 h 157"/>
                <a:gd name="T74" fmla="*/ 25 w 166"/>
                <a:gd name="T75" fmla="*/ 30 h 157"/>
                <a:gd name="T76" fmla="*/ 23 w 166"/>
                <a:gd name="T77" fmla="*/ 32 h 157"/>
                <a:gd name="T78" fmla="*/ 23 w 166"/>
                <a:gd name="T79" fmla="*/ 33 h 157"/>
                <a:gd name="T80" fmla="*/ 21 w 166"/>
                <a:gd name="T81" fmla="*/ 35 h 157"/>
                <a:gd name="T82" fmla="*/ 21 w 166"/>
                <a:gd name="T83" fmla="*/ 36 h 157"/>
                <a:gd name="T84" fmla="*/ 19 w 166"/>
                <a:gd name="T85" fmla="*/ 38 h 157"/>
                <a:gd name="T86" fmla="*/ 19 w 166"/>
                <a:gd name="T87" fmla="*/ 39 h 157"/>
                <a:gd name="T88" fmla="*/ 18 w 166"/>
                <a:gd name="T89" fmla="*/ 41 h 157"/>
                <a:gd name="T90" fmla="*/ 17 w 166"/>
                <a:gd name="T91" fmla="*/ 42 h 157"/>
                <a:gd name="T92" fmla="*/ 16 w 166"/>
                <a:gd name="T93" fmla="*/ 45 h 157"/>
                <a:gd name="T94" fmla="*/ 54 w 166"/>
                <a:gd name="T95" fmla="*/ 141 h 157"/>
                <a:gd name="T96" fmla="*/ 99 w 166"/>
                <a:gd name="T97" fmla="*/ 35 h 157"/>
                <a:gd name="T98" fmla="*/ 121 w 166"/>
                <a:gd name="T99" fmla="*/ 90 h 157"/>
                <a:gd name="T100" fmla="*/ 67 w 166"/>
                <a:gd name="T101" fmla="*/ 112 h 157"/>
                <a:gd name="T102" fmla="*/ 45 w 166"/>
                <a:gd name="T103" fmla="*/ 57 h 157"/>
                <a:gd name="T104" fmla="*/ 99 w 166"/>
                <a:gd name="T105" fmla="*/ 3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6" h="157">
                  <a:moveTo>
                    <a:pt x="54" y="141"/>
                  </a:moveTo>
                  <a:cubicBezTo>
                    <a:pt x="91" y="157"/>
                    <a:pt x="134" y="139"/>
                    <a:pt x="150" y="102"/>
                  </a:cubicBezTo>
                  <a:cubicBezTo>
                    <a:pt x="166" y="65"/>
                    <a:pt x="149" y="22"/>
                    <a:pt x="112" y="7"/>
                  </a:cubicBezTo>
                  <a:cubicBezTo>
                    <a:pt x="100" y="2"/>
                    <a:pt x="87" y="0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2" y="2"/>
                    <a:pt x="71" y="2"/>
                  </a:cubicBezTo>
                  <a:cubicBezTo>
                    <a:pt x="71" y="2"/>
                    <a:pt x="71" y="2"/>
                    <a:pt x="70" y="2"/>
                  </a:cubicBezTo>
                  <a:cubicBezTo>
                    <a:pt x="70" y="2"/>
                    <a:pt x="69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7" y="3"/>
                    <a:pt x="65" y="3"/>
                    <a:pt x="64" y="3"/>
                  </a:cubicBezTo>
                  <a:cubicBezTo>
                    <a:pt x="64" y="3"/>
                    <a:pt x="64" y="3"/>
                    <a:pt x="63" y="3"/>
                  </a:cubicBezTo>
                  <a:cubicBezTo>
                    <a:pt x="63" y="4"/>
                    <a:pt x="62" y="4"/>
                    <a:pt x="61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0" y="5"/>
                    <a:pt x="59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5" y="6"/>
                    <a:pt x="55" y="6"/>
                  </a:cubicBezTo>
                  <a:cubicBezTo>
                    <a:pt x="55" y="7"/>
                    <a:pt x="54" y="7"/>
                    <a:pt x="54" y="7"/>
                  </a:cubicBezTo>
                  <a:cubicBezTo>
                    <a:pt x="53" y="7"/>
                    <a:pt x="52" y="8"/>
                    <a:pt x="51" y="8"/>
                  </a:cubicBezTo>
                  <a:cubicBezTo>
                    <a:pt x="51" y="8"/>
                    <a:pt x="50" y="8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ubicBezTo>
                    <a:pt x="48" y="10"/>
                    <a:pt x="48" y="10"/>
                    <a:pt x="47" y="10"/>
                  </a:cubicBezTo>
                  <a:cubicBezTo>
                    <a:pt x="47" y="10"/>
                    <a:pt x="46" y="11"/>
                    <a:pt x="45" y="11"/>
                  </a:cubicBezTo>
                  <a:cubicBezTo>
                    <a:pt x="45" y="11"/>
                    <a:pt x="44" y="12"/>
                    <a:pt x="44" y="12"/>
                  </a:cubicBezTo>
                  <a:cubicBezTo>
                    <a:pt x="43" y="12"/>
                    <a:pt x="43" y="13"/>
                    <a:pt x="43" y="13"/>
                  </a:cubicBezTo>
                  <a:cubicBezTo>
                    <a:pt x="42" y="13"/>
                    <a:pt x="42" y="14"/>
                    <a:pt x="41" y="14"/>
                  </a:cubicBezTo>
                  <a:cubicBezTo>
                    <a:pt x="41" y="14"/>
                    <a:pt x="40" y="14"/>
                    <a:pt x="40" y="15"/>
                  </a:cubicBezTo>
                  <a:cubicBezTo>
                    <a:pt x="39" y="15"/>
                    <a:pt x="39" y="16"/>
                    <a:pt x="38" y="16"/>
                  </a:cubicBezTo>
                  <a:cubicBezTo>
                    <a:pt x="38" y="17"/>
                    <a:pt x="37" y="17"/>
                    <a:pt x="37" y="17"/>
                  </a:cubicBezTo>
                  <a:cubicBezTo>
                    <a:pt x="36" y="17"/>
                    <a:pt x="36" y="18"/>
                    <a:pt x="35" y="18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20"/>
                    <a:pt x="33" y="20"/>
                    <a:pt x="32" y="21"/>
                  </a:cubicBezTo>
                  <a:cubicBezTo>
                    <a:pt x="32" y="21"/>
                    <a:pt x="32" y="21"/>
                    <a:pt x="32" y="22"/>
                  </a:cubicBezTo>
                  <a:cubicBezTo>
                    <a:pt x="31" y="22"/>
                    <a:pt x="31" y="23"/>
                    <a:pt x="30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29" y="25"/>
                    <a:pt x="28" y="25"/>
                    <a:pt x="28" y="26"/>
                  </a:cubicBezTo>
                  <a:cubicBezTo>
                    <a:pt x="27" y="26"/>
                    <a:pt x="27" y="27"/>
                    <a:pt x="27" y="27"/>
                  </a:cubicBezTo>
                  <a:cubicBezTo>
                    <a:pt x="26" y="27"/>
                    <a:pt x="26" y="28"/>
                    <a:pt x="25" y="29"/>
                  </a:cubicBezTo>
                  <a:cubicBezTo>
                    <a:pt x="25" y="29"/>
                    <a:pt x="25" y="29"/>
                    <a:pt x="25" y="30"/>
                  </a:cubicBezTo>
                  <a:cubicBezTo>
                    <a:pt x="24" y="30"/>
                    <a:pt x="24" y="31"/>
                    <a:pt x="23" y="32"/>
                  </a:cubicBezTo>
                  <a:cubicBezTo>
                    <a:pt x="23" y="32"/>
                    <a:pt x="23" y="32"/>
                    <a:pt x="23" y="33"/>
                  </a:cubicBezTo>
                  <a:cubicBezTo>
                    <a:pt x="22" y="33"/>
                    <a:pt x="22" y="34"/>
                    <a:pt x="21" y="35"/>
                  </a:cubicBezTo>
                  <a:cubicBezTo>
                    <a:pt x="21" y="35"/>
                    <a:pt x="21" y="35"/>
                    <a:pt x="21" y="36"/>
                  </a:cubicBezTo>
                  <a:cubicBezTo>
                    <a:pt x="20" y="36"/>
                    <a:pt x="20" y="37"/>
                    <a:pt x="19" y="38"/>
                  </a:cubicBezTo>
                  <a:cubicBezTo>
                    <a:pt x="19" y="38"/>
                    <a:pt x="19" y="39"/>
                    <a:pt x="19" y="39"/>
                  </a:cubicBezTo>
                  <a:cubicBezTo>
                    <a:pt x="18" y="39"/>
                    <a:pt x="18" y="40"/>
                    <a:pt x="18" y="41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3"/>
                    <a:pt x="16" y="44"/>
                    <a:pt x="16" y="45"/>
                  </a:cubicBezTo>
                  <a:cubicBezTo>
                    <a:pt x="0" y="82"/>
                    <a:pt x="17" y="125"/>
                    <a:pt x="54" y="141"/>
                  </a:cubicBezTo>
                  <a:close/>
                  <a:moveTo>
                    <a:pt x="99" y="35"/>
                  </a:moveTo>
                  <a:cubicBezTo>
                    <a:pt x="120" y="44"/>
                    <a:pt x="130" y="69"/>
                    <a:pt x="121" y="90"/>
                  </a:cubicBezTo>
                  <a:cubicBezTo>
                    <a:pt x="112" y="111"/>
                    <a:pt x="88" y="121"/>
                    <a:pt x="67" y="112"/>
                  </a:cubicBezTo>
                  <a:cubicBezTo>
                    <a:pt x="45" y="103"/>
                    <a:pt x="36" y="78"/>
                    <a:pt x="45" y="57"/>
                  </a:cubicBezTo>
                  <a:cubicBezTo>
                    <a:pt x="54" y="36"/>
                    <a:pt x="78" y="26"/>
                    <a:pt x="9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1" name="Freeform 609"/>
            <p:cNvSpPr>
              <a:spLocks/>
            </p:cNvSpPr>
            <p:nvPr/>
          </p:nvSpPr>
          <p:spPr bwMode="auto">
            <a:xfrm>
              <a:off x="3484922" y="5697381"/>
              <a:ext cx="124752" cy="74439"/>
            </a:xfrm>
            <a:custGeom>
              <a:avLst/>
              <a:gdLst>
                <a:gd name="T0" fmla="*/ 96 w 191"/>
                <a:gd name="T1" fmla="*/ 45 h 109"/>
                <a:gd name="T2" fmla="*/ 23 w 191"/>
                <a:gd name="T3" fmla="*/ 1 h 109"/>
                <a:gd name="T4" fmla="*/ 0 w 191"/>
                <a:gd name="T5" fmla="*/ 109 h 109"/>
                <a:gd name="T6" fmla="*/ 191 w 191"/>
                <a:gd name="T7" fmla="*/ 109 h 109"/>
                <a:gd name="T8" fmla="*/ 169 w 191"/>
                <a:gd name="T9" fmla="*/ 0 h 109"/>
                <a:gd name="T10" fmla="*/ 96 w 191"/>
                <a:gd name="T11" fmla="*/ 4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109">
                  <a:moveTo>
                    <a:pt x="96" y="45"/>
                  </a:moveTo>
                  <a:cubicBezTo>
                    <a:pt x="64" y="45"/>
                    <a:pt x="37" y="28"/>
                    <a:pt x="23" y="1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191" y="109"/>
                    <a:pt x="191" y="109"/>
                    <a:pt x="191" y="10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56" y="27"/>
                    <a:pt x="128" y="45"/>
                    <a:pt x="9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2" name="Freeform 610"/>
            <p:cNvSpPr>
              <a:spLocks/>
            </p:cNvSpPr>
            <p:nvPr/>
          </p:nvSpPr>
          <p:spPr bwMode="auto">
            <a:xfrm>
              <a:off x="3550485" y="5555184"/>
              <a:ext cx="114735" cy="128837"/>
            </a:xfrm>
            <a:custGeom>
              <a:avLst/>
              <a:gdLst>
                <a:gd name="T0" fmla="*/ 166 w 175"/>
                <a:gd name="T1" fmla="*/ 78 h 188"/>
                <a:gd name="T2" fmla="*/ 131 w 175"/>
                <a:gd name="T3" fmla="*/ 0 h 188"/>
                <a:gd name="T4" fmla="*/ 0 w 175"/>
                <a:gd name="T5" fmla="*/ 91 h 188"/>
                <a:gd name="T6" fmla="*/ 27 w 175"/>
                <a:gd name="T7" fmla="*/ 98 h 188"/>
                <a:gd name="T8" fmla="*/ 75 w 175"/>
                <a:gd name="T9" fmla="*/ 188 h 188"/>
                <a:gd name="T10" fmla="*/ 175 w 175"/>
                <a:gd name="T11" fmla="*/ 81 h 188"/>
                <a:gd name="T12" fmla="*/ 166 w 175"/>
                <a:gd name="T13" fmla="*/ 7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188">
                  <a:moveTo>
                    <a:pt x="166" y="78"/>
                  </a:moveTo>
                  <a:cubicBezTo>
                    <a:pt x="136" y="65"/>
                    <a:pt x="121" y="31"/>
                    <a:pt x="131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9" y="92"/>
                    <a:pt x="18" y="94"/>
                    <a:pt x="27" y="98"/>
                  </a:cubicBezTo>
                  <a:cubicBezTo>
                    <a:pt x="63" y="113"/>
                    <a:pt x="82" y="151"/>
                    <a:pt x="75" y="188"/>
                  </a:cubicBezTo>
                  <a:cubicBezTo>
                    <a:pt x="175" y="81"/>
                    <a:pt x="175" y="81"/>
                    <a:pt x="175" y="81"/>
                  </a:cubicBezTo>
                  <a:cubicBezTo>
                    <a:pt x="172" y="80"/>
                    <a:pt x="169" y="79"/>
                    <a:pt x="16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3" name="Freeform 611"/>
            <p:cNvSpPr>
              <a:spLocks/>
            </p:cNvSpPr>
            <p:nvPr/>
          </p:nvSpPr>
          <p:spPr bwMode="auto">
            <a:xfrm>
              <a:off x="3668863" y="5583814"/>
              <a:ext cx="70116" cy="104979"/>
            </a:xfrm>
            <a:custGeom>
              <a:avLst/>
              <a:gdLst>
                <a:gd name="T0" fmla="*/ 57 w 107"/>
                <a:gd name="T1" fmla="*/ 152 h 155"/>
                <a:gd name="T2" fmla="*/ 107 w 107"/>
                <a:gd name="T3" fmla="*/ 129 h 155"/>
                <a:gd name="T4" fmla="*/ 69 w 107"/>
                <a:gd name="T5" fmla="*/ 0 h 155"/>
                <a:gd name="T6" fmla="*/ 67 w 107"/>
                <a:gd name="T7" fmla="*/ 4 h 155"/>
                <a:gd name="T8" fmla="*/ 0 w 107"/>
                <a:gd name="T9" fmla="*/ 41 h 155"/>
                <a:gd name="T10" fmla="*/ 56 w 107"/>
                <a:gd name="T11" fmla="*/ 155 h 155"/>
                <a:gd name="T12" fmla="*/ 57 w 107"/>
                <a:gd name="T13" fmla="*/ 15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55">
                  <a:moveTo>
                    <a:pt x="57" y="152"/>
                  </a:moveTo>
                  <a:cubicBezTo>
                    <a:pt x="65" y="132"/>
                    <a:pt x="87" y="123"/>
                    <a:pt x="107" y="129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1"/>
                    <a:pt x="68" y="2"/>
                    <a:pt x="67" y="4"/>
                  </a:cubicBezTo>
                  <a:cubicBezTo>
                    <a:pt x="55" y="31"/>
                    <a:pt x="27" y="45"/>
                    <a:pt x="0" y="41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56" y="154"/>
                    <a:pt x="56" y="153"/>
                    <a:pt x="57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4" name="Freeform 612"/>
            <p:cNvSpPr>
              <a:spLocks noEditPoints="1"/>
            </p:cNvSpPr>
            <p:nvPr/>
          </p:nvSpPr>
          <p:spPr bwMode="auto">
            <a:xfrm>
              <a:off x="3634260" y="5526553"/>
              <a:ext cx="77401" cy="85892"/>
            </a:xfrm>
            <a:custGeom>
              <a:avLst/>
              <a:gdLst>
                <a:gd name="T0" fmla="*/ 12 w 118"/>
                <a:gd name="T1" fmla="*/ 41 h 125"/>
                <a:gd name="T2" fmla="*/ 41 w 118"/>
                <a:gd name="T3" fmla="*/ 113 h 125"/>
                <a:gd name="T4" fmla="*/ 113 w 118"/>
                <a:gd name="T5" fmla="*/ 84 h 125"/>
                <a:gd name="T6" fmla="*/ 117 w 118"/>
                <a:gd name="T7" fmla="*/ 68 h 125"/>
                <a:gd name="T8" fmla="*/ 117 w 118"/>
                <a:gd name="T9" fmla="*/ 67 h 125"/>
                <a:gd name="T10" fmla="*/ 117 w 118"/>
                <a:gd name="T11" fmla="*/ 66 h 125"/>
                <a:gd name="T12" fmla="*/ 117 w 118"/>
                <a:gd name="T13" fmla="*/ 64 h 125"/>
                <a:gd name="T14" fmla="*/ 118 w 118"/>
                <a:gd name="T15" fmla="*/ 63 h 125"/>
                <a:gd name="T16" fmla="*/ 118 w 118"/>
                <a:gd name="T17" fmla="*/ 62 h 125"/>
                <a:gd name="T18" fmla="*/ 117 w 118"/>
                <a:gd name="T19" fmla="*/ 61 h 125"/>
                <a:gd name="T20" fmla="*/ 117 w 118"/>
                <a:gd name="T21" fmla="*/ 59 h 125"/>
                <a:gd name="T22" fmla="*/ 117 w 118"/>
                <a:gd name="T23" fmla="*/ 58 h 125"/>
                <a:gd name="T24" fmla="*/ 117 w 118"/>
                <a:gd name="T25" fmla="*/ 56 h 125"/>
                <a:gd name="T26" fmla="*/ 117 w 118"/>
                <a:gd name="T27" fmla="*/ 55 h 125"/>
                <a:gd name="T28" fmla="*/ 117 w 118"/>
                <a:gd name="T29" fmla="*/ 54 h 125"/>
                <a:gd name="T30" fmla="*/ 117 w 118"/>
                <a:gd name="T31" fmla="*/ 52 h 125"/>
                <a:gd name="T32" fmla="*/ 116 w 118"/>
                <a:gd name="T33" fmla="*/ 51 h 125"/>
                <a:gd name="T34" fmla="*/ 116 w 118"/>
                <a:gd name="T35" fmla="*/ 50 h 125"/>
                <a:gd name="T36" fmla="*/ 116 w 118"/>
                <a:gd name="T37" fmla="*/ 49 h 125"/>
                <a:gd name="T38" fmla="*/ 116 w 118"/>
                <a:gd name="T39" fmla="*/ 48 h 125"/>
                <a:gd name="T40" fmla="*/ 115 w 118"/>
                <a:gd name="T41" fmla="*/ 47 h 125"/>
                <a:gd name="T42" fmla="*/ 115 w 118"/>
                <a:gd name="T43" fmla="*/ 44 h 125"/>
                <a:gd name="T44" fmla="*/ 114 w 118"/>
                <a:gd name="T45" fmla="*/ 43 h 125"/>
                <a:gd name="T46" fmla="*/ 114 w 118"/>
                <a:gd name="T47" fmla="*/ 42 h 125"/>
                <a:gd name="T48" fmla="*/ 113 w 118"/>
                <a:gd name="T49" fmla="*/ 41 h 125"/>
                <a:gd name="T50" fmla="*/ 113 w 118"/>
                <a:gd name="T51" fmla="*/ 40 h 125"/>
                <a:gd name="T52" fmla="*/ 112 w 118"/>
                <a:gd name="T53" fmla="*/ 39 h 125"/>
                <a:gd name="T54" fmla="*/ 112 w 118"/>
                <a:gd name="T55" fmla="*/ 38 h 125"/>
                <a:gd name="T56" fmla="*/ 111 w 118"/>
                <a:gd name="T57" fmla="*/ 37 h 125"/>
                <a:gd name="T58" fmla="*/ 110 w 118"/>
                <a:gd name="T59" fmla="*/ 35 h 125"/>
                <a:gd name="T60" fmla="*/ 110 w 118"/>
                <a:gd name="T61" fmla="*/ 34 h 125"/>
                <a:gd name="T62" fmla="*/ 109 w 118"/>
                <a:gd name="T63" fmla="*/ 33 h 125"/>
                <a:gd name="T64" fmla="*/ 108 w 118"/>
                <a:gd name="T65" fmla="*/ 32 h 125"/>
                <a:gd name="T66" fmla="*/ 107 w 118"/>
                <a:gd name="T67" fmla="*/ 31 h 125"/>
                <a:gd name="T68" fmla="*/ 107 w 118"/>
                <a:gd name="T69" fmla="*/ 30 h 125"/>
                <a:gd name="T70" fmla="*/ 106 w 118"/>
                <a:gd name="T71" fmla="*/ 29 h 125"/>
                <a:gd name="T72" fmla="*/ 105 w 118"/>
                <a:gd name="T73" fmla="*/ 28 h 125"/>
                <a:gd name="T74" fmla="*/ 104 w 118"/>
                <a:gd name="T75" fmla="*/ 26 h 125"/>
                <a:gd name="T76" fmla="*/ 104 w 118"/>
                <a:gd name="T77" fmla="*/ 26 h 125"/>
                <a:gd name="T78" fmla="*/ 102 w 118"/>
                <a:gd name="T79" fmla="*/ 24 h 125"/>
                <a:gd name="T80" fmla="*/ 102 w 118"/>
                <a:gd name="T81" fmla="*/ 24 h 125"/>
                <a:gd name="T82" fmla="*/ 100 w 118"/>
                <a:gd name="T83" fmla="*/ 22 h 125"/>
                <a:gd name="T84" fmla="*/ 100 w 118"/>
                <a:gd name="T85" fmla="*/ 22 h 125"/>
                <a:gd name="T86" fmla="*/ 99 w 118"/>
                <a:gd name="T87" fmla="*/ 21 h 125"/>
                <a:gd name="T88" fmla="*/ 98 w 118"/>
                <a:gd name="T89" fmla="*/ 20 h 125"/>
                <a:gd name="T90" fmla="*/ 96 w 118"/>
                <a:gd name="T91" fmla="*/ 19 h 125"/>
                <a:gd name="T92" fmla="*/ 96 w 118"/>
                <a:gd name="T93" fmla="*/ 19 h 125"/>
                <a:gd name="T94" fmla="*/ 94 w 118"/>
                <a:gd name="T95" fmla="*/ 17 h 125"/>
                <a:gd name="T96" fmla="*/ 93 w 118"/>
                <a:gd name="T97" fmla="*/ 17 h 125"/>
                <a:gd name="T98" fmla="*/ 92 w 118"/>
                <a:gd name="T99" fmla="*/ 16 h 125"/>
                <a:gd name="T100" fmla="*/ 91 w 118"/>
                <a:gd name="T101" fmla="*/ 15 h 125"/>
                <a:gd name="T102" fmla="*/ 90 w 118"/>
                <a:gd name="T103" fmla="*/ 14 h 125"/>
                <a:gd name="T104" fmla="*/ 89 w 118"/>
                <a:gd name="T105" fmla="*/ 14 h 125"/>
                <a:gd name="T106" fmla="*/ 87 w 118"/>
                <a:gd name="T107" fmla="*/ 13 h 125"/>
                <a:gd name="T108" fmla="*/ 86 w 118"/>
                <a:gd name="T109" fmla="*/ 13 h 125"/>
                <a:gd name="T110" fmla="*/ 84 w 118"/>
                <a:gd name="T111" fmla="*/ 12 h 125"/>
                <a:gd name="T112" fmla="*/ 12 w 118"/>
                <a:gd name="T113" fmla="*/ 41 h 125"/>
                <a:gd name="T114" fmla="*/ 75 w 118"/>
                <a:gd name="T115" fmla="*/ 32 h 125"/>
                <a:gd name="T116" fmla="*/ 93 w 118"/>
                <a:gd name="T117" fmla="*/ 75 h 125"/>
                <a:gd name="T118" fmla="*/ 50 w 118"/>
                <a:gd name="T119" fmla="*/ 92 h 125"/>
                <a:gd name="T120" fmla="*/ 32 w 118"/>
                <a:gd name="T121" fmla="*/ 49 h 125"/>
                <a:gd name="T122" fmla="*/ 75 w 118"/>
                <a:gd name="T123" fmla="*/ 3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8" h="125">
                  <a:moveTo>
                    <a:pt x="12" y="41"/>
                  </a:moveTo>
                  <a:cubicBezTo>
                    <a:pt x="0" y="69"/>
                    <a:pt x="13" y="101"/>
                    <a:pt x="41" y="113"/>
                  </a:cubicBezTo>
                  <a:cubicBezTo>
                    <a:pt x="69" y="125"/>
                    <a:pt x="101" y="112"/>
                    <a:pt x="113" y="84"/>
                  </a:cubicBezTo>
                  <a:cubicBezTo>
                    <a:pt x="115" y="79"/>
                    <a:pt x="117" y="73"/>
                    <a:pt x="117" y="68"/>
                  </a:cubicBezTo>
                  <a:cubicBezTo>
                    <a:pt x="117" y="68"/>
                    <a:pt x="117" y="67"/>
                    <a:pt x="117" y="67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5"/>
                    <a:pt x="117" y="65"/>
                    <a:pt x="117" y="64"/>
                  </a:cubicBezTo>
                  <a:cubicBezTo>
                    <a:pt x="118" y="64"/>
                    <a:pt x="118" y="64"/>
                    <a:pt x="118" y="63"/>
                  </a:cubicBezTo>
                  <a:cubicBezTo>
                    <a:pt x="118" y="63"/>
                    <a:pt x="118" y="62"/>
                    <a:pt x="118" y="62"/>
                  </a:cubicBezTo>
                  <a:cubicBezTo>
                    <a:pt x="118" y="61"/>
                    <a:pt x="118" y="61"/>
                    <a:pt x="117" y="61"/>
                  </a:cubicBezTo>
                  <a:cubicBezTo>
                    <a:pt x="117" y="60"/>
                    <a:pt x="117" y="60"/>
                    <a:pt x="117" y="59"/>
                  </a:cubicBezTo>
                  <a:cubicBezTo>
                    <a:pt x="117" y="59"/>
                    <a:pt x="117" y="59"/>
                    <a:pt x="117" y="58"/>
                  </a:cubicBezTo>
                  <a:cubicBezTo>
                    <a:pt x="117" y="57"/>
                    <a:pt x="117" y="57"/>
                    <a:pt x="117" y="56"/>
                  </a:cubicBezTo>
                  <a:cubicBezTo>
                    <a:pt x="117" y="56"/>
                    <a:pt x="117" y="55"/>
                    <a:pt x="117" y="55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7" y="53"/>
                    <a:pt x="117" y="53"/>
                    <a:pt x="117" y="52"/>
                  </a:cubicBezTo>
                  <a:cubicBezTo>
                    <a:pt x="117" y="52"/>
                    <a:pt x="116" y="52"/>
                    <a:pt x="116" y="51"/>
                  </a:cubicBezTo>
                  <a:cubicBezTo>
                    <a:pt x="116" y="51"/>
                    <a:pt x="116" y="50"/>
                    <a:pt x="116" y="50"/>
                  </a:cubicBezTo>
                  <a:cubicBezTo>
                    <a:pt x="116" y="50"/>
                    <a:pt x="116" y="49"/>
                    <a:pt x="116" y="49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6"/>
                    <a:pt x="115" y="45"/>
                    <a:pt x="115" y="44"/>
                  </a:cubicBezTo>
                  <a:cubicBezTo>
                    <a:pt x="114" y="44"/>
                    <a:pt x="114" y="44"/>
                    <a:pt x="114" y="43"/>
                  </a:cubicBezTo>
                  <a:cubicBezTo>
                    <a:pt x="114" y="43"/>
                    <a:pt x="114" y="43"/>
                    <a:pt x="114" y="42"/>
                  </a:cubicBezTo>
                  <a:cubicBezTo>
                    <a:pt x="114" y="42"/>
                    <a:pt x="113" y="41"/>
                    <a:pt x="113" y="41"/>
                  </a:cubicBezTo>
                  <a:cubicBezTo>
                    <a:pt x="113" y="41"/>
                    <a:pt x="113" y="40"/>
                    <a:pt x="113" y="40"/>
                  </a:cubicBezTo>
                  <a:cubicBezTo>
                    <a:pt x="113" y="40"/>
                    <a:pt x="112" y="39"/>
                    <a:pt x="112" y="39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7"/>
                    <a:pt x="111" y="37"/>
                    <a:pt x="111" y="37"/>
                  </a:cubicBezTo>
                  <a:cubicBezTo>
                    <a:pt x="111" y="36"/>
                    <a:pt x="111" y="35"/>
                    <a:pt x="110" y="3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9" y="34"/>
                    <a:pt x="109" y="33"/>
                    <a:pt x="109" y="33"/>
                  </a:cubicBezTo>
                  <a:cubicBezTo>
                    <a:pt x="109" y="32"/>
                    <a:pt x="109" y="32"/>
                    <a:pt x="108" y="32"/>
                  </a:cubicBezTo>
                  <a:cubicBezTo>
                    <a:pt x="108" y="31"/>
                    <a:pt x="108" y="31"/>
                    <a:pt x="107" y="31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29"/>
                    <a:pt x="106" y="29"/>
                    <a:pt x="106" y="29"/>
                  </a:cubicBezTo>
                  <a:cubicBezTo>
                    <a:pt x="106" y="28"/>
                    <a:pt x="106" y="28"/>
                    <a:pt x="105" y="28"/>
                  </a:cubicBezTo>
                  <a:cubicBezTo>
                    <a:pt x="105" y="27"/>
                    <a:pt x="105" y="27"/>
                    <a:pt x="104" y="26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103" y="25"/>
                    <a:pt x="103" y="25"/>
                    <a:pt x="102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101" y="23"/>
                    <a:pt x="101" y="23"/>
                    <a:pt x="100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7" y="20"/>
                    <a:pt x="97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5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2" y="16"/>
                    <a:pt x="92" y="16"/>
                  </a:cubicBezTo>
                  <a:cubicBezTo>
                    <a:pt x="92" y="15"/>
                    <a:pt x="91" y="15"/>
                    <a:pt x="91" y="15"/>
                  </a:cubicBezTo>
                  <a:cubicBezTo>
                    <a:pt x="91" y="15"/>
                    <a:pt x="90" y="15"/>
                    <a:pt x="90" y="14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8" y="14"/>
                    <a:pt x="88" y="13"/>
                    <a:pt x="87" y="13"/>
                  </a:cubicBezTo>
                  <a:cubicBezTo>
                    <a:pt x="87" y="13"/>
                    <a:pt x="87" y="13"/>
                    <a:pt x="86" y="13"/>
                  </a:cubicBezTo>
                  <a:cubicBezTo>
                    <a:pt x="86" y="12"/>
                    <a:pt x="85" y="12"/>
                    <a:pt x="84" y="12"/>
                  </a:cubicBezTo>
                  <a:cubicBezTo>
                    <a:pt x="56" y="0"/>
                    <a:pt x="24" y="13"/>
                    <a:pt x="12" y="41"/>
                  </a:cubicBezTo>
                  <a:close/>
                  <a:moveTo>
                    <a:pt x="75" y="32"/>
                  </a:moveTo>
                  <a:cubicBezTo>
                    <a:pt x="92" y="39"/>
                    <a:pt x="100" y="58"/>
                    <a:pt x="93" y="75"/>
                  </a:cubicBezTo>
                  <a:cubicBezTo>
                    <a:pt x="85" y="92"/>
                    <a:pt x="66" y="99"/>
                    <a:pt x="50" y="92"/>
                  </a:cubicBezTo>
                  <a:cubicBezTo>
                    <a:pt x="33" y="85"/>
                    <a:pt x="25" y="66"/>
                    <a:pt x="32" y="49"/>
                  </a:cubicBezTo>
                  <a:cubicBezTo>
                    <a:pt x="39" y="33"/>
                    <a:pt x="59" y="25"/>
                    <a:pt x="7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224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574" name="Oval 1573"/>
          <p:cNvSpPr/>
          <p:nvPr/>
        </p:nvSpPr>
        <p:spPr>
          <a:xfrm>
            <a:off x="538791" y="3862372"/>
            <a:ext cx="454824" cy="454824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565" name="Group 1564"/>
          <p:cNvGrpSpPr/>
          <p:nvPr/>
        </p:nvGrpSpPr>
        <p:grpSpPr>
          <a:xfrm>
            <a:off x="602802" y="3905905"/>
            <a:ext cx="297909" cy="375681"/>
            <a:chOff x="-1905001" y="2924176"/>
            <a:chExt cx="3946527" cy="4976813"/>
          </a:xfrm>
          <a:solidFill>
            <a:schemeClr val="bg1"/>
          </a:solidFill>
        </p:grpSpPr>
        <p:sp>
          <p:nvSpPr>
            <p:cNvPr id="1566" name="Freeform 9"/>
            <p:cNvSpPr>
              <a:spLocks noEditPoints="1"/>
            </p:cNvSpPr>
            <p:nvPr/>
          </p:nvSpPr>
          <p:spPr bwMode="auto">
            <a:xfrm>
              <a:off x="-1143000" y="3857626"/>
              <a:ext cx="2424113" cy="3289300"/>
            </a:xfrm>
            <a:custGeom>
              <a:avLst/>
              <a:gdLst>
                <a:gd name="T0" fmla="*/ 1248 w 3054"/>
                <a:gd name="T1" fmla="*/ 297 h 4144"/>
                <a:gd name="T2" fmla="*/ 933 w 3054"/>
                <a:gd name="T3" fmla="*/ 417 h 4144"/>
                <a:gd name="T4" fmla="*/ 664 w 3054"/>
                <a:gd name="T5" fmla="*/ 615 h 4144"/>
                <a:gd name="T6" fmla="*/ 454 w 3054"/>
                <a:gd name="T7" fmla="*/ 872 h 4144"/>
                <a:gd name="T8" fmla="*/ 317 w 3054"/>
                <a:gd name="T9" fmla="*/ 1179 h 4144"/>
                <a:gd name="T10" fmla="*/ 267 w 3054"/>
                <a:gd name="T11" fmla="*/ 1520 h 4144"/>
                <a:gd name="T12" fmla="*/ 309 w 3054"/>
                <a:gd name="T13" fmla="*/ 1846 h 4144"/>
                <a:gd name="T14" fmla="*/ 433 w 3054"/>
                <a:gd name="T15" fmla="*/ 2147 h 4144"/>
                <a:gd name="T16" fmla="*/ 655 w 3054"/>
                <a:gd name="T17" fmla="*/ 2450 h 4144"/>
                <a:gd name="T18" fmla="*/ 889 w 3054"/>
                <a:gd name="T19" fmla="*/ 2844 h 4144"/>
                <a:gd name="T20" fmla="*/ 1049 w 3054"/>
                <a:gd name="T21" fmla="*/ 3273 h 4144"/>
                <a:gd name="T22" fmla="*/ 1126 w 3054"/>
                <a:gd name="T23" fmla="*/ 3725 h 4144"/>
                <a:gd name="T24" fmla="*/ 1931 w 3054"/>
                <a:gd name="T25" fmla="*/ 3713 h 4144"/>
                <a:gd name="T26" fmla="*/ 2024 w 3054"/>
                <a:gd name="T27" fmla="*/ 3224 h 4144"/>
                <a:gd name="T28" fmla="*/ 2219 w 3054"/>
                <a:gd name="T29" fmla="*/ 2751 h 4144"/>
                <a:gd name="T30" fmla="*/ 2514 w 3054"/>
                <a:gd name="T31" fmla="*/ 2307 h 4144"/>
                <a:gd name="T32" fmla="*/ 2678 w 3054"/>
                <a:gd name="T33" fmla="*/ 2037 h 4144"/>
                <a:gd name="T34" fmla="*/ 2770 w 3054"/>
                <a:gd name="T35" fmla="*/ 1735 h 4144"/>
                <a:gd name="T36" fmla="*/ 2783 w 3054"/>
                <a:gd name="T37" fmla="*/ 1410 h 4144"/>
                <a:gd name="T38" fmla="*/ 2709 w 3054"/>
                <a:gd name="T39" fmla="*/ 1082 h 4144"/>
                <a:gd name="T40" fmla="*/ 2551 w 3054"/>
                <a:gd name="T41" fmla="*/ 788 h 4144"/>
                <a:gd name="T42" fmla="*/ 2316 w 3054"/>
                <a:gd name="T43" fmla="*/ 541 h 4144"/>
                <a:gd name="T44" fmla="*/ 2028 w 3054"/>
                <a:gd name="T45" fmla="*/ 367 h 4144"/>
                <a:gd name="T46" fmla="*/ 1706 w 3054"/>
                <a:gd name="T47" fmla="*/ 278 h 4144"/>
                <a:gd name="T48" fmla="*/ 1465 w 3054"/>
                <a:gd name="T49" fmla="*/ 0 h 4144"/>
                <a:gd name="T50" fmla="*/ 1835 w 3054"/>
                <a:gd name="T51" fmla="*/ 30 h 4144"/>
                <a:gd name="T52" fmla="*/ 2182 w 3054"/>
                <a:gd name="T53" fmla="*/ 144 h 4144"/>
                <a:gd name="T54" fmla="*/ 2491 w 3054"/>
                <a:gd name="T55" fmla="*/ 343 h 4144"/>
                <a:gd name="T56" fmla="*/ 2751 w 3054"/>
                <a:gd name="T57" fmla="*/ 609 h 4144"/>
                <a:gd name="T58" fmla="*/ 2934 w 3054"/>
                <a:gd name="T59" fmla="*/ 926 h 4144"/>
                <a:gd name="T60" fmla="*/ 3035 w 3054"/>
                <a:gd name="T61" fmla="*/ 1276 h 4144"/>
                <a:gd name="T62" fmla="*/ 3048 w 3054"/>
                <a:gd name="T63" fmla="*/ 1654 h 4144"/>
                <a:gd name="T64" fmla="*/ 2970 w 3054"/>
                <a:gd name="T65" fmla="*/ 2027 h 4144"/>
                <a:gd name="T66" fmla="*/ 2799 w 3054"/>
                <a:gd name="T67" fmla="*/ 2368 h 4144"/>
                <a:gd name="T68" fmla="*/ 2533 w 3054"/>
                <a:gd name="T69" fmla="*/ 2742 h 4144"/>
                <a:gd name="T70" fmla="*/ 2324 w 3054"/>
                <a:gd name="T71" fmla="*/ 3166 h 4144"/>
                <a:gd name="T72" fmla="*/ 2211 w 3054"/>
                <a:gd name="T73" fmla="*/ 3609 h 4144"/>
                <a:gd name="T74" fmla="*/ 2188 w 3054"/>
                <a:gd name="T75" fmla="*/ 3911 h 4144"/>
                <a:gd name="T76" fmla="*/ 2192 w 3054"/>
                <a:gd name="T77" fmla="*/ 3955 h 4144"/>
                <a:gd name="T78" fmla="*/ 2186 w 3054"/>
                <a:gd name="T79" fmla="*/ 4026 h 4144"/>
                <a:gd name="T80" fmla="*/ 2156 w 3054"/>
                <a:gd name="T81" fmla="*/ 4098 h 4144"/>
                <a:gd name="T82" fmla="*/ 2089 w 3054"/>
                <a:gd name="T83" fmla="*/ 4140 h 4144"/>
                <a:gd name="T84" fmla="*/ 966 w 3054"/>
                <a:gd name="T85" fmla="*/ 4140 h 4144"/>
                <a:gd name="T86" fmla="*/ 899 w 3054"/>
                <a:gd name="T87" fmla="*/ 4098 h 4144"/>
                <a:gd name="T88" fmla="*/ 870 w 3054"/>
                <a:gd name="T89" fmla="*/ 4026 h 4144"/>
                <a:gd name="T90" fmla="*/ 863 w 3054"/>
                <a:gd name="T91" fmla="*/ 3955 h 4144"/>
                <a:gd name="T92" fmla="*/ 866 w 3054"/>
                <a:gd name="T93" fmla="*/ 3911 h 4144"/>
                <a:gd name="T94" fmla="*/ 845 w 3054"/>
                <a:gd name="T95" fmla="*/ 3603 h 4144"/>
                <a:gd name="T96" fmla="*/ 735 w 3054"/>
                <a:gd name="T97" fmla="*/ 3161 h 4144"/>
                <a:gd name="T98" fmla="*/ 535 w 3054"/>
                <a:gd name="T99" fmla="*/ 2747 h 4144"/>
                <a:gd name="T100" fmla="*/ 281 w 3054"/>
                <a:gd name="T101" fmla="*/ 2404 h 4144"/>
                <a:gd name="T102" fmla="*/ 111 w 3054"/>
                <a:gd name="T103" fmla="*/ 2096 h 4144"/>
                <a:gd name="T104" fmla="*/ 18 w 3054"/>
                <a:gd name="T105" fmla="*/ 1754 h 4144"/>
                <a:gd name="T106" fmla="*/ 6 w 3054"/>
                <a:gd name="T107" fmla="*/ 1387 h 4144"/>
                <a:gd name="T108" fmla="*/ 94 w 3054"/>
                <a:gd name="T109" fmla="*/ 1006 h 4144"/>
                <a:gd name="T110" fmla="*/ 269 w 3054"/>
                <a:gd name="T111" fmla="*/ 666 h 4144"/>
                <a:gd name="T112" fmla="*/ 523 w 3054"/>
                <a:gd name="T113" fmla="*/ 381 h 4144"/>
                <a:gd name="T114" fmla="*/ 840 w 3054"/>
                <a:gd name="T115" fmla="*/ 165 h 4144"/>
                <a:gd name="T116" fmla="*/ 1204 w 3054"/>
                <a:gd name="T117" fmla="*/ 34 h 4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54" h="4144">
                  <a:moveTo>
                    <a:pt x="1477" y="266"/>
                  </a:moveTo>
                  <a:lnTo>
                    <a:pt x="1360" y="276"/>
                  </a:lnTo>
                  <a:lnTo>
                    <a:pt x="1248" y="297"/>
                  </a:lnTo>
                  <a:lnTo>
                    <a:pt x="1139" y="327"/>
                  </a:lnTo>
                  <a:lnTo>
                    <a:pt x="1034" y="367"/>
                  </a:lnTo>
                  <a:lnTo>
                    <a:pt x="933" y="417"/>
                  </a:lnTo>
                  <a:lnTo>
                    <a:pt x="838" y="476"/>
                  </a:lnTo>
                  <a:lnTo>
                    <a:pt x="748" y="541"/>
                  </a:lnTo>
                  <a:lnTo>
                    <a:pt x="664" y="615"/>
                  </a:lnTo>
                  <a:lnTo>
                    <a:pt x="586" y="695"/>
                  </a:lnTo>
                  <a:lnTo>
                    <a:pt x="515" y="781"/>
                  </a:lnTo>
                  <a:lnTo>
                    <a:pt x="454" y="872"/>
                  </a:lnTo>
                  <a:lnTo>
                    <a:pt x="399" y="971"/>
                  </a:lnTo>
                  <a:lnTo>
                    <a:pt x="353" y="1072"/>
                  </a:lnTo>
                  <a:lnTo>
                    <a:pt x="317" y="1179"/>
                  </a:lnTo>
                  <a:lnTo>
                    <a:pt x="290" y="1290"/>
                  </a:lnTo>
                  <a:lnTo>
                    <a:pt x="273" y="1404"/>
                  </a:lnTo>
                  <a:lnTo>
                    <a:pt x="267" y="1520"/>
                  </a:lnTo>
                  <a:lnTo>
                    <a:pt x="271" y="1631"/>
                  </a:lnTo>
                  <a:lnTo>
                    <a:pt x="287" y="1739"/>
                  </a:lnTo>
                  <a:lnTo>
                    <a:pt x="309" y="1846"/>
                  </a:lnTo>
                  <a:lnTo>
                    <a:pt x="342" y="1949"/>
                  </a:lnTo>
                  <a:lnTo>
                    <a:pt x="384" y="2050"/>
                  </a:lnTo>
                  <a:lnTo>
                    <a:pt x="433" y="2147"/>
                  </a:lnTo>
                  <a:lnTo>
                    <a:pt x="493" y="2240"/>
                  </a:lnTo>
                  <a:lnTo>
                    <a:pt x="559" y="2328"/>
                  </a:lnTo>
                  <a:lnTo>
                    <a:pt x="655" y="2450"/>
                  </a:lnTo>
                  <a:lnTo>
                    <a:pt x="741" y="2576"/>
                  </a:lnTo>
                  <a:lnTo>
                    <a:pt x="819" y="2709"/>
                  </a:lnTo>
                  <a:lnTo>
                    <a:pt x="889" y="2844"/>
                  </a:lnTo>
                  <a:lnTo>
                    <a:pt x="952" y="2984"/>
                  </a:lnTo>
                  <a:lnTo>
                    <a:pt x="1004" y="3126"/>
                  </a:lnTo>
                  <a:lnTo>
                    <a:pt x="1049" y="3273"/>
                  </a:lnTo>
                  <a:lnTo>
                    <a:pt x="1084" y="3422"/>
                  </a:lnTo>
                  <a:lnTo>
                    <a:pt x="1109" y="3572"/>
                  </a:lnTo>
                  <a:lnTo>
                    <a:pt x="1126" y="3725"/>
                  </a:lnTo>
                  <a:lnTo>
                    <a:pt x="1133" y="3877"/>
                  </a:lnTo>
                  <a:lnTo>
                    <a:pt x="1921" y="3877"/>
                  </a:lnTo>
                  <a:lnTo>
                    <a:pt x="1931" y="3713"/>
                  </a:lnTo>
                  <a:lnTo>
                    <a:pt x="1950" y="3548"/>
                  </a:lnTo>
                  <a:lnTo>
                    <a:pt x="1980" y="3386"/>
                  </a:lnTo>
                  <a:lnTo>
                    <a:pt x="2024" y="3224"/>
                  </a:lnTo>
                  <a:lnTo>
                    <a:pt x="2078" y="3064"/>
                  </a:lnTo>
                  <a:lnTo>
                    <a:pt x="2142" y="2905"/>
                  </a:lnTo>
                  <a:lnTo>
                    <a:pt x="2219" y="2751"/>
                  </a:lnTo>
                  <a:lnTo>
                    <a:pt x="2306" y="2599"/>
                  </a:lnTo>
                  <a:lnTo>
                    <a:pt x="2406" y="2452"/>
                  </a:lnTo>
                  <a:lnTo>
                    <a:pt x="2514" y="2307"/>
                  </a:lnTo>
                  <a:lnTo>
                    <a:pt x="2577" y="2219"/>
                  </a:lnTo>
                  <a:lnTo>
                    <a:pt x="2633" y="2130"/>
                  </a:lnTo>
                  <a:lnTo>
                    <a:pt x="2678" y="2037"/>
                  </a:lnTo>
                  <a:lnTo>
                    <a:pt x="2718" y="1939"/>
                  </a:lnTo>
                  <a:lnTo>
                    <a:pt x="2749" y="1838"/>
                  </a:lnTo>
                  <a:lnTo>
                    <a:pt x="2770" y="1735"/>
                  </a:lnTo>
                  <a:lnTo>
                    <a:pt x="2783" y="1631"/>
                  </a:lnTo>
                  <a:lnTo>
                    <a:pt x="2789" y="1524"/>
                  </a:lnTo>
                  <a:lnTo>
                    <a:pt x="2783" y="1410"/>
                  </a:lnTo>
                  <a:lnTo>
                    <a:pt x="2768" y="1297"/>
                  </a:lnTo>
                  <a:lnTo>
                    <a:pt x="2743" y="1189"/>
                  </a:lnTo>
                  <a:lnTo>
                    <a:pt x="2709" y="1082"/>
                  </a:lnTo>
                  <a:lnTo>
                    <a:pt x="2665" y="979"/>
                  </a:lnTo>
                  <a:lnTo>
                    <a:pt x="2612" y="882"/>
                  </a:lnTo>
                  <a:lnTo>
                    <a:pt x="2551" y="788"/>
                  </a:lnTo>
                  <a:lnTo>
                    <a:pt x="2480" y="699"/>
                  </a:lnTo>
                  <a:lnTo>
                    <a:pt x="2402" y="617"/>
                  </a:lnTo>
                  <a:lnTo>
                    <a:pt x="2316" y="541"/>
                  </a:lnTo>
                  <a:lnTo>
                    <a:pt x="2224" y="474"/>
                  </a:lnTo>
                  <a:lnTo>
                    <a:pt x="2129" y="417"/>
                  </a:lnTo>
                  <a:lnTo>
                    <a:pt x="2028" y="367"/>
                  </a:lnTo>
                  <a:lnTo>
                    <a:pt x="1923" y="327"/>
                  </a:lnTo>
                  <a:lnTo>
                    <a:pt x="1816" y="299"/>
                  </a:lnTo>
                  <a:lnTo>
                    <a:pt x="1706" y="278"/>
                  </a:lnTo>
                  <a:lnTo>
                    <a:pt x="1593" y="266"/>
                  </a:lnTo>
                  <a:lnTo>
                    <a:pt x="1477" y="266"/>
                  </a:lnTo>
                  <a:close/>
                  <a:moveTo>
                    <a:pt x="1465" y="0"/>
                  </a:moveTo>
                  <a:lnTo>
                    <a:pt x="1591" y="0"/>
                  </a:lnTo>
                  <a:lnTo>
                    <a:pt x="1715" y="9"/>
                  </a:lnTo>
                  <a:lnTo>
                    <a:pt x="1835" y="30"/>
                  </a:lnTo>
                  <a:lnTo>
                    <a:pt x="1954" y="59"/>
                  </a:lnTo>
                  <a:lnTo>
                    <a:pt x="2070" y="97"/>
                  </a:lnTo>
                  <a:lnTo>
                    <a:pt x="2182" y="144"/>
                  </a:lnTo>
                  <a:lnTo>
                    <a:pt x="2289" y="202"/>
                  </a:lnTo>
                  <a:lnTo>
                    <a:pt x="2394" y="268"/>
                  </a:lnTo>
                  <a:lnTo>
                    <a:pt x="2491" y="343"/>
                  </a:lnTo>
                  <a:lnTo>
                    <a:pt x="2585" y="424"/>
                  </a:lnTo>
                  <a:lnTo>
                    <a:pt x="2673" y="514"/>
                  </a:lnTo>
                  <a:lnTo>
                    <a:pt x="2751" y="609"/>
                  </a:lnTo>
                  <a:lnTo>
                    <a:pt x="2819" y="710"/>
                  </a:lnTo>
                  <a:lnTo>
                    <a:pt x="2881" y="815"/>
                  </a:lnTo>
                  <a:lnTo>
                    <a:pt x="2934" y="926"/>
                  </a:lnTo>
                  <a:lnTo>
                    <a:pt x="2976" y="1040"/>
                  </a:lnTo>
                  <a:lnTo>
                    <a:pt x="3010" y="1156"/>
                  </a:lnTo>
                  <a:lnTo>
                    <a:pt x="3035" y="1276"/>
                  </a:lnTo>
                  <a:lnTo>
                    <a:pt x="3050" y="1400"/>
                  </a:lnTo>
                  <a:lnTo>
                    <a:pt x="3054" y="1524"/>
                  </a:lnTo>
                  <a:lnTo>
                    <a:pt x="3048" y="1654"/>
                  </a:lnTo>
                  <a:lnTo>
                    <a:pt x="3033" y="1781"/>
                  </a:lnTo>
                  <a:lnTo>
                    <a:pt x="3006" y="1905"/>
                  </a:lnTo>
                  <a:lnTo>
                    <a:pt x="2970" y="2027"/>
                  </a:lnTo>
                  <a:lnTo>
                    <a:pt x="2922" y="2145"/>
                  </a:lnTo>
                  <a:lnTo>
                    <a:pt x="2865" y="2258"/>
                  </a:lnTo>
                  <a:lnTo>
                    <a:pt x="2799" y="2368"/>
                  </a:lnTo>
                  <a:lnTo>
                    <a:pt x="2722" y="2473"/>
                  </a:lnTo>
                  <a:lnTo>
                    <a:pt x="2623" y="2606"/>
                  </a:lnTo>
                  <a:lnTo>
                    <a:pt x="2533" y="2742"/>
                  </a:lnTo>
                  <a:lnTo>
                    <a:pt x="2453" y="2881"/>
                  </a:lnTo>
                  <a:lnTo>
                    <a:pt x="2383" y="3024"/>
                  </a:lnTo>
                  <a:lnTo>
                    <a:pt x="2324" y="3166"/>
                  </a:lnTo>
                  <a:lnTo>
                    <a:pt x="2276" y="3313"/>
                  </a:lnTo>
                  <a:lnTo>
                    <a:pt x="2238" y="3460"/>
                  </a:lnTo>
                  <a:lnTo>
                    <a:pt x="2211" y="3609"/>
                  </a:lnTo>
                  <a:lnTo>
                    <a:pt x="2194" y="3759"/>
                  </a:lnTo>
                  <a:lnTo>
                    <a:pt x="2188" y="3910"/>
                  </a:lnTo>
                  <a:lnTo>
                    <a:pt x="2188" y="3911"/>
                  </a:lnTo>
                  <a:lnTo>
                    <a:pt x="2190" y="3921"/>
                  </a:lnTo>
                  <a:lnTo>
                    <a:pt x="2192" y="3936"/>
                  </a:lnTo>
                  <a:lnTo>
                    <a:pt x="2192" y="3955"/>
                  </a:lnTo>
                  <a:lnTo>
                    <a:pt x="2192" y="3978"/>
                  </a:lnTo>
                  <a:lnTo>
                    <a:pt x="2190" y="4001"/>
                  </a:lnTo>
                  <a:lnTo>
                    <a:pt x="2186" y="4026"/>
                  </a:lnTo>
                  <a:lnTo>
                    <a:pt x="2181" y="4052"/>
                  </a:lnTo>
                  <a:lnTo>
                    <a:pt x="2169" y="4075"/>
                  </a:lnTo>
                  <a:lnTo>
                    <a:pt x="2156" y="4098"/>
                  </a:lnTo>
                  <a:lnTo>
                    <a:pt x="2139" y="4117"/>
                  </a:lnTo>
                  <a:lnTo>
                    <a:pt x="2116" y="4131"/>
                  </a:lnTo>
                  <a:lnTo>
                    <a:pt x="2089" y="4140"/>
                  </a:lnTo>
                  <a:lnTo>
                    <a:pt x="2055" y="4144"/>
                  </a:lnTo>
                  <a:lnTo>
                    <a:pt x="1000" y="4144"/>
                  </a:lnTo>
                  <a:lnTo>
                    <a:pt x="966" y="4140"/>
                  </a:lnTo>
                  <a:lnTo>
                    <a:pt x="939" y="4131"/>
                  </a:lnTo>
                  <a:lnTo>
                    <a:pt x="918" y="4117"/>
                  </a:lnTo>
                  <a:lnTo>
                    <a:pt x="899" y="4098"/>
                  </a:lnTo>
                  <a:lnTo>
                    <a:pt x="885" y="4075"/>
                  </a:lnTo>
                  <a:lnTo>
                    <a:pt x="876" y="4052"/>
                  </a:lnTo>
                  <a:lnTo>
                    <a:pt x="870" y="4026"/>
                  </a:lnTo>
                  <a:lnTo>
                    <a:pt x="866" y="4001"/>
                  </a:lnTo>
                  <a:lnTo>
                    <a:pt x="864" y="3978"/>
                  </a:lnTo>
                  <a:lnTo>
                    <a:pt x="863" y="3955"/>
                  </a:lnTo>
                  <a:lnTo>
                    <a:pt x="864" y="3936"/>
                  </a:lnTo>
                  <a:lnTo>
                    <a:pt x="864" y="3921"/>
                  </a:lnTo>
                  <a:lnTo>
                    <a:pt x="866" y="3911"/>
                  </a:lnTo>
                  <a:lnTo>
                    <a:pt x="866" y="3910"/>
                  </a:lnTo>
                  <a:lnTo>
                    <a:pt x="861" y="3755"/>
                  </a:lnTo>
                  <a:lnTo>
                    <a:pt x="845" y="3603"/>
                  </a:lnTo>
                  <a:lnTo>
                    <a:pt x="819" y="3452"/>
                  </a:lnTo>
                  <a:lnTo>
                    <a:pt x="781" y="3306"/>
                  </a:lnTo>
                  <a:lnTo>
                    <a:pt x="735" y="3161"/>
                  </a:lnTo>
                  <a:lnTo>
                    <a:pt x="678" y="3018"/>
                  </a:lnTo>
                  <a:lnTo>
                    <a:pt x="611" y="2881"/>
                  </a:lnTo>
                  <a:lnTo>
                    <a:pt x="535" y="2747"/>
                  </a:lnTo>
                  <a:lnTo>
                    <a:pt x="449" y="2620"/>
                  </a:lnTo>
                  <a:lnTo>
                    <a:pt x="353" y="2498"/>
                  </a:lnTo>
                  <a:lnTo>
                    <a:pt x="281" y="2404"/>
                  </a:lnTo>
                  <a:lnTo>
                    <a:pt x="216" y="2305"/>
                  </a:lnTo>
                  <a:lnTo>
                    <a:pt x="161" y="2202"/>
                  </a:lnTo>
                  <a:lnTo>
                    <a:pt x="111" y="2096"/>
                  </a:lnTo>
                  <a:lnTo>
                    <a:pt x="71" y="1983"/>
                  </a:lnTo>
                  <a:lnTo>
                    <a:pt x="41" y="1871"/>
                  </a:lnTo>
                  <a:lnTo>
                    <a:pt x="18" y="1754"/>
                  </a:lnTo>
                  <a:lnTo>
                    <a:pt x="4" y="1638"/>
                  </a:lnTo>
                  <a:lnTo>
                    <a:pt x="0" y="1518"/>
                  </a:lnTo>
                  <a:lnTo>
                    <a:pt x="6" y="1387"/>
                  </a:lnTo>
                  <a:lnTo>
                    <a:pt x="25" y="1255"/>
                  </a:lnTo>
                  <a:lnTo>
                    <a:pt x="54" y="1130"/>
                  </a:lnTo>
                  <a:lnTo>
                    <a:pt x="94" y="1006"/>
                  </a:lnTo>
                  <a:lnTo>
                    <a:pt x="144" y="888"/>
                  </a:lnTo>
                  <a:lnTo>
                    <a:pt x="203" y="773"/>
                  </a:lnTo>
                  <a:lnTo>
                    <a:pt x="269" y="666"/>
                  </a:lnTo>
                  <a:lnTo>
                    <a:pt x="348" y="564"/>
                  </a:lnTo>
                  <a:lnTo>
                    <a:pt x="432" y="468"/>
                  </a:lnTo>
                  <a:lnTo>
                    <a:pt x="523" y="381"/>
                  </a:lnTo>
                  <a:lnTo>
                    <a:pt x="622" y="301"/>
                  </a:lnTo>
                  <a:lnTo>
                    <a:pt x="727" y="228"/>
                  </a:lnTo>
                  <a:lnTo>
                    <a:pt x="840" y="165"/>
                  </a:lnTo>
                  <a:lnTo>
                    <a:pt x="956" y="112"/>
                  </a:lnTo>
                  <a:lnTo>
                    <a:pt x="1078" y="68"/>
                  </a:lnTo>
                  <a:lnTo>
                    <a:pt x="1204" y="34"/>
                  </a:lnTo>
                  <a:lnTo>
                    <a:pt x="1334" y="11"/>
                  </a:lnTo>
                  <a:lnTo>
                    <a:pt x="14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67" name="Freeform 10"/>
            <p:cNvSpPr>
              <a:spLocks/>
            </p:cNvSpPr>
            <p:nvPr/>
          </p:nvSpPr>
          <p:spPr bwMode="auto">
            <a:xfrm>
              <a:off x="1023938" y="3470276"/>
              <a:ext cx="471488" cy="468313"/>
            </a:xfrm>
            <a:custGeom>
              <a:avLst/>
              <a:gdLst>
                <a:gd name="T0" fmla="*/ 458 w 593"/>
                <a:gd name="T1" fmla="*/ 0 h 590"/>
                <a:gd name="T2" fmla="*/ 492 w 593"/>
                <a:gd name="T3" fmla="*/ 4 h 590"/>
                <a:gd name="T4" fmla="*/ 524 w 593"/>
                <a:gd name="T5" fmla="*/ 17 h 590"/>
                <a:gd name="T6" fmla="*/ 553 w 593"/>
                <a:gd name="T7" fmla="*/ 38 h 590"/>
                <a:gd name="T8" fmla="*/ 576 w 593"/>
                <a:gd name="T9" fmla="*/ 66 h 590"/>
                <a:gd name="T10" fmla="*/ 587 w 593"/>
                <a:gd name="T11" fmla="*/ 99 h 590"/>
                <a:gd name="T12" fmla="*/ 593 w 593"/>
                <a:gd name="T13" fmla="*/ 133 h 590"/>
                <a:gd name="T14" fmla="*/ 587 w 593"/>
                <a:gd name="T15" fmla="*/ 167 h 590"/>
                <a:gd name="T16" fmla="*/ 576 w 593"/>
                <a:gd name="T17" fmla="*/ 198 h 590"/>
                <a:gd name="T18" fmla="*/ 553 w 593"/>
                <a:gd name="T19" fmla="*/ 227 h 590"/>
                <a:gd name="T20" fmla="*/ 229 w 593"/>
                <a:gd name="T21" fmla="*/ 552 h 590"/>
                <a:gd name="T22" fmla="*/ 200 w 593"/>
                <a:gd name="T23" fmla="*/ 573 h 590"/>
                <a:gd name="T24" fmla="*/ 168 w 593"/>
                <a:gd name="T25" fmla="*/ 587 h 590"/>
                <a:gd name="T26" fmla="*/ 133 w 593"/>
                <a:gd name="T27" fmla="*/ 590 h 590"/>
                <a:gd name="T28" fmla="*/ 101 w 593"/>
                <a:gd name="T29" fmla="*/ 587 h 590"/>
                <a:gd name="T30" fmla="*/ 68 w 593"/>
                <a:gd name="T31" fmla="*/ 573 h 590"/>
                <a:gd name="T32" fmla="*/ 40 w 593"/>
                <a:gd name="T33" fmla="*/ 552 h 590"/>
                <a:gd name="T34" fmla="*/ 17 w 593"/>
                <a:gd name="T35" fmla="*/ 524 h 590"/>
                <a:gd name="T36" fmla="*/ 4 w 593"/>
                <a:gd name="T37" fmla="*/ 491 h 590"/>
                <a:gd name="T38" fmla="*/ 0 w 593"/>
                <a:gd name="T39" fmla="*/ 457 h 590"/>
                <a:gd name="T40" fmla="*/ 4 w 593"/>
                <a:gd name="T41" fmla="*/ 425 h 590"/>
                <a:gd name="T42" fmla="*/ 17 w 593"/>
                <a:gd name="T43" fmla="*/ 392 h 590"/>
                <a:gd name="T44" fmla="*/ 40 w 593"/>
                <a:gd name="T45" fmla="*/ 364 h 590"/>
                <a:gd name="T46" fmla="*/ 364 w 593"/>
                <a:gd name="T47" fmla="*/ 38 h 590"/>
                <a:gd name="T48" fmla="*/ 393 w 593"/>
                <a:gd name="T49" fmla="*/ 17 h 590"/>
                <a:gd name="T50" fmla="*/ 425 w 593"/>
                <a:gd name="T51" fmla="*/ 4 h 590"/>
                <a:gd name="T52" fmla="*/ 458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458" y="0"/>
                  </a:moveTo>
                  <a:lnTo>
                    <a:pt x="492" y="4"/>
                  </a:lnTo>
                  <a:lnTo>
                    <a:pt x="524" y="17"/>
                  </a:lnTo>
                  <a:lnTo>
                    <a:pt x="553" y="38"/>
                  </a:lnTo>
                  <a:lnTo>
                    <a:pt x="576" y="66"/>
                  </a:lnTo>
                  <a:lnTo>
                    <a:pt x="587" y="99"/>
                  </a:lnTo>
                  <a:lnTo>
                    <a:pt x="593" y="133"/>
                  </a:lnTo>
                  <a:lnTo>
                    <a:pt x="587" y="167"/>
                  </a:lnTo>
                  <a:lnTo>
                    <a:pt x="576" y="198"/>
                  </a:lnTo>
                  <a:lnTo>
                    <a:pt x="553" y="227"/>
                  </a:lnTo>
                  <a:lnTo>
                    <a:pt x="229" y="552"/>
                  </a:lnTo>
                  <a:lnTo>
                    <a:pt x="200" y="573"/>
                  </a:lnTo>
                  <a:lnTo>
                    <a:pt x="168" y="587"/>
                  </a:lnTo>
                  <a:lnTo>
                    <a:pt x="133" y="590"/>
                  </a:lnTo>
                  <a:lnTo>
                    <a:pt x="101" y="587"/>
                  </a:lnTo>
                  <a:lnTo>
                    <a:pt x="68" y="573"/>
                  </a:lnTo>
                  <a:lnTo>
                    <a:pt x="40" y="552"/>
                  </a:lnTo>
                  <a:lnTo>
                    <a:pt x="17" y="524"/>
                  </a:lnTo>
                  <a:lnTo>
                    <a:pt x="4" y="491"/>
                  </a:lnTo>
                  <a:lnTo>
                    <a:pt x="0" y="457"/>
                  </a:lnTo>
                  <a:lnTo>
                    <a:pt x="4" y="425"/>
                  </a:lnTo>
                  <a:lnTo>
                    <a:pt x="17" y="392"/>
                  </a:lnTo>
                  <a:lnTo>
                    <a:pt x="40" y="364"/>
                  </a:lnTo>
                  <a:lnTo>
                    <a:pt x="364" y="38"/>
                  </a:lnTo>
                  <a:lnTo>
                    <a:pt x="393" y="17"/>
                  </a:lnTo>
                  <a:lnTo>
                    <a:pt x="425" y="4"/>
                  </a:lnTo>
                  <a:lnTo>
                    <a:pt x="4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68" name="Freeform 11"/>
            <p:cNvSpPr>
              <a:spLocks/>
            </p:cNvSpPr>
            <p:nvPr/>
          </p:nvSpPr>
          <p:spPr bwMode="auto">
            <a:xfrm>
              <a:off x="-460375" y="7291388"/>
              <a:ext cx="1057275" cy="211138"/>
            </a:xfrm>
            <a:custGeom>
              <a:avLst/>
              <a:gdLst>
                <a:gd name="T0" fmla="*/ 133 w 1333"/>
                <a:gd name="T1" fmla="*/ 0 h 265"/>
                <a:gd name="T2" fmla="*/ 1199 w 1333"/>
                <a:gd name="T3" fmla="*/ 0 h 265"/>
                <a:gd name="T4" fmla="*/ 1234 w 1333"/>
                <a:gd name="T5" fmla="*/ 4 h 265"/>
                <a:gd name="T6" fmla="*/ 1266 w 1333"/>
                <a:gd name="T7" fmla="*/ 17 h 265"/>
                <a:gd name="T8" fmla="*/ 1293 w 1333"/>
                <a:gd name="T9" fmla="*/ 38 h 265"/>
                <a:gd name="T10" fmla="*/ 1314 w 1333"/>
                <a:gd name="T11" fmla="*/ 65 h 265"/>
                <a:gd name="T12" fmla="*/ 1327 w 1333"/>
                <a:gd name="T13" fmla="*/ 97 h 265"/>
                <a:gd name="T14" fmla="*/ 1333 w 1333"/>
                <a:gd name="T15" fmla="*/ 131 h 265"/>
                <a:gd name="T16" fmla="*/ 1327 w 1333"/>
                <a:gd name="T17" fmla="*/ 168 h 265"/>
                <a:gd name="T18" fmla="*/ 1314 w 1333"/>
                <a:gd name="T19" fmla="*/ 200 h 265"/>
                <a:gd name="T20" fmla="*/ 1293 w 1333"/>
                <a:gd name="T21" fmla="*/ 227 h 265"/>
                <a:gd name="T22" fmla="*/ 1266 w 1333"/>
                <a:gd name="T23" fmla="*/ 248 h 265"/>
                <a:gd name="T24" fmla="*/ 1236 w 1333"/>
                <a:gd name="T25" fmla="*/ 261 h 265"/>
                <a:gd name="T26" fmla="*/ 1199 w 1333"/>
                <a:gd name="T27" fmla="*/ 265 h 265"/>
                <a:gd name="T28" fmla="*/ 133 w 1333"/>
                <a:gd name="T29" fmla="*/ 265 h 265"/>
                <a:gd name="T30" fmla="*/ 99 w 1333"/>
                <a:gd name="T31" fmla="*/ 261 h 265"/>
                <a:gd name="T32" fmla="*/ 66 w 1333"/>
                <a:gd name="T33" fmla="*/ 248 h 265"/>
                <a:gd name="T34" fmla="*/ 40 w 1333"/>
                <a:gd name="T35" fmla="*/ 227 h 265"/>
                <a:gd name="T36" fmla="*/ 19 w 1333"/>
                <a:gd name="T37" fmla="*/ 200 h 265"/>
                <a:gd name="T38" fmla="*/ 5 w 1333"/>
                <a:gd name="T39" fmla="*/ 168 h 265"/>
                <a:gd name="T40" fmla="*/ 0 w 1333"/>
                <a:gd name="T41" fmla="*/ 131 h 265"/>
                <a:gd name="T42" fmla="*/ 5 w 1333"/>
                <a:gd name="T43" fmla="*/ 97 h 265"/>
                <a:gd name="T44" fmla="*/ 19 w 1333"/>
                <a:gd name="T45" fmla="*/ 65 h 265"/>
                <a:gd name="T46" fmla="*/ 40 w 1333"/>
                <a:gd name="T47" fmla="*/ 38 h 265"/>
                <a:gd name="T48" fmla="*/ 66 w 1333"/>
                <a:gd name="T49" fmla="*/ 17 h 265"/>
                <a:gd name="T50" fmla="*/ 97 w 1333"/>
                <a:gd name="T51" fmla="*/ 4 h 265"/>
                <a:gd name="T52" fmla="*/ 133 w 1333"/>
                <a:gd name="T5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3" h="265">
                  <a:moveTo>
                    <a:pt x="133" y="0"/>
                  </a:moveTo>
                  <a:lnTo>
                    <a:pt x="1199" y="0"/>
                  </a:lnTo>
                  <a:lnTo>
                    <a:pt x="1234" y="4"/>
                  </a:lnTo>
                  <a:lnTo>
                    <a:pt x="1266" y="17"/>
                  </a:lnTo>
                  <a:lnTo>
                    <a:pt x="1293" y="38"/>
                  </a:lnTo>
                  <a:lnTo>
                    <a:pt x="1314" y="65"/>
                  </a:lnTo>
                  <a:lnTo>
                    <a:pt x="1327" y="97"/>
                  </a:lnTo>
                  <a:lnTo>
                    <a:pt x="1333" y="131"/>
                  </a:lnTo>
                  <a:lnTo>
                    <a:pt x="1327" y="168"/>
                  </a:lnTo>
                  <a:lnTo>
                    <a:pt x="1314" y="200"/>
                  </a:lnTo>
                  <a:lnTo>
                    <a:pt x="1293" y="227"/>
                  </a:lnTo>
                  <a:lnTo>
                    <a:pt x="1266" y="248"/>
                  </a:lnTo>
                  <a:lnTo>
                    <a:pt x="1236" y="261"/>
                  </a:lnTo>
                  <a:lnTo>
                    <a:pt x="1199" y="265"/>
                  </a:lnTo>
                  <a:lnTo>
                    <a:pt x="133" y="265"/>
                  </a:lnTo>
                  <a:lnTo>
                    <a:pt x="99" y="261"/>
                  </a:lnTo>
                  <a:lnTo>
                    <a:pt x="66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5" y="168"/>
                  </a:lnTo>
                  <a:lnTo>
                    <a:pt x="0" y="131"/>
                  </a:lnTo>
                  <a:lnTo>
                    <a:pt x="5" y="97"/>
                  </a:lnTo>
                  <a:lnTo>
                    <a:pt x="19" y="65"/>
                  </a:lnTo>
                  <a:lnTo>
                    <a:pt x="40" y="38"/>
                  </a:lnTo>
                  <a:lnTo>
                    <a:pt x="66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69" name="Freeform 12"/>
            <p:cNvSpPr>
              <a:spLocks/>
            </p:cNvSpPr>
            <p:nvPr/>
          </p:nvSpPr>
          <p:spPr bwMode="auto">
            <a:xfrm>
              <a:off x="-300038" y="7689851"/>
              <a:ext cx="736600" cy="211138"/>
            </a:xfrm>
            <a:custGeom>
              <a:avLst/>
              <a:gdLst>
                <a:gd name="T0" fmla="*/ 133 w 929"/>
                <a:gd name="T1" fmla="*/ 0 h 267"/>
                <a:gd name="T2" fmla="*/ 795 w 929"/>
                <a:gd name="T3" fmla="*/ 0 h 267"/>
                <a:gd name="T4" fmla="*/ 831 w 929"/>
                <a:gd name="T5" fmla="*/ 4 h 267"/>
                <a:gd name="T6" fmla="*/ 864 w 929"/>
                <a:gd name="T7" fmla="*/ 17 h 267"/>
                <a:gd name="T8" fmla="*/ 891 w 929"/>
                <a:gd name="T9" fmla="*/ 38 h 267"/>
                <a:gd name="T10" fmla="*/ 912 w 929"/>
                <a:gd name="T11" fmla="*/ 67 h 267"/>
                <a:gd name="T12" fmla="*/ 925 w 929"/>
                <a:gd name="T13" fmla="*/ 97 h 267"/>
                <a:gd name="T14" fmla="*/ 929 w 929"/>
                <a:gd name="T15" fmla="*/ 133 h 267"/>
                <a:gd name="T16" fmla="*/ 925 w 929"/>
                <a:gd name="T17" fmla="*/ 168 h 267"/>
                <a:gd name="T18" fmla="*/ 912 w 929"/>
                <a:gd name="T19" fmla="*/ 200 h 267"/>
                <a:gd name="T20" fmla="*/ 891 w 929"/>
                <a:gd name="T21" fmla="*/ 227 h 267"/>
                <a:gd name="T22" fmla="*/ 864 w 929"/>
                <a:gd name="T23" fmla="*/ 248 h 267"/>
                <a:gd name="T24" fmla="*/ 831 w 929"/>
                <a:gd name="T25" fmla="*/ 261 h 267"/>
                <a:gd name="T26" fmla="*/ 795 w 929"/>
                <a:gd name="T27" fmla="*/ 267 h 267"/>
                <a:gd name="T28" fmla="*/ 133 w 929"/>
                <a:gd name="T29" fmla="*/ 267 h 267"/>
                <a:gd name="T30" fmla="*/ 99 w 929"/>
                <a:gd name="T31" fmla="*/ 261 h 267"/>
                <a:gd name="T32" fmla="*/ 67 w 929"/>
                <a:gd name="T33" fmla="*/ 248 h 267"/>
                <a:gd name="T34" fmla="*/ 40 w 929"/>
                <a:gd name="T35" fmla="*/ 227 h 267"/>
                <a:gd name="T36" fmla="*/ 19 w 929"/>
                <a:gd name="T37" fmla="*/ 200 h 267"/>
                <a:gd name="T38" fmla="*/ 6 w 929"/>
                <a:gd name="T39" fmla="*/ 168 h 267"/>
                <a:gd name="T40" fmla="*/ 0 w 929"/>
                <a:gd name="T41" fmla="*/ 133 h 267"/>
                <a:gd name="T42" fmla="*/ 6 w 929"/>
                <a:gd name="T43" fmla="*/ 97 h 267"/>
                <a:gd name="T44" fmla="*/ 19 w 929"/>
                <a:gd name="T45" fmla="*/ 67 h 267"/>
                <a:gd name="T46" fmla="*/ 40 w 929"/>
                <a:gd name="T47" fmla="*/ 38 h 267"/>
                <a:gd name="T48" fmla="*/ 67 w 929"/>
                <a:gd name="T49" fmla="*/ 17 h 267"/>
                <a:gd name="T50" fmla="*/ 97 w 929"/>
                <a:gd name="T51" fmla="*/ 4 h 267"/>
                <a:gd name="T52" fmla="*/ 133 w 929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29" h="267">
                  <a:moveTo>
                    <a:pt x="133" y="0"/>
                  </a:moveTo>
                  <a:lnTo>
                    <a:pt x="795" y="0"/>
                  </a:lnTo>
                  <a:lnTo>
                    <a:pt x="831" y="4"/>
                  </a:lnTo>
                  <a:lnTo>
                    <a:pt x="864" y="17"/>
                  </a:lnTo>
                  <a:lnTo>
                    <a:pt x="891" y="38"/>
                  </a:lnTo>
                  <a:lnTo>
                    <a:pt x="912" y="67"/>
                  </a:lnTo>
                  <a:lnTo>
                    <a:pt x="925" y="97"/>
                  </a:lnTo>
                  <a:lnTo>
                    <a:pt x="929" y="133"/>
                  </a:lnTo>
                  <a:lnTo>
                    <a:pt x="925" y="168"/>
                  </a:lnTo>
                  <a:lnTo>
                    <a:pt x="912" y="200"/>
                  </a:lnTo>
                  <a:lnTo>
                    <a:pt x="891" y="227"/>
                  </a:lnTo>
                  <a:lnTo>
                    <a:pt x="864" y="248"/>
                  </a:lnTo>
                  <a:lnTo>
                    <a:pt x="831" y="261"/>
                  </a:lnTo>
                  <a:lnTo>
                    <a:pt x="795" y="267"/>
                  </a:lnTo>
                  <a:lnTo>
                    <a:pt x="133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3"/>
                  </a:lnTo>
                  <a:lnTo>
                    <a:pt x="6" y="97"/>
                  </a:lnTo>
                  <a:lnTo>
                    <a:pt x="19" y="67"/>
                  </a:lnTo>
                  <a:lnTo>
                    <a:pt x="40" y="38"/>
                  </a:lnTo>
                  <a:lnTo>
                    <a:pt x="67" y="17"/>
                  </a:lnTo>
                  <a:lnTo>
                    <a:pt x="97" y="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70" name="Freeform 13"/>
            <p:cNvSpPr>
              <a:spLocks/>
            </p:cNvSpPr>
            <p:nvPr/>
          </p:nvSpPr>
          <p:spPr bwMode="auto">
            <a:xfrm>
              <a:off x="-36513" y="2924176"/>
              <a:ext cx="209550" cy="576263"/>
            </a:xfrm>
            <a:custGeom>
              <a:avLst/>
              <a:gdLst>
                <a:gd name="T0" fmla="*/ 131 w 265"/>
                <a:gd name="T1" fmla="*/ 0 h 726"/>
                <a:gd name="T2" fmla="*/ 168 w 265"/>
                <a:gd name="T3" fmla="*/ 4 h 726"/>
                <a:gd name="T4" fmla="*/ 200 w 265"/>
                <a:gd name="T5" fmla="*/ 17 h 726"/>
                <a:gd name="T6" fmla="*/ 227 w 265"/>
                <a:gd name="T7" fmla="*/ 38 h 726"/>
                <a:gd name="T8" fmla="*/ 248 w 265"/>
                <a:gd name="T9" fmla="*/ 65 h 726"/>
                <a:gd name="T10" fmla="*/ 261 w 265"/>
                <a:gd name="T11" fmla="*/ 97 h 726"/>
                <a:gd name="T12" fmla="*/ 265 w 265"/>
                <a:gd name="T13" fmla="*/ 133 h 726"/>
                <a:gd name="T14" fmla="*/ 265 w 265"/>
                <a:gd name="T15" fmla="*/ 593 h 726"/>
                <a:gd name="T16" fmla="*/ 261 w 265"/>
                <a:gd name="T17" fmla="*/ 627 h 726"/>
                <a:gd name="T18" fmla="*/ 248 w 265"/>
                <a:gd name="T19" fmla="*/ 659 h 726"/>
                <a:gd name="T20" fmla="*/ 227 w 265"/>
                <a:gd name="T21" fmla="*/ 686 h 726"/>
                <a:gd name="T22" fmla="*/ 200 w 265"/>
                <a:gd name="T23" fmla="*/ 707 h 726"/>
                <a:gd name="T24" fmla="*/ 168 w 265"/>
                <a:gd name="T25" fmla="*/ 720 h 726"/>
                <a:gd name="T26" fmla="*/ 131 w 265"/>
                <a:gd name="T27" fmla="*/ 726 h 726"/>
                <a:gd name="T28" fmla="*/ 97 w 265"/>
                <a:gd name="T29" fmla="*/ 720 h 726"/>
                <a:gd name="T30" fmla="*/ 65 w 265"/>
                <a:gd name="T31" fmla="*/ 707 h 726"/>
                <a:gd name="T32" fmla="*/ 38 w 265"/>
                <a:gd name="T33" fmla="*/ 686 h 726"/>
                <a:gd name="T34" fmla="*/ 17 w 265"/>
                <a:gd name="T35" fmla="*/ 659 h 726"/>
                <a:gd name="T36" fmla="*/ 4 w 265"/>
                <a:gd name="T37" fmla="*/ 627 h 726"/>
                <a:gd name="T38" fmla="*/ 0 w 265"/>
                <a:gd name="T39" fmla="*/ 593 h 726"/>
                <a:gd name="T40" fmla="*/ 0 w 265"/>
                <a:gd name="T41" fmla="*/ 133 h 726"/>
                <a:gd name="T42" fmla="*/ 4 w 265"/>
                <a:gd name="T43" fmla="*/ 97 h 726"/>
                <a:gd name="T44" fmla="*/ 17 w 265"/>
                <a:gd name="T45" fmla="*/ 65 h 726"/>
                <a:gd name="T46" fmla="*/ 38 w 265"/>
                <a:gd name="T47" fmla="*/ 38 h 726"/>
                <a:gd name="T48" fmla="*/ 65 w 265"/>
                <a:gd name="T49" fmla="*/ 17 h 726"/>
                <a:gd name="T50" fmla="*/ 97 w 265"/>
                <a:gd name="T51" fmla="*/ 4 h 726"/>
                <a:gd name="T52" fmla="*/ 131 w 265"/>
                <a:gd name="T53" fmla="*/ 0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5" h="726">
                  <a:moveTo>
                    <a:pt x="131" y="0"/>
                  </a:moveTo>
                  <a:lnTo>
                    <a:pt x="168" y="4"/>
                  </a:lnTo>
                  <a:lnTo>
                    <a:pt x="200" y="17"/>
                  </a:lnTo>
                  <a:lnTo>
                    <a:pt x="227" y="38"/>
                  </a:lnTo>
                  <a:lnTo>
                    <a:pt x="248" y="65"/>
                  </a:lnTo>
                  <a:lnTo>
                    <a:pt x="261" y="97"/>
                  </a:lnTo>
                  <a:lnTo>
                    <a:pt x="265" y="133"/>
                  </a:lnTo>
                  <a:lnTo>
                    <a:pt x="265" y="593"/>
                  </a:lnTo>
                  <a:lnTo>
                    <a:pt x="261" y="627"/>
                  </a:lnTo>
                  <a:lnTo>
                    <a:pt x="248" y="659"/>
                  </a:lnTo>
                  <a:lnTo>
                    <a:pt x="227" y="686"/>
                  </a:lnTo>
                  <a:lnTo>
                    <a:pt x="200" y="707"/>
                  </a:lnTo>
                  <a:lnTo>
                    <a:pt x="168" y="720"/>
                  </a:lnTo>
                  <a:lnTo>
                    <a:pt x="131" y="726"/>
                  </a:lnTo>
                  <a:lnTo>
                    <a:pt x="97" y="720"/>
                  </a:lnTo>
                  <a:lnTo>
                    <a:pt x="65" y="707"/>
                  </a:lnTo>
                  <a:lnTo>
                    <a:pt x="38" y="686"/>
                  </a:lnTo>
                  <a:lnTo>
                    <a:pt x="17" y="659"/>
                  </a:lnTo>
                  <a:lnTo>
                    <a:pt x="4" y="627"/>
                  </a:lnTo>
                  <a:lnTo>
                    <a:pt x="0" y="593"/>
                  </a:lnTo>
                  <a:lnTo>
                    <a:pt x="0" y="133"/>
                  </a:lnTo>
                  <a:lnTo>
                    <a:pt x="4" y="97"/>
                  </a:lnTo>
                  <a:lnTo>
                    <a:pt x="17" y="65"/>
                  </a:lnTo>
                  <a:lnTo>
                    <a:pt x="38" y="38"/>
                  </a:lnTo>
                  <a:lnTo>
                    <a:pt x="65" y="17"/>
                  </a:lnTo>
                  <a:lnTo>
                    <a:pt x="97" y="4"/>
                  </a:lnTo>
                  <a:lnTo>
                    <a:pt x="1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71" name="Freeform 14"/>
            <p:cNvSpPr>
              <a:spLocks/>
            </p:cNvSpPr>
            <p:nvPr/>
          </p:nvSpPr>
          <p:spPr bwMode="auto">
            <a:xfrm>
              <a:off x="-1358900" y="3470276"/>
              <a:ext cx="471488" cy="468313"/>
            </a:xfrm>
            <a:custGeom>
              <a:avLst/>
              <a:gdLst>
                <a:gd name="T0" fmla="*/ 133 w 593"/>
                <a:gd name="T1" fmla="*/ 0 h 590"/>
                <a:gd name="T2" fmla="*/ 167 w 593"/>
                <a:gd name="T3" fmla="*/ 5 h 590"/>
                <a:gd name="T4" fmla="*/ 200 w 593"/>
                <a:gd name="T5" fmla="*/ 17 h 590"/>
                <a:gd name="T6" fmla="*/ 229 w 593"/>
                <a:gd name="T7" fmla="*/ 40 h 590"/>
                <a:gd name="T8" fmla="*/ 553 w 593"/>
                <a:gd name="T9" fmla="*/ 366 h 590"/>
                <a:gd name="T10" fmla="*/ 576 w 593"/>
                <a:gd name="T11" fmla="*/ 392 h 590"/>
                <a:gd name="T12" fmla="*/ 589 w 593"/>
                <a:gd name="T13" fmla="*/ 425 h 590"/>
                <a:gd name="T14" fmla="*/ 593 w 593"/>
                <a:gd name="T15" fmla="*/ 459 h 590"/>
                <a:gd name="T16" fmla="*/ 589 w 593"/>
                <a:gd name="T17" fmla="*/ 491 h 590"/>
                <a:gd name="T18" fmla="*/ 576 w 593"/>
                <a:gd name="T19" fmla="*/ 524 h 590"/>
                <a:gd name="T20" fmla="*/ 553 w 593"/>
                <a:gd name="T21" fmla="*/ 552 h 590"/>
                <a:gd name="T22" fmla="*/ 524 w 593"/>
                <a:gd name="T23" fmla="*/ 573 h 590"/>
                <a:gd name="T24" fmla="*/ 494 w 593"/>
                <a:gd name="T25" fmla="*/ 587 h 590"/>
                <a:gd name="T26" fmla="*/ 459 w 593"/>
                <a:gd name="T27" fmla="*/ 590 h 590"/>
                <a:gd name="T28" fmla="*/ 425 w 593"/>
                <a:gd name="T29" fmla="*/ 587 h 590"/>
                <a:gd name="T30" fmla="*/ 393 w 593"/>
                <a:gd name="T31" fmla="*/ 573 h 590"/>
                <a:gd name="T32" fmla="*/ 364 w 593"/>
                <a:gd name="T33" fmla="*/ 552 h 590"/>
                <a:gd name="T34" fmla="*/ 40 w 593"/>
                <a:gd name="T35" fmla="*/ 228 h 590"/>
                <a:gd name="T36" fmla="*/ 17 w 593"/>
                <a:gd name="T37" fmla="*/ 200 h 590"/>
                <a:gd name="T38" fmla="*/ 5 w 593"/>
                <a:gd name="T39" fmla="*/ 167 h 590"/>
                <a:gd name="T40" fmla="*/ 0 w 593"/>
                <a:gd name="T41" fmla="*/ 135 h 590"/>
                <a:gd name="T42" fmla="*/ 5 w 593"/>
                <a:gd name="T43" fmla="*/ 101 h 590"/>
                <a:gd name="T44" fmla="*/ 19 w 593"/>
                <a:gd name="T45" fmla="*/ 68 h 590"/>
                <a:gd name="T46" fmla="*/ 40 w 593"/>
                <a:gd name="T47" fmla="*/ 40 h 590"/>
                <a:gd name="T48" fmla="*/ 68 w 593"/>
                <a:gd name="T49" fmla="*/ 17 h 590"/>
                <a:gd name="T50" fmla="*/ 99 w 593"/>
                <a:gd name="T51" fmla="*/ 5 h 590"/>
                <a:gd name="T52" fmla="*/ 133 w 593"/>
                <a:gd name="T5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3" h="590">
                  <a:moveTo>
                    <a:pt x="133" y="0"/>
                  </a:moveTo>
                  <a:lnTo>
                    <a:pt x="167" y="5"/>
                  </a:lnTo>
                  <a:lnTo>
                    <a:pt x="200" y="17"/>
                  </a:lnTo>
                  <a:lnTo>
                    <a:pt x="229" y="40"/>
                  </a:lnTo>
                  <a:lnTo>
                    <a:pt x="553" y="366"/>
                  </a:lnTo>
                  <a:lnTo>
                    <a:pt x="576" y="392"/>
                  </a:lnTo>
                  <a:lnTo>
                    <a:pt x="589" y="425"/>
                  </a:lnTo>
                  <a:lnTo>
                    <a:pt x="593" y="459"/>
                  </a:lnTo>
                  <a:lnTo>
                    <a:pt x="589" y="491"/>
                  </a:lnTo>
                  <a:lnTo>
                    <a:pt x="576" y="524"/>
                  </a:lnTo>
                  <a:lnTo>
                    <a:pt x="553" y="552"/>
                  </a:lnTo>
                  <a:lnTo>
                    <a:pt x="524" y="573"/>
                  </a:lnTo>
                  <a:lnTo>
                    <a:pt x="494" y="587"/>
                  </a:lnTo>
                  <a:lnTo>
                    <a:pt x="459" y="590"/>
                  </a:lnTo>
                  <a:lnTo>
                    <a:pt x="425" y="587"/>
                  </a:lnTo>
                  <a:lnTo>
                    <a:pt x="393" y="573"/>
                  </a:lnTo>
                  <a:lnTo>
                    <a:pt x="364" y="552"/>
                  </a:lnTo>
                  <a:lnTo>
                    <a:pt x="40" y="228"/>
                  </a:lnTo>
                  <a:lnTo>
                    <a:pt x="17" y="200"/>
                  </a:lnTo>
                  <a:lnTo>
                    <a:pt x="5" y="167"/>
                  </a:lnTo>
                  <a:lnTo>
                    <a:pt x="0" y="135"/>
                  </a:lnTo>
                  <a:lnTo>
                    <a:pt x="5" y="101"/>
                  </a:lnTo>
                  <a:lnTo>
                    <a:pt x="19" y="68"/>
                  </a:lnTo>
                  <a:lnTo>
                    <a:pt x="40" y="40"/>
                  </a:lnTo>
                  <a:lnTo>
                    <a:pt x="68" y="17"/>
                  </a:lnTo>
                  <a:lnTo>
                    <a:pt x="99" y="5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72" name="Freeform 15"/>
            <p:cNvSpPr>
              <a:spLocks/>
            </p:cNvSpPr>
            <p:nvPr/>
          </p:nvSpPr>
          <p:spPr bwMode="auto">
            <a:xfrm>
              <a:off x="1465263" y="4789488"/>
              <a:ext cx="576263" cy="211138"/>
            </a:xfrm>
            <a:custGeom>
              <a:avLst/>
              <a:gdLst>
                <a:gd name="T0" fmla="*/ 133 w 726"/>
                <a:gd name="T1" fmla="*/ 0 h 267"/>
                <a:gd name="T2" fmla="*/ 593 w 726"/>
                <a:gd name="T3" fmla="*/ 0 h 267"/>
                <a:gd name="T4" fmla="*/ 627 w 726"/>
                <a:gd name="T5" fmla="*/ 6 h 267"/>
                <a:gd name="T6" fmla="*/ 660 w 726"/>
                <a:gd name="T7" fmla="*/ 19 h 267"/>
                <a:gd name="T8" fmla="*/ 686 w 726"/>
                <a:gd name="T9" fmla="*/ 40 h 267"/>
                <a:gd name="T10" fmla="*/ 707 w 726"/>
                <a:gd name="T11" fmla="*/ 67 h 267"/>
                <a:gd name="T12" fmla="*/ 721 w 726"/>
                <a:gd name="T13" fmla="*/ 98 h 267"/>
                <a:gd name="T14" fmla="*/ 726 w 726"/>
                <a:gd name="T15" fmla="*/ 134 h 267"/>
                <a:gd name="T16" fmla="*/ 721 w 726"/>
                <a:gd name="T17" fmla="*/ 168 h 267"/>
                <a:gd name="T18" fmla="*/ 707 w 726"/>
                <a:gd name="T19" fmla="*/ 200 h 267"/>
                <a:gd name="T20" fmla="*/ 686 w 726"/>
                <a:gd name="T21" fmla="*/ 227 h 267"/>
                <a:gd name="T22" fmla="*/ 660 w 726"/>
                <a:gd name="T23" fmla="*/ 248 h 267"/>
                <a:gd name="T24" fmla="*/ 629 w 726"/>
                <a:gd name="T25" fmla="*/ 261 h 267"/>
                <a:gd name="T26" fmla="*/ 593 w 726"/>
                <a:gd name="T27" fmla="*/ 267 h 267"/>
                <a:gd name="T28" fmla="*/ 133 w 726"/>
                <a:gd name="T29" fmla="*/ 267 h 267"/>
                <a:gd name="T30" fmla="*/ 97 w 726"/>
                <a:gd name="T31" fmla="*/ 261 h 267"/>
                <a:gd name="T32" fmla="*/ 67 w 726"/>
                <a:gd name="T33" fmla="*/ 248 h 267"/>
                <a:gd name="T34" fmla="*/ 38 w 726"/>
                <a:gd name="T35" fmla="*/ 227 h 267"/>
                <a:gd name="T36" fmla="*/ 17 w 726"/>
                <a:gd name="T37" fmla="*/ 200 h 267"/>
                <a:gd name="T38" fmla="*/ 4 w 726"/>
                <a:gd name="T39" fmla="*/ 168 h 267"/>
                <a:gd name="T40" fmla="*/ 0 w 726"/>
                <a:gd name="T41" fmla="*/ 134 h 267"/>
                <a:gd name="T42" fmla="*/ 4 w 726"/>
                <a:gd name="T43" fmla="*/ 98 h 267"/>
                <a:gd name="T44" fmla="*/ 17 w 726"/>
                <a:gd name="T45" fmla="*/ 67 h 267"/>
                <a:gd name="T46" fmla="*/ 38 w 726"/>
                <a:gd name="T47" fmla="*/ 40 h 267"/>
                <a:gd name="T48" fmla="*/ 65 w 726"/>
                <a:gd name="T49" fmla="*/ 19 h 267"/>
                <a:gd name="T50" fmla="*/ 97 w 726"/>
                <a:gd name="T51" fmla="*/ 6 h 267"/>
                <a:gd name="T52" fmla="*/ 133 w 726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6" h="267">
                  <a:moveTo>
                    <a:pt x="133" y="0"/>
                  </a:moveTo>
                  <a:lnTo>
                    <a:pt x="593" y="0"/>
                  </a:lnTo>
                  <a:lnTo>
                    <a:pt x="627" y="6"/>
                  </a:lnTo>
                  <a:lnTo>
                    <a:pt x="660" y="19"/>
                  </a:lnTo>
                  <a:lnTo>
                    <a:pt x="686" y="40"/>
                  </a:lnTo>
                  <a:lnTo>
                    <a:pt x="707" y="67"/>
                  </a:lnTo>
                  <a:lnTo>
                    <a:pt x="721" y="98"/>
                  </a:lnTo>
                  <a:lnTo>
                    <a:pt x="726" y="134"/>
                  </a:lnTo>
                  <a:lnTo>
                    <a:pt x="721" y="168"/>
                  </a:lnTo>
                  <a:lnTo>
                    <a:pt x="707" y="200"/>
                  </a:lnTo>
                  <a:lnTo>
                    <a:pt x="686" y="227"/>
                  </a:lnTo>
                  <a:lnTo>
                    <a:pt x="660" y="248"/>
                  </a:lnTo>
                  <a:lnTo>
                    <a:pt x="629" y="261"/>
                  </a:lnTo>
                  <a:lnTo>
                    <a:pt x="593" y="267"/>
                  </a:lnTo>
                  <a:lnTo>
                    <a:pt x="133" y="267"/>
                  </a:lnTo>
                  <a:lnTo>
                    <a:pt x="97" y="261"/>
                  </a:lnTo>
                  <a:lnTo>
                    <a:pt x="67" y="248"/>
                  </a:lnTo>
                  <a:lnTo>
                    <a:pt x="38" y="227"/>
                  </a:lnTo>
                  <a:lnTo>
                    <a:pt x="17" y="200"/>
                  </a:lnTo>
                  <a:lnTo>
                    <a:pt x="4" y="168"/>
                  </a:lnTo>
                  <a:lnTo>
                    <a:pt x="0" y="134"/>
                  </a:lnTo>
                  <a:lnTo>
                    <a:pt x="4" y="98"/>
                  </a:lnTo>
                  <a:lnTo>
                    <a:pt x="17" y="67"/>
                  </a:lnTo>
                  <a:lnTo>
                    <a:pt x="38" y="40"/>
                  </a:lnTo>
                  <a:lnTo>
                    <a:pt x="65" y="19"/>
                  </a:lnTo>
                  <a:lnTo>
                    <a:pt x="97" y="6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  <p:sp>
          <p:nvSpPr>
            <p:cNvPr id="1573" name="Freeform 16"/>
            <p:cNvSpPr>
              <a:spLocks/>
            </p:cNvSpPr>
            <p:nvPr/>
          </p:nvSpPr>
          <p:spPr bwMode="auto">
            <a:xfrm>
              <a:off x="-1905001" y="4789488"/>
              <a:ext cx="576263" cy="211138"/>
            </a:xfrm>
            <a:custGeom>
              <a:avLst/>
              <a:gdLst>
                <a:gd name="T0" fmla="*/ 134 w 727"/>
                <a:gd name="T1" fmla="*/ 0 h 267"/>
                <a:gd name="T2" fmla="*/ 593 w 727"/>
                <a:gd name="T3" fmla="*/ 0 h 267"/>
                <a:gd name="T4" fmla="*/ 630 w 727"/>
                <a:gd name="T5" fmla="*/ 6 h 267"/>
                <a:gd name="T6" fmla="*/ 662 w 727"/>
                <a:gd name="T7" fmla="*/ 19 h 267"/>
                <a:gd name="T8" fmla="*/ 689 w 727"/>
                <a:gd name="T9" fmla="*/ 40 h 267"/>
                <a:gd name="T10" fmla="*/ 710 w 727"/>
                <a:gd name="T11" fmla="*/ 67 h 267"/>
                <a:gd name="T12" fmla="*/ 723 w 727"/>
                <a:gd name="T13" fmla="*/ 98 h 267"/>
                <a:gd name="T14" fmla="*/ 727 w 727"/>
                <a:gd name="T15" fmla="*/ 134 h 267"/>
                <a:gd name="T16" fmla="*/ 723 w 727"/>
                <a:gd name="T17" fmla="*/ 168 h 267"/>
                <a:gd name="T18" fmla="*/ 710 w 727"/>
                <a:gd name="T19" fmla="*/ 200 h 267"/>
                <a:gd name="T20" fmla="*/ 689 w 727"/>
                <a:gd name="T21" fmla="*/ 227 h 267"/>
                <a:gd name="T22" fmla="*/ 662 w 727"/>
                <a:gd name="T23" fmla="*/ 248 h 267"/>
                <a:gd name="T24" fmla="*/ 630 w 727"/>
                <a:gd name="T25" fmla="*/ 261 h 267"/>
                <a:gd name="T26" fmla="*/ 593 w 727"/>
                <a:gd name="T27" fmla="*/ 267 h 267"/>
                <a:gd name="T28" fmla="*/ 134 w 727"/>
                <a:gd name="T29" fmla="*/ 267 h 267"/>
                <a:gd name="T30" fmla="*/ 99 w 727"/>
                <a:gd name="T31" fmla="*/ 261 h 267"/>
                <a:gd name="T32" fmla="*/ 67 w 727"/>
                <a:gd name="T33" fmla="*/ 248 h 267"/>
                <a:gd name="T34" fmla="*/ 40 w 727"/>
                <a:gd name="T35" fmla="*/ 227 h 267"/>
                <a:gd name="T36" fmla="*/ 19 w 727"/>
                <a:gd name="T37" fmla="*/ 200 h 267"/>
                <a:gd name="T38" fmla="*/ 6 w 727"/>
                <a:gd name="T39" fmla="*/ 168 h 267"/>
                <a:gd name="T40" fmla="*/ 0 w 727"/>
                <a:gd name="T41" fmla="*/ 134 h 267"/>
                <a:gd name="T42" fmla="*/ 6 w 727"/>
                <a:gd name="T43" fmla="*/ 98 h 267"/>
                <a:gd name="T44" fmla="*/ 19 w 727"/>
                <a:gd name="T45" fmla="*/ 67 h 267"/>
                <a:gd name="T46" fmla="*/ 40 w 727"/>
                <a:gd name="T47" fmla="*/ 40 h 267"/>
                <a:gd name="T48" fmla="*/ 67 w 727"/>
                <a:gd name="T49" fmla="*/ 19 h 267"/>
                <a:gd name="T50" fmla="*/ 97 w 727"/>
                <a:gd name="T51" fmla="*/ 6 h 267"/>
                <a:gd name="T52" fmla="*/ 134 w 727"/>
                <a:gd name="T5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7" h="267">
                  <a:moveTo>
                    <a:pt x="134" y="0"/>
                  </a:moveTo>
                  <a:lnTo>
                    <a:pt x="593" y="0"/>
                  </a:lnTo>
                  <a:lnTo>
                    <a:pt x="630" y="6"/>
                  </a:lnTo>
                  <a:lnTo>
                    <a:pt x="662" y="19"/>
                  </a:lnTo>
                  <a:lnTo>
                    <a:pt x="689" y="40"/>
                  </a:lnTo>
                  <a:lnTo>
                    <a:pt x="710" y="67"/>
                  </a:lnTo>
                  <a:lnTo>
                    <a:pt x="723" y="98"/>
                  </a:lnTo>
                  <a:lnTo>
                    <a:pt x="727" y="134"/>
                  </a:lnTo>
                  <a:lnTo>
                    <a:pt x="723" y="168"/>
                  </a:lnTo>
                  <a:lnTo>
                    <a:pt x="710" y="200"/>
                  </a:lnTo>
                  <a:lnTo>
                    <a:pt x="689" y="227"/>
                  </a:lnTo>
                  <a:lnTo>
                    <a:pt x="662" y="248"/>
                  </a:lnTo>
                  <a:lnTo>
                    <a:pt x="630" y="261"/>
                  </a:lnTo>
                  <a:lnTo>
                    <a:pt x="593" y="267"/>
                  </a:lnTo>
                  <a:lnTo>
                    <a:pt x="134" y="267"/>
                  </a:lnTo>
                  <a:lnTo>
                    <a:pt x="99" y="261"/>
                  </a:lnTo>
                  <a:lnTo>
                    <a:pt x="67" y="248"/>
                  </a:lnTo>
                  <a:lnTo>
                    <a:pt x="40" y="227"/>
                  </a:lnTo>
                  <a:lnTo>
                    <a:pt x="19" y="200"/>
                  </a:lnTo>
                  <a:lnTo>
                    <a:pt x="6" y="168"/>
                  </a:lnTo>
                  <a:lnTo>
                    <a:pt x="0" y="134"/>
                  </a:lnTo>
                  <a:lnTo>
                    <a:pt x="6" y="98"/>
                  </a:lnTo>
                  <a:lnTo>
                    <a:pt x="19" y="67"/>
                  </a:lnTo>
                  <a:lnTo>
                    <a:pt x="40" y="40"/>
                  </a:lnTo>
                  <a:lnTo>
                    <a:pt x="67" y="19"/>
                  </a:lnTo>
                  <a:lnTo>
                    <a:pt x="97" y="6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020" dirty="0"/>
            </a:p>
          </p:txBody>
        </p:sp>
      </p:grpSp>
      <p:sp>
        <p:nvSpPr>
          <p:cNvPr id="1431" name="Oval 1430">
            <a:extLst>
              <a:ext uri="{FF2B5EF4-FFF2-40B4-BE49-F238E27FC236}">
                <a16:creationId xmlns:a16="http://schemas.microsoft.com/office/drawing/2014/main" xmlns="" id="{E5C28D16-9A62-483B-91A5-A74F4E965CDE}"/>
              </a:ext>
            </a:extLst>
          </p:cNvPr>
          <p:cNvSpPr/>
          <p:nvPr/>
        </p:nvSpPr>
        <p:spPr>
          <a:xfrm rot="749960">
            <a:off x="8179197" y="1123664"/>
            <a:ext cx="1583858" cy="1494395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endParaRPr lang="en-NZ" sz="2000" b="1" dirty="0"/>
          </a:p>
        </p:txBody>
      </p:sp>
      <p:sp>
        <p:nvSpPr>
          <p:cNvPr id="1432" name="TextBox 1431">
            <a:extLst>
              <a:ext uri="{FF2B5EF4-FFF2-40B4-BE49-F238E27FC236}">
                <a16:creationId xmlns:a16="http://schemas.microsoft.com/office/drawing/2014/main" xmlns="" id="{BA76B8D7-21FC-41D3-B9E6-58B4BA714D07}"/>
              </a:ext>
            </a:extLst>
          </p:cNvPr>
          <p:cNvSpPr txBox="1"/>
          <p:nvPr/>
        </p:nvSpPr>
        <p:spPr>
          <a:xfrm rot="1050187">
            <a:off x="8073669" y="1702525"/>
            <a:ext cx="190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ployed</a:t>
            </a:r>
          </a:p>
        </p:txBody>
      </p:sp>
      <p:pic>
        <p:nvPicPr>
          <p:cNvPr id="1433" name="Picture 1432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685BBC7B-B7D0-4782-B9ED-44C15A1B77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18591" y="6300"/>
            <a:ext cx="2468954" cy="1240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397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1" grpId="0" animBg="1"/>
      <p:bldP spid="143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6CE812FE-D7E7-434C-A5EA-1D217EB693D3}"/>
              </a:ext>
            </a:extLst>
          </p:cNvPr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CEEB014D-4F87-4E10-9DDE-06619BC5E78E}"/>
              </a:ext>
            </a:extLst>
          </p:cNvPr>
          <p:cNvSpPr/>
          <p:nvPr/>
        </p:nvSpPr>
        <p:spPr>
          <a:xfrm>
            <a:off x="-12714" y="1068581"/>
            <a:ext cx="9918714" cy="1972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058F04E3-F269-47A2-8192-50B789584A33}"/>
              </a:ext>
            </a:extLst>
          </p:cNvPr>
          <p:cNvSpPr txBox="1">
            <a:spLocks/>
          </p:cNvSpPr>
          <p:nvPr/>
        </p:nvSpPr>
        <p:spPr>
          <a:xfrm>
            <a:off x="454850" y="1219718"/>
            <a:ext cx="441687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600" dirty="0">
                <a:solidFill>
                  <a:schemeClr val="accent2"/>
                </a:solidFill>
                <a:latin typeface="Arial Black" panose="020B0A04020102020204" pitchFamily="34" charset="0"/>
              </a:rPr>
              <a:t>Robotic Process Automation is: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1BB1C4D2-56A8-4039-AFF3-15C275A923BF}"/>
              </a:ext>
            </a:extLst>
          </p:cNvPr>
          <p:cNvGrpSpPr/>
          <p:nvPr/>
        </p:nvGrpSpPr>
        <p:grpSpPr>
          <a:xfrm>
            <a:off x="4554223" y="1787986"/>
            <a:ext cx="2028206" cy="902870"/>
            <a:chOff x="3304903" y="1568688"/>
            <a:chExt cx="2028206" cy="902870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xmlns="" id="{F757FBDB-0225-4E72-8A6F-60D65633799A}"/>
                </a:ext>
              </a:extLst>
            </p:cNvPr>
            <p:cNvGrpSpPr/>
            <p:nvPr/>
          </p:nvGrpSpPr>
          <p:grpSpPr>
            <a:xfrm>
              <a:off x="3304903" y="1568688"/>
              <a:ext cx="2028206" cy="902870"/>
              <a:chOff x="804997" y="1760612"/>
              <a:chExt cx="2028206" cy="902870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xmlns="" id="{6E22C834-1B86-4FFC-923D-318427008D98}"/>
                  </a:ext>
                </a:extLst>
              </p:cNvPr>
              <p:cNvGrpSpPr/>
              <p:nvPr/>
            </p:nvGrpSpPr>
            <p:grpSpPr>
              <a:xfrm>
                <a:off x="804997" y="1760612"/>
                <a:ext cx="635263" cy="902870"/>
                <a:chOff x="1829125" y="1885563"/>
                <a:chExt cx="635263" cy="902870"/>
              </a:xfrm>
            </p:grpSpPr>
            <p:sp>
              <p:nvSpPr>
                <p:cNvPr id="59" name="Teardrop 58">
                  <a:extLst>
                    <a:ext uri="{FF2B5EF4-FFF2-40B4-BE49-F238E27FC236}">
                      <a16:creationId xmlns:a16="http://schemas.microsoft.com/office/drawing/2014/main" xmlns="" id="{673400CD-79C9-4209-A5A8-563729345EF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8123862">
                  <a:off x="1829125" y="1885563"/>
                  <a:ext cx="635263" cy="635263"/>
                </a:xfrm>
                <a:prstGeom prst="teardrop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xmlns="" id="{11BDB21A-EFBE-4424-9D32-D1A8A4594FCD}"/>
                    </a:ext>
                  </a:extLst>
                </p:cNvPr>
                <p:cNvSpPr/>
                <p:nvPr/>
              </p:nvSpPr>
              <p:spPr>
                <a:xfrm>
                  <a:off x="1954367" y="2680433"/>
                  <a:ext cx="384778" cy="108000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</p:grp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xmlns="" id="{61CFDE48-9712-4A7A-90E1-AA7622202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71819" y="1865279"/>
                <a:ext cx="1261384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FFFFFF"/>
                  </a:buClr>
                </a:pPr>
                <a:r>
                  <a:rPr lang="en-US" sz="1200" dirty="0">
                    <a:solidFill>
                      <a:schemeClr val="accent2"/>
                    </a:solidFill>
                  </a:rPr>
                  <a:t>Software ‘robots’ that work cross-functional and cross-application</a:t>
                </a:r>
              </a:p>
            </p:txBody>
          </p:sp>
        </p:grp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727CF24F-9A17-4F61-959A-9A6CDAD18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5552" y="1678960"/>
              <a:ext cx="493713" cy="382436"/>
            </a:xfrm>
            <a:custGeom>
              <a:avLst/>
              <a:gdLst>
                <a:gd name="T0" fmla="*/ 188 w 311"/>
                <a:gd name="T1" fmla="*/ 87 h 257"/>
                <a:gd name="T2" fmla="*/ 165 w 311"/>
                <a:gd name="T3" fmla="*/ 18 h 257"/>
                <a:gd name="T4" fmla="*/ 120 w 311"/>
                <a:gd name="T5" fmla="*/ 19 h 257"/>
                <a:gd name="T6" fmla="*/ 88 w 311"/>
                <a:gd name="T7" fmla="*/ 19 h 257"/>
                <a:gd name="T8" fmla="*/ 19 w 311"/>
                <a:gd name="T9" fmla="*/ 42 h 257"/>
                <a:gd name="T10" fmla="*/ 21 w 311"/>
                <a:gd name="T11" fmla="*/ 87 h 257"/>
                <a:gd name="T12" fmla="*/ 21 w 311"/>
                <a:gd name="T13" fmla="*/ 119 h 257"/>
                <a:gd name="T14" fmla="*/ 42 w 311"/>
                <a:gd name="T15" fmla="*/ 188 h 257"/>
                <a:gd name="T16" fmla="*/ 88 w 311"/>
                <a:gd name="T17" fmla="*/ 187 h 257"/>
                <a:gd name="T18" fmla="*/ 120 w 311"/>
                <a:gd name="T19" fmla="*/ 187 h 257"/>
                <a:gd name="T20" fmla="*/ 189 w 311"/>
                <a:gd name="T21" fmla="*/ 166 h 257"/>
                <a:gd name="T22" fmla="*/ 188 w 311"/>
                <a:gd name="T23" fmla="*/ 119 h 257"/>
                <a:gd name="T24" fmla="*/ 91 w 311"/>
                <a:gd name="T25" fmla="*/ 167 h 257"/>
                <a:gd name="T26" fmla="*/ 50 w 311"/>
                <a:gd name="T27" fmla="*/ 140 h 257"/>
                <a:gd name="T28" fmla="*/ 38 w 311"/>
                <a:gd name="T29" fmla="*/ 103 h 257"/>
                <a:gd name="T30" fmla="*/ 58 w 311"/>
                <a:gd name="T31" fmla="*/ 56 h 257"/>
                <a:gd name="T32" fmla="*/ 104 w 311"/>
                <a:gd name="T33" fmla="*/ 37 h 257"/>
                <a:gd name="T34" fmla="*/ 141 w 311"/>
                <a:gd name="T35" fmla="*/ 48 h 257"/>
                <a:gd name="T36" fmla="*/ 168 w 311"/>
                <a:gd name="T37" fmla="*/ 90 h 257"/>
                <a:gd name="T38" fmla="*/ 165 w 311"/>
                <a:gd name="T39" fmla="*/ 129 h 257"/>
                <a:gd name="T40" fmla="*/ 130 w 311"/>
                <a:gd name="T41" fmla="*/ 164 h 257"/>
                <a:gd name="T42" fmla="*/ 104 w 311"/>
                <a:gd name="T43" fmla="*/ 53 h 257"/>
                <a:gd name="T44" fmla="*/ 75 w 311"/>
                <a:gd name="T45" fmla="*/ 61 h 257"/>
                <a:gd name="T46" fmla="*/ 54 w 311"/>
                <a:gd name="T47" fmla="*/ 93 h 257"/>
                <a:gd name="T48" fmla="*/ 58 w 311"/>
                <a:gd name="T49" fmla="*/ 122 h 257"/>
                <a:gd name="T50" fmla="*/ 85 w 311"/>
                <a:gd name="T51" fmla="*/ 150 h 257"/>
                <a:gd name="T52" fmla="*/ 114 w 311"/>
                <a:gd name="T53" fmla="*/ 153 h 257"/>
                <a:gd name="T54" fmla="*/ 146 w 311"/>
                <a:gd name="T55" fmla="*/ 130 h 257"/>
                <a:gd name="T56" fmla="*/ 154 w 311"/>
                <a:gd name="T57" fmla="*/ 103 h 257"/>
                <a:gd name="T58" fmla="*/ 140 w 311"/>
                <a:gd name="T59" fmla="*/ 68 h 257"/>
                <a:gd name="T60" fmla="*/ 104 w 311"/>
                <a:gd name="T61" fmla="*/ 53 h 257"/>
                <a:gd name="T62" fmla="*/ 96 w 311"/>
                <a:gd name="T63" fmla="*/ 122 h 257"/>
                <a:gd name="T64" fmla="*/ 82 w 311"/>
                <a:gd name="T65" fmla="*/ 103 h 257"/>
                <a:gd name="T66" fmla="*/ 104 w 311"/>
                <a:gd name="T67" fmla="*/ 82 h 257"/>
                <a:gd name="T68" fmla="*/ 124 w 311"/>
                <a:gd name="T69" fmla="*/ 95 h 257"/>
                <a:gd name="T70" fmla="*/ 119 w 311"/>
                <a:gd name="T71" fmla="*/ 119 h 257"/>
                <a:gd name="T72" fmla="*/ 297 w 311"/>
                <a:gd name="T73" fmla="*/ 199 h 257"/>
                <a:gd name="T74" fmla="*/ 292 w 311"/>
                <a:gd name="T75" fmla="*/ 172 h 257"/>
                <a:gd name="T76" fmla="*/ 257 w 311"/>
                <a:gd name="T77" fmla="*/ 130 h 257"/>
                <a:gd name="T78" fmla="*/ 230 w 311"/>
                <a:gd name="T79" fmla="*/ 150 h 257"/>
                <a:gd name="T80" fmla="*/ 209 w 311"/>
                <a:gd name="T81" fmla="*/ 167 h 257"/>
                <a:gd name="T82" fmla="*/ 189 w 311"/>
                <a:gd name="T83" fmla="*/ 219 h 257"/>
                <a:gd name="T84" fmla="*/ 220 w 311"/>
                <a:gd name="T85" fmla="*/ 233 h 257"/>
                <a:gd name="T86" fmla="*/ 246 w 311"/>
                <a:gd name="T87" fmla="*/ 243 h 257"/>
                <a:gd name="T88" fmla="*/ 299 w 311"/>
                <a:gd name="T89" fmla="*/ 233 h 257"/>
                <a:gd name="T90" fmla="*/ 297 w 311"/>
                <a:gd name="T91" fmla="*/ 199 h 257"/>
                <a:gd name="T92" fmla="*/ 249 w 311"/>
                <a:gd name="T93" fmla="*/ 214 h 257"/>
                <a:gd name="T94" fmla="*/ 231 w 311"/>
                <a:gd name="T95" fmla="*/ 203 h 257"/>
                <a:gd name="T96" fmla="*/ 241 w 311"/>
                <a:gd name="T97" fmla="*/ 177 h 257"/>
                <a:gd name="T98" fmla="*/ 262 w 311"/>
                <a:gd name="T99" fmla="*/ 180 h 257"/>
                <a:gd name="T100" fmla="*/ 266 w 311"/>
                <a:gd name="T101" fmla="*/ 20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257">
                  <a:moveTo>
                    <a:pt x="207" y="119"/>
                  </a:moveTo>
                  <a:lnTo>
                    <a:pt x="207" y="87"/>
                  </a:lnTo>
                  <a:lnTo>
                    <a:pt x="188" y="87"/>
                  </a:lnTo>
                  <a:lnTo>
                    <a:pt x="188" y="87"/>
                  </a:lnTo>
                  <a:lnTo>
                    <a:pt x="181" y="71"/>
                  </a:lnTo>
                  <a:lnTo>
                    <a:pt x="173" y="56"/>
                  </a:lnTo>
                  <a:lnTo>
                    <a:pt x="189" y="42"/>
                  </a:lnTo>
                  <a:lnTo>
                    <a:pt x="165" y="18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36" y="24"/>
                  </a:lnTo>
                  <a:lnTo>
                    <a:pt x="120" y="19"/>
                  </a:lnTo>
                  <a:lnTo>
                    <a:pt x="120" y="0"/>
                  </a:lnTo>
                  <a:lnTo>
                    <a:pt x="88" y="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72" y="24"/>
                  </a:lnTo>
                  <a:lnTo>
                    <a:pt x="56" y="32"/>
                  </a:lnTo>
                  <a:lnTo>
                    <a:pt x="42" y="18"/>
                  </a:lnTo>
                  <a:lnTo>
                    <a:pt x="19" y="42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26" y="71"/>
                  </a:lnTo>
                  <a:lnTo>
                    <a:pt x="21" y="87"/>
                  </a:lnTo>
                  <a:lnTo>
                    <a:pt x="0" y="87"/>
                  </a:lnTo>
                  <a:lnTo>
                    <a:pt x="0" y="119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6" y="135"/>
                  </a:lnTo>
                  <a:lnTo>
                    <a:pt x="34" y="151"/>
                  </a:lnTo>
                  <a:lnTo>
                    <a:pt x="19" y="166"/>
                  </a:lnTo>
                  <a:lnTo>
                    <a:pt x="42" y="188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72" y="182"/>
                  </a:lnTo>
                  <a:lnTo>
                    <a:pt x="88" y="187"/>
                  </a:lnTo>
                  <a:lnTo>
                    <a:pt x="88" y="207"/>
                  </a:lnTo>
                  <a:lnTo>
                    <a:pt x="120" y="207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136" y="182"/>
                  </a:lnTo>
                  <a:lnTo>
                    <a:pt x="151" y="174"/>
                  </a:lnTo>
                  <a:lnTo>
                    <a:pt x="165" y="188"/>
                  </a:lnTo>
                  <a:lnTo>
                    <a:pt x="189" y="166"/>
                  </a:lnTo>
                  <a:lnTo>
                    <a:pt x="173" y="151"/>
                  </a:lnTo>
                  <a:lnTo>
                    <a:pt x="173" y="151"/>
                  </a:lnTo>
                  <a:lnTo>
                    <a:pt x="181" y="135"/>
                  </a:lnTo>
                  <a:lnTo>
                    <a:pt x="188" y="119"/>
                  </a:lnTo>
                  <a:lnTo>
                    <a:pt x="207" y="119"/>
                  </a:lnTo>
                  <a:close/>
                  <a:moveTo>
                    <a:pt x="104" y="169"/>
                  </a:moveTo>
                  <a:lnTo>
                    <a:pt x="104" y="169"/>
                  </a:lnTo>
                  <a:lnTo>
                    <a:pt x="91" y="167"/>
                  </a:lnTo>
                  <a:lnTo>
                    <a:pt x="79" y="164"/>
                  </a:lnTo>
                  <a:lnTo>
                    <a:pt x="67" y="158"/>
                  </a:lnTo>
                  <a:lnTo>
                    <a:pt x="58" y="150"/>
                  </a:lnTo>
                  <a:lnTo>
                    <a:pt x="50" y="140"/>
                  </a:lnTo>
                  <a:lnTo>
                    <a:pt x="43" y="129"/>
                  </a:lnTo>
                  <a:lnTo>
                    <a:pt x="40" y="116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40" y="90"/>
                  </a:lnTo>
                  <a:lnTo>
                    <a:pt x="43" y="77"/>
                  </a:lnTo>
                  <a:lnTo>
                    <a:pt x="50" y="66"/>
                  </a:lnTo>
                  <a:lnTo>
                    <a:pt x="58" y="56"/>
                  </a:lnTo>
                  <a:lnTo>
                    <a:pt x="67" y="48"/>
                  </a:lnTo>
                  <a:lnTo>
                    <a:pt x="79" y="42"/>
                  </a:lnTo>
                  <a:lnTo>
                    <a:pt x="91" y="39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7" y="39"/>
                  </a:lnTo>
                  <a:lnTo>
                    <a:pt x="130" y="42"/>
                  </a:lnTo>
                  <a:lnTo>
                    <a:pt x="141" y="48"/>
                  </a:lnTo>
                  <a:lnTo>
                    <a:pt x="151" y="56"/>
                  </a:lnTo>
                  <a:lnTo>
                    <a:pt x="159" y="66"/>
                  </a:lnTo>
                  <a:lnTo>
                    <a:pt x="165" y="77"/>
                  </a:lnTo>
                  <a:lnTo>
                    <a:pt x="168" y="90"/>
                  </a:lnTo>
                  <a:lnTo>
                    <a:pt x="170" y="103"/>
                  </a:lnTo>
                  <a:lnTo>
                    <a:pt x="170" y="103"/>
                  </a:lnTo>
                  <a:lnTo>
                    <a:pt x="168" y="116"/>
                  </a:lnTo>
                  <a:lnTo>
                    <a:pt x="165" y="129"/>
                  </a:lnTo>
                  <a:lnTo>
                    <a:pt x="159" y="140"/>
                  </a:lnTo>
                  <a:lnTo>
                    <a:pt x="151" y="150"/>
                  </a:lnTo>
                  <a:lnTo>
                    <a:pt x="141" y="158"/>
                  </a:lnTo>
                  <a:lnTo>
                    <a:pt x="130" y="164"/>
                  </a:lnTo>
                  <a:lnTo>
                    <a:pt x="117" y="167"/>
                  </a:lnTo>
                  <a:lnTo>
                    <a:pt x="104" y="169"/>
                  </a:lnTo>
                  <a:lnTo>
                    <a:pt x="104" y="169"/>
                  </a:lnTo>
                  <a:close/>
                  <a:moveTo>
                    <a:pt x="104" y="53"/>
                  </a:moveTo>
                  <a:lnTo>
                    <a:pt x="104" y="53"/>
                  </a:lnTo>
                  <a:lnTo>
                    <a:pt x="95" y="55"/>
                  </a:lnTo>
                  <a:lnTo>
                    <a:pt x="85" y="56"/>
                  </a:lnTo>
                  <a:lnTo>
                    <a:pt x="75" y="61"/>
                  </a:lnTo>
                  <a:lnTo>
                    <a:pt x="69" y="68"/>
                  </a:lnTo>
                  <a:lnTo>
                    <a:pt x="62" y="76"/>
                  </a:lnTo>
                  <a:lnTo>
                    <a:pt x="58" y="84"/>
                  </a:lnTo>
                  <a:lnTo>
                    <a:pt x="54" y="9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13"/>
                  </a:lnTo>
                  <a:lnTo>
                    <a:pt x="58" y="122"/>
                  </a:lnTo>
                  <a:lnTo>
                    <a:pt x="62" y="130"/>
                  </a:lnTo>
                  <a:lnTo>
                    <a:pt x="69" y="138"/>
                  </a:lnTo>
                  <a:lnTo>
                    <a:pt x="75" y="145"/>
                  </a:lnTo>
                  <a:lnTo>
                    <a:pt x="85" y="150"/>
                  </a:lnTo>
                  <a:lnTo>
                    <a:pt x="95" y="153"/>
                  </a:lnTo>
                  <a:lnTo>
                    <a:pt x="104" y="153"/>
                  </a:lnTo>
                  <a:lnTo>
                    <a:pt x="104" y="153"/>
                  </a:lnTo>
                  <a:lnTo>
                    <a:pt x="114" y="153"/>
                  </a:lnTo>
                  <a:lnTo>
                    <a:pt x="124" y="150"/>
                  </a:lnTo>
                  <a:lnTo>
                    <a:pt x="132" y="145"/>
                  </a:lnTo>
                  <a:lnTo>
                    <a:pt x="140" y="138"/>
                  </a:lnTo>
                  <a:lnTo>
                    <a:pt x="146" y="130"/>
                  </a:lnTo>
                  <a:lnTo>
                    <a:pt x="151" y="122"/>
                  </a:lnTo>
                  <a:lnTo>
                    <a:pt x="152" y="11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2" y="93"/>
                  </a:lnTo>
                  <a:lnTo>
                    <a:pt x="151" y="84"/>
                  </a:lnTo>
                  <a:lnTo>
                    <a:pt x="146" y="76"/>
                  </a:lnTo>
                  <a:lnTo>
                    <a:pt x="140" y="68"/>
                  </a:lnTo>
                  <a:lnTo>
                    <a:pt x="132" y="61"/>
                  </a:lnTo>
                  <a:lnTo>
                    <a:pt x="124" y="56"/>
                  </a:lnTo>
                  <a:lnTo>
                    <a:pt x="114" y="55"/>
                  </a:lnTo>
                  <a:lnTo>
                    <a:pt x="104" y="53"/>
                  </a:lnTo>
                  <a:lnTo>
                    <a:pt x="104" y="53"/>
                  </a:lnTo>
                  <a:close/>
                  <a:moveTo>
                    <a:pt x="104" y="125"/>
                  </a:moveTo>
                  <a:lnTo>
                    <a:pt x="104" y="125"/>
                  </a:lnTo>
                  <a:lnTo>
                    <a:pt x="96" y="122"/>
                  </a:lnTo>
                  <a:lnTo>
                    <a:pt x="88" y="119"/>
                  </a:lnTo>
                  <a:lnTo>
                    <a:pt x="83" y="111"/>
                  </a:lnTo>
                  <a:lnTo>
                    <a:pt x="82" y="103"/>
                  </a:lnTo>
                  <a:lnTo>
                    <a:pt x="82" y="103"/>
                  </a:lnTo>
                  <a:lnTo>
                    <a:pt x="83" y="95"/>
                  </a:lnTo>
                  <a:lnTo>
                    <a:pt x="88" y="89"/>
                  </a:lnTo>
                  <a:lnTo>
                    <a:pt x="96" y="84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12" y="84"/>
                  </a:lnTo>
                  <a:lnTo>
                    <a:pt x="119" y="89"/>
                  </a:lnTo>
                  <a:lnTo>
                    <a:pt x="124" y="95"/>
                  </a:lnTo>
                  <a:lnTo>
                    <a:pt x="125" y="103"/>
                  </a:lnTo>
                  <a:lnTo>
                    <a:pt x="125" y="103"/>
                  </a:lnTo>
                  <a:lnTo>
                    <a:pt x="124" y="111"/>
                  </a:lnTo>
                  <a:lnTo>
                    <a:pt x="119" y="119"/>
                  </a:lnTo>
                  <a:lnTo>
                    <a:pt x="112" y="122"/>
                  </a:lnTo>
                  <a:lnTo>
                    <a:pt x="104" y="125"/>
                  </a:lnTo>
                  <a:lnTo>
                    <a:pt x="104" y="125"/>
                  </a:lnTo>
                  <a:close/>
                  <a:moveTo>
                    <a:pt x="297" y="199"/>
                  </a:moveTo>
                  <a:lnTo>
                    <a:pt x="311" y="196"/>
                  </a:lnTo>
                  <a:lnTo>
                    <a:pt x="307" y="170"/>
                  </a:lnTo>
                  <a:lnTo>
                    <a:pt x="292" y="172"/>
                  </a:lnTo>
                  <a:lnTo>
                    <a:pt x="292" y="172"/>
                  </a:lnTo>
                  <a:lnTo>
                    <a:pt x="286" y="162"/>
                  </a:lnTo>
                  <a:lnTo>
                    <a:pt x="278" y="154"/>
                  </a:lnTo>
                  <a:lnTo>
                    <a:pt x="283" y="140"/>
                  </a:lnTo>
                  <a:lnTo>
                    <a:pt x="257" y="130"/>
                  </a:lnTo>
                  <a:lnTo>
                    <a:pt x="252" y="145"/>
                  </a:lnTo>
                  <a:lnTo>
                    <a:pt x="252" y="145"/>
                  </a:lnTo>
                  <a:lnTo>
                    <a:pt x="241" y="146"/>
                  </a:lnTo>
                  <a:lnTo>
                    <a:pt x="230" y="150"/>
                  </a:lnTo>
                  <a:lnTo>
                    <a:pt x="218" y="138"/>
                  </a:lnTo>
                  <a:lnTo>
                    <a:pt x="197" y="156"/>
                  </a:lnTo>
                  <a:lnTo>
                    <a:pt x="209" y="167"/>
                  </a:lnTo>
                  <a:lnTo>
                    <a:pt x="209" y="167"/>
                  </a:lnTo>
                  <a:lnTo>
                    <a:pt x="202" y="177"/>
                  </a:lnTo>
                  <a:lnTo>
                    <a:pt x="201" y="188"/>
                  </a:lnTo>
                  <a:lnTo>
                    <a:pt x="185" y="191"/>
                  </a:lnTo>
                  <a:lnTo>
                    <a:pt x="189" y="219"/>
                  </a:lnTo>
                  <a:lnTo>
                    <a:pt x="205" y="215"/>
                  </a:lnTo>
                  <a:lnTo>
                    <a:pt x="205" y="215"/>
                  </a:lnTo>
                  <a:lnTo>
                    <a:pt x="212" y="225"/>
                  </a:lnTo>
                  <a:lnTo>
                    <a:pt x="220" y="233"/>
                  </a:lnTo>
                  <a:lnTo>
                    <a:pt x="215" y="248"/>
                  </a:lnTo>
                  <a:lnTo>
                    <a:pt x="241" y="257"/>
                  </a:lnTo>
                  <a:lnTo>
                    <a:pt x="246" y="243"/>
                  </a:lnTo>
                  <a:lnTo>
                    <a:pt x="246" y="243"/>
                  </a:lnTo>
                  <a:lnTo>
                    <a:pt x="257" y="243"/>
                  </a:lnTo>
                  <a:lnTo>
                    <a:pt x="268" y="240"/>
                  </a:lnTo>
                  <a:lnTo>
                    <a:pt x="278" y="251"/>
                  </a:lnTo>
                  <a:lnTo>
                    <a:pt x="299" y="233"/>
                  </a:lnTo>
                  <a:lnTo>
                    <a:pt x="289" y="222"/>
                  </a:lnTo>
                  <a:lnTo>
                    <a:pt x="289" y="222"/>
                  </a:lnTo>
                  <a:lnTo>
                    <a:pt x="294" y="211"/>
                  </a:lnTo>
                  <a:lnTo>
                    <a:pt x="297" y="199"/>
                  </a:lnTo>
                  <a:lnTo>
                    <a:pt x="297" y="199"/>
                  </a:lnTo>
                  <a:close/>
                  <a:moveTo>
                    <a:pt x="257" y="212"/>
                  </a:moveTo>
                  <a:lnTo>
                    <a:pt x="257" y="212"/>
                  </a:lnTo>
                  <a:lnTo>
                    <a:pt x="249" y="214"/>
                  </a:lnTo>
                  <a:lnTo>
                    <a:pt x="242" y="212"/>
                  </a:lnTo>
                  <a:lnTo>
                    <a:pt x="236" y="209"/>
                  </a:lnTo>
                  <a:lnTo>
                    <a:pt x="231" y="203"/>
                  </a:lnTo>
                  <a:lnTo>
                    <a:pt x="231" y="203"/>
                  </a:lnTo>
                  <a:lnTo>
                    <a:pt x="230" y="195"/>
                  </a:lnTo>
                  <a:lnTo>
                    <a:pt x="231" y="188"/>
                  </a:lnTo>
                  <a:lnTo>
                    <a:pt x="234" y="182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7" y="175"/>
                  </a:lnTo>
                  <a:lnTo>
                    <a:pt x="255" y="177"/>
                  </a:lnTo>
                  <a:lnTo>
                    <a:pt x="262" y="180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8" y="193"/>
                  </a:lnTo>
                  <a:lnTo>
                    <a:pt x="266" y="201"/>
                  </a:lnTo>
                  <a:lnTo>
                    <a:pt x="263" y="207"/>
                  </a:lnTo>
                  <a:lnTo>
                    <a:pt x="257" y="212"/>
                  </a:lnTo>
                  <a:lnTo>
                    <a:pt x="257" y="2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2E2F1461-A0BB-49FC-9D24-DDB97D72FE19}"/>
              </a:ext>
            </a:extLst>
          </p:cNvPr>
          <p:cNvGrpSpPr/>
          <p:nvPr/>
        </p:nvGrpSpPr>
        <p:grpSpPr>
          <a:xfrm>
            <a:off x="6932599" y="1787986"/>
            <a:ext cx="1950559" cy="902870"/>
            <a:chOff x="4937725" y="1817484"/>
            <a:chExt cx="1950559" cy="90287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xmlns="" id="{E7F55F28-F6CF-4ADA-8972-87B69595FB95}"/>
                </a:ext>
              </a:extLst>
            </p:cNvPr>
            <p:cNvGrpSpPr/>
            <p:nvPr/>
          </p:nvGrpSpPr>
          <p:grpSpPr>
            <a:xfrm>
              <a:off x="4937725" y="1817484"/>
              <a:ext cx="1950559" cy="902870"/>
              <a:chOff x="804997" y="1760612"/>
              <a:chExt cx="1950559" cy="902870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xmlns="" id="{7DFDC86A-ED41-448B-AE2C-7695C6E2618B}"/>
                  </a:ext>
                </a:extLst>
              </p:cNvPr>
              <p:cNvGrpSpPr/>
              <p:nvPr/>
            </p:nvGrpSpPr>
            <p:grpSpPr>
              <a:xfrm>
                <a:off x="804997" y="1760612"/>
                <a:ext cx="635263" cy="902870"/>
                <a:chOff x="1829125" y="1885563"/>
                <a:chExt cx="635263" cy="902870"/>
              </a:xfrm>
            </p:grpSpPr>
            <p:sp>
              <p:nvSpPr>
                <p:cNvPr id="66" name="Teardrop 65">
                  <a:extLst>
                    <a:ext uri="{FF2B5EF4-FFF2-40B4-BE49-F238E27FC236}">
                      <a16:creationId xmlns:a16="http://schemas.microsoft.com/office/drawing/2014/main" xmlns="" id="{CE51D9F9-0795-46B2-A482-DDD838506E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8123862">
                  <a:off x="1829125" y="1885563"/>
                  <a:ext cx="635263" cy="635263"/>
                </a:xfrm>
                <a:prstGeom prst="teardrop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xmlns="" id="{72A93D70-02E9-4590-9EC4-07AFCE4B38DC}"/>
                    </a:ext>
                  </a:extLst>
                </p:cNvPr>
                <p:cNvSpPr/>
                <p:nvPr/>
              </p:nvSpPr>
              <p:spPr>
                <a:xfrm>
                  <a:off x="1954367" y="2680433"/>
                  <a:ext cx="384778" cy="108000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</p:grp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xmlns="" id="{D76019D1-EE0B-41CA-B519-18EF0AC70F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71818" y="1865279"/>
                <a:ext cx="1183738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FFFFFF"/>
                  </a:buClr>
                </a:pPr>
                <a:r>
                  <a:rPr lang="en-US" sz="1200" dirty="0">
                    <a:solidFill>
                      <a:schemeClr val="accent2"/>
                    </a:solidFill>
                  </a:rPr>
                  <a:t>Enables the automation of repetitive, rule-based tasks</a:t>
                </a:r>
              </a:p>
            </p:txBody>
          </p:sp>
        </p:grp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xmlns="" id="{619D2A6F-8221-41A8-8CC0-DFF75834886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69429" y="1909664"/>
              <a:ext cx="396000" cy="386656"/>
            </a:xfrm>
            <a:custGeom>
              <a:avLst/>
              <a:gdLst>
                <a:gd name="T0" fmla="*/ 241 w 339"/>
                <a:gd name="T1" fmla="*/ 144 h 331"/>
                <a:gd name="T2" fmla="*/ 223 w 339"/>
                <a:gd name="T3" fmla="*/ 164 h 331"/>
                <a:gd name="T4" fmla="*/ 223 w 339"/>
                <a:gd name="T5" fmla="*/ 180 h 331"/>
                <a:gd name="T6" fmla="*/ 241 w 339"/>
                <a:gd name="T7" fmla="*/ 200 h 331"/>
                <a:gd name="T8" fmla="*/ 234 w 339"/>
                <a:gd name="T9" fmla="*/ 259 h 331"/>
                <a:gd name="T10" fmla="*/ 200 w 339"/>
                <a:gd name="T11" fmla="*/ 277 h 331"/>
                <a:gd name="T12" fmla="*/ 174 w 339"/>
                <a:gd name="T13" fmla="*/ 259 h 331"/>
                <a:gd name="T14" fmla="*/ 139 w 339"/>
                <a:gd name="T15" fmla="*/ 272 h 331"/>
                <a:gd name="T16" fmla="*/ 92 w 339"/>
                <a:gd name="T17" fmla="*/ 310 h 331"/>
                <a:gd name="T18" fmla="*/ 105 w 339"/>
                <a:gd name="T19" fmla="*/ 320 h 331"/>
                <a:gd name="T20" fmla="*/ 142 w 339"/>
                <a:gd name="T21" fmla="*/ 305 h 331"/>
                <a:gd name="T22" fmla="*/ 174 w 339"/>
                <a:gd name="T23" fmla="*/ 313 h 331"/>
                <a:gd name="T24" fmla="*/ 200 w 339"/>
                <a:gd name="T25" fmla="*/ 294 h 331"/>
                <a:gd name="T26" fmla="*/ 247 w 339"/>
                <a:gd name="T27" fmla="*/ 269 h 331"/>
                <a:gd name="T28" fmla="*/ 257 w 339"/>
                <a:gd name="T29" fmla="*/ 236 h 331"/>
                <a:gd name="T30" fmla="*/ 275 w 339"/>
                <a:gd name="T31" fmla="*/ 187 h 331"/>
                <a:gd name="T32" fmla="*/ 339 w 339"/>
                <a:gd name="T33" fmla="*/ 172 h 331"/>
                <a:gd name="T34" fmla="*/ 270 w 339"/>
                <a:gd name="T35" fmla="*/ 151 h 331"/>
                <a:gd name="T36" fmla="*/ 164 w 339"/>
                <a:gd name="T37" fmla="*/ 299 h 331"/>
                <a:gd name="T38" fmla="*/ 152 w 339"/>
                <a:gd name="T39" fmla="*/ 285 h 331"/>
                <a:gd name="T40" fmla="*/ 164 w 339"/>
                <a:gd name="T41" fmla="*/ 274 h 331"/>
                <a:gd name="T42" fmla="*/ 177 w 339"/>
                <a:gd name="T43" fmla="*/ 285 h 331"/>
                <a:gd name="T44" fmla="*/ 164 w 339"/>
                <a:gd name="T45" fmla="*/ 299 h 331"/>
                <a:gd name="T46" fmla="*/ 274 w 339"/>
                <a:gd name="T47" fmla="*/ 113 h 331"/>
                <a:gd name="T48" fmla="*/ 13 w 339"/>
                <a:gd name="T49" fmla="*/ 240 h 331"/>
                <a:gd name="T50" fmla="*/ 37 w 339"/>
                <a:gd name="T51" fmla="*/ 197 h 331"/>
                <a:gd name="T52" fmla="*/ 65 w 339"/>
                <a:gd name="T53" fmla="*/ 197 h 331"/>
                <a:gd name="T54" fmla="*/ 98 w 339"/>
                <a:gd name="T55" fmla="*/ 195 h 331"/>
                <a:gd name="T56" fmla="*/ 138 w 339"/>
                <a:gd name="T57" fmla="*/ 180 h 331"/>
                <a:gd name="T58" fmla="*/ 111 w 339"/>
                <a:gd name="T59" fmla="*/ 164 h 331"/>
                <a:gd name="T60" fmla="*/ 98 w 339"/>
                <a:gd name="T61" fmla="*/ 149 h 331"/>
                <a:gd name="T62" fmla="*/ 70 w 339"/>
                <a:gd name="T63" fmla="*/ 144 h 331"/>
                <a:gd name="T64" fmla="*/ 51 w 339"/>
                <a:gd name="T65" fmla="*/ 169 h 331"/>
                <a:gd name="T66" fmla="*/ 13 w 339"/>
                <a:gd name="T67" fmla="*/ 199 h 331"/>
                <a:gd name="T68" fmla="*/ 5 w 339"/>
                <a:gd name="T69" fmla="*/ 240 h 331"/>
                <a:gd name="T70" fmla="*/ 85 w 339"/>
                <a:gd name="T71" fmla="*/ 161 h 331"/>
                <a:gd name="T72" fmla="*/ 92 w 339"/>
                <a:gd name="T73" fmla="*/ 177 h 331"/>
                <a:gd name="T74" fmla="*/ 75 w 339"/>
                <a:gd name="T75" fmla="*/ 184 h 331"/>
                <a:gd name="T76" fmla="*/ 69 w 339"/>
                <a:gd name="T77" fmla="*/ 167 h 331"/>
                <a:gd name="T78" fmla="*/ 88 w 339"/>
                <a:gd name="T79" fmla="*/ 251 h 331"/>
                <a:gd name="T80" fmla="*/ 101 w 339"/>
                <a:gd name="T81" fmla="*/ 233 h 331"/>
                <a:gd name="T82" fmla="*/ 151 w 339"/>
                <a:gd name="T83" fmla="*/ 192 h 331"/>
                <a:gd name="T84" fmla="*/ 174 w 339"/>
                <a:gd name="T85" fmla="*/ 166 h 331"/>
                <a:gd name="T86" fmla="*/ 147 w 339"/>
                <a:gd name="T87" fmla="*/ 226 h 331"/>
                <a:gd name="T88" fmla="*/ 88 w 339"/>
                <a:gd name="T89" fmla="*/ 251 h 331"/>
                <a:gd name="T90" fmla="*/ 174 w 339"/>
                <a:gd name="T91" fmla="*/ 56 h 331"/>
                <a:gd name="T92" fmla="*/ 193 w 339"/>
                <a:gd name="T93" fmla="*/ 28 h 331"/>
                <a:gd name="T94" fmla="*/ 182 w 339"/>
                <a:gd name="T95" fmla="*/ 5 h 331"/>
                <a:gd name="T96" fmla="*/ 159 w 339"/>
                <a:gd name="T97" fmla="*/ 0 h 331"/>
                <a:gd name="T98" fmla="*/ 138 w 339"/>
                <a:gd name="T99" fmla="*/ 18 h 331"/>
                <a:gd name="T100" fmla="*/ 142 w 339"/>
                <a:gd name="T101" fmla="*/ 46 h 331"/>
                <a:gd name="T102" fmla="*/ 165 w 339"/>
                <a:gd name="T103" fmla="*/ 16 h 331"/>
                <a:gd name="T104" fmla="*/ 177 w 339"/>
                <a:gd name="T105" fmla="*/ 28 h 331"/>
                <a:gd name="T106" fmla="*/ 165 w 339"/>
                <a:gd name="T107" fmla="*/ 41 h 331"/>
                <a:gd name="T108" fmla="*/ 152 w 339"/>
                <a:gd name="T109" fmla="*/ 28 h 331"/>
                <a:gd name="T110" fmla="*/ 165 w 339"/>
                <a:gd name="T111" fmla="*/ 16 h 331"/>
                <a:gd name="T112" fmla="*/ 1 w 339"/>
                <a:gd name="T113" fmla="*/ 11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" h="331">
                  <a:moveTo>
                    <a:pt x="257" y="144"/>
                  </a:moveTo>
                  <a:lnTo>
                    <a:pt x="257" y="25"/>
                  </a:lnTo>
                  <a:lnTo>
                    <a:pt x="257" y="25"/>
                  </a:lnTo>
                  <a:lnTo>
                    <a:pt x="241" y="16"/>
                  </a:lnTo>
                  <a:lnTo>
                    <a:pt x="241" y="144"/>
                  </a:lnTo>
                  <a:lnTo>
                    <a:pt x="241" y="144"/>
                  </a:lnTo>
                  <a:lnTo>
                    <a:pt x="234" y="148"/>
                  </a:lnTo>
                  <a:lnTo>
                    <a:pt x="229" y="151"/>
                  </a:lnTo>
                  <a:lnTo>
                    <a:pt x="224" y="157"/>
                  </a:lnTo>
                  <a:lnTo>
                    <a:pt x="223" y="164"/>
                  </a:lnTo>
                  <a:lnTo>
                    <a:pt x="190" y="164"/>
                  </a:lnTo>
                  <a:lnTo>
                    <a:pt x="190" y="166"/>
                  </a:lnTo>
                  <a:lnTo>
                    <a:pt x="190" y="166"/>
                  </a:lnTo>
                  <a:lnTo>
                    <a:pt x="188" y="180"/>
                  </a:lnTo>
                  <a:lnTo>
                    <a:pt x="223" y="180"/>
                  </a:lnTo>
                  <a:lnTo>
                    <a:pt x="223" y="180"/>
                  </a:lnTo>
                  <a:lnTo>
                    <a:pt x="224" y="187"/>
                  </a:lnTo>
                  <a:lnTo>
                    <a:pt x="229" y="192"/>
                  </a:lnTo>
                  <a:lnTo>
                    <a:pt x="234" y="197"/>
                  </a:lnTo>
                  <a:lnTo>
                    <a:pt x="241" y="200"/>
                  </a:lnTo>
                  <a:lnTo>
                    <a:pt x="241" y="236"/>
                  </a:lnTo>
                  <a:lnTo>
                    <a:pt x="241" y="236"/>
                  </a:lnTo>
                  <a:lnTo>
                    <a:pt x="241" y="244"/>
                  </a:lnTo>
                  <a:lnTo>
                    <a:pt x="238" y="253"/>
                  </a:lnTo>
                  <a:lnTo>
                    <a:pt x="234" y="259"/>
                  </a:lnTo>
                  <a:lnTo>
                    <a:pt x="229" y="266"/>
                  </a:lnTo>
                  <a:lnTo>
                    <a:pt x="223" y="271"/>
                  </a:lnTo>
                  <a:lnTo>
                    <a:pt x="216" y="274"/>
                  </a:lnTo>
                  <a:lnTo>
                    <a:pt x="208" y="277"/>
                  </a:lnTo>
                  <a:lnTo>
                    <a:pt x="200" y="277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88" y="269"/>
                  </a:lnTo>
                  <a:lnTo>
                    <a:pt x="182" y="262"/>
                  </a:lnTo>
                  <a:lnTo>
                    <a:pt x="174" y="259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54" y="259"/>
                  </a:lnTo>
                  <a:lnTo>
                    <a:pt x="146" y="264"/>
                  </a:lnTo>
                  <a:lnTo>
                    <a:pt x="139" y="272"/>
                  </a:lnTo>
                  <a:lnTo>
                    <a:pt x="136" y="281"/>
                  </a:lnTo>
                  <a:lnTo>
                    <a:pt x="136" y="281"/>
                  </a:lnTo>
                  <a:lnTo>
                    <a:pt x="120" y="287"/>
                  </a:lnTo>
                  <a:lnTo>
                    <a:pt x="105" y="297"/>
                  </a:lnTo>
                  <a:lnTo>
                    <a:pt x="92" y="310"/>
                  </a:lnTo>
                  <a:lnTo>
                    <a:pt x="82" y="325"/>
                  </a:lnTo>
                  <a:lnTo>
                    <a:pt x="82" y="325"/>
                  </a:lnTo>
                  <a:lnTo>
                    <a:pt x="97" y="331"/>
                  </a:lnTo>
                  <a:lnTo>
                    <a:pt x="97" y="331"/>
                  </a:lnTo>
                  <a:lnTo>
                    <a:pt x="105" y="320"/>
                  </a:lnTo>
                  <a:lnTo>
                    <a:pt x="115" y="310"/>
                  </a:lnTo>
                  <a:lnTo>
                    <a:pt x="124" y="303"/>
                  </a:lnTo>
                  <a:lnTo>
                    <a:pt x="138" y="297"/>
                  </a:lnTo>
                  <a:lnTo>
                    <a:pt x="138" y="297"/>
                  </a:lnTo>
                  <a:lnTo>
                    <a:pt x="142" y="305"/>
                  </a:lnTo>
                  <a:lnTo>
                    <a:pt x="149" y="310"/>
                  </a:lnTo>
                  <a:lnTo>
                    <a:pt x="156" y="313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74" y="313"/>
                  </a:lnTo>
                  <a:lnTo>
                    <a:pt x="182" y="310"/>
                  </a:lnTo>
                  <a:lnTo>
                    <a:pt x="188" y="303"/>
                  </a:lnTo>
                  <a:lnTo>
                    <a:pt x="192" y="294"/>
                  </a:lnTo>
                  <a:lnTo>
                    <a:pt x="200" y="294"/>
                  </a:lnTo>
                  <a:lnTo>
                    <a:pt x="200" y="294"/>
                  </a:lnTo>
                  <a:lnTo>
                    <a:pt x="211" y="294"/>
                  </a:lnTo>
                  <a:lnTo>
                    <a:pt x="223" y="290"/>
                  </a:lnTo>
                  <a:lnTo>
                    <a:pt x="233" y="284"/>
                  </a:lnTo>
                  <a:lnTo>
                    <a:pt x="241" y="277"/>
                  </a:lnTo>
                  <a:lnTo>
                    <a:pt x="247" y="269"/>
                  </a:lnTo>
                  <a:lnTo>
                    <a:pt x="254" y="259"/>
                  </a:lnTo>
                  <a:lnTo>
                    <a:pt x="257" y="248"/>
                  </a:lnTo>
                  <a:lnTo>
                    <a:pt x="257" y="236"/>
                  </a:lnTo>
                  <a:lnTo>
                    <a:pt x="257" y="236"/>
                  </a:lnTo>
                  <a:lnTo>
                    <a:pt x="257" y="236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65" y="197"/>
                  </a:lnTo>
                  <a:lnTo>
                    <a:pt x="270" y="192"/>
                  </a:lnTo>
                  <a:lnTo>
                    <a:pt x="275" y="187"/>
                  </a:lnTo>
                  <a:lnTo>
                    <a:pt x="277" y="180"/>
                  </a:lnTo>
                  <a:lnTo>
                    <a:pt x="339" y="180"/>
                  </a:lnTo>
                  <a:lnTo>
                    <a:pt x="339" y="180"/>
                  </a:lnTo>
                  <a:lnTo>
                    <a:pt x="339" y="172"/>
                  </a:lnTo>
                  <a:lnTo>
                    <a:pt x="339" y="172"/>
                  </a:lnTo>
                  <a:lnTo>
                    <a:pt x="339" y="164"/>
                  </a:lnTo>
                  <a:lnTo>
                    <a:pt x="277" y="164"/>
                  </a:lnTo>
                  <a:lnTo>
                    <a:pt x="277" y="164"/>
                  </a:lnTo>
                  <a:lnTo>
                    <a:pt x="275" y="157"/>
                  </a:lnTo>
                  <a:lnTo>
                    <a:pt x="270" y="151"/>
                  </a:lnTo>
                  <a:lnTo>
                    <a:pt x="265" y="148"/>
                  </a:lnTo>
                  <a:lnTo>
                    <a:pt x="257" y="144"/>
                  </a:lnTo>
                  <a:lnTo>
                    <a:pt x="257" y="144"/>
                  </a:lnTo>
                  <a:close/>
                  <a:moveTo>
                    <a:pt x="164" y="299"/>
                  </a:moveTo>
                  <a:lnTo>
                    <a:pt x="164" y="299"/>
                  </a:lnTo>
                  <a:lnTo>
                    <a:pt x="159" y="299"/>
                  </a:lnTo>
                  <a:lnTo>
                    <a:pt x="156" y="295"/>
                  </a:lnTo>
                  <a:lnTo>
                    <a:pt x="152" y="290"/>
                  </a:lnTo>
                  <a:lnTo>
                    <a:pt x="152" y="285"/>
                  </a:lnTo>
                  <a:lnTo>
                    <a:pt x="152" y="285"/>
                  </a:lnTo>
                  <a:lnTo>
                    <a:pt x="152" y="281"/>
                  </a:lnTo>
                  <a:lnTo>
                    <a:pt x="156" y="277"/>
                  </a:lnTo>
                  <a:lnTo>
                    <a:pt x="159" y="274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169" y="274"/>
                  </a:lnTo>
                  <a:lnTo>
                    <a:pt x="174" y="277"/>
                  </a:lnTo>
                  <a:lnTo>
                    <a:pt x="177" y="281"/>
                  </a:lnTo>
                  <a:lnTo>
                    <a:pt x="177" y="285"/>
                  </a:lnTo>
                  <a:lnTo>
                    <a:pt x="177" y="285"/>
                  </a:lnTo>
                  <a:lnTo>
                    <a:pt x="177" y="290"/>
                  </a:lnTo>
                  <a:lnTo>
                    <a:pt x="174" y="295"/>
                  </a:lnTo>
                  <a:lnTo>
                    <a:pt x="169" y="299"/>
                  </a:lnTo>
                  <a:lnTo>
                    <a:pt x="164" y="299"/>
                  </a:lnTo>
                  <a:lnTo>
                    <a:pt x="164" y="299"/>
                  </a:lnTo>
                  <a:close/>
                  <a:moveTo>
                    <a:pt x="274" y="97"/>
                  </a:moveTo>
                  <a:lnTo>
                    <a:pt x="323" y="97"/>
                  </a:lnTo>
                  <a:lnTo>
                    <a:pt x="323" y="97"/>
                  </a:lnTo>
                  <a:lnTo>
                    <a:pt x="329" y="113"/>
                  </a:lnTo>
                  <a:lnTo>
                    <a:pt x="274" y="113"/>
                  </a:lnTo>
                  <a:lnTo>
                    <a:pt x="274" y="97"/>
                  </a:lnTo>
                  <a:close/>
                  <a:moveTo>
                    <a:pt x="13" y="254"/>
                  </a:moveTo>
                  <a:lnTo>
                    <a:pt x="13" y="249"/>
                  </a:lnTo>
                  <a:lnTo>
                    <a:pt x="13" y="249"/>
                  </a:lnTo>
                  <a:lnTo>
                    <a:pt x="13" y="240"/>
                  </a:lnTo>
                  <a:lnTo>
                    <a:pt x="16" y="228"/>
                  </a:lnTo>
                  <a:lnTo>
                    <a:pt x="19" y="220"/>
                  </a:lnTo>
                  <a:lnTo>
                    <a:pt x="24" y="210"/>
                  </a:lnTo>
                  <a:lnTo>
                    <a:pt x="31" y="203"/>
                  </a:lnTo>
                  <a:lnTo>
                    <a:pt x="37" y="197"/>
                  </a:lnTo>
                  <a:lnTo>
                    <a:pt x="46" y="190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9" y="192"/>
                  </a:lnTo>
                  <a:lnTo>
                    <a:pt x="65" y="197"/>
                  </a:lnTo>
                  <a:lnTo>
                    <a:pt x="72" y="200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90" y="200"/>
                  </a:lnTo>
                  <a:lnTo>
                    <a:pt x="98" y="195"/>
                  </a:lnTo>
                  <a:lnTo>
                    <a:pt x="105" y="189"/>
                  </a:lnTo>
                  <a:lnTo>
                    <a:pt x="108" y="180"/>
                  </a:lnTo>
                  <a:lnTo>
                    <a:pt x="108" y="180"/>
                  </a:lnTo>
                  <a:lnTo>
                    <a:pt x="111" y="180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39" y="174"/>
                  </a:lnTo>
                  <a:lnTo>
                    <a:pt x="141" y="166"/>
                  </a:lnTo>
                  <a:lnTo>
                    <a:pt x="141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5" y="156"/>
                  </a:lnTo>
                  <a:lnTo>
                    <a:pt x="98" y="149"/>
                  </a:lnTo>
                  <a:lnTo>
                    <a:pt x="90" y="144"/>
                  </a:lnTo>
                  <a:lnTo>
                    <a:pt x="80" y="143"/>
                  </a:lnTo>
                  <a:lnTo>
                    <a:pt x="80" y="143"/>
                  </a:lnTo>
                  <a:lnTo>
                    <a:pt x="75" y="144"/>
                  </a:lnTo>
                  <a:lnTo>
                    <a:pt x="70" y="144"/>
                  </a:lnTo>
                  <a:lnTo>
                    <a:pt x="60" y="151"/>
                  </a:lnTo>
                  <a:lnTo>
                    <a:pt x="54" y="159"/>
                  </a:lnTo>
                  <a:lnTo>
                    <a:pt x="52" y="164"/>
                  </a:lnTo>
                  <a:lnTo>
                    <a:pt x="51" y="169"/>
                  </a:lnTo>
                  <a:lnTo>
                    <a:pt x="51" y="169"/>
                  </a:lnTo>
                  <a:lnTo>
                    <a:pt x="42" y="174"/>
                  </a:lnTo>
                  <a:lnTo>
                    <a:pt x="34" y="179"/>
                  </a:lnTo>
                  <a:lnTo>
                    <a:pt x="26" y="184"/>
                  </a:lnTo>
                  <a:lnTo>
                    <a:pt x="19" y="190"/>
                  </a:lnTo>
                  <a:lnTo>
                    <a:pt x="13" y="199"/>
                  </a:lnTo>
                  <a:lnTo>
                    <a:pt x="8" y="207"/>
                  </a:lnTo>
                  <a:lnTo>
                    <a:pt x="3" y="215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5" y="240"/>
                  </a:lnTo>
                  <a:lnTo>
                    <a:pt x="13" y="254"/>
                  </a:lnTo>
                  <a:lnTo>
                    <a:pt x="13" y="254"/>
                  </a:lnTo>
                  <a:close/>
                  <a:moveTo>
                    <a:pt x="80" y="159"/>
                  </a:moveTo>
                  <a:lnTo>
                    <a:pt x="80" y="159"/>
                  </a:lnTo>
                  <a:lnTo>
                    <a:pt x="85" y="161"/>
                  </a:lnTo>
                  <a:lnTo>
                    <a:pt x="90" y="162"/>
                  </a:lnTo>
                  <a:lnTo>
                    <a:pt x="92" y="167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2" y="177"/>
                  </a:lnTo>
                  <a:lnTo>
                    <a:pt x="90" y="180"/>
                  </a:lnTo>
                  <a:lnTo>
                    <a:pt x="85" y="184"/>
                  </a:lnTo>
                  <a:lnTo>
                    <a:pt x="80" y="185"/>
                  </a:lnTo>
                  <a:lnTo>
                    <a:pt x="80" y="185"/>
                  </a:lnTo>
                  <a:lnTo>
                    <a:pt x="75" y="184"/>
                  </a:lnTo>
                  <a:lnTo>
                    <a:pt x="72" y="180"/>
                  </a:lnTo>
                  <a:lnTo>
                    <a:pt x="69" y="177"/>
                  </a:lnTo>
                  <a:lnTo>
                    <a:pt x="67" y="172"/>
                  </a:lnTo>
                  <a:lnTo>
                    <a:pt x="67" y="172"/>
                  </a:lnTo>
                  <a:lnTo>
                    <a:pt x="69" y="167"/>
                  </a:lnTo>
                  <a:lnTo>
                    <a:pt x="72" y="162"/>
                  </a:lnTo>
                  <a:lnTo>
                    <a:pt x="75" y="161"/>
                  </a:lnTo>
                  <a:lnTo>
                    <a:pt x="80" y="159"/>
                  </a:lnTo>
                  <a:lnTo>
                    <a:pt x="80" y="159"/>
                  </a:lnTo>
                  <a:close/>
                  <a:moveTo>
                    <a:pt x="88" y="251"/>
                  </a:moveTo>
                  <a:lnTo>
                    <a:pt x="29" y="251"/>
                  </a:lnTo>
                  <a:lnTo>
                    <a:pt x="29" y="235"/>
                  </a:lnTo>
                  <a:lnTo>
                    <a:pt x="88" y="235"/>
                  </a:lnTo>
                  <a:lnTo>
                    <a:pt x="88" y="235"/>
                  </a:lnTo>
                  <a:lnTo>
                    <a:pt x="101" y="233"/>
                  </a:lnTo>
                  <a:lnTo>
                    <a:pt x="115" y="230"/>
                  </a:lnTo>
                  <a:lnTo>
                    <a:pt x="126" y="223"/>
                  </a:lnTo>
                  <a:lnTo>
                    <a:pt x="136" y="215"/>
                  </a:lnTo>
                  <a:lnTo>
                    <a:pt x="146" y="205"/>
                  </a:lnTo>
                  <a:lnTo>
                    <a:pt x="151" y="192"/>
                  </a:lnTo>
                  <a:lnTo>
                    <a:pt x="156" y="180"/>
                  </a:lnTo>
                  <a:lnTo>
                    <a:pt x="157" y="166"/>
                  </a:lnTo>
                  <a:lnTo>
                    <a:pt x="157" y="130"/>
                  </a:lnTo>
                  <a:lnTo>
                    <a:pt x="174" y="130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2" y="184"/>
                  </a:lnTo>
                  <a:lnTo>
                    <a:pt x="167" y="199"/>
                  </a:lnTo>
                  <a:lnTo>
                    <a:pt x="159" y="213"/>
                  </a:lnTo>
                  <a:lnTo>
                    <a:pt x="147" y="226"/>
                  </a:lnTo>
                  <a:lnTo>
                    <a:pt x="136" y="236"/>
                  </a:lnTo>
                  <a:lnTo>
                    <a:pt x="121" y="244"/>
                  </a:lnTo>
                  <a:lnTo>
                    <a:pt x="105" y="249"/>
                  </a:lnTo>
                  <a:lnTo>
                    <a:pt x="88" y="251"/>
                  </a:lnTo>
                  <a:lnTo>
                    <a:pt x="88" y="251"/>
                  </a:lnTo>
                  <a:close/>
                  <a:moveTo>
                    <a:pt x="157" y="56"/>
                  </a:moveTo>
                  <a:lnTo>
                    <a:pt x="157" y="80"/>
                  </a:lnTo>
                  <a:lnTo>
                    <a:pt x="174" y="80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82" y="52"/>
                  </a:lnTo>
                  <a:lnTo>
                    <a:pt x="188" y="46"/>
                  </a:lnTo>
                  <a:lnTo>
                    <a:pt x="193" y="38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193" y="23"/>
                  </a:lnTo>
                  <a:lnTo>
                    <a:pt x="192" y="18"/>
                  </a:lnTo>
                  <a:lnTo>
                    <a:pt x="188" y="13"/>
                  </a:lnTo>
                  <a:lnTo>
                    <a:pt x="185" y="8"/>
                  </a:lnTo>
                  <a:lnTo>
                    <a:pt x="182" y="5"/>
                  </a:lnTo>
                  <a:lnTo>
                    <a:pt x="177" y="2"/>
                  </a:lnTo>
                  <a:lnTo>
                    <a:pt x="170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59" y="0"/>
                  </a:lnTo>
                  <a:lnTo>
                    <a:pt x="154" y="2"/>
                  </a:lnTo>
                  <a:lnTo>
                    <a:pt x="149" y="5"/>
                  </a:lnTo>
                  <a:lnTo>
                    <a:pt x="144" y="8"/>
                  </a:lnTo>
                  <a:lnTo>
                    <a:pt x="141" y="13"/>
                  </a:lnTo>
                  <a:lnTo>
                    <a:pt x="138" y="18"/>
                  </a:lnTo>
                  <a:lnTo>
                    <a:pt x="136" y="23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8" y="38"/>
                  </a:lnTo>
                  <a:lnTo>
                    <a:pt x="142" y="46"/>
                  </a:lnTo>
                  <a:lnTo>
                    <a:pt x="149" y="52"/>
                  </a:lnTo>
                  <a:lnTo>
                    <a:pt x="157" y="56"/>
                  </a:lnTo>
                  <a:lnTo>
                    <a:pt x="157" y="56"/>
                  </a:lnTo>
                  <a:close/>
                  <a:moveTo>
                    <a:pt x="165" y="16"/>
                  </a:moveTo>
                  <a:lnTo>
                    <a:pt x="165" y="16"/>
                  </a:lnTo>
                  <a:lnTo>
                    <a:pt x="170" y="16"/>
                  </a:lnTo>
                  <a:lnTo>
                    <a:pt x="174" y="20"/>
                  </a:lnTo>
                  <a:lnTo>
                    <a:pt x="177" y="23"/>
                  </a:lnTo>
                  <a:lnTo>
                    <a:pt x="177" y="28"/>
                  </a:lnTo>
                  <a:lnTo>
                    <a:pt x="177" y="28"/>
                  </a:lnTo>
                  <a:lnTo>
                    <a:pt x="177" y="33"/>
                  </a:lnTo>
                  <a:lnTo>
                    <a:pt x="174" y="38"/>
                  </a:lnTo>
                  <a:lnTo>
                    <a:pt x="170" y="41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1" y="41"/>
                  </a:lnTo>
                  <a:lnTo>
                    <a:pt x="156" y="38"/>
                  </a:lnTo>
                  <a:lnTo>
                    <a:pt x="154" y="33"/>
                  </a:lnTo>
                  <a:lnTo>
                    <a:pt x="152" y="28"/>
                  </a:lnTo>
                  <a:lnTo>
                    <a:pt x="152" y="28"/>
                  </a:lnTo>
                  <a:lnTo>
                    <a:pt x="154" y="23"/>
                  </a:lnTo>
                  <a:lnTo>
                    <a:pt x="156" y="20"/>
                  </a:lnTo>
                  <a:lnTo>
                    <a:pt x="161" y="16"/>
                  </a:lnTo>
                  <a:lnTo>
                    <a:pt x="165" y="16"/>
                  </a:lnTo>
                  <a:lnTo>
                    <a:pt x="165" y="16"/>
                  </a:lnTo>
                  <a:close/>
                  <a:moveTo>
                    <a:pt x="8" y="97"/>
                  </a:moveTo>
                  <a:lnTo>
                    <a:pt x="224" y="97"/>
                  </a:lnTo>
                  <a:lnTo>
                    <a:pt x="224" y="113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8" y="97"/>
                  </a:lnTo>
                  <a:lnTo>
                    <a:pt x="8" y="9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552672AF-1858-458C-9A64-69C19150FD69}"/>
              </a:ext>
            </a:extLst>
          </p:cNvPr>
          <p:cNvGrpSpPr/>
          <p:nvPr/>
        </p:nvGrpSpPr>
        <p:grpSpPr>
          <a:xfrm>
            <a:off x="812190" y="1787986"/>
            <a:ext cx="1592999" cy="902871"/>
            <a:chOff x="-180116" y="1490023"/>
            <a:chExt cx="1592999" cy="902871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xmlns="" id="{92F81E39-187B-451F-9A8D-5FA857DBF7CA}"/>
                </a:ext>
              </a:extLst>
            </p:cNvPr>
            <p:cNvGrpSpPr/>
            <p:nvPr/>
          </p:nvGrpSpPr>
          <p:grpSpPr>
            <a:xfrm>
              <a:off x="-180116" y="1490023"/>
              <a:ext cx="1592999" cy="902871"/>
              <a:chOff x="804996" y="1760611"/>
              <a:chExt cx="1592999" cy="902871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xmlns="" id="{1BDA877A-98DE-4B26-9B09-73ED376925EB}"/>
                  </a:ext>
                </a:extLst>
              </p:cNvPr>
              <p:cNvGrpSpPr/>
              <p:nvPr/>
            </p:nvGrpSpPr>
            <p:grpSpPr>
              <a:xfrm>
                <a:off x="804996" y="1760611"/>
                <a:ext cx="635263" cy="902871"/>
                <a:chOff x="1829124" y="1885562"/>
                <a:chExt cx="635263" cy="902871"/>
              </a:xfrm>
            </p:grpSpPr>
            <p:sp>
              <p:nvSpPr>
                <p:cNvPr id="73" name="Teardrop 72">
                  <a:extLst>
                    <a:ext uri="{FF2B5EF4-FFF2-40B4-BE49-F238E27FC236}">
                      <a16:creationId xmlns:a16="http://schemas.microsoft.com/office/drawing/2014/main" xmlns="" id="{E972B3A9-355B-42E7-A17B-59F6987098C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8123862">
                  <a:off x="1829124" y="1885562"/>
                  <a:ext cx="635263" cy="635263"/>
                </a:xfrm>
                <a:prstGeom prst="teardrop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xmlns="" id="{3323099A-4263-4EDE-818F-37E13837459D}"/>
                    </a:ext>
                  </a:extLst>
                </p:cNvPr>
                <p:cNvSpPr/>
                <p:nvPr/>
              </p:nvSpPr>
              <p:spPr>
                <a:xfrm>
                  <a:off x="1954367" y="2680433"/>
                  <a:ext cx="384778" cy="108000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Z" dirty="0"/>
                </a:p>
              </p:txBody>
            </p:sp>
          </p:grp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xmlns="" id="{8F83002F-3047-448D-89E3-D0B79DC182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71818" y="1865279"/>
                <a:ext cx="826177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FFFFFF"/>
                  </a:buClr>
                </a:pPr>
                <a:r>
                  <a:rPr lang="en-US" sz="1200" dirty="0">
                    <a:solidFill>
                      <a:schemeClr val="accent2"/>
                    </a:solidFill>
                  </a:rPr>
                  <a:t>Computer coded software</a:t>
                </a:r>
              </a:p>
            </p:txBody>
          </p:sp>
        </p:grpSp>
        <p:sp>
          <p:nvSpPr>
            <p:cNvPr id="70" name="Freeform 36">
              <a:extLst>
                <a:ext uri="{FF2B5EF4-FFF2-40B4-BE49-F238E27FC236}">
                  <a16:creationId xmlns:a16="http://schemas.microsoft.com/office/drawing/2014/main" xmlns="" id="{7DF3F85E-C96D-4615-9117-77F7BC8D439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63424" y="1646354"/>
              <a:ext cx="396000" cy="305026"/>
            </a:xfrm>
            <a:custGeom>
              <a:avLst/>
              <a:gdLst>
                <a:gd name="T0" fmla="*/ 296 w 296"/>
                <a:gd name="T1" fmla="*/ 210 h 228"/>
                <a:gd name="T2" fmla="*/ 296 w 296"/>
                <a:gd name="T3" fmla="*/ 207 h 228"/>
                <a:gd name="T4" fmla="*/ 294 w 296"/>
                <a:gd name="T5" fmla="*/ 207 h 228"/>
                <a:gd name="T6" fmla="*/ 261 w 296"/>
                <a:gd name="T7" fmla="*/ 164 h 228"/>
                <a:gd name="T8" fmla="*/ 258 w 296"/>
                <a:gd name="T9" fmla="*/ 163 h 228"/>
                <a:gd name="T10" fmla="*/ 41 w 296"/>
                <a:gd name="T11" fmla="*/ 161 h 228"/>
                <a:gd name="T12" fmla="*/ 38 w 296"/>
                <a:gd name="T13" fmla="*/ 163 h 228"/>
                <a:gd name="T14" fmla="*/ 2 w 296"/>
                <a:gd name="T15" fmla="*/ 205 h 228"/>
                <a:gd name="T16" fmla="*/ 2 w 296"/>
                <a:gd name="T17" fmla="*/ 207 h 228"/>
                <a:gd name="T18" fmla="*/ 0 w 296"/>
                <a:gd name="T19" fmla="*/ 207 h 228"/>
                <a:gd name="T20" fmla="*/ 0 w 296"/>
                <a:gd name="T21" fmla="*/ 210 h 228"/>
                <a:gd name="T22" fmla="*/ 0 w 296"/>
                <a:gd name="T23" fmla="*/ 210 h 228"/>
                <a:gd name="T24" fmla="*/ 0 w 296"/>
                <a:gd name="T25" fmla="*/ 220 h 228"/>
                <a:gd name="T26" fmla="*/ 4 w 296"/>
                <a:gd name="T27" fmla="*/ 227 h 228"/>
                <a:gd name="T28" fmla="*/ 9 w 296"/>
                <a:gd name="T29" fmla="*/ 228 h 228"/>
                <a:gd name="T30" fmla="*/ 287 w 296"/>
                <a:gd name="T31" fmla="*/ 228 h 228"/>
                <a:gd name="T32" fmla="*/ 292 w 296"/>
                <a:gd name="T33" fmla="*/ 227 h 228"/>
                <a:gd name="T34" fmla="*/ 296 w 296"/>
                <a:gd name="T35" fmla="*/ 220 h 228"/>
                <a:gd name="T36" fmla="*/ 296 w 296"/>
                <a:gd name="T37" fmla="*/ 210 h 228"/>
                <a:gd name="T38" fmla="*/ 296 w 296"/>
                <a:gd name="T39" fmla="*/ 210 h 228"/>
                <a:gd name="T40" fmla="*/ 120 w 296"/>
                <a:gd name="T41" fmla="*/ 192 h 228"/>
                <a:gd name="T42" fmla="*/ 186 w 296"/>
                <a:gd name="T43" fmla="*/ 209 h 228"/>
                <a:gd name="T44" fmla="*/ 278 w 296"/>
                <a:gd name="T45" fmla="*/ 220 h 228"/>
                <a:gd name="T46" fmla="*/ 274 w 296"/>
                <a:gd name="T47" fmla="*/ 222 h 228"/>
                <a:gd name="T48" fmla="*/ 273 w 296"/>
                <a:gd name="T49" fmla="*/ 222 h 228"/>
                <a:gd name="T50" fmla="*/ 268 w 296"/>
                <a:gd name="T51" fmla="*/ 220 h 228"/>
                <a:gd name="T52" fmla="*/ 266 w 296"/>
                <a:gd name="T53" fmla="*/ 215 h 228"/>
                <a:gd name="T54" fmla="*/ 268 w 296"/>
                <a:gd name="T55" fmla="*/ 210 h 228"/>
                <a:gd name="T56" fmla="*/ 269 w 296"/>
                <a:gd name="T57" fmla="*/ 210 h 228"/>
                <a:gd name="T58" fmla="*/ 274 w 296"/>
                <a:gd name="T59" fmla="*/ 210 h 228"/>
                <a:gd name="T60" fmla="*/ 278 w 296"/>
                <a:gd name="T61" fmla="*/ 210 h 228"/>
                <a:gd name="T62" fmla="*/ 279 w 296"/>
                <a:gd name="T63" fmla="*/ 215 h 228"/>
                <a:gd name="T64" fmla="*/ 279 w 296"/>
                <a:gd name="T65" fmla="*/ 218 h 228"/>
                <a:gd name="T66" fmla="*/ 278 w 296"/>
                <a:gd name="T67" fmla="*/ 220 h 228"/>
                <a:gd name="T68" fmla="*/ 251 w 296"/>
                <a:gd name="T69" fmla="*/ 151 h 228"/>
                <a:gd name="T70" fmla="*/ 255 w 296"/>
                <a:gd name="T71" fmla="*/ 151 h 228"/>
                <a:gd name="T72" fmla="*/ 261 w 296"/>
                <a:gd name="T73" fmla="*/ 146 h 228"/>
                <a:gd name="T74" fmla="*/ 261 w 296"/>
                <a:gd name="T75" fmla="*/ 10 h 228"/>
                <a:gd name="T76" fmla="*/ 261 w 296"/>
                <a:gd name="T77" fmla="*/ 5 h 228"/>
                <a:gd name="T78" fmla="*/ 255 w 296"/>
                <a:gd name="T79" fmla="*/ 0 h 228"/>
                <a:gd name="T80" fmla="*/ 45 w 296"/>
                <a:gd name="T81" fmla="*/ 0 h 228"/>
                <a:gd name="T82" fmla="*/ 41 w 296"/>
                <a:gd name="T83" fmla="*/ 0 h 228"/>
                <a:gd name="T84" fmla="*/ 35 w 296"/>
                <a:gd name="T85" fmla="*/ 5 h 228"/>
                <a:gd name="T86" fmla="*/ 35 w 296"/>
                <a:gd name="T87" fmla="*/ 141 h 228"/>
                <a:gd name="T88" fmla="*/ 35 w 296"/>
                <a:gd name="T89" fmla="*/ 146 h 228"/>
                <a:gd name="T90" fmla="*/ 41 w 296"/>
                <a:gd name="T91" fmla="*/ 151 h 228"/>
                <a:gd name="T92" fmla="*/ 45 w 296"/>
                <a:gd name="T93" fmla="*/ 151 h 228"/>
                <a:gd name="T94" fmla="*/ 242 w 296"/>
                <a:gd name="T95" fmla="*/ 20 h 228"/>
                <a:gd name="T96" fmla="*/ 55 w 296"/>
                <a:gd name="T97" fmla="*/ 13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6" h="228">
                  <a:moveTo>
                    <a:pt x="296" y="210"/>
                  </a:moveTo>
                  <a:lnTo>
                    <a:pt x="296" y="210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5"/>
                  </a:lnTo>
                  <a:lnTo>
                    <a:pt x="261" y="164"/>
                  </a:lnTo>
                  <a:lnTo>
                    <a:pt x="261" y="164"/>
                  </a:lnTo>
                  <a:lnTo>
                    <a:pt x="258" y="163"/>
                  </a:lnTo>
                  <a:lnTo>
                    <a:pt x="255" y="161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38" y="163"/>
                  </a:lnTo>
                  <a:lnTo>
                    <a:pt x="35" y="164"/>
                  </a:lnTo>
                  <a:lnTo>
                    <a:pt x="2" y="205"/>
                  </a:lnTo>
                  <a:lnTo>
                    <a:pt x="2" y="205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23"/>
                  </a:lnTo>
                  <a:lnTo>
                    <a:pt x="4" y="227"/>
                  </a:lnTo>
                  <a:lnTo>
                    <a:pt x="5" y="228"/>
                  </a:lnTo>
                  <a:lnTo>
                    <a:pt x="9" y="228"/>
                  </a:lnTo>
                  <a:lnTo>
                    <a:pt x="287" y="228"/>
                  </a:lnTo>
                  <a:lnTo>
                    <a:pt x="287" y="228"/>
                  </a:lnTo>
                  <a:lnTo>
                    <a:pt x="291" y="228"/>
                  </a:lnTo>
                  <a:lnTo>
                    <a:pt x="292" y="227"/>
                  </a:lnTo>
                  <a:lnTo>
                    <a:pt x="296" y="223"/>
                  </a:lnTo>
                  <a:lnTo>
                    <a:pt x="296" y="220"/>
                  </a:lnTo>
                  <a:lnTo>
                    <a:pt x="296" y="210"/>
                  </a:lnTo>
                  <a:lnTo>
                    <a:pt x="296" y="210"/>
                  </a:lnTo>
                  <a:lnTo>
                    <a:pt x="296" y="210"/>
                  </a:lnTo>
                  <a:lnTo>
                    <a:pt x="296" y="210"/>
                  </a:lnTo>
                  <a:close/>
                  <a:moveTo>
                    <a:pt x="110" y="209"/>
                  </a:moveTo>
                  <a:lnTo>
                    <a:pt x="120" y="192"/>
                  </a:lnTo>
                  <a:lnTo>
                    <a:pt x="176" y="192"/>
                  </a:lnTo>
                  <a:lnTo>
                    <a:pt x="186" y="209"/>
                  </a:lnTo>
                  <a:lnTo>
                    <a:pt x="110" y="209"/>
                  </a:lnTo>
                  <a:close/>
                  <a:moveTo>
                    <a:pt x="278" y="220"/>
                  </a:moveTo>
                  <a:lnTo>
                    <a:pt x="278" y="220"/>
                  </a:lnTo>
                  <a:lnTo>
                    <a:pt x="274" y="222"/>
                  </a:lnTo>
                  <a:lnTo>
                    <a:pt x="273" y="222"/>
                  </a:lnTo>
                  <a:lnTo>
                    <a:pt x="273" y="222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6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8" y="210"/>
                  </a:lnTo>
                  <a:lnTo>
                    <a:pt x="268" y="210"/>
                  </a:lnTo>
                  <a:lnTo>
                    <a:pt x="269" y="210"/>
                  </a:lnTo>
                  <a:lnTo>
                    <a:pt x="273" y="209"/>
                  </a:lnTo>
                  <a:lnTo>
                    <a:pt x="274" y="210"/>
                  </a:lnTo>
                  <a:lnTo>
                    <a:pt x="278" y="210"/>
                  </a:lnTo>
                  <a:lnTo>
                    <a:pt x="278" y="210"/>
                  </a:lnTo>
                  <a:lnTo>
                    <a:pt x="279" y="214"/>
                  </a:lnTo>
                  <a:lnTo>
                    <a:pt x="279" y="215"/>
                  </a:lnTo>
                  <a:lnTo>
                    <a:pt x="279" y="215"/>
                  </a:lnTo>
                  <a:lnTo>
                    <a:pt x="279" y="218"/>
                  </a:lnTo>
                  <a:lnTo>
                    <a:pt x="278" y="220"/>
                  </a:lnTo>
                  <a:lnTo>
                    <a:pt x="278" y="220"/>
                  </a:lnTo>
                  <a:close/>
                  <a:moveTo>
                    <a:pt x="45" y="151"/>
                  </a:moveTo>
                  <a:lnTo>
                    <a:pt x="251" y="151"/>
                  </a:lnTo>
                  <a:lnTo>
                    <a:pt x="251" y="151"/>
                  </a:lnTo>
                  <a:lnTo>
                    <a:pt x="255" y="151"/>
                  </a:lnTo>
                  <a:lnTo>
                    <a:pt x="258" y="150"/>
                  </a:lnTo>
                  <a:lnTo>
                    <a:pt x="261" y="146"/>
                  </a:lnTo>
                  <a:lnTo>
                    <a:pt x="261" y="141"/>
                  </a:lnTo>
                  <a:lnTo>
                    <a:pt x="261" y="10"/>
                  </a:lnTo>
                  <a:lnTo>
                    <a:pt x="261" y="10"/>
                  </a:lnTo>
                  <a:lnTo>
                    <a:pt x="261" y="5"/>
                  </a:lnTo>
                  <a:lnTo>
                    <a:pt x="258" y="2"/>
                  </a:lnTo>
                  <a:lnTo>
                    <a:pt x="255" y="0"/>
                  </a:lnTo>
                  <a:lnTo>
                    <a:pt x="251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5" y="5"/>
                  </a:lnTo>
                  <a:lnTo>
                    <a:pt x="35" y="10"/>
                  </a:lnTo>
                  <a:lnTo>
                    <a:pt x="35" y="141"/>
                  </a:lnTo>
                  <a:lnTo>
                    <a:pt x="35" y="141"/>
                  </a:lnTo>
                  <a:lnTo>
                    <a:pt x="35" y="146"/>
                  </a:lnTo>
                  <a:lnTo>
                    <a:pt x="38" y="150"/>
                  </a:lnTo>
                  <a:lnTo>
                    <a:pt x="41" y="151"/>
                  </a:lnTo>
                  <a:lnTo>
                    <a:pt x="45" y="151"/>
                  </a:lnTo>
                  <a:lnTo>
                    <a:pt x="45" y="151"/>
                  </a:lnTo>
                  <a:close/>
                  <a:moveTo>
                    <a:pt x="55" y="20"/>
                  </a:moveTo>
                  <a:lnTo>
                    <a:pt x="242" y="20"/>
                  </a:lnTo>
                  <a:lnTo>
                    <a:pt x="242" y="132"/>
                  </a:lnTo>
                  <a:lnTo>
                    <a:pt x="55" y="132"/>
                  </a:lnTo>
                  <a:lnTo>
                    <a:pt x="55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6A80E94B-0275-48A5-9CFA-4FE33B310146}"/>
              </a:ext>
            </a:extLst>
          </p:cNvPr>
          <p:cNvGrpSpPr/>
          <p:nvPr/>
        </p:nvGrpSpPr>
        <p:grpSpPr>
          <a:xfrm>
            <a:off x="2697709" y="1787986"/>
            <a:ext cx="1635671" cy="902870"/>
            <a:chOff x="2697709" y="1787986"/>
            <a:chExt cx="1635671" cy="90287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xmlns="" id="{E2BDC97E-CCCE-44DD-8C38-EDE1CAC62D59}"/>
                </a:ext>
              </a:extLst>
            </p:cNvPr>
            <p:cNvGrpSpPr/>
            <p:nvPr/>
          </p:nvGrpSpPr>
          <p:grpSpPr>
            <a:xfrm>
              <a:off x="2697709" y="1787986"/>
              <a:ext cx="1635671" cy="902870"/>
              <a:chOff x="1666834" y="1596089"/>
              <a:chExt cx="1635671" cy="902870"/>
            </a:xfrm>
          </p:grpSpPr>
          <p:sp>
            <p:nvSpPr>
              <p:cNvPr id="83" name="Teardrop 82">
                <a:extLst>
                  <a:ext uri="{FF2B5EF4-FFF2-40B4-BE49-F238E27FC236}">
                    <a16:creationId xmlns:a16="http://schemas.microsoft.com/office/drawing/2014/main" xmlns="" id="{BC0E2E17-5D25-4FD0-BA16-49FB4A4EF66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8123862">
                <a:off x="1666834" y="1596089"/>
                <a:ext cx="635263" cy="635263"/>
              </a:xfrm>
              <a:prstGeom prst="teardrop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Z" dirty="0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xmlns="" id="{47C13F47-A36B-477C-B636-3E8D49994120}"/>
                  </a:ext>
                </a:extLst>
              </p:cNvPr>
              <p:cNvSpPr/>
              <p:nvPr/>
            </p:nvSpPr>
            <p:spPr>
              <a:xfrm>
                <a:off x="1792076" y="2390959"/>
                <a:ext cx="384778" cy="108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Z" dirty="0"/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xmlns="" id="{1D3D309E-7CA0-4A88-9030-83042F4DD62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3655" y="1700756"/>
                <a:ext cx="868850" cy="5539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FFFFFF"/>
                  </a:buClr>
                </a:pPr>
                <a:r>
                  <a:rPr lang="en-US" sz="1200" dirty="0">
                    <a:solidFill>
                      <a:schemeClr val="accent2"/>
                    </a:solidFill>
                  </a:rPr>
                  <a:t>Mimics interactions of users</a:t>
                </a:r>
              </a:p>
            </p:txBody>
          </p:sp>
        </p:grpSp>
        <p:grpSp>
          <p:nvGrpSpPr>
            <p:cNvPr id="78" name="Group 129">
              <a:extLst>
                <a:ext uri="{FF2B5EF4-FFF2-40B4-BE49-F238E27FC236}">
                  <a16:creationId xmlns:a16="http://schemas.microsoft.com/office/drawing/2014/main" xmlns="" id="{0C380A56-704A-4579-BAAF-30FCA54D56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57063" y="1914733"/>
              <a:ext cx="308273" cy="397272"/>
              <a:chOff x="1724" y="163"/>
              <a:chExt cx="239" cy="308"/>
            </a:xfrm>
            <a:solidFill>
              <a:schemeClr val="bg1"/>
            </a:solidFill>
          </p:grpSpPr>
          <p:sp>
            <p:nvSpPr>
              <p:cNvPr id="79" name="Freeform 131">
                <a:extLst>
                  <a:ext uri="{FF2B5EF4-FFF2-40B4-BE49-F238E27FC236}">
                    <a16:creationId xmlns:a16="http://schemas.microsoft.com/office/drawing/2014/main" xmlns="" id="{C8093B11-5829-42E2-9440-8A3568280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163"/>
                <a:ext cx="79" cy="78"/>
              </a:xfrm>
              <a:custGeom>
                <a:avLst/>
                <a:gdLst>
                  <a:gd name="T0" fmla="*/ 399 w 798"/>
                  <a:gd name="T1" fmla="*/ 0 h 790"/>
                  <a:gd name="T2" fmla="*/ 399 w 798"/>
                  <a:gd name="T3" fmla="*/ 0 h 790"/>
                  <a:gd name="T4" fmla="*/ 448 w 798"/>
                  <a:gd name="T5" fmla="*/ 4 h 790"/>
                  <a:gd name="T6" fmla="*/ 497 w 798"/>
                  <a:gd name="T7" fmla="*/ 12 h 790"/>
                  <a:gd name="T8" fmla="*/ 543 w 798"/>
                  <a:gd name="T9" fmla="*/ 27 h 790"/>
                  <a:gd name="T10" fmla="*/ 586 w 798"/>
                  <a:gd name="T11" fmla="*/ 47 h 790"/>
                  <a:gd name="T12" fmla="*/ 627 w 798"/>
                  <a:gd name="T13" fmla="*/ 72 h 790"/>
                  <a:gd name="T14" fmla="*/ 664 w 798"/>
                  <a:gd name="T15" fmla="*/ 101 h 790"/>
                  <a:gd name="T16" fmla="*/ 697 w 798"/>
                  <a:gd name="T17" fmla="*/ 134 h 790"/>
                  <a:gd name="T18" fmla="*/ 726 w 798"/>
                  <a:gd name="T19" fmla="*/ 170 h 790"/>
                  <a:gd name="T20" fmla="*/ 751 w 798"/>
                  <a:gd name="T21" fmla="*/ 210 h 790"/>
                  <a:gd name="T22" fmla="*/ 771 w 798"/>
                  <a:gd name="T23" fmla="*/ 253 h 790"/>
                  <a:gd name="T24" fmla="*/ 785 w 798"/>
                  <a:gd name="T25" fmla="*/ 298 h 790"/>
                  <a:gd name="T26" fmla="*/ 794 w 798"/>
                  <a:gd name="T27" fmla="*/ 346 h 790"/>
                  <a:gd name="T28" fmla="*/ 798 w 798"/>
                  <a:gd name="T29" fmla="*/ 396 h 790"/>
                  <a:gd name="T30" fmla="*/ 794 w 798"/>
                  <a:gd name="T31" fmla="*/ 445 h 790"/>
                  <a:gd name="T32" fmla="*/ 785 w 798"/>
                  <a:gd name="T33" fmla="*/ 493 h 790"/>
                  <a:gd name="T34" fmla="*/ 771 w 798"/>
                  <a:gd name="T35" fmla="*/ 538 h 790"/>
                  <a:gd name="T36" fmla="*/ 751 w 798"/>
                  <a:gd name="T37" fmla="*/ 580 h 790"/>
                  <a:gd name="T38" fmla="*/ 726 w 798"/>
                  <a:gd name="T39" fmla="*/ 620 h 790"/>
                  <a:gd name="T40" fmla="*/ 697 w 798"/>
                  <a:gd name="T41" fmla="*/ 657 h 790"/>
                  <a:gd name="T42" fmla="*/ 664 w 798"/>
                  <a:gd name="T43" fmla="*/ 690 h 790"/>
                  <a:gd name="T44" fmla="*/ 627 w 798"/>
                  <a:gd name="T45" fmla="*/ 718 h 790"/>
                  <a:gd name="T46" fmla="*/ 586 w 798"/>
                  <a:gd name="T47" fmla="*/ 744 h 790"/>
                  <a:gd name="T48" fmla="*/ 543 w 798"/>
                  <a:gd name="T49" fmla="*/ 763 h 790"/>
                  <a:gd name="T50" fmla="*/ 497 w 798"/>
                  <a:gd name="T51" fmla="*/ 778 h 790"/>
                  <a:gd name="T52" fmla="*/ 448 w 798"/>
                  <a:gd name="T53" fmla="*/ 787 h 790"/>
                  <a:gd name="T54" fmla="*/ 399 w 798"/>
                  <a:gd name="T55" fmla="*/ 790 h 790"/>
                  <a:gd name="T56" fmla="*/ 349 w 798"/>
                  <a:gd name="T57" fmla="*/ 787 h 790"/>
                  <a:gd name="T58" fmla="*/ 300 w 798"/>
                  <a:gd name="T59" fmla="*/ 778 h 790"/>
                  <a:gd name="T60" fmla="*/ 255 w 798"/>
                  <a:gd name="T61" fmla="*/ 763 h 790"/>
                  <a:gd name="T62" fmla="*/ 211 w 798"/>
                  <a:gd name="T63" fmla="*/ 744 h 790"/>
                  <a:gd name="T64" fmla="*/ 171 w 798"/>
                  <a:gd name="T65" fmla="*/ 718 h 790"/>
                  <a:gd name="T66" fmla="*/ 134 w 798"/>
                  <a:gd name="T67" fmla="*/ 690 h 790"/>
                  <a:gd name="T68" fmla="*/ 100 w 798"/>
                  <a:gd name="T69" fmla="*/ 657 h 790"/>
                  <a:gd name="T70" fmla="*/ 72 w 798"/>
                  <a:gd name="T71" fmla="*/ 620 h 790"/>
                  <a:gd name="T72" fmla="*/ 47 w 798"/>
                  <a:gd name="T73" fmla="*/ 580 h 790"/>
                  <a:gd name="T74" fmla="*/ 27 w 798"/>
                  <a:gd name="T75" fmla="*/ 538 h 790"/>
                  <a:gd name="T76" fmla="*/ 12 w 798"/>
                  <a:gd name="T77" fmla="*/ 493 h 790"/>
                  <a:gd name="T78" fmla="*/ 3 w 798"/>
                  <a:gd name="T79" fmla="*/ 445 h 790"/>
                  <a:gd name="T80" fmla="*/ 0 w 798"/>
                  <a:gd name="T81" fmla="*/ 396 h 790"/>
                  <a:gd name="T82" fmla="*/ 3 w 798"/>
                  <a:gd name="T83" fmla="*/ 346 h 790"/>
                  <a:gd name="T84" fmla="*/ 12 w 798"/>
                  <a:gd name="T85" fmla="*/ 298 h 790"/>
                  <a:gd name="T86" fmla="*/ 27 w 798"/>
                  <a:gd name="T87" fmla="*/ 253 h 790"/>
                  <a:gd name="T88" fmla="*/ 47 w 798"/>
                  <a:gd name="T89" fmla="*/ 210 h 790"/>
                  <a:gd name="T90" fmla="*/ 72 w 798"/>
                  <a:gd name="T91" fmla="*/ 170 h 790"/>
                  <a:gd name="T92" fmla="*/ 100 w 798"/>
                  <a:gd name="T93" fmla="*/ 134 h 790"/>
                  <a:gd name="T94" fmla="*/ 134 w 798"/>
                  <a:gd name="T95" fmla="*/ 101 h 790"/>
                  <a:gd name="T96" fmla="*/ 171 w 798"/>
                  <a:gd name="T97" fmla="*/ 72 h 790"/>
                  <a:gd name="T98" fmla="*/ 211 w 798"/>
                  <a:gd name="T99" fmla="*/ 47 h 790"/>
                  <a:gd name="T100" fmla="*/ 255 w 798"/>
                  <a:gd name="T101" fmla="*/ 27 h 790"/>
                  <a:gd name="T102" fmla="*/ 300 w 798"/>
                  <a:gd name="T103" fmla="*/ 12 h 790"/>
                  <a:gd name="T104" fmla="*/ 349 w 798"/>
                  <a:gd name="T105" fmla="*/ 4 h 790"/>
                  <a:gd name="T106" fmla="*/ 399 w 798"/>
                  <a:gd name="T107" fmla="*/ 0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98" h="790">
                    <a:moveTo>
                      <a:pt x="399" y="0"/>
                    </a:moveTo>
                    <a:lnTo>
                      <a:pt x="399" y="0"/>
                    </a:lnTo>
                    <a:lnTo>
                      <a:pt x="448" y="4"/>
                    </a:lnTo>
                    <a:lnTo>
                      <a:pt x="497" y="12"/>
                    </a:lnTo>
                    <a:lnTo>
                      <a:pt x="543" y="27"/>
                    </a:lnTo>
                    <a:lnTo>
                      <a:pt x="586" y="47"/>
                    </a:lnTo>
                    <a:lnTo>
                      <a:pt x="627" y="72"/>
                    </a:lnTo>
                    <a:lnTo>
                      <a:pt x="664" y="101"/>
                    </a:lnTo>
                    <a:lnTo>
                      <a:pt x="697" y="134"/>
                    </a:lnTo>
                    <a:lnTo>
                      <a:pt x="726" y="170"/>
                    </a:lnTo>
                    <a:lnTo>
                      <a:pt x="751" y="210"/>
                    </a:lnTo>
                    <a:lnTo>
                      <a:pt x="771" y="253"/>
                    </a:lnTo>
                    <a:lnTo>
                      <a:pt x="785" y="298"/>
                    </a:lnTo>
                    <a:lnTo>
                      <a:pt x="794" y="346"/>
                    </a:lnTo>
                    <a:lnTo>
                      <a:pt x="798" y="396"/>
                    </a:lnTo>
                    <a:lnTo>
                      <a:pt x="794" y="445"/>
                    </a:lnTo>
                    <a:lnTo>
                      <a:pt x="785" y="493"/>
                    </a:lnTo>
                    <a:lnTo>
                      <a:pt x="771" y="538"/>
                    </a:lnTo>
                    <a:lnTo>
                      <a:pt x="751" y="580"/>
                    </a:lnTo>
                    <a:lnTo>
                      <a:pt x="726" y="620"/>
                    </a:lnTo>
                    <a:lnTo>
                      <a:pt x="697" y="657"/>
                    </a:lnTo>
                    <a:lnTo>
                      <a:pt x="664" y="690"/>
                    </a:lnTo>
                    <a:lnTo>
                      <a:pt x="627" y="718"/>
                    </a:lnTo>
                    <a:lnTo>
                      <a:pt x="586" y="744"/>
                    </a:lnTo>
                    <a:lnTo>
                      <a:pt x="543" y="763"/>
                    </a:lnTo>
                    <a:lnTo>
                      <a:pt x="497" y="778"/>
                    </a:lnTo>
                    <a:lnTo>
                      <a:pt x="448" y="787"/>
                    </a:lnTo>
                    <a:lnTo>
                      <a:pt x="399" y="790"/>
                    </a:lnTo>
                    <a:lnTo>
                      <a:pt x="349" y="787"/>
                    </a:lnTo>
                    <a:lnTo>
                      <a:pt x="300" y="778"/>
                    </a:lnTo>
                    <a:lnTo>
                      <a:pt x="255" y="763"/>
                    </a:lnTo>
                    <a:lnTo>
                      <a:pt x="211" y="744"/>
                    </a:lnTo>
                    <a:lnTo>
                      <a:pt x="171" y="718"/>
                    </a:lnTo>
                    <a:lnTo>
                      <a:pt x="134" y="690"/>
                    </a:lnTo>
                    <a:lnTo>
                      <a:pt x="100" y="657"/>
                    </a:lnTo>
                    <a:lnTo>
                      <a:pt x="72" y="620"/>
                    </a:lnTo>
                    <a:lnTo>
                      <a:pt x="47" y="580"/>
                    </a:lnTo>
                    <a:lnTo>
                      <a:pt x="27" y="538"/>
                    </a:lnTo>
                    <a:lnTo>
                      <a:pt x="12" y="493"/>
                    </a:lnTo>
                    <a:lnTo>
                      <a:pt x="3" y="445"/>
                    </a:lnTo>
                    <a:lnTo>
                      <a:pt x="0" y="396"/>
                    </a:lnTo>
                    <a:lnTo>
                      <a:pt x="3" y="346"/>
                    </a:lnTo>
                    <a:lnTo>
                      <a:pt x="12" y="298"/>
                    </a:lnTo>
                    <a:lnTo>
                      <a:pt x="27" y="253"/>
                    </a:lnTo>
                    <a:lnTo>
                      <a:pt x="47" y="210"/>
                    </a:lnTo>
                    <a:lnTo>
                      <a:pt x="72" y="170"/>
                    </a:lnTo>
                    <a:lnTo>
                      <a:pt x="100" y="134"/>
                    </a:lnTo>
                    <a:lnTo>
                      <a:pt x="134" y="101"/>
                    </a:lnTo>
                    <a:lnTo>
                      <a:pt x="171" y="72"/>
                    </a:lnTo>
                    <a:lnTo>
                      <a:pt x="211" y="47"/>
                    </a:lnTo>
                    <a:lnTo>
                      <a:pt x="255" y="27"/>
                    </a:lnTo>
                    <a:lnTo>
                      <a:pt x="300" y="12"/>
                    </a:lnTo>
                    <a:lnTo>
                      <a:pt x="349" y="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132">
                <a:extLst>
                  <a:ext uri="{FF2B5EF4-FFF2-40B4-BE49-F238E27FC236}">
                    <a16:creationId xmlns:a16="http://schemas.microsoft.com/office/drawing/2014/main" xmlns="" id="{728B48F4-4688-4673-B57F-C4C54841A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" y="283"/>
                <a:ext cx="233" cy="182"/>
              </a:xfrm>
              <a:custGeom>
                <a:avLst/>
                <a:gdLst>
                  <a:gd name="T0" fmla="*/ 200 w 2327"/>
                  <a:gd name="T1" fmla="*/ 0 h 1815"/>
                  <a:gd name="T2" fmla="*/ 479 w 2327"/>
                  <a:gd name="T3" fmla="*/ 1105 h 1815"/>
                  <a:gd name="T4" fmla="*/ 882 w 2327"/>
                  <a:gd name="T5" fmla="*/ 1105 h 1815"/>
                  <a:gd name="T6" fmla="*/ 912 w 2327"/>
                  <a:gd name="T7" fmla="*/ 1044 h 1815"/>
                  <a:gd name="T8" fmla="*/ 1139 w 2327"/>
                  <a:gd name="T9" fmla="*/ 574 h 1815"/>
                  <a:gd name="T10" fmla="*/ 1183 w 2327"/>
                  <a:gd name="T11" fmla="*/ 481 h 1815"/>
                  <a:gd name="T12" fmla="*/ 2327 w 2327"/>
                  <a:gd name="T13" fmla="*/ 481 h 1815"/>
                  <a:gd name="T14" fmla="*/ 2327 w 2327"/>
                  <a:gd name="T15" fmla="*/ 600 h 1815"/>
                  <a:gd name="T16" fmla="*/ 1258 w 2327"/>
                  <a:gd name="T17" fmla="*/ 600 h 1815"/>
                  <a:gd name="T18" fmla="*/ 1132 w 2327"/>
                  <a:gd name="T19" fmla="*/ 861 h 1815"/>
                  <a:gd name="T20" fmla="*/ 1044 w 2327"/>
                  <a:gd name="T21" fmla="*/ 1044 h 1815"/>
                  <a:gd name="T22" fmla="*/ 1015 w 2327"/>
                  <a:gd name="T23" fmla="*/ 1105 h 1815"/>
                  <a:gd name="T24" fmla="*/ 1266 w 2327"/>
                  <a:gd name="T25" fmla="*/ 1105 h 1815"/>
                  <a:gd name="T26" fmla="*/ 1266 w 2327"/>
                  <a:gd name="T27" fmla="*/ 1309 h 1815"/>
                  <a:gd name="T28" fmla="*/ 1122 w 2327"/>
                  <a:gd name="T29" fmla="*/ 1309 h 1815"/>
                  <a:gd name="T30" fmla="*/ 1321 w 2327"/>
                  <a:gd name="T31" fmla="*/ 1760 h 1815"/>
                  <a:gd name="T32" fmla="*/ 1195 w 2327"/>
                  <a:gd name="T33" fmla="*/ 1814 h 1815"/>
                  <a:gd name="T34" fmla="*/ 972 w 2327"/>
                  <a:gd name="T35" fmla="*/ 1309 h 1815"/>
                  <a:gd name="T36" fmla="*/ 630 w 2327"/>
                  <a:gd name="T37" fmla="*/ 1309 h 1815"/>
                  <a:gd name="T38" fmla="*/ 398 w 2327"/>
                  <a:gd name="T39" fmla="*/ 1815 h 1815"/>
                  <a:gd name="T40" fmla="*/ 273 w 2327"/>
                  <a:gd name="T41" fmla="*/ 1759 h 1815"/>
                  <a:gd name="T42" fmla="*/ 480 w 2327"/>
                  <a:gd name="T43" fmla="*/ 1309 h 1815"/>
                  <a:gd name="T44" fmla="*/ 319 w 2327"/>
                  <a:gd name="T45" fmla="*/ 1309 h 1815"/>
                  <a:gd name="T46" fmla="*/ 0 w 2327"/>
                  <a:gd name="T47" fmla="*/ 49 h 1815"/>
                  <a:gd name="T48" fmla="*/ 200 w 2327"/>
                  <a:gd name="T49" fmla="*/ 0 h 1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27" h="1815">
                    <a:moveTo>
                      <a:pt x="200" y="0"/>
                    </a:moveTo>
                    <a:lnTo>
                      <a:pt x="479" y="1105"/>
                    </a:lnTo>
                    <a:lnTo>
                      <a:pt x="882" y="1105"/>
                    </a:lnTo>
                    <a:lnTo>
                      <a:pt x="912" y="1044"/>
                    </a:lnTo>
                    <a:lnTo>
                      <a:pt x="1139" y="574"/>
                    </a:lnTo>
                    <a:lnTo>
                      <a:pt x="1183" y="481"/>
                    </a:lnTo>
                    <a:lnTo>
                      <a:pt x="2327" y="481"/>
                    </a:lnTo>
                    <a:lnTo>
                      <a:pt x="2327" y="600"/>
                    </a:lnTo>
                    <a:lnTo>
                      <a:pt x="1258" y="600"/>
                    </a:lnTo>
                    <a:lnTo>
                      <a:pt x="1132" y="861"/>
                    </a:lnTo>
                    <a:lnTo>
                      <a:pt x="1044" y="1044"/>
                    </a:lnTo>
                    <a:lnTo>
                      <a:pt x="1015" y="1105"/>
                    </a:lnTo>
                    <a:lnTo>
                      <a:pt x="1266" y="1105"/>
                    </a:lnTo>
                    <a:lnTo>
                      <a:pt x="1266" y="1309"/>
                    </a:lnTo>
                    <a:lnTo>
                      <a:pt x="1122" y="1309"/>
                    </a:lnTo>
                    <a:lnTo>
                      <a:pt x="1321" y="1760"/>
                    </a:lnTo>
                    <a:lnTo>
                      <a:pt x="1195" y="1814"/>
                    </a:lnTo>
                    <a:lnTo>
                      <a:pt x="972" y="1309"/>
                    </a:lnTo>
                    <a:lnTo>
                      <a:pt x="630" y="1309"/>
                    </a:lnTo>
                    <a:lnTo>
                      <a:pt x="398" y="1815"/>
                    </a:lnTo>
                    <a:lnTo>
                      <a:pt x="273" y="1759"/>
                    </a:lnTo>
                    <a:lnTo>
                      <a:pt x="480" y="1309"/>
                    </a:lnTo>
                    <a:lnTo>
                      <a:pt x="319" y="1309"/>
                    </a:lnTo>
                    <a:lnTo>
                      <a:pt x="0" y="49"/>
                    </a:lnTo>
                    <a:lnTo>
                      <a:pt x="2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133">
                <a:extLst>
                  <a:ext uri="{FF2B5EF4-FFF2-40B4-BE49-F238E27FC236}">
                    <a16:creationId xmlns:a16="http://schemas.microsoft.com/office/drawing/2014/main" xmlns="" id="{CC8D9B38-3B66-4373-90CB-3896DF531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5" y="247"/>
                <a:ext cx="188" cy="141"/>
              </a:xfrm>
              <a:custGeom>
                <a:avLst/>
                <a:gdLst>
                  <a:gd name="T0" fmla="*/ 1495 w 1883"/>
                  <a:gd name="T1" fmla="*/ 698 h 1409"/>
                  <a:gd name="T2" fmla="*/ 1495 w 1883"/>
                  <a:gd name="T3" fmla="*/ 730 h 1409"/>
                  <a:gd name="T4" fmla="*/ 1707 w 1883"/>
                  <a:gd name="T5" fmla="*/ 730 h 1409"/>
                  <a:gd name="T6" fmla="*/ 1707 w 1883"/>
                  <a:gd name="T7" fmla="*/ 698 h 1409"/>
                  <a:gd name="T8" fmla="*/ 1495 w 1883"/>
                  <a:gd name="T9" fmla="*/ 698 h 1409"/>
                  <a:gd name="T10" fmla="*/ 1412 w 1883"/>
                  <a:gd name="T11" fmla="*/ 698 h 1409"/>
                  <a:gd name="T12" fmla="*/ 1412 w 1883"/>
                  <a:gd name="T13" fmla="*/ 730 h 1409"/>
                  <a:gd name="T14" fmla="*/ 1470 w 1883"/>
                  <a:gd name="T15" fmla="*/ 730 h 1409"/>
                  <a:gd name="T16" fmla="*/ 1470 w 1883"/>
                  <a:gd name="T17" fmla="*/ 698 h 1409"/>
                  <a:gd name="T18" fmla="*/ 1412 w 1883"/>
                  <a:gd name="T19" fmla="*/ 698 h 1409"/>
                  <a:gd name="T20" fmla="*/ 1332 w 1883"/>
                  <a:gd name="T21" fmla="*/ 698 h 1409"/>
                  <a:gd name="T22" fmla="*/ 1332 w 1883"/>
                  <a:gd name="T23" fmla="*/ 730 h 1409"/>
                  <a:gd name="T24" fmla="*/ 1390 w 1883"/>
                  <a:gd name="T25" fmla="*/ 730 h 1409"/>
                  <a:gd name="T26" fmla="*/ 1390 w 1883"/>
                  <a:gd name="T27" fmla="*/ 698 h 1409"/>
                  <a:gd name="T28" fmla="*/ 1332 w 1883"/>
                  <a:gd name="T29" fmla="*/ 698 h 1409"/>
                  <a:gd name="T30" fmla="*/ 760 w 1883"/>
                  <a:gd name="T31" fmla="*/ 686 h 1409"/>
                  <a:gd name="T32" fmla="*/ 760 w 1883"/>
                  <a:gd name="T33" fmla="*/ 714 h 1409"/>
                  <a:gd name="T34" fmla="*/ 873 w 1883"/>
                  <a:gd name="T35" fmla="*/ 727 h 1409"/>
                  <a:gd name="T36" fmla="*/ 871 w 1883"/>
                  <a:gd name="T37" fmla="*/ 694 h 1409"/>
                  <a:gd name="T38" fmla="*/ 760 w 1883"/>
                  <a:gd name="T39" fmla="*/ 686 h 1409"/>
                  <a:gd name="T40" fmla="*/ 1802 w 1883"/>
                  <a:gd name="T41" fmla="*/ 89 h 1409"/>
                  <a:gd name="T42" fmla="*/ 1206 w 1883"/>
                  <a:gd name="T43" fmla="*/ 192 h 1409"/>
                  <a:gd name="T44" fmla="*/ 1168 w 1883"/>
                  <a:gd name="T45" fmla="*/ 622 h 1409"/>
                  <a:gd name="T46" fmla="*/ 1197 w 1883"/>
                  <a:gd name="T47" fmla="*/ 646 h 1409"/>
                  <a:gd name="T48" fmla="*/ 1756 w 1883"/>
                  <a:gd name="T49" fmla="*/ 646 h 1409"/>
                  <a:gd name="T50" fmla="*/ 1802 w 1883"/>
                  <a:gd name="T51" fmla="*/ 89 h 1409"/>
                  <a:gd name="T52" fmla="*/ 1883 w 1883"/>
                  <a:gd name="T53" fmla="*/ 0 h 1409"/>
                  <a:gd name="T54" fmla="*/ 1807 w 1883"/>
                  <a:gd name="T55" fmla="*/ 787 h 1409"/>
                  <a:gd name="T56" fmla="*/ 989 w 1883"/>
                  <a:gd name="T57" fmla="*/ 787 h 1409"/>
                  <a:gd name="T58" fmla="*/ 989 w 1883"/>
                  <a:gd name="T59" fmla="*/ 671 h 1409"/>
                  <a:gd name="T60" fmla="*/ 963 w 1883"/>
                  <a:gd name="T61" fmla="*/ 654 h 1409"/>
                  <a:gd name="T62" fmla="*/ 964 w 1883"/>
                  <a:gd name="T63" fmla="*/ 783 h 1409"/>
                  <a:gd name="T64" fmla="*/ 691 w 1883"/>
                  <a:gd name="T65" fmla="*/ 748 h 1409"/>
                  <a:gd name="T66" fmla="*/ 690 w 1883"/>
                  <a:gd name="T67" fmla="*/ 628 h 1409"/>
                  <a:gd name="T68" fmla="*/ 946 w 1883"/>
                  <a:gd name="T69" fmla="*/ 643 h 1409"/>
                  <a:gd name="T70" fmla="*/ 653 w 1883"/>
                  <a:gd name="T71" fmla="*/ 452 h 1409"/>
                  <a:gd name="T72" fmla="*/ 628 w 1883"/>
                  <a:gd name="T73" fmla="*/ 781 h 1409"/>
                  <a:gd name="T74" fmla="*/ 610 w 1883"/>
                  <a:gd name="T75" fmla="*/ 817 h 1409"/>
                  <a:gd name="T76" fmla="*/ 324 w 1883"/>
                  <a:gd name="T77" fmla="*/ 1409 h 1409"/>
                  <a:gd name="T78" fmla="*/ 0 w 1883"/>
                  <a:gd name="T79" fmla="*/ 1409 h 1409"/>
                  <a:gd name="T80" fmla="*/ 68 w 1883"/>
                  <a:gd name="T81" fmla="*/ 68 h 1409"/>
                  <a:gd name="T82" fmla="*/ 522 w 1883"/>
                  <a:gd name="T83" fmla="*/ 68 h 1409"/>
                  <a:gd name="T84" fmla="*/ 1128 w 1883"/>
                  <a:gd name="T85" fmla="*/ 588 h 1409"/>
                  <a:gd name="T86" fmla="*/ 1171 w 1883"/>
                  <a:gd name="T87" fmla="*/ 125 h 1409"/>
                  <a:gd name="T88" fmla="*/ 1808 w 1883"/>
                  <a:gd name="T89" fmla="*/ 16 h 1409"/>
                  <a:gd name="T90" fmla="*/ 1883 w 1883"/>
                  <a:gd name="T91" fmla="*/ 0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83" h="1409">
                    <a:moveTo>
                      <a:pt x="1495" y="698"/>
                    </a:moveTo>
                    <a:lnTo>
                      <a:pt x="1495" y="730"/>
                    </a:lnTo>
                    <a:lnTo>
                      <a:pt x="1707" y="730"/>
                    </a:lnTo>
                    <a:lnTo>
                      <a:pt x="1707" y="698"/>
                    </a:lnTo>
                    <a:lnTo>
                      <a:pt x="1495" y="698"/>
                    </a:lnTo>
                    <a:close/>
                    <a:moveTo>
                      <a:pt x="1412" y="698"/>
                    </a:moveTo>
                    <a:lnTo>
                      <a:pt x="1412" y="730"/>
                    </a:lnTo>
                    <a:lnTo>
                      <a:pt x="1470" y="730"/>
                    </a:lnTo>
                    <a:lnTo>
                      <a:pt x="1470" y="698"/>
                    </a:lnTo>
                    <a:lnTo>
                      <a:pt x="1412" y="698"/>
                    </a:lnTo>
                    <a:close/>
                    <a:moveTo>
                      <a:pt x="1332" y="698"/>
                    </a:moveTo>
                    <a:lnTo>
                      <a:pt x="1332" y="730"/>
                    </a:lnTo>
                    <a:lnTo>
                      <a:pt x="1390" y="730"/>
                    </a:lnTo>
                    <a:lnTo>
                      <a:pt x="1390" y="698"/>
                    </a:lnTo>
                    <a:lnTo>
                      <a:pt x="1332" y="698"/>
                    </a:lnTo>
                    <a:close/>
                    <a:moveTo>
                      <a:pt x="760" y="686"/>
                    </a:moveTo>
                    <a:lnTo>
                      <a:pt x="760" y="714"/>
                    </a:lnTo>
                    <a:lnTo>
                      <a:pt x="873" y="727"/>
                    </a:lnTo>
                    <a:lnTo>
                      <a:pt x="871" y="694"/>
                    </a:lnTo>
                    <a:lnTo>
                      <a:pt x="760" y="686"/>
                    </a:lnTo>
                    <a:close/>
                    <a:moveTo>
                      <a:pt x="1802" y="89"/>
                    </a:moveTo>
                    <a:lnTo>
                      <a:pt x="1206" y="192"/>
                    </a:lnTo>
                    <a:lnTo>
                      <a:pt x="1168" y="622"/>
                    </a:lnTo>
                    <a:lnTo>
                      <a:pt x="1197" y="646"/>
                    </a:lnTo>
                    <a:lnTo>
                      <a:pt x="1756" y="646"/>
                    </a:lnTo>
                    <a:lnTo>
                      <a:pt x="1802" y="89"/>
                    </a:lnTo>
                    <a:close/>
                    <a:moveTo>
                      <a:pt x="1883" y="0"/>
                    </a:moveTo>
                    <a:lnTo>
                      <a:pt x="1807" y="787"/>
                    </a:lnTo>
                    <a:lnTo>
                      <a:pt x="989" y="787"/>
                    </a:lnTo>
                    <a:lnTo>
                      <a:pt x="989" y="671"/>
                    </a:lnTo>
                    <a:lnTo>
                      <a:pt x="963" y="654"/>
                    </a:lnTo>
                    <a:lnTo>
                      <a:pt x="964" y="783"/>
                    </a:lnTo>
                    <a:lnTo>
                      <a:pt x="691" y="748"/>
                    </a:lnTo>
                    <a:lnTo>
                      <a:pt x="690" y="628"/>
                    </a:lnTo>
                    <a:lnTo>
                      <a:pt x="946" y="643"/>
                    </a:lnTo>
                    <a:lnTo>
                      <a:pt x="653" y="452"/>
                    </a:lnTo>
                    <a:lnTo>
                      <a:pt x="628" y="781"/>
                    </a:lnTo>
                    <a:lnTo>
                      <a:pt x="610" y="817"/>
                    </a:lnTo>
                    <a:lnTo>
                      <a:pt x="324" y="1409"/>
                    </a:lnTo>
                    <a:lnTo>
                      <a:pt x="0" y="1409"/>
                    </a:lnTo>
                    <a:lnTo>
                      <a:pt x="68" y="68"/>
                    </a:lnTo>
                    <a:lnTo>
                      <a:pt x="522" y="68"/>
                    </a:lnTo>
                    <a:lnTo>
                      <a:pt x="1128" y="588"/>
                    </a:lnTo>
                    <a:lnTo>
                      <a:pt x="1171" y="125"/>
                    </a:lnTo>
                    <a:lnTo>
                      <a:pt x="1808" y="16"/>
                    </a:lnTo>
                    <a:lnTo>
                      <a:pt x="188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134">
                <a:extLst>
                  <a:ext uri="{FF2B5EF4-FFF2-40B4-BE49-F238E27FC236}">
                    <a16:creationId xmlns:a16="http://schemas.microsoft.com/office/drawing/2014/main" xmlns="" id="{24D2D4AB-91C4-4E6A-9D28-D3BE994CE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" y="360"/>
                <a:ext cx="72" cy="111"/>
              </a:xfrm>
              <a:custGeom>
                <a:avLst/>
                <a:gdLst>
                  <a:gd name="T0" fmla="*/ 133 w 717"/>
                  <a:gd name="T1" fmla="*/ 0 h 1107"/>
                  <a:gd name="T2" fmla="*/ 717 w 717"/>
                  <a:gd name="T3" fmla="*/ 0 h 1107"/>
                  <a:gd name="T4" fmla="*/ 717 w 717"/>
                  <a:gd name="T5" fmla="*/ 1107 h 1107"/>
                  <a:gd name="T6" fmla="*/ 357 w 717"/>
                  <a:gd name="T7" fmla="*/ 1107 h 1107"/>
                  <a:gd name="T8" fmla="*/ 357 w 717"/>
                  <a:gd name="T9" fmla="*/ 277 h 1107"/>
                  <a:gd name="T10" fmla="*/ 0 w 717"/>
                  <a:gd name="T11" fmla="*/ 277 h 1107"/>
                  <a:gd name="T12" fmla="*/ 133 w 717"/>
                  <a:gd name="T13" fmla="*/ 0 h 1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7" h="1107">
                    <a:moveTo>
                      <a:pt x="133" y="0"/>
                    </a:moveTo>
                    <a:lnTo>
                      <a:pt x="717" y="0"/>
                    </a:lnTo>
                    <a:lnTo>
                      <a:pt x="717" y="1107"/>
                    </a:lnTo>
                    <a:lnTo>
                      <a:pt x="357" y="1107"/>
                    </a:lnTo>
                    <a:lnTo>
                      <a:pt x="357" y="277"/>
                    </a:lnTo>
                    <a:lnTo>
                      <a:pt x="0" y="277"/>
                    </a:lnTo>
                    <a:lnTo>
                      <a:pt x="1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xmlns="" id="{102F7435-AEE3-4063-BA87-582E3B29AD94}"/>
              </a:ext>
            </a:extLst>
          </p:cNvPr>
          <p:cNvGrpSpPr/>
          <p:nvPr/>
        </p:nvGrpSpPr>
        <p:grpSpPr>
          <a:xfrm>
            <a:off x="188757" y="918521"/>
            <a:ext cx="7761911" cy="129833"/>
            <a:chOff x="188757" y="744353"/>
            <a:chExt cx="7761911" cy="129833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xmlns="" id="{EEEE7294-E137-41FD-AE1B-C5DB39A49F50}"/>
                </a:ext>
              </a:extLst>
            </p:cNvPr>
            <p:cNvCxnSpPr/>
            <p:nvPr/>
          </p:nvCxnSpPr>
          <p:spPr>
            <a:xfrm>
              <a:off x="188757" y="744353"/>
              <a:ext cx="324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xmlns="" id="{823F405B-26FF-4B46-A7D7-2BD2B30011C5}"/>
                </a:ext>
              </a:extLst>
            </p:cNvPr>
            <p:cNvCxnSpPr>
              <a:cxnSpLocks/>
            </p:cNvCxnSpPr>
            <p:nvPr/>
          </p:nvCxnSpPr>
          <p:spPr>
            <a:xfrm>
              <a:off x="3426376" y="744758"/>
              <a:ext cx="104819" cy="1294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xmlns="" id="{FA56D1B5-E270-4570-935A-77B7F4480F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0005" y="744353"/>
              <a:ext cx="106616" cy="1252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xmlns="" id="{C5570E6A-1638-4750-A96F-62BD57ED93D3}"/>
                </a:ext>
              </a:extLst>
            </p:cNvPr>
            <p:cNvCxnSpPr/>
            <p:nvPr/>
          </p:nvCxnSpPr>
          <p:spPr>
            <a:xfrm>
              <a:off x="3630668" y="744353"/>
              <a:ext cx="43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6D806125-64A9-4655-8315-4D4E1FE8004C}"/>
              </a:ext>
            </a:extLst>
          </p:cNvPr>
          <p:cNvGrpSpPr/>
          <p:nvPr/>
        </p:nvGrpSpPr>
        <p:grpSpPr>
          <a:xfrm>
            <a:off x="132272" y="345877"/>
            <a:ext cx="3728528" cy="554067"/>
            <a:chOff x="105768" y="92197"/>
            <a:chExt cx="3066582" cy="554067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xmlns="" id="{15B41DB7-8283-4247-89A7-C919C60FF3B5}"/>
                </a:ext>
              </a:extLst>
            </p:cNvPr>
            <p:cNvSpPr/>
            <p:nvPr/>
          </p:nvSpPr>
          <p:spPr>
            <a:xfrm>
              <a:off x="653485" y="93060"/>
              <a:ext cx="2518865" cy="5532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00" marR="0" lvl="0" indent="0" algn="l" defTabSz="914400" rtl="0" eaLnBrk="0" fontAlgn="base" latinLnBrk="0" hangingPunct="0">
                <a:lnSpc>
                  <a:spcPts val="17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NZ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013799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obotic Process Automation (RPA)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xmlns="" id="{7B0E1532-66A6-47A7-9B2E-20F9B7E3B7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5768" y="92197"/>
              <a:ext cx="468000" cy="468000"/>
              <a:chOff x="86139" y="157681"/>
              <a:chExt cx="408665" cy="408665"/>
            </a:xfrm>
          </p:grpSpPr>
          <p:sp>
            <p:nvSpPr>
              <p:cNvPr id="94" name="Teardrop 93">
                <a:extLst>
                  <a:ext uri="{FF2B5EF4-FFF2-40B4-BE49-F238E27FC236}">
                    <a16:creationId xmlns:a16="http://schemas.microsoft.com/office/drawing/2014/main" xmlns="" id="{A01FB404-455E-414A-B1DB-79096A435522}"/>
                  </a:ext>
                </a:extLst>
              </p:cNvPr>
              <p:cNvSpPr/>
              <p:nvPr/>
            </p:nvSpPr>
            <p:spPr bwMode="ltGray">
              <a:xfrm rot="5400000">
                <a:off x="86139" y="157681"/>
                <a:ext cx="408665" cy="408665"/>
              </a:xfrm>
              <a:prstGeom prst="teardrop">
                <a:avLst/>
              </a:pr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xmlns="" id="{E19404B2-305C-413B-ACE8-448EDF805A9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5749" y="228682"/>
                <a:ext cx="291702" cy="280107"/>
                <a:chOff x="3347557" y="2113640"/>
                <a:chExt cx="1986175" cy="1907228"/>
              </a:xfrm>
            </p:grpSpPr>
            <p:pic>
              <p:nvPicPr>
                <p:cNvPr id="96" name="Picture 95">
                  <a:extLst>
                    <a:ext uri="{FF2B5EF4-FFF2-40B4-BE49-F238E27FC236}">
                      <a16:creationId xmlns:a16="http://schemas.microsoft.com/office/drawing/2014/main" xmlns="" id="{DA233E2D-D70D-4ABA-AC99-8B471A7F16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/>
                <a:srcRect l="32770" t="44073" r="1231"/>
                <a:stretch/>
              </p:blipFill>
              <p:spPr>
                <a:xfrm>
                  <a:off x="3347557" y="2113640"/>
                  <a:ext cx="1986175" cy="1907228"/>
                </a:xfrm>
                <a:prstGeom prst="ellipse">
                  <a:avLst/>
                </a:prstGeom>
              </p:spPr>
            </p:pic>
            <p:sp>
              <p:nvSpPr>
                <p:cNvPr id="97" name="Isosceles Triangle 96">
                  <a:extLst>
                    <a:ext uri="{FF2B5EF4-FFF2-40B4-BE49-F238E27FC236}">
                      <a16:creationId xmlns:a16="http://schemas.microsoft.com/office/drawing/2014/main" xmlns="" id="{CAA609A9-B61C-4738-B7D2-F399792FDD24}"/>
                    </a:ext>
                  </a:extLst>
                </p:cNvPr>
                <p:cNvSpPr/>
                <p:nvPr/>
              </p:nvSpPr>
              <p:spPr>
                <a:xfrm rot="5400000">
                  <a:off x="4150960" y="2833248"/>
                  <a:ext cx="540001" cy="467999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NZ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FAF84DE0-C86F-48FF-BC33-5EABCD5D4D3B}"/>
              </a:ext>
            </a:extLst>
          </p:cNvPr>
          <p:cNvSpPr/>
          <p:nvPr/>
        </p:nvSpPr>
        <p:spPr>
          <a:xfrm>
            <a:off x="915862" y="3467385"/>
            <a:ext cx="8202525" cy="17549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>
              <a:spcAft>
                <a:spcPts val="600"/>
              </a:spcAft>
            </a:pPr>
            <a:r>
              <a:rPr lang="en-NZ" b="1" dirty="0">
                <a:latin typeface="Arial Black" panose="020B0A04020102020204" pitchFamily="34" charset="0"/>
              </a:rPr>
              <a:t>Fast Facts</a:t>
            </a:r>
          </a:p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sz="1200" dirty="0"/>
              <a:t>RPA employs a variety of tools for grabbing digital data, e.g. screen scraping, digital image recognition, or the ability to access a server or be linked to a website</a:t>
            </a:r>
          </a:p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sz="1200" dirty="0"/>
              <a:t>It is considered a ‘digital workforce’ controlled by the business teams</a:t>
            </a:r>
          </a:p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sz="1200" dirty="0"/>
              <a:t>RPA does not disturb underlying computer systems. A “bot” accesses the existing systems and programs in the same way a person would.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xmlns="" id="{76D05A41-C139-4057-827F-A26097A2609B}"/>
              </a:ext>
            </a:extLst>
          </p:cNvPr>
          <p:cNvSpPr/>
          <p:nvPr/>
        </p:nvSpPr>
        <p:spPr>
          <a:xfrm rot="749960">
            <a:off x="8067652" y="136417"/>
            <a:ext cx="1583858" cy="1494395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endParaRPr lang="en-NZ" sz="2000" b="1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C56E036F-BD26-41F0-8B6A-D68E2008234B}"/>
              </a:ext>
            </a:extLst>
          </p:cNvPr>
          <p:cNvSpPr txBox="1"/>
          <p:nvPr/>
        </p:nvSpPr>
        <p:spPr>
          <a:xfrm rot="1050187">
            <a:off x="7962124" y="715278"/>
            <a:ext cx="190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ployed</a:t>
            </a:r>
          </a:p>
        </p:txBody>
      </p:sp>
    </p:spTree>
    <p:extLst>
      <p:ext uri="{BB962C8B-B14F-4D97-AF65-F5344CB8AC3E}">
        <p14:creationId xmlns:p14="http://schemas.microsoft.com/office/powerpoint/2010/main" val="4014166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  <p:bldP spid="10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1EE359E-29DC-4497-B047-D69DB42E3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6053"/>
            <a:ext cx="9906000" cy="5792787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xmlns="" id="{686B91D0-90F9-4EA7-BFE9-C889DFB09E21}"/>
              </a:ext>
            </a:extLst>
          </p:cNvPr>
          <p:cNvSpPr/>
          <p:nvPr/>
        </p:nvSpPr>
        <p:spPr>
          <a:xfrm rot="20542840">
            <a:off x="798171" y="4952257"/>
            <a:ext cx="1583858" cy="1494395"/>
          </a:xfrm>
          <a:prstGeom prst="ellips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endParaRPr lang="en-NZ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4F36A67-CF29-4142-8037-62AC13319486}"/>
              </a:ext>
            </a:extLst>
          </p:cNvPr>
          <p:cNvSpPr txBox="1"/>
          <p:nvPr/>
        </p:nvSpPr>
        <p:spPr>
          <a:xfrm rot="20843067">
            <a:off x="626495" y="5392620"/>
            <a:ext cx="1904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of of Concept</a:t>
            </a:r>
          </a:p>
        </p:txBody>
      </p:sp>
    </p:spTree>
    <p:extLst>
      <p:ext uri="{BB962C8B-B14F-4D97-AF65-F5344CB8AC3E}">
        <p14:creationId xmlns:p14="http://schemas.microsoft.com/office/powerpoint/2010/main" val="222815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5E70CFB-BA9F-4269-976F-968CADAEA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The E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40ECB29-1410-4A35-A233-8996C02783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Z" sz="2000" dirty="0"/>
          </a:p>
          <a:p>
            <a:endParaRPr lang="en-NZ" sz="2000" dirty="0"/>
          </a:p>
          <a:p>
            <a:r>
              <a:rPr lang="en-NZ" sz="2000" dirty="0"/>
              <a:t>Questions?</a:t>
            </a:r>
          </a:p>
        </p:txBody>
      </p:sp>
      <p:pic>
        <p:nvPicPr>
          <p:cNvPr id="5" name="Picture 4" descr="A picture containing person, smiling, wall, indoor&#10;&#10;Description generated with very high confidence">
            <a:extLst>
              <a:ext uri="{FF2B5EF4-FFF2-40B4-BE49-F238E27FC236}">
                <a16:creationId xmlns:a16="http://schemas.microsoft.com/office/drawing/2014/main" xmlns="" id="{4FF62B9D-55BE-4081-82C6-0E525EC1A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9906001" cy="68977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EA98961-E94D-4F56-BF4A-C29E6EB68608}"/>
              </a:ext>
            </a:extLst>
          </p:cNvPr>
          <p:cNvSpPr txBox="1"/>
          <p:nvPr/>
        </p:nvSpPr>
        <p:spPr>
          <a:xfrm>
            <a:off x="431800" y="5254561"/>
            <a:ext cx="837519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7000" b="1" dirty="0">
                <a:solidFill>
                  <a:schemeClr val="accent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The End…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79883959-DEE6-4B50-A232-5E19B217CCFC}"/>
              </a:ext>
            </a:extLst>
          </p:cNvPr>
          <p:cNvSpPr/>
          <p:nvPr/>
        </p:nvSpPr>
        <p:spPr>
          <a:xfrm rot="20595291">
            <a:off x="899885" y="3238152"/>
            <a:ext cx="2160000" cy="2160000"/>
          </a:xfrm>
          <a:prstGeom prst="ellipse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NZ" sz="2000" b="1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36869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flower&#10;&#10;Description generated with high confidence">
            <a:extLst>
              <a:ext uri="{FF2B5EF4-FFF2-40B4-BE49-F238E27FC236}">
                <a16:creationId xmlns:a16="http://schemas.microsoft.com/office/drawing/2014/main" xmlns="" id="{B5334832-677C-4346-9F1B-B5E532C41D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xmlns="" id="{36EC92A3-FE32-422C-8BCD-5EAE93E02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nt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93BD486-D615-4168-A4D6-8A8D2AE30A4E}"/>
              </a:ext>
            </a:extLst>
          </p:cNvPr>
          <p:cNvSpPr/>
          <p:nvPr/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Z" sz="2400" dirty="0">
                <a:ln w="0"/>
                <a:solidFill>
                  <a:srgbClr val="01369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o big, go global:</a:t>
            </a:r>
          </a:p>
          <a:p>
            <a:pPr algn="ctr"/>
            <a:r>
              <a:rPr lang="en-NZ" sz="2400" dirty="0">
                <a:ln w="0"/>
                <a:solidFill>
                  <a:srgbClr val="01369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our journey to go live with </a:t>
            </a:r>
          </a:p>
          <a:p>
            <a:pPr algn="ctr"/>
            <a:endParaRPr lang="en-NZ" sz="2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NZ" sz="2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ccessfactors</a:t>
            </a:r>
            <a:r>
              <a:rPr lang="en-NZ" sz="2400" dirty="0">
                <a:ln w="0"/>
                <a:solidFill>
                  <a:srgbClr val="01369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 </a:t>
            </a:r>
          </a:p>
          <a:p>
            <a:pPr algn="ctr"/>
            <a:endParaRPr lang="en-NZ" sz="2400" dirty="0">
              <a:ln w="0"/>
              <a:solidFill>
                <a:srgbClr val="01369B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NZ" sz="2400" dirty="0">
                <a:ln w="0"/>
                <a:solidFill>
                  <a:srgbClr val="01369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hat happened next?</a:t>
            </a:r>
          </a:p>
          <a:p>
            <a:pPr algn="ctr"/>
            <a:endParaRPr lang="en-NZ" sz="2400" dirty="0">
              <a:ln w="0"/>
              <a:solidFill>
                <a:srgbClr val="01369B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NZ" sz="2400" dirty="0">
                <a:ln w="0"/>
                <a:solidFill>
                  <a:srgbClr val="01369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hat is in the future?</a:t>
            </a:r>
          </a:p>
        </p:txBody>
      </p:sp>
      <p:sp>
        <p:nvSpPr>
          <p:cNvPr id="11" name="Heart 10">
            <a:extLst>
              <a:ext uri="{FF2B5EF4-FFF2-40B4-BE49-F238E27FC236}">
                <a16:creationId xmlns:a16="http://schemas.microsoft.com/office/drawing/2014/main" xmlns="" id="{D7252520-8989-4782-813B-C7C6A3FEB566}"/>
              </a:ext>
            </a:extLst>
          </p:cNvPr>
          <p:cNvSpPr/>
          <p:nvPr/>
        </p:nvSpPr>
        <p:spPr>
          <a:xfrm>
            <a:off x="8548158" y="3183468"/>
            <a:ext cx="254000" cy="186267"/>
          </a:xfrm>
          <a:prstGeom prst="hear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245819C2-F977-4B9F-A6A2-4EC74E75A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NZ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51867AF8-6249-48F3-A229-A699C6D2F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9906001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1FFBAEF-B986-442F-8154-36501F5A9FEA}"/>
              </a:ext>
            </a:extLst>
          </p:cNvPr>
          <p:cNvSpPr/>
          <p:nvPr/>
        </p:nvSpPr>
        <p:spPr>
          <a:xfrm>
            <a:off x="7162800" y="0"/>
            <a:ext cx="2743200" cy="6858000"/>
          </a:xfrm>
          <a:prstGeom prst="rect">
            <a:avLst/>
          </a:prstGeom>
          <a:solidFill>
            <a:srgbClr val="013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BD2A56C-2372-4F4F-B992-B4933AEDB446}"/>
              </a:ext>
            </a:extLst>
          </p:cNvPr>
          <p:cNvSpPr txBox="1"/>
          <p:nvPr/>
        </p:nvSpPr>
        <p:spPr>
          <a:xfrm>
            <a:off x="7222067" y="807045"/>
            <a:ext cx="2743200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NZ" sz="20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Global Dairy Co-op </a:t>
            </a:r>
          </a:p>
          <a:p>
            <a:endParaRPr lang="en-NZ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Manufacturing B2B,  B2C, Research &amp; Innovation</a:t>
            </a:r>
          </a:p>
          <a:p>
            <a:endParaRPr lang="en-NZ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Farmer owned </a:t>
            </a:r>
          </a:p>
          <a:p>
            <a:r>
              <a:rPr lang="en-NZ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10.5k farmers</a:t>
            </a:r>
          </a:p>
          <a:p>
            <a:endParaRPr lang="en-NZ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Volume of Milk FY17:  </a:t>
            </a:r>
            <a:r>
              <a:rPr lang="en-NZ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23b LME</a:t>
            </a:r>
          </a:p>
          <a:p>
            <a:endParaRPr lang="en-NZ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r>
              <a:rPr lang="en-NZ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What we stand for:</a:t>
            </a:r>
          </a:p>
          <a:p>
            <a:pPr>
              <a:spcAft>
                <a:spcPts val="600"/>
              </a:spcAft>
            </a:pPr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Our People </a:t>
            </a:r>
          </a:p>
          <a:p>
            <a:pPr>
              <a:spcAft>
                <a:spcPts val="600"/>
              </a:spcAft>
            </a:pPr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Our Farmers </a:t>
            </a:r>
          </a:p>
          <a:p>
            <a:pPr>
              <a:spcAft>
                <a:spcPts val="600"/>
              </a:spcAft>
            </a:pPr>
            <a:r>
              <a:rPr lang="en-NZ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Trust in Dairy Sustainability and more… </a:t>
            </a:r>
          </a:p>
          <a:p>
            <a:endParaRPr lang="en-NZ" sz="12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E8DF348-9147-48C2-8128-C35F4E3B1550}"/>
              </a:ext>
            </a:extLst>
          </p:cNvPr>
          <p:cNvSpPr txBox="1"/>
          <p:nvPr/>
        </p:nvSpPr>
        <p:spPr>
          <a:xfrm>
            <a:off x="313266" y="807045"/>
            <a:ext cx="5898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400" b="1" dirty="0">
                <a:solidFill>
                  <a:srgbClr val="01369B"/>
                </a:solidFill>
                <a:latin typeface="Arial" pitchFamily="34" charset="0"/>
                <a:cs typeface="Arial" pitchFamily="34" charset="0"/>
              </a:rPr>
              <a:t>The world’s most trusted source of diary nutri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165471B-E1F1-4263-ABBD-4220EA3F7E73}"/>
              </a:ext>
            </a:extLst>
          </p:cNvPr>
          <p:cNvSpPr txBox="1"/>
          <p:nvPr/>
        </p:nvSpPr>
        <p:spPr>
          <a:xfrm>
            <a:off x="431800" y="37604"/>
            <a:ext cx="589809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4400" b="1" dirty="0">
                <a:solidFill>
                  <a:srgbClr val="01369B"/>
                </a:solidFill>
                <a:latin typeface="Arial" pitchFamily="34" charset="0"/>
                <a:cs typeface="Arial" pitchFamily="34" charset="0"/>
              </a:rPr>
              <a:t>Who are we? </a:t>
            </a:r>
          </a:p>
        </p:txBody>
      </p:sp>
    </p:spTree>
    <p:extLst>
      <p:ext uri="{BB962C8B-B14F-4D97-AF65-F5344CB8AC3E}">
        <p14:creationId xmlns:p14="http://schemas.microsoft.com/office/powerpoint/2010/main" val="3831601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flower&#10;&#10;Description generated with high confidence">
            <a:extLst>
              <a:ext uri="{FF2B5EF4-FFF2-40B4-BE49-F238E27FC236}">
                <a16:creationId xmlns:a16="http://schemas.microsoft.com/office/drawing/2014/main" xmlns="" id="{C3E33BC2-B34C-4CA5-93B2-4E1740E444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736BD50-3A64-4551-8424-79B1742C997A}"/>
              </a:ext>
            </a:extLst>
          </p:cNvPr>
          <p:cNvSpPr/>
          <p:nvPr/>
        </p:nvSpPr>
        <p:spPr>
          <a:xfrm>
            <a:off x="0" y="3536950"/>
            <a:ext cx="9905999" cy="3321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sz="2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84996BE-4F9D-4AC9-A964-12B566CDCFC8}"/>
              </a:ext>
            </a:extLst>
          </p:cNvPr>
          <p:cNvSpPr txBox="1"/>
          <p:nvPr/>
        </p:nvSpPr>
        <p:spPr>
          <a:xfrm>
            <a:off x="404784" y="4030331"/>
            <a:ext cx="9066241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Tina Lundkvist</a:t>
            </a:r>
          </a:p>
          <a:p>
            <a:r>
              <a:rPr lang="en-NZ" dirty="0">
                <a:latin typeface="Arial" pitchFamily="34" charset="0"/>
                <a:cs typeface="Arial" pitchFamily="34" charset="0"/>
              </a:rPr>
              <a:t>HR Systems &amp; Analytics Manager</a:t>
            </a:r>
          </a:p>
          <a:p>
            <a:endParaRPr lang="en-NZ" dirty="0">
              <a:latin typeface="Arial" pitchFamily="34" charset="0"/>
              <a:cs typeface="Arial" pitchFamily="34" charset="0"/>
            </a:endParaRPr>
          </a:p>
          <a:p>
            <a:r>
              <a:rPr lang="en-NZ" dirty="0">
                <a:latin typeface="Arial" pitchFamily="34" charset="0"/>
                <a:cs typeface="Arial" pitchFamily="34" charset="0"/>
              </a:rPr>
              <a:t>With Fonterra for 7 years</a:t>
            </a:r>
          </a:p>
          <a:p>
            <a:endParaRPr lang="en-NZ" dirty="0">
              <a:latin typeface="Arial" pitchFamily="34" charset="0"/>
              <a:cs typeface="Arial" pitchFamily="34" charset="0"/>
            </a:endParaRPr>
          </a:p>
          <a:p>
            <a:r>
              <a:rPr lang="en-NZ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Key Experience: </a:t>
            </a:r>
          </a:p>
          <a:p>
            <a:pPr>
              <a:spcAft>
                <a:spcPts val="600"/>
              </a:spcAft>
            </a:pPr>
            <a:r>
              <a:rPr lang="en-NZ" dirty="0">
                <a:latin typeface="Arial" pitchFamily="34" charset="0"/>
                <a:cs typeface="Arial" pitchFamily="34" charset="0"/>
              </a:rPr>
              <a:t>Systems, Analytics &amp; Data governance, Finance,</a:t>
            </a:r>
          </a:p>
          <a:p>
            <a:pPr>
              <a:spcAft>
                <a:spcPts val="600"/>
              </a:spcAft>
            </a:pPr>
            <a:r>
              <a:rPr lang="en-NZ" dirty="0">
                <a:latin typeface="Arial" pitchFamily="34" charset="0"/>
                <a:cs typeface="Arial" pitchFamily="34" charset="0"/>
              </a:rPr>
              <a:t>Project &amp; Process leadership and HR</a:t>
            </a:r>
          </a:p>
          <a:p>
            <a:pPr>
              <a:spcAft>
                <a:spcPts val="600"/>
              </a:spcAft>
            </a:pPr>
            <a:r>
              <a:rPr lang="en-NZ" dirty="0">
                <a:latin typeface="Arial" pitchFamily="34" charset="0"/>
                <a:cs typeface="Arial" pitchFamily="34" charset="0"/>
              </a:rPr>
              <a:t>In the banking and dairy industr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CBEC345B-5546-4A9E-8C0F-E74B37E2B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4" y="227013"/>
            <a:ext cx="7024716" cy="927100"/>
          </a:xfrm>
        </p:spPr>
        <p:txBody>
          <a:bodyPr/>
          <a:lstStyle/>
          <a:p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Introductions</a:t>
            </a:r>
          </a:p>
        </p:txBody>
      </p:sp>
      <p:pic>
        <p:nvPicPr>
          <p:cNvPr id="12" name="Picture 11" descr="A person wearing glasses and smiling at the camera&#10;&#10;Description generated with very high confidence">
            <a:extLst>
              <a:ext uri="{FF2B5EF4-FFF2-40B4-BE49-F238E27FC236}">
                <a16:creationId xmlns:a16="http://schemas.microsoft.com/office/drawing/2014/main" xmlns="" id="{DB041619-C565-40F8-9BCA-C95DE08A6E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1166" y="3882545"/>
            <a:ext cx="2629860" cy="262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353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23D93E2E-90EF-414C-BE8A-0A5E8A187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4975" y="2103438"/>
            <a:ext cx="6846696" cy="1470025"/>
          </a:xfrm>
        </p:spPr>
        <p:txBody>
          <a:bodyPr/>
          <a:lstStyle/>
          <a:p>
            <a:r>
              <a:rPr lang="en-NZ" sz="2800" dirty="0"/>
              <a:t>The MY Fonterra (Successfactors) </a:t>
            </a:r>
            <a:br>
              <a:rPr lang="en-NZ" sz="2800" dirty="0"/>
            </a:br>
            <a:r>
              <a:rPr lang="en-NZ" sz="2800" dirty="0"/>
              <a:t>Employee Central Deployment Deep Dive</a:t>
            </a:r>
            <a:r>
              <a:rPr lang="en-NZ" dirty="0"/>
              <a:t/>
            </a:r>
            <a:br>
              <a:rPr lang="en-NZ" dirty="0"/>
            </a:br>
            <a:endParaRPr lang="en-NZ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xmlns="" id="{F952FBC1-ADA1-442F-8BAF-6B2F822753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4975" y="3497978"/>
            <a:ext cx="4310325" cy="337196"/>
          </a:xfrm>
        </p:spPr>
        <p:txBody>
          <a:bodyPr>
            <a:normAutofit/>
          </a:bodyPr>
          <a:lstStyle/>
          <a:p>
            <a:r>
              <a:rPr lang="en-NZ" dirty="0"/>
              <a:t>Sucessfactors Journey</a:t>
            </a:r>
          </a:p>
        </p:txBody>
      </p:sp>
    </p:spTree>
    <p:extLst>
      <p:ext uri="{BB962C8B-B14F-4D97-AF65-F5344CB8AC3E}">
        <p14:creationId xmlns:p14="http://schemas.microsoft.com/office/powerpoint/2010/main" val="413201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9455F9F-3E74-4373-8112-967174DFD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572346"/>
            <a:ext cx="7024716" cy="627379"/>
          </a:xfrm>
        </p:spPr>
        <p:txBody>
          <a:bodyPr/>
          <a:lstStyle/>
          <a:p>
            <a:r>
              <a:rPr lang="en-NZ" dirty="0"/>
              <a:t>Fonterra Successfactors Journey</a:t>
            </a:r>
          </a:p>
        </p:txBody>
      </p:sp>
      <p:sp>
        <p:nvSpPr>
          <p:cNvPr id="6" name="Freeform 21">
            <a:extLst>
              <a:ext uri="{FF2B5EF4-FFF2-40B4-BE49-F238E27FC236}">
                <a16:creationId xmlns:a16="http://schemas.microsoft.com/office/drawing/2014/main" xmlns="" id="{274700F0-F343-4687-BC32-0B6A63870388}"/>
              </a:ext>
            </a:extLst>
          </p:cNvPr>
          <p:cNvSpPr>
            <a:spLocks/>
          </p:cNvSpPr>
          <p:nvPr/>
        </p:nvSpPr>
        <p:spPr bwMode="auto">
          <a:xfrm>
            <a:off x="240004" y="2479821"/>
            <a:ext cx="8599195" cy="2336003"/>
          </a:xfrm>
          <a:custGeom>
            <a:avLst/>
            <a:gdLst>
              <a:gd name="T0" fmla="*/ 0 w 2828"/>
              <a:gd name="T1" fmla="*/ 856 h 1032"/>
              <a:gd name="T2" fmla="*/ 660 w 2828"/>
              <a:gd name="T3" fmla="*/ 540 h 1032"/>
              <a:gd name="T4" fmla="*/ 1232 w 2828"/>
              <a:gd name="T5" fmla="*/ 720 h 1032"/>
              <a:gd name="T6" fmla="*/ 1772 w 2828"/>
              <a:gd name="T7" fmla="*/ 320 h 1032"/>
              <a:gd name="T8" fmla="*/ 2315 w 2828"/>
              <a:gd name="T9" fmla="*/ 479 h 1032"/>
              <a:gd name="T10" fmla="*/ 2828 w 2828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28" h="1032">
                <a:moveTo>
                  <a:pt x="0" y="856"/>
                </a:moveTo>
                <a:cubicBezTo>
                  <a:pt x="420" y="1032"/>
                  <a:pt x="464" y="536"/>
                  <a:pt x="660" y="540"/>
                </a:cubicBezTo>
                <a:cubicBezTo>
                  <a:pt x="856" y="544"/>
                  <a:pt x="976" y="736"/>
                  <a:pt x="1232" y="720"/>
                </a:cubicBezTo>
                <a:cubicBezTo>
                  <a:pt x="1488" y="704"/>
                  <a:pt x="1508" y="352"/>
                  <a:pt x="1772" y="320"/>
                </a:cubicBezTo>
                <a:cubicBezTo>
                  <a:pt x="2036" y="288"/>
                  <a:pt x="2063" y="491"/>
                  <a:pt x="2315" y="479"/>
                </a:cubicBezTo>
                <a:cubicBezTo>
                  <a:pt x="2567" y="467"/>
                  <a:pt x="2572" y="84"/>
                  <a:pt x="2828" y="0"/>
                </a:cubicBezTo>
              </a:path>
            </a:pathLst>
          </a:custGeom>
          <a:noFill/>
          <a:ln w="15875" cap="flat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533" tIns="44767" rIns="89533" bIns="44767" numCol="1" anchor="t" anchorCtr="0" compatLnSpc="1">
            <a:prstTxWarp prst="textNoShape">
              <a:avLst/>
            </a:prstTxWarp>
          </a:bodyPr>
          <a:lstStyle/>
          <a:p>
            <a:endParaRPr lang="en-US" sz="1892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AC57F15-DF59-477D-BBF7-C0680E0A0B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710215"/>
            <a:ext cx="9039225" cy="4924425"/>
          </a:xfrm>
        </p:spPr>
        <p:txBody>
          <a:bodyPr/>
          <a:lstStyle/>
          <a:p>
            <a:pPr>
              <a:spcBef>
                <a:spcPts val="600"/>
              </a:spcBef>
            </a:pPr>
            <a:endParaRPr lang="en-NZ" sz="1400" dirty="0"/>
          </a:p>
          <a:p>
            <a:pPr>
              <a:spcBef>
                <a:spcPts val="600"/>
              </a:spcBef>
            </a:pPr>
            <a:endParaRPr lang="en-NZ" sz="1400" dirty="0"/>
          </a:p>
          <a:p>
            <a:pPr>
              <a:spcBef>
                <a:spcPts val="600"/>
              </a:spcBef>
            </a:pPr>
            <a:endParaRPr lang="en-NZ" sz="1400" dirty="0"/>
          </a:p>
          <a:p>
            <a:pPr>
              <a:spcBef>
                <a:spcPts val="600"/>
              </a:spcBef>
            </a:pPr>
            <a:endParaRPr lang="en-NZ" sz="1400" dirty="0"/>
          </a:p>
          <a:p>
            <a:pPr>
              <a:spcBef>
                <a:spcPts val="600"/>
              </a:spcBef>
            </a:pPr>
            <a:endParaRPr lang="en-NZ" sz="1400" dirty="0"/>
          </a:p>
          <a:p>
            <a:pPr>
              <a:spcBef>
                <a:spcPts val="600"/>
              </a:spcBef>
            </a:pPr>
            <a:endParaRPr lang="en-NZ" sz="14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3DACB08-8804-4813-98EE-6148DED405EA}"/>
              </a:ext>
            </a:extLst>
          </p:cNvPr>
          <p:cNvCxnSpPr>
            <a:cxnSpLocks/>
          </p:cNvCxnSpPr>
          <p:nvPr/>
        </p:nvCxnSpPr>
        <p:spPr>
          <a:xfrm flipH="1" flipV="1">
            <a:off x="3922062" y="3419329"/>
            <a:ext cx="1" cy="35499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3EAD44E-B627-43AD-BCF9-8CCCFC27DB3C}"/>
              </a:ext>
            </a:extLst>
          </p:cNvPr>
          <p:cNvCxnSpPr>
            <a:cxnSpLocks/>
          </p:cNvCxnSpPr>
          <p:nvPr/>
        </p:nvCxnSpPr>
        <p:spPr>
          <a:xfrm flipV="1">
            <a:off x="1249903" y="3130617"/>
            <a:ext cx="0" cy="99001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EAD91F6B-F8FD-4047-AF96-D6CFDAF86254}"/>
              </a:ext>
            </a:extLst>
          </p:cNvPr>
          <p:cNvGrpSpPr/>
          <p:nvPr/>
        </p:nvGrpSpPr>
        <p:grpSpPr>
          <a:xfrm rot="546247">
            <a:off x="8401839" y="2059791"/>
            <a:ext cx="1026908" cy="616140"/>
            <a:chOff x="10452101" y="1779589"/>
            <a:chExt cx="365125" cy="219075"/>
          </a:xfrm>
        </p:grpSpPr>
        <p:sp>
          <p:nvSpPr>
            <p:cNvPr id="12" name="Freeform 22">
              <a:extLst>
                <a:ext uri="{FF2B5EF4-FFF2-40B4-BE49-F238E27FC236}">
                  <a16:creationId xmlns:a16="http://schemas.microsoft.com/office/drawing/2014/main" xmlns="" id="{282DF57E-29F5-433F-9212-F32B3A4E2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526" y="1900239"/>
              <a:ext cx="112713" cy="98425"/>
            </a:xfrm>
            <a:custGeom>
              <a:avLst/>
              <a:gdLst>
                <a:gd name="T0" fmla="*/ 71 w 71"/>
                <a:gd name="T1" fmla="*/ 3 h 62"/>
                <a:gd name="T2" fmla="*/ 0 w 71"/>
                <a:gd name="T3" fmla="*/ 62 h 62"/>
                <a:gd name="T4" fmla="*/ 14 w 71"/>
                <a:gd name="T5" fmla="*/ 0 h 62"/>
                <a:gd name="T6" fmla="*/ 71 w 71"/>
                <a:gd name="T7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62">
                  <a:moveTo>
                    <a:pt x="71" y="3"/>
                  </a:moveTo>
                  <a:lnTo>
                    <a:pt x="0" y="62"/>
                  </a:lnTo>
                  <a:lnTo>
                    <a:pt x="14" y="0"/>
                  </a:lnTo>
                  <a:lnTo>
                    <a:pt x="71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7" rIns="89533" bIns="44767" numCol="1" anchor="t" anchorCtr="0" compatLnSpc="1">
              <a:prstTxWarp prst="textNoShape">
                <a:avLst/>
              </a:prstTxWarp>
            </a:bodyPr>
            <a:lstStyle/>
            <a:p>
              <a:endParaRPr lang="en-US" sz="1892" dirty="0"/>
            </a:p>
          </p:txBody>
        </p: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xmlns="" id="{ADA2268E-F77F-4C64-A13F-CAB15E5FA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2101" y="1779589"/>
              <a:ext cx="365125" cy="188913"/>
            </a:xfrm>
            <a:custGeom>
              <a:avLst/>
              <a:gdLst>
                <a:gd name="T0" fmla="*/ 230 w 230"/>
                <a:gd name="T1" fmla="*/ 0 h 119"/>
                <a:gd name="T2" fmla="*/ 0 w 230"/>
                <a:gd name="T3" fmla="*/ 26 h 119"/>
                <a:gd name="T4" fmla="*/ 140 w 230"/>
                <a:gd name="T5" fmla="*/ 119 h 119"/>
                <a:gd name="T6" fmla="*/ 230 w 230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0" h="119">
                  <a:moveTo>
                    <a:pt x="230" y="0"/>
                  </a:moveTo>
                  <a:lnTo>
                    <a:pt x="0" y="26"/>
                  </a:lnTo>
                  <a:lnTo>
                    <a:pt x="140" y="119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7" rIns="89533" bIns="44767" numCol="1" anchor="t" anchorCtr="0" compatLnSpc="1">
              <a:prstTxWarp prst="textNoShape">
                <a:avLst/>
              </a:prstTxWarp>
            </a:bodyPr>
            <a:lstStyle/>
            <a:p>
              <a:endParaRPr lang="en-US" sz="1892" dirty="0"/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xmlns="" id="{429CEB5C-A4CA-4B21-A3AD-38419DB21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6" y="1792289"/>
              <a:ext cx="258763" cy="206375"/>
            </a:xfrm>
            <a:custGeom>
              <a:avLst/>
              <a:gdLst>
                <a:gd name="T0" fmla="*/ 163 w 163"/>
                <a:gd name="T1" fmla="*/ 0 h 130"/>
                <a:gd name="T2" fmla="*/ 0 w 163"/>
                <a:gd name="T3" fmla="*/ 52 h 130"/>
                <a:gd name="T4" fmla="*/ 12 w 163"/>
                <a:gd name="T5" fmla="*/ 130 h 130"/>
                <a:gd name="T6" fmla="*/ 26 w 163"/>
                <a:gd name="T7" fmla="*/ 68 h 130"/>
                <a:gd name="T8" fmla="*/ 163 w 163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130">
                  <a:moveTo>
                    <a:pt x="163" y="0"/>
                  </a:moveTo>
                  <a:lnTo>
                    <a:pt x="0" y="52"/>
                  </a:lnTo>
                  <a:lnTo>
                    <a:pt x="12" y="130"/>
                  </a:lnTo>
                  <a:lnTo>
                    <a:pt x="26" y="68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7" rIns="89533" bIns="44767" numCol="1" anchor="t" anchorCtr="0" compatLnSpc="1">
              <a:prstTxWarp prst="textNoShape">
                <a:avLst/>
              </a:prstTxWarp>
            </a:bodyPr>
            <a:lstStyle/>
            <a:p>
              <a:endParaRPr lang="en-US" sz="1892" dirty="0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DD88BF2A-65BE-4101-B3AA-8E9C9BDF428F}"/>
              </a:ext>
            </a:extLst>
          </p:cNvPr>
          <p:cNvCxnSpPr>
            <a:cxnSpLocks/>
          </p:cNvCxnSpPr>
          <p:nvPr/>
        </p:nvCxnSpPr>
        <p:spPr>
          <a:xfrm flipV="1">
            <a:off x="6380228" y="3155677"/>
            <a:ext cx="1" cy="16948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9EE98138-8B0B-48BD-81E4-FC2FFD2E0976}"/>
              </a:ext>
            </a:extLst>
          </p:cNvPr>
          <p:cNvGrpSpPr/>
          <p:nvPr/>
        </p:nvGrpSpPr>
        <p:grpSpPr>
          <a:xfrm>
            <a:off x="5455371" y="2042280"/>
            <a:ext cx="2124601" cy="885853"/>
            <a:chOff x="3573855" y="4207623"/>
            <a:chExt cx="2169851" cy="90472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A689A81D-5C28-4819-8F1A-8A8EA92EEFA1}"/>
                </a:ext>
              </a:extLst>
            </p:cNvPr>
            <p:cNvSpPr txBox="1"/>
            <p:nvPr/>
          </p:nvSpPr>
          <p:spPr>
            <a:xfrm flipH="1">
              <a:off x="3631439" y="4207623"/>
              <a:ext cx="1931304" cy="2828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AU" b="1" dirty="0">
                  <a:solidFill>
                    <a:schemeClr val="accent3">
                      <a:lumMod val="50000"/>
                    </a:schemeClr>
                  </a:solidFill>
                  <a:ea typeface="Roboto Medium" panose="02000000000000000000" pitchFamily="2" charset="0"/>
                </a:rPr>
                <a:t>September 2017</a:t>
              </a:r>
            </a:p>
          </p:txBody>
        </p:sp>
        <p:sp>
          <p:nvSpPr>
            <p:cNvPr id="18" name="Text Placeholder 32">
              <a:extLst>
                <a:ext uri="{FF2B5EF4-FFF2-40B4-BE49-F238E27FC236}">
                  <a16:creationId xmlns:a16="http://schemas.microsoft.com/office/drawing/2014/main" xmlns="" id="{379BB237-BE54-4491-94E8-DA0449B2A28A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3573855" y="4490521"/>
              <a:ext cx="2169851" cy="621830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4092" indent="-105698">
                <a:lnSpc>
                  <a:spcPct val="105000"/>
                </a:lnSpc>
                <a:spcBef>
                  <a:spcPts val="0"/>
                </a:spcBef>
                <a:tabLst>
                  <a:tab pos="174092" algn="l"/>
                </a:tabLst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MY FONTERRA Central</a:t>
              </a:r>
            </a:p>
            <a:p>
              <a:pPr marL="174092" indent="-105698">
                <a:lnSpc>
                  <a:spcPct val="105000"/>
                </a:lnSpc>
                <a:spcBef>
                  <a:spcPts val="0"/>
                </a:spcBef>
                <a:tabLst>
                  <a:tab pos="174092" algn="l"/>
                </a:tabLst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Delegated Authority</a:t>
              </a:r>
            </a:p>
            <a:p>
              <a:pPr marL="68393" indent="0">
                <a:lnSpc>
                  <a:spcPct val="105000"/>
                </a:lnSpc>
                <a:spcBef>
                  <a:spcPts val="0"/>
                </a:spcBef>
                <a:buNone/>
                <a:tabLst>
                  <a:tab pos="174092" algn="l"/>
                </a:tabLst>
              </a:pPr>
              <a:endParaRPr lang="en-US" sz="1200" dirty="0">
                <a:latin typeface="+mn-lt"/>
                <a:ea typeface="Roboto Light" panose="02000000000000000000" pitchFamily="2" charset="0"/>
              </a:endParaRPr>
            </a:p>
            <a:p>
              <a:pPr marL="174092" indent="-105698" algn="ctr">
                <a:lnSpc>
                  <a:spcPct val="130000"/>
                </a:lnSpc>
                <a:spcBef>
                  <a:spcPts val="0"/>
                </a:spcBef>
                <a:buNone/>
                <a:tabLst>
                  <a:tab pos="174092" algn="l"/>
                </a:tabLst>
              </a:pPr>
              <a:endParaRPr lang="en-NZ" sz="1050" dirty="0">
                <a:latin typeface="+mn-lt"/>
                <a:ea typeface="Roboto Light" panose="02000000000000000000" pitchFamily="2" charset="0"/>
              </a:endParaRPr>
            </a:p>
          </p:txBody>
        </p:sp>
      </p:grpSp>
      <p:sp>
        <p:nvSpPr>
          <p:cNvPr id="22" name="Freeform 850">
            <a:extLst>
              <a:ext uri="{FF2B5EF4-FFF2-40B4-BE49-F238E27FC236}">
                <a16:creationId xmlns:a16="http://schemas.microsoft.com/office/drawing/2014/main" xmlns="" id="{1ADEAEBB-47AD-48ED-86CD-A224F2C0FA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31301" y="4014581"/>
            <a:ext cx="437204" cy="438490"/>
          </a:xfrm>
          <a:custGeom>
            <a:avLst/>
            <a:gdLst>
              <a:gd name="T0" fmla="*/ 181 w 512"/>
              <a:gd name="T1" fmla="*/ 384 h 512"/>
              <a:gd name="T2" fmla="*/ 170 w 512"/>
              <a:gd name="T3" fmla="*/ 394 h 512"/>
              <a:gd name="T4" fmla="*/ 160 w 512"/>
              <a:gd name="T5" fmla="*/ 384 h 512"/>
              <a:gd name="T6" fmla="*/ 170 w 512"/>
              <a:gd name="T7" fmla="*/ 373 h 512"/>
              <a:gd name="T8" fmla="*/ 181 w 512"/>
              <a:gd name="T9" fmla="*/ 384 h 512"/>
              <a:gd name="T10" fmla="*/ 256 w 512"/>
              <a:gd name="T11" fmla="*/ 373 h 512"/>
              <a:gd name="T12" fmla="*/ 245 w 512"/>
              <a:gd name="T13" fmla="*/ 384 h 512"/>
              <a:gd name="T14" fmla="*/ 256 w 512"/>
              <a:gd name="T15" fmla="*/ 394 h 512"/>
              <a:gd name="T16" fmla="*/ 266 w 512"/>
              <a:gd name="T17" fmla="*/ 384 h 512"/>
              <a:gd name="T18" fmla="*/ 256 w 512"/>
              <a:gd name="T19" fmla="*/ 373 h 512"/>
              <a:gd name="T20" fmla="*/ 256 w 512"/>
              <a:gd name="T21" fmla="*/ 117 h 512"/>
              <a:gd name="T22" fmla="*/ 245 w 512"/>
              <a:gd name="T23" fmla="*/ 128 h 512"/>
              <a:gd name="T24" fmla="*/ 256 w 512"/>
              <a:gd name="T25" fmla="*/ 138 h 512"/>
              <a:gd name="T26" fmla="*/ 266 w 512"/>
              <a:gd name="T27" fmla="*/ 128 h 512"/>
              <a:gd name="T28" fmla="*/ 256 w 512"/>
              <a:gd name="T29" fmla="*/ 117 h 512"/>
              <a:gd name="T30" fmla="*/ 341 w 512"/>
              <a:gd name="T31" fmla="*/ 373 h 512"/>
              <a:gd name="T32" fmla="*/ 330 w 512"/>
              <a:gd name="T33" fmla="*/ 384 h 512"/>
              <a:gd name="T34" fmla="*/ 341 w 512"/>
              <a:gd name="T35" fmla="*/ 394 h 512"/>
              <a:gd name="T36" fmla="*/ 352 w 512"/>
              <a:gd name="T37" fmla="*/ 384 h 512"/>
              <a:gd name="T38" fmla="*/ 341 w 512"/>
              <a:gd name="T39" fmla="*/ 373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373 w 512"/>
              <a:gd name="T51" fmla="*/ 384 h 512"/>
              <a:gd name="T52" fmla="*/ 352 w 512"/>
              <a:gd name="T53" fmla="*/ 354 h 512"/>
              <a:gd name="T54" fmla="*/ 352 w 512"/>
              <a:gd name="T55" fmla="*/ 277 h 512"/>
              <a:gd name="T56" fmla="*/ 320 w 512"/>
              <a:gd name="T57" fmla="*/ 245 h 512"/>
              <a:gd name="T58" fmla="*/ 266 w 512"/>
              <a:gd name="T59" fmla="*/ 245 h 512"/>
              <a:gd name="T60" fmla="*/ 266 w 512"/>
              <a:gd name="T61" fmla="*/ 158 h 512"/>
              <a:gd name="T62" fmla="*/ 288 w 512"/>
              <a:gd name="T63" fmla="*/ 128 h 512"/>
              <a:gd name="T64" fmla="*/ 256 w 512"/>
              <a:gd name="T65" fmla="*/ 96 h 512"/>
              <a:gd name="T66" fmla="*/ 224 w 512"/>
              <a:gd name="T67" fmla="*/ 128 h 512"/>
              <a:gd name="T68" fmla="*/ 245 w 512"/>
              <a:gd name="T69" fmla="*/ 158 h 512"/>
              <a:gd name="T70" fmla="*/ 245 w 512"/>
              <a:gd name="T71" fmla="*/ 245 h 512"/>
              <a:gd name="T72" fmla="*/ 192 w 512"/>
              <a:gd name="T73" fmla="*/ 245 h 512"/>
              <a:gd name="T74" fmla="*/ 160 w 512"/>
              <a:gd name="T75" fmla="*/ 277 h 512"/>
              <a:gd name="T76" fmla="*/ 160 w 512"/>
              <a:gd name="T77" fmla="*/ 354 h 512"/>
              <a:gd name="T78" fmla="*/ 138 w 512"/>
              <a:gd name="T79" fmla="*/ 384 h 512"/>
              <a:gd name="T80" fmla="*/ 170 w 512"/>
              <a:gd name="T81" fmla="*/ 416 h 512"/>
              <a:gd name="T82" fmla="*/ 202 w 512"/>
              <a:gd name="T83" fmla="*/ 384 h 512"/>
              <a:gd name="T84" fmla="*/ 181 w 512"/>
              <a:gd name="T85" fmla="*/ 354 h 512"/>
              <a:gd name="T86" fmla="*/ 181 w 512"/>
              <a:gd name="T87" fmla="*/ 277 h 512"/>
              <a:gd name="T88" fmla="*/ 192 w 512"/>
              <a:gd name="T89" fmla="*/ 266 h 512"/>
              <a:gd name="T90" fmla="*/ 245 w 512"/>
              <a:gd name="T91" fmla="*/ 266 h 512"/>
              <a:gd name="T92" fmla="*/ 245 w 512"/>
              <a:gd name="T93" fmla="*/ 354 h 512"/>
              <a:gd name="T94" fmla="*/ 224 w 512"/>
              <a:gd name="T95" fmla="*/ 384 h 512"/>
              <a:gd name="T96" fmla="*/ 256 w 512"/>
              <a:gd name="T97" fmla="*/ 416 h 512"/>
              <a:gd name="T98" fmla="*/ 288 w 512"/>
              <a:gd name="T99" fmla="*/ 384 h 512"/>
              <a:gd name="T100" fmla="*/ 266 w 512"/>
              <a:gd name="T101" fmla="*/ 354 h 512"/>
              <a:gd name="T102" fmla="*/ 266 w 512"/>
              <a:gd name="T103" fmla="*/ 266 h 512"/>
              <a:gd name="T104" fmla="*/ 320 w 512"/>
              <a:gd name="T105" fmla="*/ 266 h 512"/>
              <a:gd name="T106" fmla="*/ 330 w 512"/>
              <a:gd name="T107" fmla="*/ 277 h 512"/>
              <a:gd name="T108" fmla="*/ 330 w 512"/>
              <a:gd name="T109" fmla="*/ 354 h 512"/>
              <a:gd name="T110" fmla="*/ 309 w 512"/>
              <a:gd name="T111" fmla="*/ 384 h 512"/>
              <a:gd name="T112" fmla="*/ 341 w 512"/>
              <a:gd name="T113" fmla="*/ 416 h 512"/>
              <a:gd name="T114" fmla="*/ 373 w 512"/>
              <a:gd name="T115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81" y="384"/>
                </a:moveTo>
                <a:cubicBezTo>
                  <a:pt x="181" y="390"/>
                  <a:pt x="176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78"/>
                  <a:pt x="164" y="373"/>
                  <a:pt x="170" y="373"/>
                </a:cubicBezTo>
                <a:cubicBezTo>
                  <a:pt x="176" y="373"/>
                  <a:pt x="181" y="378"/>
                  <a:pt x="181" y="384"/>
                </a:cubicBezTo>
                <a:close/>
                <a:moveTo>
                  <a:pt x="256" y="373"/>
                </a:moveTo>
                <a:cubicBezTo>
                  <a:pt x="250" y="373"/>
                  <a:pt x="245" y="378"/>
                  <a:pt x="245" y="384"/>
                </a:cubicBezTo>
                <a:cubicBezTo>
                  <a:pt x="245" y="390"/>
                  <a:pt x="250" y="394"/>
                  <a:pt x="256" y="394"/>
                </a:cubicBezTo>
                <a:cubicBezTo>
                  <a:pt x="262" y="394"/>
                  <a:pt x="266" y="390"/>
                  <a:pt x="266" y="384"/>
                </a:cubicBezTo>
                <a:cubicBezTo>
                  <a:pt x="266" y="378"/>
                  <a:pt x="262" y="373"/>
                  <a:pt x="256" y="373"/>
                </a:cubicBezTo>
                <a:close/>
                <a:moveTo>
                  <a:pt x="256" y="117"/>
                </a:move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lose/>
                <a:moveTo>
                  <a:pt x="341" y="373"/>
                </a:moveTo>
                <a:cubicBezTo>
                  <a:pt x="335" y="373"/>
                  <a:pt x="330" y="378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378"/>
                  <a:pt x="347" y="373"/>
                  <a:pt x="341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384"/>
                </a:moveTo>
                <a:cubicBezTo>
                  <a:pt x="373" y="370"/>
                  <a:pt x="364" y="358"/>
                  <a:pt x="352" y="354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2" y="254"/>
                  <a:pt x="333" y="245"/>
                  <a:pt x="320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58"/>
                  <a:pt x="266" y="158"/>
                  <a:pt x="266" y="158"/>
                </a:cubicBezTo>
                <a:cubicBezTo>
                  <a:pt x="279" y="153"/>
                  <a:pt x="288" y="142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42"/>
                  <a:pt x="233" y="153"/>
                  <a:pt x="245" y="158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69" y="245"/>
                  <a:pt x="160" y="264"/>
                  <a:pt x="160" y="277"/>
                </a:cubicBezTo>
                <a:cubicBezTo>
                  <a:pt x="160" y="354"/>
                  <a:pt x="160" y="354"/>
                  <a:pt x="160" y="354"/>
                </a:cubicBezTo>
                <a:cubicBezTo>
                  <a:pt x="147" y="358"/>
                  <a:pt x="138" y="370"/>
                  <a:pt x="138" y="384"/>
                </a:cubicBezTo>
                <a:cubicBezTo>
                  <a:pt x="138" y="401"/>
                  <a:pt x="153" y="416"/>
                  <a:pt x="170" y="416"/>
                </a:cubicBezTo>
                <a:cubicBezTo>
                  <a:pt x="188" y="416"/>
                  <a:pt x="202" y="401"/>
                  <a:pt x="202" y="384"/>
                </a:cubicBezTo>
                <a:cubicBezTo>
                  <a:pt x="202" y="370"/>
                  <a:pt x="193" y="358"/>
                  <a:pt x="181" y="354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5"/>
                  <a:pt x="182" y="266"/>
                  <a:pt x="192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54"/>
                  <a:pt x="245" y="354"/>
                  <a:pt x="245" y="354"/>
                </a:cubicBezTo>
                <a:cubicBezTo>
                  <a:pt x="233" y="358"/>
                  <a:pt x="224" y="370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ubicBezTo>
                  <a:pt x="288" y="370"/>
                  <a:pt x="279" y="358"/>
                  <a:pt x="266" y="354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4" y="266"/>
                  <a:pt x="330" y="268"/>
                  <a:pt x="330" y="277"/>
                </a:cubicBezTo>
                <a:cubicBezTo>
                  <a:pt x="330" y="354"/>
                  <a:pt x="330" y="354"/>
                  <a:pt x="330" y="354"/>
                </a:cubicBezTo>
                <a:cubicBezTo>
                  <a:pt x="318" y="358"/>
                  <a:pt x="309" y="370"/>
                  <a:pt x="309" y="384"/>
                </a:cubicBezTo>
                <a:cubicBezTo>
                  <a:pt x="309" y="401"/>
                  <a:pt x="323" y="416"/>
                  <a:pt x="341" y="416"/>
                </a:cubicBezTo>
                <a:cubicBezTo>
                  <a:pt x="359" y="416"/>
                  <a:pt x="373" y="401"/>
                  <a:pt x="373" y="38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89533" tIns="44767" rIns="89533" bIns="44767" numCol="1" anchor="t" anchorCtr="0" compatLnSpc="1">
            <a:prstTxWarp prst="textNoShape">
              <a:avLst/>
            </a:prstTxWarp>
          </a:bodyPr>
          <a:lstStyle/>
          <a:p>
            <a:endParaRPr lang="en-GB" sz="1892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F24D251A-0D9F-462E-87DC-FF1558A717BB}"/>
              </a:ext>
            </a:extLst>
          </p:cNvPr>
          <p:cNvGrpSpPr/>
          <p:nvPr/>
        </p:nvGrpSpPr>
        <p:grpSpPr>
          <a:xfrm>
            <a:off x="84978" y="1549826"/>
            <a:ext cx="3095064" cy="907927"/>
            <a:chOff x="3101793" y="4931649"/>
            <a:chExt cx="3160984" cy="92726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2FAC94E8-842D-45D2-9C61-A58EEADC3030}"/>
                </a:ext>
              </a:extLst>
            </p:cNvPr>
            <p:cNvSpPr txBox="1"/>
            <p:nvPr/>
          </p:nvSpPr>
          <p:spPr>
            <a:xfrm flipH="1">
              <a:off x="3101793" y="4931649"/>
              <a:ext cx="1832846" cy="2828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AU" b="1" dirty="0">
                  <a:solidFill>
                    <a:schemeClr val="accent4"/>
                  </a:solidFill>
                  <a:ea typeface="Roboto Medium" panose="02000000000000000000" pitchFamily="2" charset="0"/>
                </a:rPr>
                <a:t>August 2015</a:t>
              </a:r>
            </a:p>
          </p:txBody>
        </p:sp>
        <p:sp>
          <p:nvSpPr>
            <p:cNvPr id="25" name="Text Placeholder 32">
              <a:extLst>
                <a:ext uri="{FF2B5EF4-FFF2-40B4-BE49-F238E27FC236}">
                  <a16:creationId xmlns:a16="http://schemas.microsoft.com/office/drawing/2014/main" xmlns="" id="{49393736-97A3-4C78-8954-C03AD4F2074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3187813" y="5237086"/>
              <a:ext cx="3074964" cy="621830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4092" indent="-107253">
                <a:lnSpc>
                  <a:spcPct val="105000"/>
                </a:lnSpc>
                <a:spcBef>
                  <a:spcPts val="0"/>
                </a:spcBef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Performance</a:t>
              </a:r>
            </a:p>
            <a:p>
              <a:pPr marL="174092" indent="-107253">
                <a:lnSpc>
                  <a:spcPct val="105000"/>
                </a:lnSpc>
                <a:spcBef>
                  <a:spcPts val="0"/>
                </a:spcBef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Objectives</a:t>
              </a:r>
            </a:p>
            <a:p>
              <a:pPr marL="174092" indent="-107253">
                <a:lnSpc>
                  <a:spcPct val="105000"/>
                </a:lnSpc>
                <a:spcBef>
                  <a:spcPts val="0"/>
                </a:spcBef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Development and Succession</a:t>
              </a:r>
            </a:p>
            <a:p>
              <a:pPr marL="174092" indent="-107253">
                <a:lnSpc>
                  <a:spcPct val="105000"/>
                </a:lnSpc>
                <a:spcBef>
                  <a:spcPts val="0"/>
                </a:spcBef>
              </a:pPr>
              <a:r>
                <a:rPr lang="en-US" sz="1600" dirty="0">
                  <a:latin typeface="+mn-lt"/>
                  <a:ea typeface="Roboto Light" panose="02000000000000000000" pitchFamily="2" charset="0"/>
                </a:rPr>
                <a:t>Employee Profile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554F633-E8F9-4E84-A715-D39981B0696A}"/>
              </a:ext>
            </a:extLst>
          </p:cNvPr>
          <p:cNvSpPr txBox="1"/>
          <p:nvPr/>
        </p:nvSpPr>
        <p:spPr>
          <a:xfrm flipH="1">
            <a:off x="3166635" y="2869007"/>
            <a:ext cx="176257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AU" b="1" dirty="0">
                <a:solidFill>
                  <a:schemeClr val="accent1"/>
                </a:solidFill>
                <a:ea typeface="Roboto Medium" panose="02000000000000000000" pitchFamily="2" charset="0"/>
              </a:rPr>
              <a:t>September 2016</a:t>
            </a:r>
          </a:p>
        </p:txBody>
      </p:sp>
      <p:sp>
        <p:nvSpPr>
          <p:cNvPr id="27" name="Text Placeholder 32">
            <a:extLst>
              <a:ext uri="{FF2B5EF4-FFF2-40B4-BE49-F238E27FC236}">
                <a16:creationId xmlns:a16="http://schemas.microsoft.com/office/drawing/2014/main" xmlns="" id="{C0B60DA8-7AB7-4172-A30F-D0BA11FBF8FB}"/>
              </a:ext>
            </a:extLst>
          </p:cNvPr>
          <p:cNvSpPr txBox="1">
            <a:spLocks/>
          </p:cNvSpPr>
          <p:nvPr/>
        </p:nvSpPr>
        <p:spPr>
          <a:xfrm flipH="1">
            <a:off x="3067087" y="3145606"/>
            <a:ext cx="2668156" cy="6088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092" indent="-107253">
              <a:lnSpc>
                <a:spcPct val="105000"/>
              </a:lnSpc>
              <a:spcBef>
                <a:spcPts val="0"/>
              </a:spcBef>
            </a:pPr>
            <a:r>
              <a:rPr lang="en-US" sz="1600" dirty="0">
                <a:latin typeface="+mn-lt"/>
                <a:ea typeface="Roboto Light" panose="02000000000000000000" pitchFamily="2" charset="0"/>
              </a:rPr>
              <a:t>Learning</a:t>
            </a:r>
          </a:p>
        </p:txBody>
      </p:sp>
      <p:sp>
        <p:nvSpPr>
          <p:cNvPr id="28" name="Freeform 241">
            <a:extLst>
              <a:ext uri="{FF2B5EF4-FFF2-40B4-BE49-F238E27FC236}">
                <a16:creationId xmlns:a16="http://schemas.microsoft.com/office/drawing/2014/main" xmlns="" id="{C39ED598-6638-48CD-96F6-D328252A79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87889" y="3754467"/>
            <a:ext cx="479112" cy="480521"/>
          </a:xfrm>
          <a:custGeom>
            <a:avLst/>
            <a:gdLst>
              <a:gd name="T0" fmla="*/ 275 w 512"/>
              <a:gd name="T1" fmla="*/ 330 h 512"/>
              <a:gd name="T2" fmla="*/ 271 w 512"/>
              <a:gd name="T3" fmla="*/ 342 h 512"/>
              <a:gd name="T4" fmla="*/ 269 w 512"/>
              <a:gd name="T5" fmla="*/ 348 h 512"/>
              <a:gd name="T6" fmla="*/ 256 w 512"/>
              <a:gd name="T7" fmla="*/ 352 h 512"/>
              <a:gd name="T8" fmla="*/ 253 w 512"/>
              <a:gd name="T9" fmla="*/ 350 h 512"/>
              <a:gd name="T10" fmla="*/ 250 w 512"/>
              <a:gd name="T11" fmla="*/ 349 h 512"/>
              <a:gd name="T12" fmla="*/ 243 w 512"/>
              <a:gd name="T13" fmla="*/ 348 h 512"/>
              <a:gd name="T14" fmla="*/ 234 w 512"/>
              <a:gd name="T15" fmla="*/ 338 h 512"/>
              <a:gd name="T16" fmla="*/ 235 w 512"/>
              <a:gd name="T17" fmla="*/ 324 h 512"/>
              <a:gd name="T18" fmla="*/ 243 w 512"/>
              <a:gd name="T19" fmla="*/ 313 h 512"/>
              <a:gd name="T20" fmla="*/ 256 w 512"/>
              <a:gd name="T21" fmla="*/ 309 h 512"/>
              <a:gd name="T22" fmla="*/ 258 w 512"/>
              <a:gd name="T23" fmla="*/ 310 h 512"/>
              <a:gd name="T24" fmla="*/ 262 w 512"/>
              <a:gd name="T25" fmla="*/ 312 h 512"/>
              <a:gd name="T26" fmla="*/ 268 w 512"/>
              <a:gd name="T27" fmla="*/ 313 h 512"/>
              <a:gd name="T28" fmla="*/ 277 w 512"/>
              <a:gd name="T29" fmla="*/ 324 h 512"/>
              <a:gd name="T30" fmla="*/ 352 w 512"/>
              <a:gd name="T31" fmla="*/ 117 h 512"/>
              <a:gd name="T32" fmla="*/ 160 w 512"/>
              <a:gd name="T33" fmla="*/ 394 h 512"/>
              <a:gd name="T34" fmla="*/ 297 w 512"/>
              <a:gd name="T35" fmla="*/ 330 h 512"/>
              <a:gd name="T36" fmla="*/ 298 w 512"/>
              <a:gd name="T37" fmla="*/ 317 h 512"/>
              <a:gd name="T38" fmla="*/ 289 w 512"/>
              <a:gd name="T39" fmla="*/ 306 h 512"/>
              <a:gd name="T40" fmla="*/ 282 w 512"/>
              <a:gd name="T41" fmla="*/ 294 h 512"/>
              <a:gd name="T42" fmla="*/ 268 w 512"/>
              <a:gd name="T43" fmla="*/ 291 h 512"/>
              <a:gd name="T44" fmla="*/ 256 w 512"/>
              <a:gd name="T45" fmla="*/ 286 h 512"/>
              <a:gd name="T46" fmla="*/ 243 w 512"/>
              <a:gd name="T47" fmla="*/ 291 h 512"/>
              <a:gd name="T48" fmla="*/ 229 w 512"/>
              <a:gd name="T49" fmla="*/ 294 h 512"/>
              <a:gd name="T50" fmla="*/ 223 w 512"/>
              <a:gd name="T51" fmla="*/ 306 h 512"/>
              <a:gd name="T52" fmla="*/ 213 w 512"/>
              <a:gd name="T53" fmla="*/ 317 h 512"/>
              <a:gd name="T54" fmla="*/ 215 w 512"/>
              <a:gd name="T55" fmla="*/ 330 h 512"/>
              <a:gd name="T56" fmla="*/ 213 w 512"/>
              <a:gd name="T57" fmla="*/ 344 h 512"/>
              <a:gd name="T58" fmla="*/ 223 w 512"/>
              <a:gd name="T59" fmla="*/ 354 h 512"/>
              <a:gd name="T60" fmla="*/ 229 w 512"/>
              <a:gd name="T61" fmla="*/ 366 h 512"/>
              <a:gd name="T62" fmla="*/ 243 w 512"/>
              <a:gd name="T63" fmla="*/ 369 h 512"/>
              <a:gd name="T64" fmla="*/ 256 w 512"/>
              <a:gd name="T65" fmla="*/ 375 h 512"/>
              <a:gd name="T66" fmla="*/ 268 w 512"/>
              <a:gd name="T67" fmla="*/ 369 h 512"/>
              <a:gd name="T68" fmla="*/ 282 w 512"/>
              <a:gd name="T69" fmla="*/ 366 h 512"/>
              <a:gd name="T70" fmla="*/ 289 w 512"/>
              <a:gd name="T71" fmla="*/ 354 h 512"/>
              <a:gd name="T72" fmla="*/ 298 w 512"/>
              <a:gd name="T73" fmla="*/ 344 h 512"/>
              <a:gd name="T74" fmla="*/ 297 w 512"/>
              <a:gd name="T75" fmla="*/ 330 h 512"/>
              <a:gd name="T76" fmla="*/ 192 w 512"/>
              <a:gd name="T77" fmla="*/ 170 h 512"/>
              <a:gd name="T78" fmla="*/ 330 w 512"/>
              <a:gd name="T79" fmla="*/ 160 h 512"/>
              <a:gd name="T80" fmla="*/ 192 w 512"/>
              <a:gd name="T81" fmla="*/ 149 h 512"/>
              <a:gd name="T82" fmla="*/ 181 w 512"/>
              <a:gd name="T83" fmla="*/ 202 h 512"/>
              <a:gd name="T84" fmla="*/ 320 w 512"/>
              <a:gd name="T85" fmla="*/ 213 h 512"/>
              <a:gd name="T86" fmla="*/ 320 w 512"/>
              <a:gd name="T87" fmla="*/ 192 h 512"/>
              <a:gd name="T88" fmla="*/ 181 w 512"/>
              <a:gd name="T89" fmla="*/ 202 h 512"/>
              <a:gd name="T90" fmla="*/ 192 w 512"/>
              <a:gd name="T91" fmla="*/ 256 h 512"/>
              <a:gd name="T92" fmla="*/ 330 w 512"/>
              <a:gd name="T93" fmla="*/ 245 h 512"/>
              <a:gd name="T94" fmla="*/ 192 w 512"/>
              <a:gd name="T95" fmla="*/ 234 h 512"/>
              <a:gd name="T96" fmla="*/ 512 w 512"/>
              <a:gd name="T97" fmla="*/ 256 h 512"/>
              <a:gd name="T98" fmla="*/ 0 w 512"/>
              <a:gd name="T99" fmla="*/ 256 h 512"/>
              <a:gd name="T100" fmla="*/ 512 w 512"/>
              <a:gd name="T101" fmla="*/ 256 h 512"/>
              <a:gd name="T102" fmla="*/ 362 w 512"/>
              <a:gd name="T103" fmla="*/ 96 h 512"/>
              <a:gd name="T104" fmla="*/ 138 w 512"/>
              <a:gd name="T105" fmla="*/ 106 h 512"/>
              <a:gd name="T106" fmla="*/ 149 w 512"/>
              <a:gd name="T107" fmla="*/ 416 h 512"/>
              <a:gd name="T108" fmla="*/ 373 w 512"/>
              <a:gd name="T109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77" y="324"/>
                </a:moveTo>
                <a:cubicBezTo>
                  <a:pt x="277" y="325"/>
                  <a:pt x="275" y="327"/>
                  <a:pt x="275" y="330"/>
                </a:cubicBezTo>
                <a:cubicBezTo>
                  <a:pt x="275" y="333"/>
                  <a:pt x="276" y="335"/>
                  <a:pt x="277" y="337"/>
                </a:cubicBezTo>
                <a:cubicBezTo>
                  <a:pt x="275" y="338"/>
                  <a:pt x="273" y="340"/>
                  <a:pt x="271" y="342"/>
                </a:cubicBezTo>
                <a:cubicBezTo>
                  <a:pt x="270" y="344"/>
                  <a:pt x="269" y="346"/>
                  <a:pt x="269" y="348"/>
                </a:cubicBezTo>
                <a:cubicBezTo>
                  <a:pt x="269" y="348"/>
                  <a:pt x="269" y="348"/>
                  <a:pt x="269" y="348"/>
                </a:cubicBezTo>
                <a:cubicBezTo>
                  <a:pt x="267" y="348"/>
                  <a:pt x="264" y="348"/>
                  <a:pt x="262" y="349"/>
                </a:cubicBezTo>
                <a:cubicBezTo>
                  <a:pt x="259" y="350"/>
                  <a:pt x="257" y="351"/>
                  <a:pt x="256" y="352"/>
                </a:cubicBezTo>
                <a:cubicBezTo>
                  <a:pt x="255" y="352"/>
                  <a:pt x="255" y="351"/>
                  <a:pt x="254" y="351"/>
                </a:cubicBezTo>
                <a:cubicBezTo>
                  <a:pt x="254" y="351"/>
                  <a:pt x="253" y="351"/>
                  <a:pt x="253" y="350"/>
                </a:cubicBezTo>
                <a:cubicBezTo>
                  <a:pt x="252" y="350"/>
                  <a:pt x="251" y="349"/>
                  <a:pt x="250" y="349"/>
                </a:cubicBezTo>
                <a:cubicBezTo>
                  <a:pt x="250" y="349"/>
                  <a:pt x="250" y="349"/>
                  <a:pt x="250" y="349"/>
                </a:cubicBezTo>
                <a:cubicBezTo>
                  <a:pt x="249" y="349"/>
                  <a:pt x="249" y="349"/>
                  <a:pt x="248" y="348"/>
                </a:cubicBezTo>
                <a:cubicBezTo>
                  <a:pt x="246" y="348"/>
                  <a:pt x="244" y="348"/>
                  <a:pt x="243" y="348"/>
                </a:cubicBezTo>
                <a:cubicBezTo>
                  <a:pt x="242" y="346"/>
                  <a:pt x="241" y="344"/>
                  <a:pt x="240" y="342"/>
                </a:cubicBezTo>
                <a:cubicBezTo>
                  <a:pt x="238" y="340"/>
                  <a:pt x="236" y="339"/>
                  <a:pt x="234" y="338"/>
                </a:cubicBezTo>
                <a:cubicBezTo>
                  <a:pt x="235" y="336"/>
                  <a:pt x="236" y="333"/>
                  <a:pt x="236" y="331"/>
                </a:cubicBezTo>
                <a:cubicBezTo>
                  <a:pt x="236" y="328"/>
                  <a:pt x="235" y="326"/>
                  <a:pt x="235" y="324"/>
                </a:cubicBezTo>
                <a:cubicBezTo>
                  <a:pt x="236" y="323"/>
                  <a:pt x="238" y="321"/>
                  <a:pt x="239" y="319"/>
                </a:cubicBezTo>
                <a:cubicBezTo>
                  <a:pt x="241" y="317"/>
                  <a:pt x="242" y="315"/>
                  <a:pt x="243" y="313"/>
                </a:cubicBezTo>
                <a:cubicBezTo>
                  <a:pt x="245" y="313"/>
                  <a:pt x="247" y="313"/>
                  <a:pt x="250" y="312"/>
                </a:cubicBezTo>
                <a:cubicBezTo>
                  <a:pt x="252" y="311"/>
                  <a:pt x="254" y="310"/>
                  <a:pt x="256" y="309"/>
                </a:cubicBezTo>
                <a:cubicBezTo>
                  <a:pt x="256" y="309"/>
                  <a:pt x="257" y="309"/>
                  <a:pt x="257" y="310"/>
                </a:cubicBezTo>
                <a:cubicBezTo>
                  <a:pt x="258" y="310"/>
                  <a:pt x="258" y="310"/>
                  <a:pt x="258" y="310"/>
                </a:cubicBezTo>
                <a:cubicBezTo>
                  <a:pt x="259" y="311"/>
                  <a:pt x="260" y="311"/>
                  <a:pt x="261" y="312"/>
                </a:cubicBezTo>
                <a:cubicBezTo>
                  <a:pt x="261" y="312"/>
                  <a:pt x="261" y="312"/>
                  <a:pt x="262" y="312"/>
                </a:cubicBezTo>
                <a:cubicBezTo>
                  <a:pt x="262" y="312"/>
                  <a:pt x="263" y="312"/>
                  <a:pt x="263" y="312"/>
                </a:cubicBezTo>
                <a:cubicBezTo>
                  <a:pt x="265" y="313"/>
                  <a:pt x="267" y="313"/>
                  <a:pt x="268" y="313"/>
                </a:cubicBezTo>
                <a:cubicBezTo>
                  <a:pt x="269" y="315"/>
                  <a:pt x="270" y="317"/>
                  <a:pt x="271" y="319"/>
                </a:cubicBezTo>
                <a:cubicBezTo>
                  <a:pt x="273" y="321"/>
                  <a:pt x="276" y="322"/>
                  <a:pt x="277" y="324"/>
                </a:cubicBezTo>
                <a:close/>
                <a:moveTo>
                  <a:pt x="160" y="117"/>
                </a:moveTo>
                <a:cubicBezTo>
                  <a:pt x="352" y="117"/>
                  <a:pt x="352" y="117"/>
                  <a:pt x="352" y="117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lnTo>
                  <a:pt x="160" y="117"/>
                </a:lnTo>
                <a:close/>
                <a:moveTo>
                  <a:pt x="297" y="330"/>
                </a:moveTo>
                <a:cubicBezTo>
                  <a:pt x="297" y="330"/>
                  <a:pt x="297" y="330"/>
                  <a:pt x="297" y="329"/>
                </a:cubicBezTo>
                <a:cubicBezTo>
                  <a:pt x="298" y="327"/>
                  <a:pt x="300" y="322"/>
                  <a:pt x="298" y="317"/>
                </a:cubicBezTo>
                <a:cubicBezTo>
                  <a:pt x="296" y="311"/>
                  <a:pt x="292" y="308"/>
                  <a:pt x="289" y="307"/>
                </a:cubicBezTo>
                <a:cubicBezTo>
                  <a:pt x="289" y="307"/>
                  <a:pt x="289" y="306"/>
                  <a:pt x="289" y="306"/>
                </a:cubicBezTo>
                <a:cubicBezTo>
                  <a:pt x="289" y="306"/>
                  <a:pt x="289" y="306"/>
                  <a:pt x="289" y="306"/>
                </a:cubicBezTo>
                <a:cubicBezTo>
                  <a:pt x="288" y="303"/>
                  <a:pt x="286" y="298"/>
                  <a:pt x="282" y="294"/>
                </a:cubicBezTo>
                <a:cubicBezTo>
                  <a:pt x="277" y="291"/>
                  <a:pt x="272" y="291"/>
                  <a:pt x="269" y="291"/>
                </a:cubicBezTo>
                <a:cubicBezTo>
                  <a:pt x="269" y="291"/>
                  <a:pt x="269" y="291"/>
                  <a:pt x="268" y="291"/>
                </a:cubicBezTo>
                <a:cubicBezTo>
                  <a:pt x="268" y="291"/>
                  <a:pt x="268" y="291"/>
                  <a:pt x="268" y="291"/>
                </a:cubicBezTo>
                <a:cubicBezTo>
                  <a:pt x="265" y="289"/>
                  <a:pt x="261" y="286"/>
                  <a:pt x="256" y="286"/>
                </a:cubicBezTo>
                <a:cubicBezTo>
                  <a:pt x="250" y="286"/>
                  <a:pt x="246" y="289"/>
                  <a:pt x="243" y="291"/>
                </a:cubicBezTo>
                <a:cubicBezTo>
                  <a:pt x="243" y="291"/>
                  <a:pt x="243" y="291"/>
                  <a:pt x="243" y="291"/>
                </a:cubicBezTo>
                <a:cubicBezTo>
                  <a:pt x="243" y="291"/>
                  <a:pt x="242" y="291"/>
                  <a:pt x="242" y="291"/>
                </a:cubicBezTo>
                <a:cubicBezTo>
                  <a:pt x="239" y="291"/>
                  <a:pt x="234" y="291"/>
                  <a:pt x="229" y="294"/>
                </a:cubicBezTo>
                <a:cubicBezTo>
                  <a:pt x="225" y="298"/>
                  <a:pt x="224" y="303"/>
                  <a:pt x="223" y="306"/>
                </a:cubicBezTo>
                <a:cubicBezTo>
                  <a:pt x="223" y="306"/>
                  <a:pt x="223" y="306"/>
                  <a:pt x="223" y="306"/>
                </a:cubicBezTo>
                <a:cubicBezTo>
                  <a:pt x="222" y="306"/>
                  <a:pt x="222" y="307"/>
                  <a:pt x="222" y="307"/>
                </a:cubicBezTo>
                <a:cubicBezTo>
                  <a:pt x="219" y="308"/>
                  <a:pt x="215" y="311"/>
                  <a:pt x="213" y="317"/>
                </a:cubicBezTo>
                <a:cubicBezTo>
                  <a:pt x="212" y="322"/>
                  <a:pt x="213" y="327"/>
                  <a:pt x="214" y="329"/>
                </a:cubicBezTo>
                <a:cubicBezTo>
                  <a:pt x="215" y="330"/>
                  <a:pt x="215" y="330"/>
                  <a:pt x="215" y="330"/>
                </a:cubicBezTo>
                <a:cubicBezTo>
                  <a:pt x="215" y="331"/>
                  <a:pt x="215" y="331"/>
                  <a:pt x="214" y="331"/>
                </a:cubicBezTo>
                <a:cubicBezTo>
                  <a:pt x="213" y="334"/>
                  <a:pt x="212" y="339"/>
                  <a:pt x="213" y="344"/>
                </a:cubicBezTo>
                <a:cubicBezTo>
                  <a:pt x="215" y="350"/>
                  <a:pt x="219" y="352"/>
                  <a:pt x="222" y="354"/>
                </a:cubicBezTo>
                <a:cubicBezTo>
                  <a:pt x="222" y="354"/>
                  <a:pt x="222" y="354"/>
                  <a:pt x="223" y="354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4" y="358"/>
                  <a:pt x="225" y="363"/>
                  <a:pt x="229" y="366"/>
                </a:cubicBezTo>
                <a:cubicBezTo>
                  <a:pt x="234" y="370"/>
                  <a:pt x="239" y="370"/>
                  <a:pt x="242" y="369"/>
                </a:cubicBezTo>
                <a:cubicBezTo>
                  <a:pt x="242" y="369"/>
                  <a:pt x="243" y="369"/>
                  <a:pt x="243" y="369"/>
                </a:cubicBezTo>
                <a:cubicBezTo>
                  <a:pt x="243" y="369"/>
                  <a:pt x="243" y="370"/>
                  <a:pt x="243" y="370"/>
                </a:cubicBezTo>
                <a:cubicBezTo>
                  <a:pt x="246" y="372"/>
                  <a:pt x="250" y="375"/>
                  <a:pt x="256" y="375"/>
                </a:cubicBezTo>
                <a:cubicBezTo>
                  <a:pt x="261" y="375"/>
                  <a:pt x="265" y="372"/>
                  <a:pt x="268" y="370"/>
                </a:cubicBezTo>
                <a:cubicBezTo>
                  <a:pt x="268" y="370"/>
                  <a:pt x="268" y="369"/>
                  <a:pt x="268" y="369"/>
                </a:cubicBezTo>
                <a:cubicBezTo>
                  <a:pt x="269" y="369"/>
                  <a:pt x="269" y="369"/>
                  <a:pt x="269" y="369"/>
                </a:cubicBezTo>
                <a:cubicBezTo>
                  <a:pt x="272" y="370"/>
                  <a:pt x="277" y="370"/>
                  <a:pt x="282" y="366"/>
                </a:cubicBezTo>
                <a:cubicBezTo>
                  <a:pt x="286" y="363"/>
                  <a:pt x="288" y="358"/>
                  <a:pt x="289" y="355"/>
                </a:cubicBezTo>
                <a:cubicBezTo>
                  <a:pt x="289" y="355"/>
                  <a:pt x="289" y="355"/>
                  <a:pt x="289" y="354"/>
                </a:cubicBezTo>
                <a:cubicBezTo>
                  <a:pt x="289" y="354"/>
                  <a:pt x="289" y="354"/>
                  <a:pt x="289" y="354"/>
                </a:cubicBezTo>
                <a:cubicBezTo>
                  <a:pt x="292" y="352"/>
                  <a:pt x="296" y="350"/>
                  <a:pt x="298" y="344"/>
                </a:cubicBezTo>
                <a:cubicBezTo>
                  <a:pt x="300" y="339"/>
                  <a:pt x="298" y="334"/>
                  <a:pt x="297" y="331"/>
                </a:cubicBezTo>
                <a:cubicBezTo>
                  <a:pt x="297" y="331"/>
                  <a:pt x="297" y="331"/>
                  <a:pt x="297" y="330"/>
                </a:cubicBezTo>
                <a:close/>
                <a:moveTo>
                  <a:pt x="181" y="160"/>
                </a:moveTo>
                <a:cubicBezTo>
                  <a:pt x="181" y="166"/>
                  <a:pt x="186" y="170"/>
                  <a:pt x="192" y="170"/>
                </a:cubicBezTo>
                <a:cubicBezTo>
                  <a:pt x="320" y="170"/>
                  <a:pt x="320" y="170"/>
                  <a:pt x="320" y="170"/>
                </a:cubicBezTo>
                <a:cubicBezTo>
                  <a:pt x="326" y="170"/>
                  <a:pt x="330" y="166"/>
                  <a:pt x="330" y="160"/>
                </a:cubicBezTo>
                <a:cubicBezTo>
                  <a:pt x="330" y="154"/>
                  <a:pt x="326" y="149"/>
                  <a:pt x="320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86" y="149"/>
                  <a:pt x="181" y="154"/>
                  <a:pt x="181" y="160"/>
                </a:cubicBezTo>
                <a:close/>
                <a:moveTo>
                  <a:pt x="181" y="202"/>
                </a:moveTo>
                <a:cubicBezTo>
                  <a:pt x="181" y="208"/>
                  <a:pt x="186" y="213"/>
                  <a:pt x="192" y="213"/>
                </a:cubicBezTo>
                <a:cubicBezTo>
                  <a:pt x="320" y="213"/>
                  <a:pt x="320" y="213"/>
                  <a:pt x="320" y="213"/>
                </a:cubicBezTo>
                <a:cubicBezTo>
                  <a:pt x="326" y="213"/>
                  <a:pt x="330" y="208"/>
                  <a:pt x="330" y="202"/>
                </a:cubicBezTo>
                <a:cubicBezTo>
                  <a:pt x="330" y="196"/>
                  <a:pt x="326" y="192"/>
                  <a:pt x="32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86" y="192"/>
                  <a:pt x="181" y="196"/>
                  <a:pt x="181" y="202"/>
                </a:cubicBezTo>
                <a:close/>
                <a:moveTo>
                  <a:pt x="181" y="245"/>
                </a:moveTo>
                <a:cubicBezTo>
                  <a:pt x="181" y="251"/>
                  <a:pt x="186" y="256"/>
                  <a:pt x="192" y="256"/>
                </a:cubicBezTo>
                <a:cubicBezTo>
                  <a:pt x="320" y="256"/>
                  <a:pt x="320" y="256"/>
                  <a:pt x="320" y="256"/>
                </a:cubicBezTo>
                <a:cubicBezTo>
                  <a:pt x="326" y="256"/>
                  <a:pt x="330" y="251"/>
                  <a:pt x="330" y="245"/>
                </a:cubicBezTo>
                <a:cubicBezTo>
                  <a:pt x="330" y="239"/>
                  <a:pt x="326" y="234"/>
                  <a:pt x="320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86" y="234"/>
                  <a:pt x="181" y="239"/>
                  <a:pt x="181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06"/>
                </a:moveTo>
                <a:cubicBezTo>
                  <a:pt x="373" y="100"/>
                  <a:pt x="368" y="96"/>
                  <a:pt x="362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0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89533" tIns="44767" rIns="89533" bIns="44767" numCol="1" anchor="t" anchorCtr="0" compatLnSpc="1">
            <a:prstTxWarp prst="textNoShape">
              <a:avLst/>
            </a:prstTxWarp>
          </a:bodyPr>
          <a:lstStyle/>
          <a:p>
            <a:endParaRPr lang="en-NZ" sz="1892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E6BA91BA-A34A-4149-A4D5-2D0CA62C4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2068" y="3623567"/>
            <a:ext cx="2275779" cy="129815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6F3E38E5-DA89-4623-84D0-351E26701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7266" y="5139487"/>
            <a:ext cx="2093713" cy="145704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1156AD73-3439-45A0-B806-E26FC596D9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205" y="4656744"/>
            <a:ext cx="2128160" cy="142940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49268D06-B684-4EC6-9834-B54DF0D33F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0880" y="4578646"/>
            <a:ext cx="2585207" cy="173741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89E64445-89C9-4030-9239-E0F81974D105}"/>
              </a:ext>
            </a:extLst>
          </p:cNvPr>
          <p:cNvGrpSpPr/>
          <p:nvPr/>
        </p:nvGrpSpPr>
        <p:grpSpPr>
          <a:xfrm>
            <a:off x="6157025" y="3234784"/>
            <a:ext cx="446407" cy="446407"/>
            <a:chOff x="5656416" y="6484239"/>
            <a:chExt cx="153591" cy="153591"/>
          </a:xfrm>
          <a:solidFill>
            <a:schemeClr val="accent1"/>
          </a:solidFill>
        </p:grpSpPr>
        <p:sp>
          <p:nvSpPr>
            <p:cNvPr id="34" name="Freeform 295">
              <a:extLst>
                <a:ext uri="{FF2B5EF4-FFF2-40B4-BE49-F238E27FC236}">
                  <a16:creationId xmlns:a16="http://schemas.microsoft.com/office/drawing/2014/main" xmlns="" id="{27752F0F-0BC0-47A9-ABB0-E72B33979F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6416" y="6484239"/>
              <a:ext cx="153591" cy="15359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7" rIns="89533" bIns="44767" numCol="1" anchor="t" anchorCtr="0" compatLnSpc="1">
              <a:prstTxWarp prst="textNoShape">
                <a:avLst/>
              </a:prstTxWarp>
            </a:bodyPr>
            <a:lstStyle/>
            <a:p>
              <a:endParaRPr lang="en-GB" sz="1892" dirty="0"/>
            </a:p>
          </p:txBody>
        </p:sp>
        <p:sp>
          <p:nvSpPr>
            <p:cNvPr id="35" name="Rectangle 296">
              <a:extLst>
                <a:ext uri="{FF2B5EF4-FFF2-40B4-BE49-F238E27FC236}">
                  <a16:creationId xmlns:a16="http://schemas.microsoft.com/office/drawing/2014/main" xmlns="" id="{A5D59158-7628-463B-B214-A31511484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2498" y="6533114"/>
              <a:ext cx="83120" cy="51046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  <a:extLst/>
          </p:spPr>
          <p:txBody>
            <a:bodyPr vert="horz" wrap="square" lIns="89533" tIns="44767" rIns="89533" bIns="44767" numCol="1" anchor="t" anchorCtr="0" compatLnSpc="1">
              <a:prstTxWarp prst="textNoShape">
                <a:avLst/>
              </a:prstTxWarp>
            </a:bodyPr>
            <a:lstStyle/>
            <a:p>
              <a:endParaRPr lang="en-GB" sz="1892" dirty="0"/>
            </a:p>
          </p:txBody>
        </p:sp>
      </p:grpSp>
    </p:spTree>
    <p:extLst>
      <p:ext uri="{BB962C8B-B14F-4D97-AF65-F5344CB8AC3E}">
        <p14:creationId xmlns:p14="http://schemas.microsoft.com/office/powerpoint/2010/main" val="3789583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6" grpId="0"/>
      <p:bldP spid="27" grpId="0"/>
      <p:bldP spid="2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map&#10;&#10;Description generated with high confidence">
            <a:extLst>
              <a:ext uri="{FF2B5EF4-FFF2-40B4-BE49-F238E27FC236}">
                <a16:creationId xmlns:a16="http://schemas.microsoft.com/office/drawing/2014/main" xmlns="" id="{BAD96074-EC42-4BB0-8C49-6006E14C0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12183"/>
            <a:ext cx="9906000" cy="4931506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xmlns="" id="{E5D65AC6-BFA9-4651-841A-0803AB6DBD03}"/>
              </a:ext>
            </a:extLst>
          </p:cNvPr>
          <p:cNvSpPr/>
          <p:nvPr/>
        </p:nvSpPr>
        <p:spPr>
          <a:xfrm>
            <a:off x="547909" y="2554754"/>
            <a:ext cx="2160000" cy="2160000"/>
          </a:xfrm>
          <a:prstGeom prst="ellipse">
            <a:avLst/>
          </a:prstGeom>
          <a:solidFill>
            <a:schemeClr val="accent2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A62ABF3-01AA-4E21-B8D3-18812853E282}"/>
              </a:ext>
            </a:extLst>
          </p:cNvPr>
          <p:cNvSpPr txBox="1"/>
          <p:nvPr/>
        </p:nvSpPr>
        <p:spPr>
          <a:xfrm>
            <a:off x="17732" y="2876484"/>
            <a:ext cx="32558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29</a:t>
            </a:r>
          </a:p>
          <a:p>
            <a:pPr algn="ctr"/>
            <a:r>
              <a:rPr lang="en-NZ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Countri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5D71A9B6-6A08-4461-AEBF-99C5C1F9AF83}"/>
              </a:ext>
            </a:extLst>
          </p:cNvPr>
          <p:cNvSpPr/>
          <p:nvPr/>
        </p:nvSpPr>
        <p:spPr>
          <a:xfrm>
            <a:off x="2793000" y="2554754"/>
            <a:ext cx="2160000" cy="2160000"/>
          </a:xfrm>
          <a:prstGeom prst="ellipse">
            <a:avLst/>
          </a:prstGeom>
          <a:solidFill>
            <a:schemeClr val="accent2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949F770-2D10-472D-B70B-0E29F8EAEFA3}"/>
              </a:ext>
            </a:extLst>
          </p:cNvPr>
          <p:cNvSpPr txBox="1"/>
          <p:nvPr/>
        </p:nvSpPr>
        <p:spPr>
          <a:xfrm>
            <a:off x="2245091" y="2884227"/>
            <a:ext cx="32558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4</a:t>
            </a:r>
          </a:p>
          <a:p>
            <a:pPr algn="ctr"/>
            <a:r>
              <a:rPr lang="en-NZ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Languag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80C0EAB-AAC1-4512-B503-251DB31B477F}"/>
              </a:ext>
            </a:extLst>
          </p:cNvPr>
          <p:cNvSpPr/>
          <p:nvPr/>
        </p:nvSpPr>
        <p:spPr>
          <a:xfrm>
            <a:off x="7247466" y="6343689"/>
            <a:ext cx="2421467" cy="393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F33A1FF5-58BB-4C31-A261-773A784545A5}"/>
              </a:ext>
            </a:extLst>
          </p:cNvPr>
          <p:cNvSpPr/>
          <p:nvPr/>
        </p:nvSpPr>
        <p:spPr>
          <a:xfrm>
            <a:off x="5036920" y="2523593"/>
            <a:ext cx="2160000" cy="2160000"/>
          </a:xfrm>
          <a:prstGeom prst="ellipse">
            <a:avLst/>
          </a:prstGeom>
          <a:solidFill>
            <a:schemeClr val="accent2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BC14FC4-A3A4-463C-B7AB-8ABCE036C7E4}"/>
              </a:ext>
            </a:extLst>
          </p:cNvPr>
          <p:cNvSpPr txBox="1"/>
          <p:nvPr/>
        </p:nvSpPr>
        <p:spPr>
          <a:xfrm>
            <a:off x="5120414" y="2915004"/>
            <a:ext cx="21103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22,000</a:t>
            </a:r>
          </a:p>
          <a:p>
            <a:pPr algn="ctr"/>
            <a:r>
              <a:rPr lang="en-NZ" sz="2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Employe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B68AEC1-6BD0-48DD-B003-CF9A549AC470}"/>
              </a:ext>
            </a:extLst>
          </p:cNvPr>
          <p:cNvSpPr txBox="1"/>
          <p:nvPr/>
        </p:nvSpPr>
        <p:spPr>
          <a:xfrm>
            <a:off x="434975" y="623121"/>
            <a:ext cx="990599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4400" b="1" dirty="0">
                <a:solidFill>
                  <a:schemeClr val="accent3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Deployment Scop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4C021D45-8411-465B-BE83-2D3CACFCD216}"/>
              </a:ext>
            </a:extLst>
          </p:cNvPr>
          <p:cNvSpPr/>
          <p:nvPr/>
        </p:nvSpPr>
        <p:spPr>
          <a:xfrm>
            <a:off x="7264652" y="2602433"/>
            <a:ext cx="2160000" cy="2160000"/>
          </a:xfrm>
          <a:prstGeom prst="ellipse">
            <a:avLst/>
          </a:prstGeom>
          <a:solidFill>
            <a:schemeClr val="accent2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11E10E1D-5C6E-4303-843F-A1897F274C38}"/>
              </a:ext>
            </a:extLst>
          </p:cNvPr>
          <p:cNvSpPr txBox="1"/>
          <p:nvPr/>
        </p:nvSpPr>
        <p:spPr>
          <a:xfrm>
            <a:off x="7298518" y="2874010"/>
            <a:ext cx="211037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4,000</a:t>
            </a:r>
          </a:p>
          <a:p>
            <a:pPr algn="ctr"/>
            <a:r>
              <a:rPr lang="en-NZ" sz="2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Contingent Work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7AB2FBF-8AC5-4092-A389-0C96A057089B}"/>
              </a:ext>
            </a:extLst>
          </p:cNvPr>
          <p:cNvSpPr txBox="1"/>
          <p:nvPr/>
        </p:nvSpPr>
        <p:spPr>
          <a:xfrm>
            <a:off x="434974" y="5980155"/>
            <a:ext cx="990599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4400" b="1" dirty="0">
                <a:solidFill>
                  <a:schemeClr val="accent3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Agile, Big bang globally…</a:t>
            </a:r>
          </a:p>
        </p:txBody>
      </p:sp>
    </p:spTree>
    <p:extLst>
      <p:ext uri="{BB962C8B-B14F-4D97-AF65-F5344CB8AC3E}">
        <p14:creationId xmlns:p14="http://schemas.microsoft.com/office/powerpoint/2010/main" val="2584366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/>
      <p:bldP spid="10" grpId="0" animBg="1"/>
      <p:bldP spid="11" grpId="0"/>
      <p:bldP spid="15" grpId="0" animBg="1"/>
      <p:bldP spid="16" grpId="0" animBg="1"/>
      <p:bldP spid="17" grpId="0"/>
      <p:bldP spid="19" grpId="0" animBg="1"/>
      <p:bldP spid="20" grpId="0"/>
      <p:bldP spid="2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xmlns="" id="{93479D96-D695-44C0-BA51-B981DEB0E0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443235"/>
            <a:ext cx="9905999" cy="7301236"/>
          </a:xfrm>
          <a:prstGeom prst="rect">
            <a:avLst/>
          </a:prstGeom>
          <a:effectLst>
            <a:softEdge rad="0"/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6C565A4-CC56-412A-A6AC-5BE5AC868689}"/>
              </a:ext>
            </a:extLst>
          </p:cNvPr>
          <p:cNvSpPr txBox="1"/>
          <p:nvPr/>
        </p:nvSpPr>
        <p:spPr>
          <a:xfrm>
            <a:off x="1745674" y="2282044"/>
            <a:ext cx="990599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70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Strong partnership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832D6072-4367-4B29-ACAB-02DDC15177B5}"/>
              </a:ext>
            </a:extLst>
          </p:cNvPr>
          <p:cNvSpPr/>
          <p:nvPr/>
        </p:nvSpPr>
        <p:spPr>
          <a:xfrm>
            <a:off x="2786455" y="3714840"/>
            <a:ext cx="2160000" cy="2160000"/>
          </a:xfrm>
          <a:prstGeom prst="ellipse">
            <a:avLst/>
          </a:prstGeom>
          <a:solidFill>
            <a:schemeClr val="accent1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NZ" sz="48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D02564E-0C15-4B4A-B1C3-4AD6C663E01F}"/>
              </a:ext>
            </a:extLst>
          </p:cNvPr>
          <p:cNvSpPr txBox="1"/>
          <p:nvPr/>
        </p:nvSpPr>
        <p:spPr>
          <a:xfrm>
            <a:off x="2276455" y="4071274"/>
            <a:ext cx="32558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Partn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F6FA57A-8367-42D0-837A-E06292E4B1B8}"/>
              </a:ext>
            </a:extLst>
          </p:cNvPr>
          <p:cNvSpPr txBox="1"/>
          <p:nvPr/>
        </p:nvSpPr>
        <p:spPr>
          <a:xfrm>
            <a:off x="3570905" y="6309251"/>
            <a:ext cx="69005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20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AUCKLAND – Melbourne - Wellington - HAMILT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9C75FEC-0CDE-4A67-ACB1-7C731FA9EE8D}"/>
              </a:ext>
            </a:extLst>
          </p:cNvPr>
          <p:cNvSpPr txBox="1"/>
          <p:nvPr/>
        </p:nvSpPr>
        <p:spPr>
          <a:xfrm>
            <a:off x="2276455" y="4581596"/>
            <a:ext cx="32558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</a:p>
          <a:p>
            <a:pPr algn="ctr"/>
            <a:r>
              <a:rPr lang="en-NZ" sz="2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SF - POI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9E3D14A9-9312-4C07-96B8-536F82F3A9A2}"/>
              </a:ext>
            </a:extLst>
          </p:cNvPr>
          <p:cNvSpPr/>
          <p:nvPr/>
        </p:nvSpPr>
        <p:spPr>
          <a:xfrm>
            <a:off x="7415182" y="3692093"/>
            <a:ext cx="2160000" cy="2160000"/>
          </a:xfrm>
          <a:prstGeom prst="ellipse">
            <a:avLst/>
          </a:prstGeom>
          <a:solidFill>
            <a:schemeClr val="accent1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NZ" sz="48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91ABBA92-6B75-481D-8D2F-ACFA2DC8D0AB}"/>
              </a:ext>
            </a:extLst>
          </p:cNvPr>
          <p:cNvSpPr txBox="1"/>
          <p:nvPr/>
        </p:nvSpPr>
        <p:spPr>
          <a:xfrm>
            <a:off x="6888925" y="4085373"/>
            <a:ext cx="32558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Divers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DFBFEDD8-BC5E-4B43-B672-B8625C532577}"/>
              </a:ext>
            </a:extLst>
          </p:cNvPr>
          <p:cNvSpPr txBox="1"/>
          <p:nvPr/>
        </p:nvSpPr>
        <p:spPr>
          <a:xfrm>
            <a:off x="6905182" y="4571544"/>
            <a:ext cx="32558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9</a:t>
            </a:r>
          </a:p>
          <a:p>
            <a:pPr algn="ctr"/>
            <a:r>
              <a:rPr lang="en-NZ" sz="2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Nationalitie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1E0135B3-2F89-4B49-8236-9FED6EB65CF0}"/>
              </a:ext>
            </a:extLst>
          </p:cNvPr>
          <p:cNvSpPr/>
          <p:nvPr/>
        </p:nvSpPr>
        <p:spPr>
          <a:xfrm>
            <a:off x="5111013" y="3692093"/>
            <a:ext cx="2160000" cy="2160000"/>
          </a:xfrm>
          <a:prstGeom prst="ellipse">
            <a:avLst/>
          </a:prstGeom>
          <a:solidFill>
            <a:schemeClr val="accent1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NZ" sz="48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D79B49CB-BB02-401E-B833-30AE0353D23F}"/>
              </a:ext>
            </a:extLst>
          </p:cNvPr>
          <p:cNvSpPr txBox="1"/>
          <p:nvPr/>
        </p:nvSpPr>
        <p:spPr>
          <a:xfrm>
            <a:off x="4601013" y="4090859"/>
            <a:ext cx="32558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Loc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A74DDDF-E2A4-45B8-A11A-5F377C50D347}"/>
              </a:ext>
            </a:extLst>
          </p:cNvPr>
          <p:cNvSpPr txBox="1"/>
          <p:nvPr/>
        </p:nvSpPr>
        <p:spPr>
          <a:xfrm>
            <a:off x="4614543" y="4547662"/>
            <a:ext cx="325581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4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09548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/>
      <p:bldP spid="7" grpId="0"/>
      <p:bldP spid="8" grpId="0" animBg="1"/>
      <p:bldP spid="14" grpId="0"/>
      <p:bldP spid="15" grpId="0"/>
      <p:bldP spid="16" grpId="0" animBg="1"/>
      <p:bldP spid="17" grpId="0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CF1D27F-256B-4755-BFD2-1686F4499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With Employee Centr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E195B22-F7DE-4228-8E32-61E131ED1C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068" y="1526203"/>
            <a:ext cx="5511679" cy="380002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32AF3EC5-7FC2-40A5-B1F9-F308D3FFAB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1852" y="2095404"/>
            <a:ext cx="5624612" cy="391052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862E5FCB-FA48-4D2B-A57F-08A818340C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1226" y="2560893"/>
            <a:ext cx="5781395" cy="394464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61A268BE-3C89-4C7F-B461-BDD3CB5AE7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724" y="2946451"/>
            <a:ext cx="5301668" cy="367572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8DA9E6E-22C2-4310-9BCD-983541F049DE}"/>
              </a:ext>
            </a:extLst>
          </p:cNvPr>
          <p:cNvSpPr txBox="1"/>
          <p:nvPr/>
        </p:nvSpPr>
        <p:spPr>
          <a:xfrm>
            <a:off x="431800" y="1132585"/>
            <a:ext cx="75008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400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Many firsts: New Cloud Integration Technology + People Profile + Advanced Reporting and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D7B327C-6502-4069-A971-BACB75F27330}"/>
              </a:ext>
            </a:extLst>
          </p:cNvPr>
          <p:cNvSpPr txBox="1"/>
          <p:nvPr/>
        </p:nvSpPr>
        <p:spPr>
          <a:xfrm rot="1050187">
            <a:off x="7597282" y="1557923"/>
            <a:ext cx="190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ployed</a:t>
            </a:r>
          </a:p>
        </p:txBody>
      </p:sp>
    </p:spTree>
    <p:extLst>
      <p:ext uri="{BB962C8B-B14F-4D97-AF65-F5344CB8AC3E}">
        <p14:creationId xmlns:p14="http://schemas.microsoft.com/office/powerpoint/2010/main" val="3383342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nterra_2014">
  <a:themeElements>
    <a:clrScheme name="Fonterra_March_2013">
      <a:dk1>
        <a:srgbClr val="3F3F3F"/>
      </a:dk1>
      <a:lt1>
        <a:srgbClr val="FFFFFF"/>
      </a:lt1>
      <a:dk2>
        <a:srgbClr val="800000"/>
      </a:dk2>
      <a:lt2>
        <a:srgbClr val="FFDB01"/>
      </a:lt2>
      <a:accent1>
        <a:srgbClr val="0099FF"/>
      </a:accent1>
      <a:accent2>
        <a:srgbClr val="013799"/>
      </a:accent2>
      <a:accent3>
        <a:srgbClr val="62BD18"/>
      </a:accent3>
      <a:accent4>
        <a:srgbClr val="002868"/>
      </a:accent4>
      <a:accent5>
        <a:srgbClr val="523178"/>
      </a:accent5>
      <a:accent6>
        <a:srgbClr val="FF9900"/>
      </a:accent6>
      <a:hlink>
        <a:srgbClr val="663300"/>
      </a:hlink>
      <a:folHlink>
        <a:srgbClr val="0099C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C94EF78AD2764CA7BE313848B05C01" ma:contentTypeVersion="0" ma:contentTypeDescription="Create a new document." ma:contentTypeScope="" ma:versionID="9ce00b165a81fbf54d600d5f5651fd03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67A499B1-9655-41A2-B22B-313171B67C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4324C97-CFD1-4DFF-93C6-C79BEB07EE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966171-6A19-4127-B9A5-C454D60C3699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48</TotalTime>
  <Words>1295</Words>
  <Application>Microsoft Office PowerPoint</Application>
  <PresentationFormat>A4 Paper (210x297 mm)</PresentationFormat>
  <Paragraphs>211</Paragraphs>
  <Slides>19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Fonterra_2014</vt:lpstr>
      <vt:lpstr>think-cell Slide</vt:lpstr>
      <vt:lpstr>HR Technology Going big in the cloud</vt:lpstr>
      <vt:lpstr>Content</vt:lpstr>
      <vt:lpstr>PowerPoint Presentation</vt:lpstr>
      <vt:lpstr>Introductions</vt:lpstr>
      <vt:lpstr>The MY Fonterra (Successfactors)  Employee Central Deployment Deep Dive </vt:lpstr>
      <vt:lpstr>Fonterra Successfactors Journey</vt:lpstr>
      <vt:lpstr>PowerPoint Presentation</vt:lpstr>
      <vt:lpstr>PowerPoint Presentation</vt:lpstr>
      <vt:lpstr>With Employee Central</vt:lpstr>
      <vt:lpstr>System Architecture Diagram Challenge</vt:lpstr>
      <vt:lpstr>Master Data Governance</vt:lpstr>
      <vt:lpstr>Design of Business Rules, RBP and Workflows</vt:lpstr>
      <vt:lpstr>The Change Management Plan</vt:lpstr>
      <vt:lpstr>Where to Next</vt:lpstr>
      <vt:lpstr>What are we working on?</vt:lpstr>
      <vt:lpstr>How global marketplace works</vt:lpstr>
      <vt:lpstr>PowerPoint Presentation</vt:lpstr>
      <vt:lpstr>PowerPoint Presentation</vt:lpstr>
      <vt:lpstr>The End</vt:lpstr>
    </vt:vector>
  </TitlesOfParts>
  <Company>Fonterra 2014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</dc:title>
  <dc:creator>Fonterra Co-operative Group</dc:creator>
  <cp:keywords>Brand Central</cp:keywords>
  <dc:description>Brand.Central@fonterra.com
Version 1.1</dc:description>
  <cp:lastModifiedBy>Rosanne English</cp:lastModifiedBy>
  <cp:revision>376</cp:revision>
  <cp:lastPrinted>2018-03-20T09:01:09Z</cp:lastPrinted>
  <dcterms:created xsi:type="dcterms:W3CDTF">2010-07-13T10:29:42Z</dcterms:created>
  <dcterms:modified xsi:type="dcterms:W3CDTF">2018-08-26T23:44:37Z</dcterms:modified>
</cp:coreProperties>
</file>